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ags/tag2.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slideLayouts/slideLayout191.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8.xml" ContentType="application/vnd.openxmlformats-officedocument.theme+xml"/>
  <Override PartName="/ppt/tags/tag11.xml" ContentType="application/vnd.openxmlformats-officedocument.presentationml.tags+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9.xml" ContentType="application/vnd.openxmlformats-officedocument.theme+xml"/>
  <Override PartName="/ppt/tags/tag12.xml" ContentType="application/vnd.openxmlformats-officedocument.presentationml.tags+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0.xml" ContentType="application/vnd.openxmlformats-officedocument.theme+xml"/>
  <Override PartName="/ppt/tags/tag13.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11.xml" ContentType="application/vnd.openxmlformats-officedocument.theme+xml"/>
  <Override PartName="/ppt/tags/tag14.xml" ContentType="application/vnd.openxmlformats-officedocument.presentationml.tags+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1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3.xml" ContentType="application/vnd.openxmlformats-officedocument.theme+xml"/>
  <Override PartName="/ppt/tags/tag17.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notesSlides/notesSlide5.xml" ContentType="application/vnd.openxmlformats-officedocument.presentationml.notesSlide+xml"/>
  <Override PartName="/ppt/tags/tag24.xml" ContentType="application/vnd.openxmlformats-officedocument.presentationml.tags+xml"/>
  <Override PartName="/ppt/notesSlides/notesSlide6.xml" ContentType="application/vnd.openxmlformats-officedocument.presentationml.notesSlide+xml"/>
  <Override PartName="/ppt/tags/tag25.xml" ContentType="application/vnd.openxmlformats-officedocument.presentationml.tags+xml"/>
  <Override PartName="/ppt/notesSlides/notesSlide7.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8.xml" ContentType="application/vnd.openxmlformats-officedocument.presentationml.notesSlide+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1.xml" ContentType="application/vnd.openxmlformats-officedocument.presentationml.notesSlide+xml"/>
  <Override PartName="/ppt/tags/tag35.xml" ContentType="application/vnd.openxmlformats-officedocument.presentationml.tags+xml"/>
  <Override PartName="/ppt/notesSlides/notesSlide12.xml" ContentType="application/vnd.openxmlformats-officedocument.presentationml.notesSlide+xml"/>
  <Override PartName="/ppt/tags/tag36.xml" ContentType="application/vnd.openxmlformats-officedocument.presentationml.tags+xml"/>
  <Override PartName="/ppt/notesSlides/notesSlide13.xml" ContentType="application/vnd.openxmlformats-officedocument.presentationml.notesSlide+xml"/>
  <Override PartName="/ppt/tags/tag37.xml" ContentType="application/vnd.openxmlformats-officedocument.presentationml.tags+xml"/>
  <Override PartName="/ppt/notesSlides/notesSlide14.xml" ContentType="application/vnd.openxmlformats-officedocument.presentationml.notesSlide+xml"/>
  <Override PartName="/ppt/tags/tag38.xml" ContentType="application/vnd.openxmlformats-officedocument.presentationml.tags+xml"/>
  <Override PartName="/ppt/notesSlides/notesSlide15.xml" ContentType="application/vnd.openxmlformats-officedocument.presentationml.notesSlide+xml"/>
  <Override PartName="/ppt/tags/tag39.xml" ContentType="application/vnd.openxmlformats-officedocument.presentationml.tags+xml"/>
  <Override PartName="/ppt/notesSlides/notesSlide16.xml" ContentType="application/vnd.openxmlformats-officedocument.presentationml.notesSlide+xml"/>
  <Override PartName="/ppt/tags/tag40.xml" ContentType="application/vnd.openxmlformats-officedocument.presentationml.tags+xml"/>
  <Override PartName="/ppt/notesSlides/notesSlide17.xml" ContentType="application/vnd.openxmlformats-officedocument.presentationml.notesSlide+xml"/>
  <Override PartName="/ppt/tags/tag41.xml" ContentType="application/vnd.openxmlformats-officedocument.presentationml.tags+xml"/>
  <Override PartName="/ppt/notesSlides/notesSlide18.xml" ContentType="application/vnd.openxmlformats-officedocument.presentationml.notesSlide+xml"/>
  <Override PartName="/ppt/tags/tag42.xml" ContentType="application/vnd.openxmlformats-officedocument.presentationml.tags+xml"/>
  <Override PartName="/ppt/notesSlides/notesSlide19.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0.xml" ContentType="application/vnd.openxmlformats-officedocument.presentationml.notesSlide+xml"/>
  <Override PartName="/ppt/tags/tag45.xml" ContentType="application/vnd.openxmlformats-officedocument.presentationml.tags+xml"/>
  <Override PartName="/ppt/notesSlides/notesSlide21.xml" ContentType="application/vnd.openxmlformats-officedocument.presentationml.notesSlide+xml"/>
  <Override PartName="/ppt/tags/tag46.xml" ContentType="application/vnd.openxmlformats-officedocument.presentationml.tags+xml"/>
  <Override PartName="/ppt/notesSlides/notesSlide22.xml" ContentType="application/vnd.openxmlformats-officedocument.presentationml.notesSlide+xml"/>
  <Override PartName="/ppt/tags/tag47.xml" ContentType="application/vnd.openxmlformats-officedocument.presentationml.tags+xml"/>
  <Override PartName="/ppt/notesSlides/notesSlide23.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24.xml" ContentType="application/vnd.openxmlformats-officedocument.presentationml.notesSlide+xml"/>
  <Override PartName="/ppt/charts/chart1.xml" ContentType="application/vnd.openxmlformats-officedocument.drawingml.chart+xml"/>
  <Override PartName="/ppt/tags/tag56.xml" ContentType="application/vnd.openxmlformats-officedocument.presentationml.tags+xml"/>
  <Override PartName="/ppt/notesSlides/notesSlide25.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26.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27.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84.xml" ContentType="application/vnd.openxmlformats-officedocument.presentationml.tags+xml"/>
  <Override PartName="/ppt/notesSlides/notesSlide28.xml" ContentType="application/vnd.openxmlformats-officedocument.presentationml.notesSlide+xml"/>
  <Override PartName="/ppt/tags/tag85.xml" ContentType="application/vnd.openxmlformats-officedocument.presentationml.tags+xml"/>
  <Override PartName="/ppt/notesSlides/notesSlide2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9" r:id="rId4"/>
    <p:sldMasterId id="2147483765" r:id="rId5"/>
    <p:sldMasterId id="2147483860" r:id="rId6"/>
    <p:sldMasterId id="2147484150" r:id="rId7"/>
    <p:sldMasterId id="2147484177" r:id="rId8"/>
    <p:sldMasterId id="2147484216" r:id="rId9"/>
    <p:sldMasterId id="2147484304" r:id="rId10"/>
    <p:sldMasterId id="2147484389" r:id="rId11"/>
    <p:sldMasterId id="2147484404" r:id="rId12"/>
    <p:sldMasterId id="2147484441" r:id="rId13"/>
    <p:sldMasterId id="2147484453" r:id="rId14"/>
    <p:sldMasterId id="2147484465" r:id="rId15"/>
    <p:sldMasterId id="2147484573" r:id="rId16"/>
  </p:sldMasterIdLst>
  <p:notesMasterIdLst>
    <p:notesMasterId r:id="rId57"/>
  </p:notesMasterIdLst>
  <p:handoutMasterIdLst>
    <p:handoutMasterId r:id="rId58"/>
  </p:handoutMasterIdLst>
  <p:sldIdLst>
    <p:sldId id="2147480573" r:id="rId17"/>
    <p:sldId id="2147377921" r:id="rId18"/>
    <p:sldId id="2147480565" r:id="rId19"/>
    <p:sldId id="2147480576" r:id="rId20"/>
    <p:sldId id="2147480633" r:id="rId21"/>
    <p:sldId id="2147480613" r:id="rId22"/>
    <p:sldId id="2147480623" r:id="rId23"/>
    <p:sldId id="2147480605" r:id="rId24"/>
    <p:sldId id="2147480568" r:id="rId25"/>
    <p:sldId id="2147480546" r:id="rId26"/>
    <p:sldId id="2147483162" r:id="rId27"/>
    <p:sldId id="2147480499" r:id="rId28"/>
    <p:sldId id="2147480584" r:id="rId29"/>
    <p:sldId id="2147480607" r:id="rId30"/>
    <p:sldId id="2147480610" r:id="rId31"/>
    <p:sldId id="2147480611" r:id="rId32"/>
    <p:sldId id="2147480542" r:id="rId33"/>
    <p:sldId id="2147480543" r:id="rId34"/>
    <p:sldId id="2147483161" r:id="rId35"/>
    <p:sldId id="2147483160" r:id="rId36"/>
    <p:sldId id="2147480512" r:id="rId37"/>
    <p:sldId id="2147480514" r:id="rId38"/>
    <p:sldId id="2147480544" r:id="rId39"/>
    <p:sldId id="2147480507" r:id="rId40"/>
    <p:sldId id="2147480437" r:id="rId41"/>
    <p:sldId id="2147480553" r:id="rId42"/>
    <p:sldId id="2147480624" r:id="rId43"/>
    <p:sldId id="2147480625" r:id="rId44"/>
    <p:sldId id="2147480626" r:id="rId45"/>
    <p:sldId id="2147480628" r:id="rId46"/>
    <p:sldId id="2147480569" r:id="rId47"/>
    <p:sldId id="2147483146" r:id="rId48"/>
    <p:sldId id="2147480609" r:id="rId49"/>
    <p:sldId id="2147480629" r:id="rId50"/>
    <p:sldId id="2147480566" r:id="rId51"/>
    <p:sldId id="2147480603" r:id="rId52"/>
    <p:sldId id="2147480634" r:id="rId53"/>
    <p:sldId id="314" r:id="rId54"/>
    <p:sldId id="2147480589" r:id="rId55"/>
    <p:sldId id="2147483159" r:id="rId56"/>
  </p:sldIdLst>
  <p:sldSz cx="12193588" cy="6858000"/>
  <p:notesSz cx="6797675" cy="9928225"/>
  <p:custDataLst>
    <p:tags r:id="rId59"/>
  </p:custDataLst>
  <p:defaultText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0FB4DE0-6E37-4272-9DCA-44D26686331D}">
          <p14:sldIdLst>
            <p14:sldId id="2147480573"/>
            <p14:sldId id="2147377921"/>
            <p14:sldId id="2147480565"/>
            <p14:sldId id="2147480576"/>
            <p14:sldId id="2147480633"/>
            <p14:sldId id="2147480613"/>
            <p14:sldId id="2147480623"/>
            <p14:sldId id="2147480605"/>
            <p14:sldId id="2147480568"/>
            <p14:sldId id="2147480546"/>
            <p14:sldId id="2147483162"/>
            <p14:sldId id="2147480499"/>
            <p14:sldId id="2147480584"/>
            <p14:sldId id="2147480607"/>
            <p14:sldId id="2147480610"/>
            <p14:sldId id="2147480611"/>
            <p14:sldId id="2147480542"/>
            <p14:sldId id="2147480543"/>
            <p14:sldId id="2147483161"/>
            <p14:sldId id="2147483160"/>
            <p14:sldId id="2147480512"/>
            <p14:sldId id="2147480514"/>
            <p14:sldId id="2147480544"/>
            <p14:sldId id="2147480507"/>
            <p14:sldId id="2147480437"/>
            <p14:sldId id="2147480553"/>
            <p14:sldId id="2147480624"/>
            <p14:sldId id="2147480625"/>
            <p14:sldId id="2147480626"/>
            <p14:sldId id="2147480628"/>
            <p14:sldId id="2147480569"/>
            <p14:sldId id="2147483146"/>
            <p14:sldId id="2147480609"/>
            <p14:sldId id="2147480629"/>
            <p14:sldId id="2147480566"/>
            <p14:sldId id="2147480603"/>
            <p14:sldId id="2147480634"/>
            <p14:sldId id="314"/>
            <p14:sldId id="2147480589"/>
            <p14:sldId id="214748315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512840E-E894-672D-8217-B6AC8ACF255F}" name="Jacob Lange Moresco" initials="JM" userId="S::jlm@gubra.dk::0f057737-e6aa-425d-9851-bb594a2ad859" providerId="AD"/>
  <p188:author id="{F5AD1513-C396-A3B9-5AE1-518BD243AE6F}" name="Trine Porsgaard" initials="TP" userId="S::tpo@gubra.dk::5c38f028-6a87-41e2-8ea1-2ba83e844233" providerId="AD"/>
  <p188:author id="{86CD2E25-85C2-FA1A-89EB-A89AF36D101D}" name="Trine Nygaard Hamann" initials="TH" userId="S::tnh@gubra.dk::33fc1e93-112c-4c60-8e0a-d08ca79d6181" providerId="AD"/>
  <p188:author id="{413F0339-966A-0AF4-78F4-F51EAE30E662}" name="Oliver Lindkvist" initials="OL" userId="S::oli@gubra.dk::7800d9a7-1791-49bb-8b17-924ddc66d5b9" providerId="AD"/>
  <p188:author id="{0BAC323D-D23D-C850-2DBD-8F75F5DC5CB3}" name="Henrik Blou" initials="HB" userId="S::hbl@gubra.dk::5fbb3449-90e4-42dd-8a9e-f7b4943f5d67" providerId="AD"/>
  <p188:author id="{A3902943-96D0-2779-CE5A-FD9B7AE68DF4}" name="Thomas Langenickel" initials="TL" userId="S::thl@gubra.dk::3837518f-f834-4cdc-a9ef-a6f8b3d3882f" providerId="AD"/>
  <p188:author id="{13027C60-08EC-8F05-87CF-4009D5D93A11}" name="Frederik Friis-Hansen" initials="FF" userId="S::ffh@gubra.dk::69e5d22e-1a68-4514-b8e2-4b345fbc07a6" providerId="AD"/>
  <p188:author id="{B54D4C6A-408A-6476-9DD6-98E311EBFAEC}" name="Niels Vrang" initials="NV" userId="S::niels@gubra.dk::72633ed3-c756-418b-bd86-15d52e93c430" providerId="AD"/>
  <p188:author id="{52CC057C-CE92-E2B5-6D99-C307EA2081D2}" name="Kristian Borbos" initials="KB" userId="S::kbo@gubra.dk::32119168-97e2-41a5-b81e-a848780aceb7" providerId="AD"/>
  <p188:author id="{12A340B0-ECDF-9730-CE9F-51D47D553F6D}" name="Louise Munch Blicher" initials="LB" userId="S::lmb@gubra.dk::9d12dafc-6951-4125-9e82-2684190d08ec" providerId="AD"/>
  <p188:author id="{FDACADCA-B01A-5C12-3559-733F488C4782}" name="Louise S. Dalbøge" initials="LD" userId="S::lsd@gubra.dk::1eabbbc4-95fd-4f0f-bf60-1e590ce9b5af" providerId="AD"/>
  <p188:author id="{753D89E2-CB72-5E12-0B07-050C35E96BD7}" name="Hans-Christian Lund" initials="HL" userId="S::hlu@gubra.dk::cdc8b723-3b8e-4748-ae24-2888a08b56c2" providerId="AD"/>
  <p188:author id="{59B535FB-8E78-382D-5CDC-DFC8AC7FB2FF}" name="Emma Jappe Lange" initials="EL" userId="S::ejl@gubra.dk::50167a89-1da6-43cb-b919-73793a3e7cc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AAF3"/>
    <a:srgbClr val="94BCFF"/>
    <a:srgbClr val="CCDDE7"/>
    <a:srgbClr val="FFFFFF"/>
    <a:srgbClr val="001965"/>
    <a:srgbClr val="E1F0F8"/>
    <a:srgbClr val="8CC3CA"/>
    <a:srgbClr val="EBF1F5"/>
    <a:srgbClr val="F6F8FA"/>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8D0AFB0-FCAE-4021-9C71-91A200ADCFC7}" v="4" dt="2026-05-13T06:47:13.3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523"/>
    <p:restoredTop sz="94657"/>
  </p:normalViewPr>
  <p:slideViewPr>
    <p:cSldViewPr snapToGrid="0">
      <p:cViewPr varScale="1">
        <p:scale>
          <a:sx n="84" d="100"/>
          <a:sy n="84" d="100"/>
        </p:scale>
        <p:origin x="96" y="139"/>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handoutMaster" Target="handoutMasters/handoutMaster1.xml"/><Relationship Id="rId66"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3.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slide" Target="slides/slide3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tags" Target="tags/tag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notesMaster" Target="notesMasters/notesMaster1.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2.xml"/><Relationship Id="rId39" Type="http://schemas.openxmlformats.org/officeDocument/2006/relationships/slide" Target="slides/slide2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oë Johnson" userId="baa52c27-7fe7-47c3-873a-ccc6a35048d7" providerId="ADAL" clId="{1D4D0F7F-D547-5130-9342-9FCD4D2F940C}"/>
    <pc:docChg chg="modSld">
      <pc:chgData name="Zoë Johnson" userId="baa52c27-7fe7-47c3-873a-ccc6a35048d7" providerId="ADAL" clId="{1D4D0F7F-D547-5130-9342-9FCD4D2F940C}" dt="2026-05-05T20:50:07.538" v="31" actId="20577"/>
      <pc:docMkLst>
        <pc:docMk/>
      </pc:docMkLst>
      <pc:sldChg chg="modSp mod">
        <pc:chgData name="Zoë Johnson" userId="baa52c27-7fe7-47c3-873a-ccc6a35048d7" providerId="ADAL" clId="{1D4D0F7F-D547-5130-9342-9FCD4D2F940C}" dt="2026-05-05T20:49:12.390" v="30" actId="20577"/>
        <pc:sldMkLst>
          <pc:docMk/>
          <pc:sldMk cId="1420261725" sldId="2147480624"/>
        </pc:sldMkLst>
        <pc:spChg chg="mod">
          <ac:chgData name="Zoë Johnson" userId="baa52c27-7fe7-47c3-873a-ccc6a35048d7" providerId="ADAL" clId="{1D4D0F7F-D547-5130-9342-9FCD4D2F940C}" dt="2026-05-05T20:49:12.390" v="30" actId="20577"/>
          <ac:spMkLst>
            <pc:docMk/>
            <pc:sldMk cId="1420261725" sldId="2147480624"/>
            <ac:spMk id="94" creationId="{FB63AD6D-D497-97B2-1F13-E1870066A145}"/>
          </ac:spMkLst>
        </pc:spChg>
      </pc:sldChg>
      <pc:sldChg chg="modSp mod">
        <pc:chgData name="Zoë Johnson" userId="baa52c27-7fe7-47c3-873a-ccc6a35048d7" providerId="ADAL" clId="{1D4D0F7F-D547-5130-9342-9FCD4D2F940C}" dt="2026-05-05T20:50:07.538" v="31" actId="20577"/>
        <pc:sldMkLst>
          <pc:docMk/>
          <pc:sldMk cId="1954223883" sldId="2147480628"/>
        </pc:sldMkLst>
        <pc:spChg chg="mod">
          <ac:chgData name="Zoë Johnson" userId="baa52c27-7fe7-47c3-873a-ccc6a35048d7" providerId="ADAL" clId="{1D4D0F7F-D547-5130-9342-9FCD4D2F940C}" dt="2026-05-05T20:50:07.538" v="31" actId="20577"/>
          <ac:spMkLst>
            <pc:docMk/>
            <pc:sldMk cId="1954223883" sldId="2147480628"/>
            <ac:spMk id="181" creationId="{786A66B4-1E74-93C1-386E-1C33B699228E}"/>
          </ac:spMkLst>
        </pc:spChg>
      </pc:sldChg>
    </pc:docChg>
  </pc:docChgLst>
  <pc:docChgLst>
    <pc:chgData name="Thomas Langenickel" userId="S::thl@gubra.dk::3837518f-f834-4cdc-a9ef-a6f8b3d3882f" providerId="AD" clId="Web-{95897095-A485-CE81-BA8F-CE8343FDD79E}"/>
    <pc:docChg chg="modSld">
      <pc:chgData name="Thomas Langenickel" userId="S::thl@gubra.dk::3837518f-f834-4cdc-a9ef-a6f8b3d3882f" providerId="AD" clId="Web-{95897095-A485-CE81-BA8F-CE8343FDD79E}" dt="2026-05-01T07:50:05.373" v="162" actId="20577"/>
      <pc:docMkLst>
        <pc:docMk/>
      </pc:docMkLst>
      <pc:sldChg chg="delSp modSp">
        <pc:chgData name="Thomas Langenickel" userId="S::thl@gubra.dk::3837518f-f834-4cdc-a9ef-a6f8b3d3882f" providerId="AD" clId="Web-{95897095-A485-CE81-BA8F-CE8343FDD79E}" dt="2026-05-01T07:46:51.770" v="76" actId="20577"/>
        <pc:sldMkLst>
          <pc:docMk/>
          <pc:sldMk cId="4136824861" sldId="2147480507"/>
        </pc:sldMkLst>
        <pc:spChg chg="mod">
          <ac:chgData name="Thomas Langenickel" userId="S::thl@gubra.dk::3837518f-f834-4cdc-a9ef-a6f8b3d3882f" providerId="AD" clId="Web-{95897095-A485-CE81-BA8F-CE8343FDD79E}" dt="2026-05-01T07:07:16.951" v="71" actId="1076"/>
          <ac:spMkLst>
            <pc:docMk/>
            <pc:sldMk cId="4136824861" sldId="2147480507"/>
            <ac:spMk id="19" creationId="{A490919E-CCDB-5FDA-5555-5DAE41A47474}"/>
          </ac:spMkLst>
        </pc:spChg>
        <pc:spChg chg="mod">
          <ac:chgData name="Thomas Langenickel" userId="S::thl@gubra.dk::3837518f-f834-4cdc-a9ef-a6f8b3d3882f" providerId="AD" clId="Web-{95897095-A485-CE81-BA8F-CE8343FDD79E}" dt="2026-05-01T07:07:41.907" v="74" actId="14100"/>
          <ac:spMkLst>
            <pc:docMk/>
            <pc:sldMk cId="4136824861" sldId="2147480507"/>
            <ac:spMk id="21" creationId="{DC1779C9-EBCE-A6DB-6CE1-97E15E46CBE5}"/>
          </ac:spMkLst>
        </pc:spChg>
        <pc:spChg chg="mod">
          <ac:chgData name="Thomas Langenickel" userId="S::thl@gubra.dk::3837518f-f834-4cdc-a9ef-a6f8b3d3882f" providerId="AD" clId="Web-{95897095-A485-CE81-BA8F-CE8343FDD79E}" dt="2026-05-01T07:46:51.770" v="76" actId="20577"/>
          <ac:spMkLst>
            <pc:docMk/>
            <pc:sldMk cId="4136824861" sldId="2147480507"/>
            <ac:spMk id="25" creationId="{1014075A-E8BE-B7F1-8742-FEE2E903ACE1}"/>
          </ac:spMkLst>
        </pc:spChg>
      </pc:sldChg>
      <pc:sldChg chg="modSp">
        <pc:chgData name="Thomas Langenickel" userId="S::thl@gubra.dk::3837518f-f834-4cdc-a9ef-a6f8b3d3882f" providerId="AD" clId="Web-{95897095-A485-CE81-BA8F-CE8343FDD79E}" dt="2026-05-01T07:50:05.373" v="162" actId="20577"/>
        <pc:sldMkLst>
          <pc:docMk/>
          <pc:sldMk cId="388824945" sldId="2147483161"/>
        </pc:sldMkLst>
        <pc:spChg chg="mod">
          <ac:chgData name="Thomas Langenickel" userId="S::thl@gubra.dk::3837518f-f834-4cdc-a9ef-a6f8b3d3882f" providerId="AD" clId="Web-{95897095-A485-CE81-BA8F-CE8343FDD79E}" dt="2026-05-01T07:50:05.373" v="162" actId="20577"/>
          <ac:spMkLst>
            <pc:docMk/>
            <pc:sldMk cId="388824945" sldId="2147483161"/>
            <ac:spMk id="12" creationId="{753BF29B-11FC-36C2-E704-98E6806F08BD}"/>
          </ac:spMkLst>
        </pc:spChg>
        <pc:spChg chg="mod">
          <ac:chgData name="Thomas Langenickel" userId="S::thl@gubra.dk::3837518f-f834-4cdc-a9ef-a6f8b3d3882f" providerId="AD" clId="Web-{95897095-A485-CE81-BA8F-CE8343FDD79E}" dt="2026-05-01T07:47:29.692" v="77" actId="20577"/>
          <ac:spMkLst>
            <pc:docMk/>
            <pc:sldMk cId="388824945" sldId="2147483161"/>
            <ac:spMk id="85" creationId="{ECF170A0-1081-7343-F4DD-1DB0C05EA1CC}"/>
          </ac:spMkLst>
        </pc:spChg>
        <pc:spChg chg="mod">
          <ac:chgData name="Thomas Langenickel" userId="S::thl@gubra.dk::3837518f-f834-4cdc-a9ef-a6f8b3d3882f" providerId="AD" clId="Web-{95897095-A485-CE81-BA8F-CE8343FDD79E}" dt="2026-05-01T07:48:59.866" v="96" actId="20577"/>
          <ac:spMkLst>
            <pc:docMk/>
            <pc:sldMk cId="388824945" sldId="2147483161"/>
            <ac:spMk id="86" creationId="{99CD4509-1A86-12CB-9D5B-6D0C1D24CC33}"/>
          </ac:spMkLst>
        </pc:spChg>
      </pc:sldChg>
    </pc:docChg>
  </pc:docChgLst>
  <pc:docChgLst>
    <pc:chgData name="Kristian Borbos" userId="32119168-97e2-41a5-b81e-a848780aceb7" providerId="ADAL" clId="{08717C1C-7A6B-44AE-BD56-DEB2CD4972EF}"/>
    <pc:docChg chg="undo custSel addSld delSld modSld modSection">
      <pc:chgData name="Kristian Borbos" userId="32119168-97e2-41a5-b81e-a848780aceb7" providerId="ADAL" clId="{08717C1C-7A6B-44AE-BD56-DEB2CD4972EF}" dt="2026-05-11T12:48:43.072" v="2662"/>
      <pc:docMkLst>
        <pc:docMk/>
      </pc:docMkLst>
      <pc:sldChg chg="modSp mod">
        <pc:chgData name="Kristian Borbos" userId="32119168-97e2-41a5-b81e-a848780aceb7" providerId="ADAL" clId="{08717C1C-7A6B-44AE-BD56-DEB2CD4972EF}" dt="2026-05-06T05:23:28.142" v="2655" actId="20577"/>
        <pc:sldMkLst>
          <pc:docMk/>
          <pc:sldMk cId="3464729411" sldId="314"/>
        </pc:sldMkLst>
        <pc:graphicFrameChg chg="mod modGraphic">
          <ac:chgData name="Kristian Borbos" userId="32119168-97e2-41a5-b81e-a848780aceb7" providerId="ADAL" clId="{08717C1C-7A6B-44AE-BD56-DEB2CD4972EF}" dt="2026-05-06T05:23:28.142" v="2655" actId="20577"/>
          <ac:graphicFrameMkLst>
            <pc:docMk/>
            <pc:sldMk cId="3464729411" sldId="314"/>
            <ac:graphicFrameMk id="6" creationId="{1C284BE7-FF0F-B65F-4AC1-621CEFA93371}"/>
          </ac:graphicFrameMkLst>
        </pc:graphicFrameChg>
        <pc:cxnChg chg="mod">
          <ac:chgData name="Kristian Borbos" userId="32119168-97e2-41a5-b81e-a848780aceb7" providerId="ADAL" clId="{08717C1C-7A6B-44AE-BD56-DEB2CD4972EF}" dt="2026-04-29T06:09:26.219" v="1068" actId="1035"/>
          <ac:cxnSpMkLst>
            <pc:docMk/>
            <pc:sldMk cId="3464729411" sldId="314"/>
            <ac:cxnSpMk id="7" creationId="{3810A9AC-EB92-71C0-4441-A568B3082430}"/>
          </ac:cxnSpMkLst>
        </pc:cxnChg>
      </pc:sldChg>
      <pc:sldChg chg="addSp modSp mod">
        <pc:chgData name="Kristian Borbos" userId="32119168-97e2-41a5-b81e-a848780aceb7" providerId="ADAL" clId="{08717C1C-7A6B-44AE-BD56-DEB2CD4972EF}" dt="2026-04-21T06:18:46.441" v="438" actId="1076"/>
        <pc:sldMkLst>
          <pc:docMk/>
          <pc:sldMk cId="4136824861" sldId="2147480507"/>
        </pc:sldMkLst>
      </pc:sldChg>
      <pc:sldChg chg="addSp delSp modSp mod">
        <pc:chgData name="Kristian Borbos" userId="32119168-97e2-41a5-b81e-a848780aceb7" providerId="ADAL" clId="{08717C1C-7A6B-44AE-BD56-DEB2CD4972EF}" dt="2026-04-21T06:18:20.432" v="401" actId="478"/>
        <pc:sldMkLst>
          <pc:docMk/>
          <pc:sldMk cId="870120286" sldId="2147480543"/>
        </pc:sldMkLst>
      </pc:sldChg>
      <pc:sldChg chg="modSp mod">
        <pc:chgData name="Kristian Borbos" userId="32119168-97e2-41a5-b81e-a848780aceb7" providerId="ADAL" clId="{08717C1C-7A6B-44AE-BD56-DEB2CD4972EF}" dt="2026-04-21T06:13:29.872" v="131" actId="1038"/>
        <pc:sldMkLst>
          <pc:docMk/>
          <pc:sldMk cId="4005249513" sldId="2147480565"/>
        </pc:sldMkLst>
        <pc:spChg chg="mod">
          <ac:chgData name="Kristian Borbos" userId="32119168-97e2-41a5-b81e-a848780aceb7" providerId="ADAL" clId="{08717C1C-7A6B-44AE-BD56-DEB2CD4972EF}" dt="2026-04-21T06:13:29.872" v="131" actId="1038"/>
          <ac:spMkLst>
            <pc:docMk/>
            <pc:sldMk cId="4005249513" sldId="2147480565"/>
            <ac:spMk id="56" creationId="{A7F52563-5E03-F8CD-1430-BA50CDF78CB7}"/>
          </ac:spMkLst>
        </pc:spChg>
        <pc:spChg chg="mod">
          <ac:chgData name="Kristian Borbos" userId="32119168-97e2-41a5-b81e-a848780aceb7" providerId="ADAL" clId="{08717C1C-7A6B-44AE-BD56-DEB2CD4972EF}" dt="2026-04-21T06:12:53.252" v="106" actId="6549"/>
          <ac:spMkLst>
            <pc:docMk/>
            <pc:sldMk cId="4005249513" sldId="2147480565"/>
            <ac:spMk id="57" creationId="{642C2DEF-D802-B05B-E579-474A90501EEF}"/>
          </ac:spMkLst>
        </pc:spChg>
      </pc:sldChg>
      <pc:sldChg chg="modSp add mod">
        <pc:chgData name="Kristian Borbos" userId="32119168-97e2-41a5-b81e-a848780aceb7" providerId="ADAL" clId="{08717C1C-7A6B-44AE-BD56-DEB2CD4972EF}" dt="2026-05-11T12:48:32.198" v="2660" actId="20577"/>
        <pc:sldMkLst>
          <pc:docMk/>
          <pc:sldMk cId="3052490303" sldId="2147480573"/>
        </pc:sldMkLst>
        <pc:spChg chg="mod">
          <ac:chgData name="Kristian Borbos" userId="32119168-97e2-41a5-b81e-a848780aceb7" providerId="ADAL" clId="{08717C1C-7A6B-44AE-BD56-DEB2CD4972EF}" dt="2026-05-11T12:48:32.198" v="2660" actId="20577"/>
          <ac:spMkLst>
            <pc:docMk/>
            <pc:sldMk cId="3052490303" sldId="2147480573"/>
            <ac:spMk id="34" creationId="{696CE429-F874-A319-1BFE-F861C5A422F8}"/>
          </ac:spMkLst>
        </pc:spChg>
      </pc:sldChg>
      <pc:sldChg chg="add">
        <pc:chgData name="Kristian Borbos" userId="32119168-97e2-41a5-b81e-a848780aceb7" providerId="ADAL" clId="{08717C1C-7A6B-44AE-BD56-DEB2CD4972EF}" dt="2026-05-11T12:48:43.072" v="2662"/>
        <pc:sldMkLst>
          <pc:docMk/>
          <pc:sldMk cId="324392086" sldId="2147480576"/>
        </pc:sldMkLst>
      </pc:sldChg>
      <pc:sldChg chg="addSp delSp modSp mod">
        <pc:chgData name="Kristian Borbos" userId="32119168-97e2-41a5-b81e-a848780aceb7" providerId="ADAL" clId="{08717C1C-7A6B-44AE-BD56-DEB2CD4972EF}" dt="2026-04-30T11:44:39.421" v="2621"/>
        <pc:sldMkLst>
          <pc:docMk/>
          <pc:sldMk cId="897948195" sldId="2147480603"/>
        </pc:sldMkLst>
        <pc:spChg chg="mod ord">
          <ac:chgData name="Kristian Borbos" userId="32119168-97e2-41a5-b81e-a848780aceb7" providerId="ADAL" clId="{08717C1C-7A6B-44AE-BD56-DEB2CD4972EF}" dt="2026-04-30T11:44:39.416" v="2605"/>
          <ac:spMkLst>
            <pc:docMk/>
            <pc:sldMk cId="897948195" sldId="2147480603"/>
            <ac:spMk id="3" creationId="{8F8208C6-CC8E-0B0A-B949-1B5F7C8D8C8F}"/>
          </ac:spMkLst>
        </pc:spChg>
        <pc:spChg chg="mod ord">
          <ac:chgData name="Kristian Borbos" userId="32119168-97e2-41a5-b81e-a848780aceb7" providerId="ADAL" clId="{08717C1C-7A6B-44AE-BD56-DEB2CD4972EF}" dt="2026-04-30T11:44:39.417" v="2607"/>
          <ac:spMkLst>
            <pc:docMk/>
            <pc:sldMk cId="897948195" sldId="2147480603"/>
            <ac:spMk id="5" creationId="{1394017C-430B-9A8C-98F0-4AC713EFEAAB}"/>
          </ac:spMkLst>
        </pc:spChg>
        <pc:spChg chg="add mod ord">
          <ac:chgData name="Kristian Borbos" userId="32119168-97e2-41a5-b81e-a848780aceb7" providerId="ADAL" clId="{08717C1C-7A6B-44AE-BD56-DEB2CD4972EF}" dt="2026-04-30T11:44:39.420" v="2619"/>
          <ac:spMkLst>
            <pc:docMk/>
            <pc:sldMk cId="897948195" sldId="2147480603"/>
            <ac:spMk id="24" creationId="{91393A6E-6343-C272-B55D-1BEA5E6F7AE1}"/>
          </ac:spMkLst>
        </pc:spChg>
        <pc:spChg chg="mod ord">
          <ac:chgData name="Kristian Borbos" userId="32119168-97e2-41a5-b81e-a848780aceb7" providerId="ADAL" clId="{08717C1C-7A6B-44AE-BD56-DEB2CD4972EF}" dt="2026-04-30T11:44:39.416" v="2603"/>
          <ac:spMkLst>
            <pc:docMk/>
            <pc:sldMk cId="897948195" sldId="2147480603"/>
            <ac:spMk id="33" creationId="{2B0FF6F6-5962-72F8-E93C-C60E3B8E0245}"/>
          </ac:spMkLst>
        </pc:spChg>
        <pc:spChg chg="mod ord">
          <ac:chgData name="Kristian Borbos" userId="32119168-97e2-41a5-b81e-a848780aceb7" providerId="ADAL" clId="{08717C1C-7A6B-44AE-BD56-DEB2CD4972EF}" dt="2026-04-30T11:44:39.414" v="2597"/>
          <ac:spMkLst>
            <pc:docMk/>
            <pc:sldMk cId="897948195" sldId="2147480603"/>
            <ac:spMk id="44" creationId="{29095EDB-D4D5-9855-8705-80DB151F9B20}"/>
          </ac:spMkLst>
        </pc:spChg>
        <pc:spChg chg="mod">
          <ac:chgData name="Kristian Borbos" userId="32119168-97e2-41a5-b81e-a848780aceb7" providerId="ADAL" clId="{08717C1C-7A6B-44AE-BD56-DEB2CD4972EF}" dt="2026-04-30T11:44:39.418" v="2611"/>
          <ac:spMkLst>
            <pc:docMk/>
            <pc:sldMk cId="897948195" sldId="2147480603"/>
            <ac:spMk id="69" creationId="{D584FDD3-7FD9-F842-B3E0-D699893DCE15}"/>
          </ac:spMkLst>
        </pc:spChg>
        <pc:spChg chg="mod">
          <ac:chgData name="Kristian Borbos" userId="32119168-97e2-41a5-b81e-a848780aceb7" providerId="ADAL" clId="{08717C1C-7A6B-44AE-BD56-DEB2CD4972EF}" dt="2026-04-30T11:44:39.418" v="2612"/>
          <ac:spMkLst>
            <pc:docMk/>
            <pc:sldMk cId="897948195" sldId="2147480603"/>
            <ac:spMk id="71" creationId="{6DCAC414-1E84-C679-FB60-03E9AF903AFA}"/>
          </ac:spMkLst>
        </pc:spChg>
        <pc:spChg chg="mod">
          <ac:chgData name="Kristian Borbos" userId="32119168-97e2-41a5-b81e-a848780aceb7" providerId="ADAL" clId="{08717C1C-7A6B-44AE-BD56-DEB2CD4972EF}" dt="2026-04-30T11:44:39.417" v="2610"/>
          <ac:spMkLst>
            <pc:docMk/>
            <pc:sldMk cId="897948195" sldId="2147480603"/>
            <ac:spMk id="80" creationId="{7A53166E-8443-D792-7A9B-DD42528D40FB}"/>
          </ac:spMkLst>
        </pc:spChg>
        <pc:spChg chg="mod">
          <ac:chgData name="Kristian Borbos" userId="32119168-97e2-41a5-b81e-a848780aceb7" providerId="ADAL" clId="{08717C1C-7A6B-44AE-BD56-DEB2CD4972EF}" dt="2026-04-30T11:44:39.419" v="2615"/>
          <ac:spMkLst>
            <pc:docMk/>
            <pc:sldMk cId="897948195" sldId="2147480603"/>
            <ac:spMk id="100" creationId="{B356AD94-BFA6-A41C-DE16-38E63C79E847}"/>
          </ac:spMkLst>
        </pc:spChg>
        <pc:spChg chg="mod">
          <ac:chgData name="Kristian Borbos" userId="32119168-97e2-41a5-b81e-a848780aceb7" providerId="ADAL" clId="{08717C1C-7A6B-44AE-BD56-DEB2CD4972EF}" dt="2026-04-30T11:44:39.419" v="2616"/>
          <ac:spMkLst>
            <pc:docMk/>
            <pc:sldMk cId="897948195" sldId="2147480603"/>
            <ac:spMk id="101" creationId="{152BAE0A-8C47-1F82-E7C7-805BE08F2530}"/>
          </ac:spMkLst>
        </pc:spChg>
        <pc:spChg chg="mod">
          <ac:chgData name="Kristian Borbos" userId="32119168-97e2-41a5-b81e-a848780aceb7" providerId="ADAL" clId="{08717C1C-7A6B-44AE-BD56-DEB2CD4972EF}" dt="2026-04-30T11:44:39.420" v="2617"/>
          <ac:spMkLst>
            <pc:docMk/>
            <pc:sldMk cId="897948195" sldId="2147480603"/>
            <ac:spMk id="102" creationId="{31EBB166-38C4-57E1-EDD7-42B6082BCC5A}"/>
          </ac:spMkLst>
        </pc:spChg>
        <pc:spChg chg="mod ord">
          <ac:chgData name="Kristian Borbos" userId="32119168-97e2-41a5-b81e-a848780aceb7" providerId="ADAL" clId="{08717C1C-7A6B-44AE-BD56-DEB2CD4972EF}" dt="2026-04-30T11:44:39.415" v="2599"/>
          <ac:spMkLst>
            <pc:docMk/>
            <pc:sldMk cId="897948195" sldId="2147480603"/>
            <ac:spMk id="113" creationId="{C653BA74-88BD-3E81-AC53-2FA291E043AA}"/>
          </ac:spMkLst>
        </pc:spChg>
        <pc:graphicFrameChg chg="mod">
          <ac:chgData name="Kristian Borbos" userId="32119168-97e2-41a5-b81e-a848780aceb7" providerId="ADAL" clId="{08717C1C-7A6B-44AE-BD56-DEB2CD4972EF}" dt="2026-04-30T11:44:39.421" v="2621"/>
          <ac:graphicFrameMkLst>
            <pc:docMk/>
            <pc:sldMk cId="897948195" sldId="2147480603"/>
            <ac:graphicFrameMk id="6" creationId="{39677B80-83CB-34D1-83D1-56BC1A9B61F1}"/>
          </ac:graphicFrameMkLst>
        </pc:graphicFrameChg>
        <pc:graphicFrameChg chg="add mod ord">
          <ac:chgData name="Kristian Borbos" userId="32119168-97e2-41a5-b81e-a848780aceb7" providerId="ADAL" clId="{08717C1C-7A6B-44AE-BD56-DEB2CD4972EF}" dt="2026-04-30T11:44:39.419" v="2614"/>
          <ac:graphicFrameMkLst>
            <pc:docMk/>
            <pc:sldMk cId="897948195" sldId="2147480603"/>
            <ac:graphicFrameMk id="25" creationId="{5FC83D53-BF45-CC57-637C-73F930163F92}"/>
          </ac:graphicFrameMkLst>
        </pc:graphicFrameChg>
        <pc:graphicFrameChg chg="add mod ord">
          <ac:chgData name="Kristian Borbos" userId="32119168-97e2-41a5-b81e-a848780aceb7" providerId="ADAL" clId="{08717C1C-7A6B-44AE-BD56-DEB2CD4972EF}" dt="2026-04-30T11:44:39.417" v="2609"/>
          <ac:graphicFrameMkLst>
            <pc:docMk/>
            <pc:sldMk cId="897948195" sldId="2147480603"/>
            <ac:graphicFrameMk id="26" creationId="{3760C982-C7FE-AE78-6EBB-AE0B6D9BB194}"/>
          </ac:graphicFrameMkLst>
        </pc:graphicFrameChg>
        <pc:cxnChg chg="mod ord">
          <ac:chgData name="Kristian Borbos" userId="32119168-97e2-41a5-b81e-a848780aceb7" providerId="ADAL" clId="{08717C1C-7A6B-44AE-BD56-DEB2CD4972EF}" dt="2026-04-30T11:44:39.415" v="2601"/>
          <ac:cxnSpMkLst>
            <pc:docMk/>
            <pc:sldMk cId="897948195" sldId="2147480603"/>
            <ac:cxnSpMk id="32" creationId="{6E32BC96-7BE6-BC1E-F86A-690C884AE2B8}"/>
          </ac:cxnSpMkLst>
        </pc:cxnChg>
      </pc:sldChg>
      <pc:sldChg chg="modSp mod">
        <pc:chgData name="Kristian Borbos" userId="32119168-97e2-41a5-b81e-a848780aceb7" providerId="ADAL" clId="{08717C1C-7A6B-44AE-BD56-DEB2CD4972EF}" dt="2026-05-01T12:47:47.194" v="2629" actId="108"/>
        <pc:sldMkLst>
          <pc:docMk/>
          <pc:sldMk cId="2324525722" sldId="2147480607"/>
        </pc:sldMkLst>
        <pc:spChg chg="mod">
          <ac:chgData name="Kristian Borbos" userId="32119168-97e2-41a5-b81e-a848780aceb7" providerId="ADAL" clId="{08717C1C-7A6B-44AE-BD56-DEB2CD4972EF}" dt="2026-05-01T12:47:33.553" v="2628" actId="20577"/>
          <ac:spMkLst>
            <pc:docMk/>
            <pc:sldMk cId="2324525722" sldId="2147480607"/>
            <ac:spMk id="12" creationId="{294A3207-C224-0335-1CC7-855446A7EA00}"/>
          </ac:spMkLst>
        </pc:spChg>
        <pc:spChg chg="mod">
          <ac:chgData name="Kristian Borbos" userId="32119168-97e2-41a5-b81e-a848780aceb7" providerId="ADAL" clId="{08717C1C-7A6B-44AE-BD56-DEB2CD4972EF}" dt="2026-05-01T12:47:47.194" v="2629" actId="108"/>
          <ac:spMkLst>
            <pc:docMk/>
            <pc:sldMk cId="2324525722" sldId="2147480607"/>
            <ac:spMk id="28" creationId="{3CC8E465-C39E-6D24-3649-CE3F1594BC0C}"/>
          </ac:spMkLst>
        </pc:spChg>
      </pc:sldChg>
      <pc:sldChg chg="addSp delSp modSp mod">
        <pc:chgData name="Kristian Borbos" userId="32119168-97e2-41a5-b81e-a848780aceb7" providerId="ADAL" clId="{08717C1C-7A6B-44AE-BD56-DEB2CD4972EF}" dt="2026-04-30T11:44:29.331" v="2552" actId="1036"/>
        <pc:sldMkLst>
          <pc:docMk/>
          <pc:sldMk cId="1638789848" sldId="2147480634"/>
        </pc:sldMkLst>
        <pc:spChg chg="mod ord">
          <ac:chgData name="Kristian Borbos" userId="32119168-97e2-41a5-b81e-a848780aceb7" providerId="ADAL" clId="{08717C1C-7A6B-44AE-BD56-DEB2CD4972EF}" dt="2026-04-30T11:44:29.331" v="2552" actId="1036"/>
          <ac:spMkLst>
            <pc:docMk/>
            <pc:sldMk cId="1638789848" sldId="2147480634"/>
            <ac:spMk id="2" creationId="{6275D87A-AA13-EC49-86D4-D3A5F40381C7}"/>
          </ac:spMkLst>
        </pc:spChg>
        <pc:spChg chg="mod ord">
          <ac:chgData name="Kristian Borbos" userId="32119168-97e2-41a5-b81e-a848780aceb7" providerId="ADAL" clId="{08717C1C-7A6B-44AE-BD56-DEB2CD4972EF}" dt="2026-04-30T11:43:40.237" v="2542" actId="1036"/>
          <ac:spMkLst>
            <pc:docMk/>
            <pc:sldMk cId="1638789848" sldId="2147480634"/>
            <ac:spMk id="22" creationId="{0E2BEF77-B25A-CCC0-9653-227F9C19D3B3}"/>
          </ac:spMkLst>
        </pc:spChg>
        <pc:spChg chg="mod ord">
          <ac:chgData name="Kristian Borbos" userId="32119168-97e2-41a5-b81e-a848780aceb7" providerId="ADAL" clId="{08717C1C-7A6B-44AE-BD56-DEB2CD4972EF}" dt="2026-04-30T11:43:34.224" v="2511"/>
          <ac:spMkLst>
            <pc:docMk/>
            <pc:sldMk cId="1638789848" sldId="2147480634"/>
            <ac:spMk id="33" creationId="{6F3EC2FF-6062-214B-CB3F-3985DE26EF04}"/>
          </ac:spMkLst>
        </pc:spChg>
        <pc:spChg chg="mod ord">
          <ac:chgData name="Kristian Borbos" userId="32119168-97e2-41a5-b81e-a848780aceb7" providerId="ADAL" clId="{08717C1C-7A6B-44AE-BD56-DEB2CD4972EF}" dt="2026-04-30T11:43:34.224" v="2513"/>
          <ac:spMkLst>
            <pc:docMk/>
            <pc:sldMk cId="1638789848" sldId="2147480634"/>
            <ac:spMk id="36" creationId="{724FF736-F10F-44CA-1214-CDB2A926741C}"/>
          </ac:spMkLst>
        </pc:spChg>
        <pc:spChg chg="mod">
          <ac:chgData name="Kristian Borbos" userId="32119168-97e2-41a5-b81e-a848780aceb7" providerId="ADAL" clId="{08717C1C-7A6B-44AE-BD56-DEB2CD4972EF}" dt="2026-04-30T11:43:34.225" v="2516"/>
          <ac:spMkLst>
            <pc:docMk/>
            <pc:sldMk cId="1638789848" sldId="2147480634"/>
            <ac:spMk id="40" creationId="{E0D83910-A99B-21FC-1FB0-67E4E98BFA7E}"/>
          </ac:spMkLst>
        </pc:spChg>
        <pc:spChg chg="mod">
          <ac:chgData name="Kristian Borbos" userId="32119168-97e2-41a5-b81e-a848780aceb7" providerId="ADAL" clId="{08717C1C-7A6B-44AE-BD56-DEB2CD4972EF}" dt="2026-04-30T11:43:34.226" v="2517"/>
          <ac:spMkLst>
            <pc:docMk/>
            <pc:sldMk cId="1638789848" sldId="2147480634"/>
            <ac:spMk id="42" creationId="{F9EF8F43-A6E9-4ACE-9061-BB51EA828F63}"/>
          </ac:spMkLst>
        </pc:spChg>
        <pc:spChg chg="mod">
          <ac:chgData name="Kristian Borbos" userId="32119168-97e2-41a5-b81e-a848780aceb7" providerId="ADAL" clId="{08717C1C-7A6B-44AE-BD56-DEB2CD4972EF}" dt="2026-04-30T11:43:34.226" v="2518"/>
          <ac:spMkLst>
            <pc:docMk/>
            <pc:sldMk cId="1638789848" sldId="2147480634"/>
            <ac:spMk id="43" creationId="{9CF9108B-B639-1DFE-A33A-8D4732384B9B}"/>
          </ac:spMkLst>
        </pc:spChg>
        <pc:spChg chg="mod ord">
          <ac:chgData name="Kristian Borbos" userId="32119168-97e2-41a5-b81e-a848780aceb7" providerId="ADAL" clId="{08717C1C-7A6B-44AE-BD56-DEB2CD4972EF}" dt="2026-04-30T11:43:48.399" v="2543" actId="6549"/>
          <ac:spMkLst>
            <pc:docMk/>
            <pc:sldMk cId="1638789848" sldId="2147480634"/>
            <ac:spMk id="44" creationId="{28CD0050-DD6E-7095-6479-DC14491FEB02}"/>
          </ac:spMkLst>
        </pc:spChg>
        <pc:spChg chg="mod">
          <ac:chgData name="Kristian Borbos" userId="32119168-97e2-41a5-b81e-a848780aceb7" providerId="ADAL" clId="{08717C1C-7A6B-44AE-BD56-DEB2CD4972EF}" dt="2026-04-30T11:43:34.227" v="2521"/>
          <ac:spMkLst>
            <pc:docMk/>
            <pc:sldMk cId="1638789848" sldId="2147480634"/>
            <ac:spMk id="81" creationId="{6B73E345-7B0A-B542-9596-CB67CDB8AD4E}"/>
          </ac:spMkLst>
        </pc:spChg>
        <pc:spChg chg="mod">
          <ac:chgData name="Kristian Borbos" userId="32119168-97e2-41a5-b81e-a848780aceb7" providerId="ADAL" clId="{08717C1C-7A6B-44AE-BD56-DEB2CD4972EF}" dt="2026-04-30T11:43:34.227" v="2522"/>
          <ac:spMkLst>
            <pc:docMk/>
            <pc:sldMk cId="1638789848" sldId="2147480634"/>
            <ac:spMk id="83" creationId="{EA75E77E-105E-F26A-3C43-54B42FFCC2C9}"/>
          </ac:spMkLst>
        </pc:spChg>
        <pc:spChg chg="mod">
          <ac:chgData name="Kristian Borbos" userId="32119168-97e2-41a5-b81e-a848780aceb7" providerId="ADAL" clId="{08717C1C-7A6B-44AE-BD56-DEB2CD4972EF}" dt="2026-04-30T11:43:34.227" v="2523"/>
          <ac:spMkLst>
            <pc:docMk/>
            <pc:sldMk cId="1638789848" sldId="2147480634"/>
            <ac:spMk id="84" creationId="{1FAC780E-49B0-356D-8CAE-5631E5FFC85B}"/>
          </ac:spMkLst>
        </pc:spChg>
        <pc:spChg chg="mod ord">
          <ac:chgData name="Kristian Borbos" userId="32119168-97e2-41a5-b81e-a848780aceb7" providerId="ADAL" clId="{08717C1C-7A6B-44AE-BD56-DEB2CD4972EF}" dt="2026-04-30T11:43:34.221" v="2501"/>
          <ac:spMkLst>
            <pc:docMk/>
            <pc:sldMk cId="1638789848" sldId="2147480634"/>
            <ac:spMk id="113" creationId="{C53B6E4B-89D2-EE0B-7630-9764467C8B5E}"/>
          </ac:spMkLst>
        </pc:spChg>
        <pc:spChg chg="mod">
          <ac:chgData name="Kristian Borbos" userId="32119168-97e2-41a5-b81e-a848780aceb7" providerId="ADAL" clId="{08717C1C-7A6B-44AE-BD56-DEB2CD4972EF}" dt="2026-04-30T11:43:34.228" v="2524"/>
          <ac:spMkLst>
            <pc:docMk/>
            <pc:sldMk cId="1638789848" sldId="2147480634"/>
            <ac:spMk id="122" creationId="{26125044-6D04-91CB-CCF1-35A428E7768B}"/>
          </ac:spMkLst>
        </pc:spChg>
        <pc:spChg chg="mod">
          <ac:chgData name="Kristian Borbos" userId="32119168-97e2-41a5-b81e-a848780aceb7" providerId="ADAL" clId="{08717C1C-7A6B-44AE-BD56-DEB2CD4972EF}" dt="2026-04-30T11:43:34.228" v="2525"/>
          <ac:spMkLst>
            <pc:docMk/>
            <pc:sldMk cId="1638789848" sldId="2147480634"/>
            <ac:spMk id="123" creationId="{9C1D0601-AD3F-04CE-E80F-A6EA2184F576}"/>
          </ac:spMkLst>
        </pc:spChg>
        <pc:spChg chg="mod">
          <ac:chgData name="Kristian Borbos" userId="32119168-97e2-41a5-b81e-a848780aceb7" providerId="ADAL" clId="{08717C1C-7A6B-44AE-BD56-DEB2CD4972EF}" dt="2026-04-30T11:43:34.228" v="2526"/>
          <ac:spMkLst>
            <pc:docMk/>
            <pc:sldMk cId="1638789848" sldId="2147480634"/>
            <ac:spMk id="124" creationId="{1BE3C585-6898-2EE5-8B0F-739BDA24EFDE}"/>
          </ac:spMkLst>
        </pc:spChg>
        <pc:spChg chg="mod ord">
          <ac:chgData name="Kristian Borbos" userId="32119168-97e2-41a5-b81e-a848780aceb7" providerId="ADAL" clId="{08717C1C-7A6B-44AE-BD56-DEB2CD4972EF}" dt="2026-04-30T11:43:40.237" v="2542" actId="1036"/>
          <ac:spMkLst>
            <pc:docMk/>
            <pc:sldMk cId="1638789848" sldId="2147480634"/>
            <ac:spMk id="131" creationId="{7BCBA4E9-B0B2-4A73-103B-32580FBF1102}"/>
          </ac:spMkLst>
        </pc:spChg>
        <pc:spChg chg="mod">
          <ac:chgData name="Kristian Borbos" userId="32119168-97e2-41a5-b81e-a848780aceb7" providerId="ADAL" clId="{08717C1C-7A6B-44AE-BD56-DEB2CD4972EF}" dt="2026-04-30T11:43:34.229" v="2530"/>
          <ac:spMkLst>
            <pc:docMk/>
            <pc:sldMk cId="1638789848" sldId="2147480634"/>
            <ac:spMk id="134" creationId="{69BB2267-7E7B-613A-2C15-DA0ADF24FA44}"/>
          </ac:spMkLst>
        </pc:spChg>
        <pc:spChg chg="mod">
          <ac:chgData name="Kristian Borbos" userId="32119168-97e2-41a5-b81e-a848780aceb7" providerId="ADAL" clId="{08717C1C-7A6B-44AE-BD56-DEB2CD4972EF}" dt="2026-04-30T11:43:34.229" v="2531"/>
          <ac:spMkLst>
            <pc:docMk/>
            <pc:sldMk cId="1638789848" sldId="2147480634"/>
            <ac:spMk id="135" creationId="{4E12ADD1-D6B3-5174-A55B-22E0703A18FE}"/>
          </ac:spMkLst>
        </pc:spChg>
        <pc:spChg chg="mod">
          <ac:chgData name="Kristian Borbos" userId="32119168-97e2-41a5-b81e-a848780aceb7" providerId="ADAL" clId="{08717C1C-7A6B-44AE-BD56-DEB2CD4972EF}" dt="2026-04-30T11:43:34.229" v="2529"/>
          <ac:spMkLst>
            <pc:docMk/>
            <pc:sldMk cId="1638789848" sldId="2147480634"/>
            <ac:spMk id="143" creationId="{2956E057-C3B4-2774-884B-80DAA815B0E4}"/>
          </ac:spMkLst>
        </pc:spChg>
        <pc:graphicFrameChg chg="add mod ord">
          <ac:chgData name="Kristian Borbos" userId="32119168-97e2-41a5-b81e-a848780aceb7" providerId="ADAL" clId="{08717C1C-7A6B-44AE-BD56-DEB2CD4972EF}" dt="2026-04-30T11:43:34.229" v="2528"/>
          <ac:graphicFrameMkLst>
            <pc:docMk/>
            <pc:sldMk cId="1638789848" sldId="2147480634"/>
            <ac:graphicFrameMk id="5" creationId="{AC382909-94E5-D4FC-48E0-E17E26BCC1FE}"/>
          </ac:graphicFrameMkLst>
        </pc:graphicFrameChg>
        <pc:graphicFrameChg chg="mod">
          <ac:chgData name="Kristian Borbos" userId="32119168-97e2-41a5-b81e-a848780aceb7" providerId="ADAL" clId="{08717C1C-7A6B-44AE-BD56-DEB2CD4972EF}" dt="2026-04-30T11:43:34.231" v="2533"/>
          <ac:graphicFrameMkLst>
            <pc:docMk/>
            <pc:sldMk cId="1638789848" sldId="2147480634"/>
            <ac:graphicFrameMk id="6" creationId="{DF6AA500-4EBC-79E6-918E-71E250BB32CD}"/>
          </ac:graphicFrameMkLst>
        </pc:graphicFrameChg>
        <pc:graphicFrameChg chg="add mod ord">
          <ac:chgData name="Kristian Borbos" userId="32119168-97e2-41a5-b81e-a848780aceb7" providerId="ADAL" clId="{08717C1C-7A6B-44AE-BD56-DEB2CD4972EF}" dt="2026-04-30T11:43:34.225" v="2515"/>
          <ac:graphicFrameMkLst>
            <pc:docMk/>
            <pc:sldMk cId="1638789848" sldId="2147480634"/>
            <ac:graphicFrameMk id="11" creationId="{AE0A6BB2-6084-3430-AB81-5A48F7F338E6}"/>
          </ac:graphicFrameMkLst>
        </pc:graphicFrameChg>
        <pc:graphicFrameChg chg="add mod ord">
          <ac:chgData name="Kristian Borbos" userId="32119168-97e2-41a5-b81e-a848780aceb7" providerId="ADAL" clId="{08717C1C-7A6B-44AE-BD56-DEB2CD4972EF}" dt="2026-04-30T11:43:34.226" v="2520"/>
          <ac:graphicFrameMkLst>
            <pc:docMk/>
            <pc:sldMk cId="1638789848" sldId="2147480634"/>
            <ac:graphicFrameMk id="12" creationId="{EFE20F8D-1EC9-5F89-A2E5-E1EA405977E1}"/>
          </ac:graphicFrameMkLst>
        </pc:graphicFrameChg>
        <pc:cxnChg chg="mod ord">
          <ac:chgData name="Kristian Borbos" userId="32119168-97e2-41a5-b81e-a848780aceb7" providerId="ADAL" clId="{08717C1C-7A6B-44AE-BD56-DEB2CD4972EF}" dt="2026-04-30T11:43:34.224" v="2509"/>
          <ac:cxnSpMkLst>
            <pc:docMk/>
            <pc:sldMk cId="1638789848" sldId="2147480634"/>
            <ac:cxnSpMk id="32" creationId="{0A15E45D-12EE-2F5C-AB84-A9CB8ADE2896}"/>
          </ac:cxnSpMkLst>
        </pc:cxnChg>
      </pc:sldChg>
    </pc:docChg>
  </pc:docChgLst>
  <pc:docChgLst>
    <pc:chgData name="Markus Rohrwild" userId="555ea8cb-6039-4cef-8f0f-c6029c48d663" providerId="ADAL" clId="{A026F4B2-E1F9-4F4E-8080-58322C159F11}"/>
    <pc:docChg chg="modSld">
      <pc:chgData name="Markus Rohrwild" userId="555ea8cb-6039-4cef-8f0f-c6029c48d663" providerId="ADAL" clId="{A026F4B2-E1F9-4F4E-8080-58322C159F11}" dt="2026-04-29T06:50:34.615" v="24" actId="20577"/>
      <pc:docMkLst>
        <pc:docMk/>
      </pc:docMkLst>
      <pc:sldChg chg="modSp mod">
        <pc:chgData name="Markus Rohrwild" userId="555ea8cb-6039-4cef-8f0f-c6029c48d663" providerId="ADAL" clId="{A026F4B2-E1F9-4F4E-8080-58322C159F11}" dt="2026-04-29T06:50:34.615" v="24" actId="20577"/>
        <pc:sldMkLst>
          <pc:docMk/>
          <pc:sldMk cId="2324525722" sldId="2147480607"/>
        </pc:sldMkLst>
        <pc:spChg chg="mod">
          <ac:chgData name="Markus Rohrwild" userId="555ea8cb-6039-4cef-8f0f-c6029c48d663" providerId="ADAL" clId="{A026F4B2-E1F9-4F4E-8080-58322C159F11}" dt="2026-04-28T14:46:12.933" v="16" actId="20577"/>
          <ac:spMkLst>
            <pc:docMk/>
            <pc:sldMk cId="2324525722" sldId="2147480607"/>
            <ac:spMk id="12" creationId="{294A3207-C224-0335-1CC7-855446A7EA00}"/>
          </ac:spMkLst>
        </pc:spChg>
        <pc:spChg chg="mod">
          <ac:chgData name="Markus Rohrwild" userId="555ea8cb-6039-4cef-8f0f-c6029c48d663" providerId="ADAL" clId="{A026F4B2-E1F9-4F4E-8080-58322C159F11}" dt="2026-04-28T14:45:15.270" v="3" actId="20577"/>
          <ac:spMkLst>
            <pc:docMk/>
            <pc:sldMk cId="2324525722" sldId="2147480607"/>
            <ac:spMk id="28" creationId="{3CC8E465-C39E-6D24-3649-CE3F1594BC0C}"/>
          </ac:spMkLst>
        </pc:spChg>
        <pc:spChg chg="mod">
          <ac:chgData name="Markus Rohrwild" userId="555ea8cb-6039-4cef-8f0f-c6029c48d663" providerId="ADAL" clId="{A026F4B2-E1F9-4F4E-8080-58322C159F11}" dt="2026-04-29T06:50:34.615" v="24" actId="20577"/>
          <ac:spMkLst>
            <pc:docMk/>
            <pc:sldMk cId="2324525722" sldId="2147480607"/>
            <ac:spMk id="456" creationId="{0D39F87B-6594-2A0F-8FB4-41DCA7C3749C}"/>
          </ac:spMkLst>
        </pc:spChg>
      </pc:sldChg>
    </pc:docChg>
  </pc:docChgLst>
  <pc:docChgLst>
    <pc:chgData name="Louise Munch Blicher" userId="9d12dafc-6951-4125-9e82-2684190d08ec" providerId="ADAL" clId="{A0CEFBB3-1CCC-5EBA-B4B6-9C012A781A03}"/>
    <pc:docChg chg="undo redo custSel addSld delSld modSld modSection">
      <pc:chgData name="Louise Munch Blicher" userId="9d12dafc-6951-4125-9e82-2684190d08ec" providerId="ADAL" clId="{A0CEFBB3-1CCC-5EBA-B4B6-9C012A781A03}" dt="2026-05-08T08:27:14.407" v="9895" actId="1076"/>
      <pc:docMkLst>
        <pc:docMk/>
      </pc:docMkLst>
      <pc:sldChg chg="addSp delSp modSp mod">
        <pc:chgData name="Louise Munch Blicher" userId="9d12dafc-6951-4125-9e82-2684190d08ec" providerId="ADAL" clId="{A0CEFBB3-1CCC-5EBA-B4B6-9C012A781A03}" dt="2026-04-29T12:08:40.707" v="8014" actId="207"/>
        <pc:sldMkLst>
          <pc:docMk/>
          <pc:sldMk cId="4136824861" sldId="2147480507"/>
        </pc:sldMkLst>
        <pc:spChg chg="mod">
          <ac:chgData name="Louise Munch Blicher" userId="9d12dafc-6951-4125-9e82-2684190d08ec" providerId="ADAL" clId="{A0CEFBB3-1CCC-5EBA-B4B6-9C012A781A03}" dt="2026-04-29T12:08:40.707" v="8014" actId="207"/>
          <ac:spMkLst>
            <pc:docMk/>
            <pc:sldMk cId="4136824861" sldId="2147480507"/>
            <ac:spMk id="4" creationId="{A95276D7-65EA-63B9-DD51-6CAC7AB4F408}"/>
          </ac:spMkLst>
        </pc:spChg>
        <pc:spChg chg="mod">
          <ac:chgData name="Louise Munch Blicher" userId="9d12dafc-6951-4125-9e82-2684190d08ec" providerId="ADAL" clId="{A0CEFBB3-1CCC-5EBA-B4B6-9C012A781A03}" dt="2026-04-24T09:10:33.217" v="2099" actId="1076"/>
          <ac:spMkLst>
            <pc:docMk/>
            <pc:sldMk cId="4136824861" sldId="2147480507"/>
            <ac:spMk id="9" creationId="{1CDD8004-C41A-801C-4D8A-ECA017D77D1C}"/>
          </ac:spMkLst>
        </pc:spChg>
        <pc:spChg chg="mod">
          <ac:chgData name="Louise Munch Blicher" userId="9d12dafc-6951-4125-9e82-2684190d08ec" providerId="ADAL" clId="{A0CEFBB3-1CCC-5EBA-B4B6-9C012A781A03}" dt="2026-04-29T07:15:45.686" v="7972" actId="207"/>
          <ac:spMkLst>
            <pc:docMk/>
            <pc:sldMk cId="4136824861" sldId="2147480507"/>
            <ac:spMk id="10" creationId="{4373B655-E4DE-6262-46B1-3F38764BECD5}"/>
          </ac:spMkLst>
        </pc:spChg>
        <pc:spChg chg="add mod">
          <ac:chgData name="Louise Munch Blicher" userId="9d12dafc-6951-4125-9e82-2684190d08ec" providerId="ADAL" clId="{A0CEFBB3-1CCC-5EBA-B4B6-9C012A781A03}" dt="2026-04-28T07:49:50.068" v="7292" actId="692"/>
          <ac:spMkLst>
            <pc:docMk/>
            <pc:sldMk cId="4136824861" sldId="2147480507"/>
            <ac:spMk id="15" creationId="{11A0DDBA-920E-F5A7-8053-4437B4BA5E06}"/>
          </ac:spMkLst>
        </pc:spChg>
        <pc:spChg chg="add mod">
          <ac:chgData name="Louise Munch Blicher" userId="9d12dafc-6951-4125-9e82-2684190d08ec" providerId="ADAL" clId="{A0CEFBB3-1CCC-5EBA-B4B6-9C012A781A03}" dt="2026-04-28T07:50:28.694" v="7298" actId="2711"/>
          <ac:spMkLst>
            <pc:docMk/>
            <pc:sldMk cId="4136824861" sldId="2147480507"/>
            <ac:spMk id="16" creationId="{2B420E78-D4E1-0CBB-A02C-81C80F723084}"/>
          </ac:spMkLst>
        </pc:spChg>
        <pc:spChg chg="mod">
          <ac:chgData name="Louise Munch Blicher" userId="9d12dafc-6951-4125-9e82-2684190d08ec" providerId="ADAL" clId="{A0CEFBB3-1CCC-5EBA-B4B6-9C012A781A03}" dt="2026-04-29T12:08:40.707" v="8014" actId="207"/>
          <ac:spMkLst>
            <pc:docMk/>
            <pc:sldMk cId="4136824861" sldId="2147480507"/>
            <ac:spMk id="35" creationId="{8E6A62D4-51F1-862D-08C3-418845E88341}"/>
          </ac:spMkLst>
        </pc:spChg>
        <pc:spChg chg="mod">
          <ac:chgData name="Louise Munch Blicher" userId="9d12dafc-6951-4125-9e82-2684190d08ec" providerId="ADAL" clId="{A0CEFBB3-1CCC-5EBA-B4B6-9C012A781A03}" dt="2026-04-29T12:08:40.707" v="8014" actId="207"/>
          <ac:spMkLst>
            <pc:docMk/>
            <pc:sldMk cId="4136824861" sldId="2147480507"/>
            <ac:spMk id="37" creationId="{2AF04EBD-24F9-A820-F1A9-98B3EAFAECD1}"/>
          </ac:spMkLst>
        </pc:spChg>
      </pc:sldChg>
      <pc:sldChg chg="addSp delSp modSp mod chgLayout">
        <pc:chgData name="Louise Munch Blicher" userId="9d12dafc-6951-4125-9e82-2684190d08ec" providerId="ADAL" clId="{A0CEFBB3-1CCC-5EBA-B4B6-9C012A781A03}" dt="2026-04-30T13:09:56.860" v="8072" actId="2711"/>
        <pc:sldMkLst>
          <pc:docMk/>
          <pc:sldMk cId="1379153476" sldId="2147480542"/>
        </pc:sldMkLst>
        <pc:spChg chg="mod ord">
          <ac:chgData name="Louise Munch Blicher" userId="9d12dafc-6951-4125-9e82-2684190d08ec" providerId="ADAL" clId="{A0CEFBB3-1CCC-5EBA-B4B6-9C012A781A03}" dt="2026-04-23T12:48:35.699" v="937" actId="207"/>
          <ac:spMkLst>
            <pc:docMk/>
            <pc:sldMk cId="1379153476" sldId="2147480542"/>
            <ac:spMk id="2" creationId="{782A0C28-C45F-42C7-177F-7FD42D0A5262}"/>
          </ac:spMkLst>
        </pc:spChg>
        <pc:spChg chg="mod">
          <ac:chgData name="Louise Munch Blicher" userId="9d12dafc-6951-4125-9e82-2684190d08ec" providerId="ADAL" clId="{A0CEFBB3-1CCC-5EBA-B4B6-9C012A781A03}" dt="2026-04-23T12:48:43.649" v="939" actId="207"/>
          <ac:spMkLst>
            <pc:docMk/>
            <pc:sldMk cId="1379153476" sldId="2147480542"/>
            <ac:spMk id="4" creationId="{F81A0737-E060-725F-FE1E-F098535A23A3}"/>
          </ac:spMkLst>
        </pc:spChg>
        <pc:spChg chg="add del mod">
          <ac:chgData name="Louise Munch Blicher" userId="9d12dafc-6951-4125-9e82-2684190d08ec" providerId="ADAL" clId="{A0CEFBB3-1CCC-5EBA-B4B6-9C012A781A03}" dt="2026-04-24T08:54:27.807" v="1922" actId="20577"/>
          <ac:spMkLst>
            <pc:docMk/>
            <pc:sldMk cId="1379153476" sldId="2147480542"/>
            <ac:spMk id="5" creationId="{EF8CF786-B847-2A96-6B78-EF04A29BDDEE}"/>
          </ac:spMkLst>
        </pc:spChg>
        <pc:spChg chg="mod">
          <ac:chgData name="Louise Munch Blicher" userId="9d12dafc-6951-4125-9e82-2684190d08ec" providerId="ADAL" clId="{A0CEFBB3-1CCC-5EBA-B4B6-9C012A781A03}" dt="2026-04-23T13:24:04.837" v="1435" actId="692"/>
          <ac:spMkLst>
            <pc:docMk/>
            <pc:sldMk cId="1379153476" sldId="2147480542"/>
            <ac:spMk id="7" creationId="{C3622F13-4594-79FF-D60D-B7B5A54F3D92}"/>
          </ac:spMkLst>
        </pc:spChg>
        <pc:spChg chg="mod">
          <ac:chgData name="Louise Munch Blicher" userId="9d12dafc-6951-4125-9e82-2684190d08ec" providerId="ADAL" clId="{A0CEFBB3-1CCC-5EBA-B4B6-9C012A781A03}" dt="2026-04-23T13:24:04.837" v="1435" actId="692"/>
          <ac:spMkLst>
            <pc:docMk/>
            <pc:sldMk cId="1379153476" sldId="2147480542"/>
            <ac:spMk id="8" creationId="{89901E4B-7E68-C1D4-47A2-3F139EFBE19D}"/>
          </ac:spMkLst>
        </pc:spChg>
        <pc:spChg chg="mod">
          <ac:chgData name="Louise Munch Blicher" userId="9d12dafc-6951-4125-9e82-2684190d08ec" providerId="ADAL" clId="{A0CEFBB3-1CCC-5EBA-B4B6-9C012A781A03}" dt="2026-04-23T13:24:04.837" v="1435" actId="692"/>
          <ac:spMkLst>
            <pc:docMk/>
            <pc:sldMk cId="1379153476" sldId="2147480542"/>
            <ac:spMk id="9" creationId="{91181572-F084-A87C-3327-366242CC29DA}"/>
          </ac:spMkLst>
        </pc:spChg>
        <pc:spChg chg="mod">
          <ac:chgData name="Louise Munch Blicher" userId="9d12dafc-6951-4125-9e82-2684190d08ec" providerId="ADAL" clId="{A0CEFBB3-1CCC-5EBA-B4B6-9C012A781A03}" dt="2026-04-23T13:24:04.837" v="1435" actId="692"/>
          <ac:spMkLst>
            <pc:docMk/>
            <pc:sldMk cId="1379153476" sldId="2147480542"/>
            <ac:spMk id="10" creationId="{1A5E354D-A73B-E643-620D-618B044400EC}"/>
          </ac:spMkLst>
        </pc:spChg>
        <pc:spChg chg="mod">
          <ac:chgData name="Louise Munch Blicher" userId="9d12dafc-6951-4125-9e82-2684190d08ec" providerId="ADAL" clId="{A0CEFBB3-1CCC-5EBA-B4B6-9C012A781A03}" dt="2026-04-30T13:09:56.860" v="8072" actId="2711"/>
          <ac:spMkLst>
            <pc:docMk/>
            <pc:sldMk cId="1379153476" sldId="2147480542"/>
            <ac:spMk id="11" creationId="{ACDFEB5C-3C12-6D85-6355-35207A13F794}"/>
          </ac:spMkLst>
        </pc:spChg>
        <pc:spChg chg="mod">
          <ac:chgData name="Louise Munch Blicher" userId="9d12dafc-6951-4125-9e82-2684190d08ec" providerId="ADAL" clId="{A0CEFBB3-1CCC-5EBA-B4B6-9C012A781A03}" dt="2026-04-23T19:37:45.630" v="1485" actId="692"/>
          <ac:spMkLst>
            <pc:docMk/>
            <pc:sldMk cId="1379153476" sldId="2147480542"/>
            <ac:spMk id="15" creationId="{671B01A2-22E3-B40A-FF95-EE0BD8CD0FCC}"/>
          </ac:spMkLst>
        </pc:spChg>
        <pc:spChg chg="add del mod topLvl">
          <ac:chgData name="Louise Munch Blicher" userId="9d12dafc-6951-4125-9e82-2684190d08ec" providerId="ADAL" clId="{A0CEFBB3-1CCC-5EBA-B4B6-9C012A781A03}" dt="2026-04-24T08:53:46.984" v="1907" actId="1076"/>
          <ac:spMkLst>
            <pc:docMk/>
            <pc:sldMk cId="1379153476" sldId="2147480542"/>
            <ac:spMk id="18" creationId="{D31C988C-4A7F-E44B-01AD-5FD40128FF11}"/>
          </ac:spMkLst>
        </pc:spChg>
        <pc:spChg chg="mod topLvl">
          <ac:chgData name="Louise Munch Blicher" userId="9d12dafc-6951-4125-9e82-2684190d08ec" providerId="ADAL" clId="{A0CEFBB3-1CCC-5EBA-B4B6-9C012A781A03}" dt="2026-04-24T08:53:32.517" v="1902" actId="478"/>
          <ac:spMkLst>
            <pc:docMk/>
            <pc:sldMk cId="1379153476" sldId="2147480542"/>
            <ac:spMk id="21" creationId="{62B01730-DD7A-4C5E-9209-2C7CA9EBC29A}"/>
          </ac:spMkLst>
        </pc:spChg>
        <pc:cxnChg chg="add del mod">
          <ac:chgData name="Louise Munch Blicher" userId="9d12dafc-6951-4125-9e82-2684190d08ec" providerId="ADAL" clId="{A0CEFBB3-1CCC-5EBA-B4B6-9C012A781A03}" dt="2026-04-24T08:53:56.612" v="1911" actId="21"/>
          <ac:cxnSpMkLst>
            <pc:docMk/>
            <pc:sldMk cId="1379153476" sldId="2147480542"/>
            <ac:cxnSpMk id="6" creationId="{0B151CE2-A674-CF14-FCC9-78EC565534F3}"/>
          </ac:cxnSpMkLst>
        </pc:cxnChg>
        <pc:cxnChg chg="add mod">
          <ac:chgData name="Louise Munch Blicher" userId="9d12dafc-6951-4125-9e82-2684190d08ec" providerId="ADAL" clId="{A0CEFBB3-1CCC-5EBA-B4B6-9C012A781A03}" dt="2026-04-24T08:54:08.868" v="1917" actId="1037"/>
          <ac:cxnSpMkLst>
            <pc:docMk/>
            <pc:sldMk cId="1379153476" sldId="2147480542"/>
            <ac:cxnSpMk id="17" creationId="{AD340E97-13DA-AF8A-FF5C-F462279599D7}"/>
          </ac:cxnSpMkLst>
        </pc:cxnChg>
      </pc:sldChg>
      <pc:sldChg chg="modSp mod">
        <pc:chgData name="Louise Munch Blicher" userId="9d12dafc-6951-4125-9e82-2684190d08ec" providerId="ADAL" clId="{A0CEFBB3-1CCC-5EBA-B4B6-9C012A781A03}" dt="2026-04-23T12:26:53.737" v="47" actId="114"/>
        <pc:sldMkLst>
          <pc:docMk/>
          <pc:sldMk cId="4005249513" sldId="2147480565"/>
        </pc:sldMkLst>
        <pc:spChg chg="mod">
          <ac:chgData name="Louise Munch Blicher" userId="9d12dafc-6951-4125-9e82-2684190d08ec" providerId="ADAL" clId="{A0CEFBB3-1CCC-5EBA-B4B6-9C012A781A03}" dt="2026-04-23T12:26:53.737" v="47" actId="114"/>
          <ac:spMkLst>
            <pc:docMk/>
            <pc:sldMk cId="4005249513" sldId="2147480565"/>
            <ac:spMk id="105" creationId="{47F53F97-85A7-4D70-843A-9AF3AD852ECC}"/>
          </ac:spMkLst>
        </pc:spChg>
      </pc:sldChg>
      <pc:sldChg chg="addSp delSp modSp mod">
        <pc:chgData name="Louise Munch Blicher" userId="9d12dafc-6951-4125-9e82-2684190d08ec" providerId="ADAL" clId="{A0CEFBB3-1CCC-5EBA-B4B6-9C012A781A03}" dt="2026-04-23T13:19:12.924" v="1218" actId="21"/>
        <pc:sldMkLst>
          <pc:docMk/>
          <pc:sldMk cId="3692807138" sldId="2147480584"/>
        </pc:sldMkLst>
      </pc:sldChg>
      <pc:sldChg chg="modSp mod">
        <pc:chgData name="Louise Munch Blicher" userId="9d12dafc-6951-4125-9e82-2684190d08ec" providerId="ADAL" clId="{A0CEFBB3-1CCC-5EBA-B4B6-9C012A781A03}" dt="2026-05-01T06:30:28.734" v="9887" actId="20577"/>
        <pc:sldMkLst>
          <pc:docMk/>
          <pc:sldMk cId="897948195" sldId="2147480603"/>
        </pc:sldMkLst>
        <pc:spChg chg="mod">
          <ac:chgData name="Louise Munch Blicher" userId="9d12dafc-6951-4125-9e82-2684190d08ec" providerId="ADAL" clId="{A0CEFBB3-1CCC-5EBA-B4B6-9C012A781A03}" dt="2026-05-01T06:30:28.734" v="9887" actId="20577"/>
          <ac:spMkLst>
            <pc:docMk/>
            <pc:sldMk cId="897948195" sldId="2147480603"/>
            <ac:spMk id="44" creationId="{29095EDB-D4D5-9855-8705-80DB151F9B20}"/>
          </ac:spMkLst>
        </pc:spChg>
        <pc:spChg chg="mod">
          <ac:chgData name="Louise Munch Blicher" userId="9d12dafc-6951-4125-9e82-2684190d08ec" providerId="ADAL" clId="{A0CEFBB3-1CCC-5EBA-B4B6-9C012A781A03}" dt="2026-04-30T13:23:31.868" v="8753" actId="1036"/>
          <ac:spMkLst>
            <pc:docMk/>
            <pc:sldMk cId="897948195" sldId="2147480603"/>
            <ac:spMk id="69" creationId="{D584FDD3-7FD9-F842-B3E0-D699893DCE15}"/>
          </ac:spMkLst>
        </pc:spChg>
        <pc:spChg chg="mod">
          <ac:chgData name="Louise Munch Blicher" userId="9d12dafc-6951-4125-9e82-2684190d08ec" providerId="ADAL" clId="{A0CEFBB3-1CCC-5EBA-B4B6-9C012A781A03}" dt="2026-04-30T13:23:31.868" v="8753" actId="1036"/>
          <ac:spMkLst>
            <pc:docMk/>
            <pc:sldMk cId="897948195" sldId="2147480603"/>
            <ac:spMk id="71" creationId="{6DCAC414-1E84-C679-FB60-03E9AF903AFA}"/>
          </ac:spMkLst>
        </pc:spChg>
        <pc:spChg chg="mod">
          <ac:chgData name="Louise Munch Blicher" userId="9d12dafc-6951-4125-9e82-2684190d08ec" providerId="ADAL" clId="{A0CEFBB3-1CCC-5EBA-B4B6-9C012A781A03}" dt="2026-04-30T13:23:31.868" v="8753" actId="1036"/>
          <ac:spMkLst>
            <pc:docMk/>
            <pc:sldMk cId="897948195" sldId="2147480603"/>
            <ac:spMk id="80" creationId="{7A53166E-8443-D792-7A9B-DD42528D40FB}"/>
          </ac:spMkLst>
        </pc:spChg>
        <pc:graphicFrameChg chg="mod">
          <ac:chgData name="Louise Munch Blicher" userId="9d12dafc-6951-4125-9e82-2684190d08ec" providerId="ADAL" clId="{A0CEFBB3-1CCC-5EBA-B4B6-9C012A781A03}" dt="2026-04-30T13:23:55.339" v="8755" actId="692"/>
          <ac:graphicFrameMkLst>
            <pc:docMk/>
            <pc:sldMk cId="897948195" sldId="2147480603"/>
            <ac:graphicFrameMk id="25" creationId="{5FC83D53-BF45-CC57-637C-73F930163F92}"/>
          </ac:graphicFrameMkLst>
        </pc:graphicFrameChg>
        <pc:graphicFrameChg chg="mod">
          <ac:chgData name="Louise Munch Blicher" userId="9d12dafc-6951-4125-9e82-2684190d08ec" providerId="ADAL" clId="{A0CEFBB3-1CCC-5EBA-B4B6-9C012A781A03}" dt="2026-04-30T13:21:23.942" v="8659" actId="692"/>
          <ac:graphicFrameMkLst>
            <pc:docMk/>
            <pc:sldMk cId="897948195" sldId="2147480603"/>
            <ac:graphicFrameMk id="26" creationId="{3760C982-C7FE-AE78-6EBB-AE0B6D9BB194}"/>
          </ac:graphicFrameMkLst>
        </pc:graphicFrameChg>
      </pc:sldChg>
      <pc:sldChg chg="delSp modSp mod">
        <pc:chgData name="Louise Munch Blicher" userId="9d12dafc-6951-4125-9e82-2684190d08ec" providerId="ADAL" clId="{A0CEFBB3-1CCC-5EBA-B4B6-9C012A781A03}" dt="2026-04-25T07:26:06.755" v="5246" actId="478"/>
        <pc:sldMkLst>
          <pc:docMk/>
          <pc:sldMk cId="939911163" sldId="2147480605"/>
        </pc:sldMkLst>
      </pc:sldChg>
      <pc:sldChg chg="addSp delSp modSp mod chgLayout">
        <pc:chgData name="Louise Munch Blicher" userId="9d12dafc-6951-4125-9e82-2684190d08ec" providerId="ADAL" clId="{A0CEFBB3-1CCC-5EBA-B4B6-9C012A781A03}" dt="2026-04-23T20:35:12.173" v="1713" actId="700"/>
        <pc:sldMkLst>
          <pc:docMk/>
          <pc:sldMk cId="4021775555" sldId="2147480609"/>
        </pc:sldMkLst>
        <pc:spChg chg="mod ord">
          <ac:chgData name="Louise Munch Blicher" userId="9d12dafc-6951-4125-9e82-2684190d08ec" providerId="ADAL" clId="{A0CEFBB3-1CCC-5EBA-B4B6-9C012A781A03}" dt="2026-04-23T20:35:12.173" v="1713" actId="700"/>
          <ac:spMkLst>
            <pc:docMk/>
            <pc:sldMk cId="4021775555" sldId="2147480609"/>
            <ac:spMk id="3" creationId="{CDC1E036-C7C9-9A58-F9EB-C7E599CFB2BD}"/>
          </ac:spMkLst>
        </pc:spChg>
      </pc:sldChg>
      <pc:sldChg chg="addSp delSp modSp mod">
        <pc:chgData name="Louise Munch Blicher" userId="9d12dafc-6951-4125-9e82-2684190d08ec" providerId="ADAL" clId="{A0CEFBB3-1CCC-5EBA-B4B6-9C012A781A03}" dt="2026-04-30T13:09:26.315" v="8070" actId="20577"/>
        <pc:sldMkLst>
          <pc:docMk/>
          <pc:sldMk cId="3022255394" sldId="2147480610"/>
        </pc:sldMkLst>
        <pc:spChg chg="add mod">
          <ac:chgData name="Louise Munch Blicher" userId="9d12dafc-6951-4125-9e82-2684190d08ec" providerId="ADAL" clId="{A0CEFBB3-1CCC-5EBA-B4B6-9C012A781A03}" dt="2026-04-24T08:57:39.728" v="1960" actId="20577"/>
          <ac:spMkLst>
            <pc:docMk/>
            <pc:sldMk cId="3022255394" sldId="2147480610"/>
            <ac:spMk id="3" creationId="{398E4D43-AC26-ADA9-A567-21B5F9003807}"/>
          </ac:spMkLst>
        </pc:spChg>
        <pc:spChg chg="add mod">
          <ac:chgData name="Louise Munch Blicher" userId="9d12dafc-6951-4125-9e82-2684190d08ec" providerId="ADAL" clId="{A0CEFBB3-1CCC-5EBA-B4B6-9C012A781A03}" dt="2026-04-24T08:57:41.808" v="1961" actId="20577"/>
          <ac:spMkLst>
            <pc:docMk/>
            <pc:sldMk cId="3022255394" sldId="2147480610"/>
            <ac:spMk id="4" creationId="{84F35FD0-4CF6-1F9F-4A47-7FE46E1DE176}"/>
          </ac:spMkLst>
        </pc:spChg>
        <pc:spChg chg="add mod">
          <ac:chgData name="Louise Munch Blicher" userId="9d12dafc-6951-4125-9e82-2684190d08ec" providerId="ADAL" clId="{A0CEFBB3-1CCC-5EBA-B4B6-9C012A781A03}" dt="2026-04-24T08:57:43.623" v="1962" actId="20577"/>
          <ac:spMkLst>
            <pc:docMk/>
            <pc:sldMk cId="3022255394" sldId="2147480610"/>
            <ac:spMk id="5" creationId="{6EC570DC-22CE-1C90-5C84-A80C90A41DE0}"/>
          </ac:spMkLst>
        </pc:spChg>
        <pc:spChg chg="add del mod">
          <ac:chgData name="Louise Munch Blicher" userId="9d12dafc-6951-4125-9e82-2684190d08ec" providerId="ADAL" clId="{A0CEFBB3-1CCC-5EBA-B4B6-9C012A781A03}" dt="2026-04-24T08:57:07.811" v="1951" actId="1076"/>
          <ac:spMkLst>
            <pc:docMk/>
            <pc:sldMk cId="3022255394" sldId="2147480610"/>
            <ac:spMk id="8" creationId="{668B90AE-7D51-EA3D-30EC-D6DF617381AC}"/>
          </ac:spMkLst>
        </pc:spChg>
        <pc:spChg chg="add mod">
          <ac:chgData name="Louise Munch Blicher" userId="9d12dafc-6951-4125-9e82-2684190d08ec" providerId="ADAL" clId="{A0CEFBB3-1CCC-5EBA-B4B6-9C012A781A03}" dt="2026-04-23T20:38:16.725" v="1735" actId="167"/>
          <ac:spMkLst>
            <pc:docMk/>
            <pc:sldMk cId="3022255394" sldId="2147480610"/>
            <ac:spMk id="9" creationId="{FDD68859-3BCB-30B4-8420-6E95C245947B}"/>
          </ac:spMkLst>
        </pc:spChg>
        <pc:spChg chg="mod">
          <ac:chgData name="Louise Munch Blicher" userId="9d12dafc-6951-4125-9e82-2684190d08ec" providerId="ADAL" clId="{A0CEFBB3-1CCC-5EBA-B4B6-9C012A781A03}" dt="2026-04-23T13:15:31.019" v="1177" actId="1076"/>
          <ac:spMkLst>
            <pc:docMk/>
            <pc:sldMk cId="3022255394" sldId="2147480610"/>
            <ac:spMk id="11" creationId="{745CF47B-6685-AF7C-348F-946580C0F882}"/>
          </ac:spMkLst>
        </pc:spChg>
        <pc:spChg chg="add mod">
          <ac:chgData name="Louise Munch Blicher" userId="9d12dafc-6951-4125-9e82-2684190d08ec" providerId="ADAL" clId="{A0CEFBB3-1CCC-5EBA-B4B6-9C012A781A03}" dt="2026-04-23T20:38:16.725" v="1735" actId="167"/>
          <ac:spMkLst>
            <pc:docMk/>
            <pc:sldMk cId="3022255394" sldId="2147480610"/>
            <ac:spMk id="13" creationId="{340CBF8F-57DF-BC1E-05ED-081A151A02A8}"/>
          </ac:spMkLst>
        </pc:spChg>
        <pc:spChg chg="mod">
          <ac:chgData name="Louise Munch Blicher" userId="9d12dafc-6951-4125-9e82-2684190d08ec" providerId="ADAL" clId="{A0CEFBB3-1CCC-5EBA-B4B6-9C012A781A03}" dt="2026-04-23T13:14:24.038" v="1169" actId="2711"/>
          <ac:spMkLst>
            <pc:docMk/>
            <pc:sldMk cId="3022255394" sldId="2147480610"/>
            <ac:spMk id="18" creationId="{180F6E5A-54B9-875E-9EE2-104BA1BB1522}"/>
          </ac:spMkLst>
        </pc:spChg>
        <pc:spChg chg="add del mod">
          <ac:chgData name="Louise Munch Blicher" userId="9d12dafc-6951-4125-9e82-2684190d08ec" providerId="ADAL" clId="{A0CEFBB3-1CCC-5EBA-B4B6-9C012A781A03}" dt="2026-04-25T06:38:44.959" v="3117" actId="20577"/>
          <ac:spMkLst>
            <pc:docMk/>
            <pc:sldMk cId="3022255394" sldId="2147480610"/>
            <ac:spMk id="22" creationId="{1406D10C-EC7E-243C-AEF8-50A574E3C2E0}"/>
          </ac:spMkLst>
        </pc:spChg>
        <pc:spChg chg="mod">
          <ac:chgData name="Louise Munch Blicher" userId="9d12dafc-6951-4125-9e82-2684190d08ec" providerId="ADAL" clId="{A0CEFBB3-1CCC-5EBA-B4B6-9C012A781A03}" dt="2026-04-30T13:09:26.315" v="8070" actId="20577"/>
          <ac:spMkLst>
            <pc:docMk/>
            <pc:sldMk cId="3022255394" sldId="2147480610"/>
            <ac:spMk id="24" creationId="{90559546-17F2-0AAB-D6CE-86A17993190A}"/>
          </ac:spMkLst>
        </pc:spChg>
        <pc:spChg chg="mod">
          <ac:chgData name="Louise Munch Blicher" userId="9d12dafc-6951-4125-9e82-2684190d08ec" providerId="ADAL" clId="{A0CEFBB3-1CCC-5EBA-B4B6-9C012A781A03}" dt="2026-04-24T08:57:18.228" v="1953" actId="1076"/>
          <ac:spMkLst>
            <pc:docMk/>
            <pc:sldMk cId="3022255394" sldId="2147480610"/>
            <ac:spMk id="26" creationId="{91B48486-3A51-30D7-EDAE-5256BC54AC27}"/>
          </ac:spMkLst>
        </pc:spChg>
        <pc:spChg chg="mod">
          <ac:chgData name="Louise Munch Blicher" userId="9d12dafc-6951-4125-9e82-2684190d08ec" providerId="ADAL" clId="{A0CEFBB3-1CCC-5EBA-B4B6-9C012A781A03}" dt="2026-04-23T13:14:24.038" v="1169" actId="2711"/>
          <ac:spMkLst>
            <pc:docMk/>
            <pc:sldMk cId="3022255394" sldId="2147480610"/>
            <ac:spMk id="34" creationId="{012C6126-A7D3-3A76-0338-E3634DB0885E}"/>
          </ac:spMkLst>
        </pc:spChg>
        <pc:spChg chg="mod">
          <ac:chgData name="Louise Munch Blicher" userId="9d12dafc-6951-4125-9e82-2684190d08ec" providerId="ADAL" clId="{A0CEFBB3-1CCC-5EBA-B4B6-9C012A781A03}" dt="2026-04-25T06:37:38.073" v="3103" actId="14100"/>
          <ac:spMkLst>
            <pc:docMk/>
            <pc:sldMk cId="3022255394" sldId="2147480610"/>
            <ac:spMk id="36" creationId="{78EA2748-F6E8-4FBA-1B15-7669CAB04A87}"/>
          </ac:spMkLst>
        </pc:spChg>
        <pc:spChg chg="mod">
          <ac:chgData name="Louise Munch Blicher" userId="9d12dafc-6951-4125-9e82-2684190d08ec" providerId="ADAL" clId="{A0CEFBB3-1CCC-5EBA-B4B6-9C012A781A03}" dt="2026-04-23T13:14:24.038" v="1169" actId="2711"/>
          <ac:spMkLst>
            <pc:docMk/>
            <pc:sldMk cId="3022255394" sldId="2147480610"/>
            <ac:spMk id="37" creationId="{6444CAF1-84C2-A624-E18C-D03F4C5381D4}"/>
          </ac:spMkLst>
        </pc:spChg>
        <pc:spChg chg="mod">
          <ac:chgData name="Louise Munch Blicher" userId="9d12dafc-6951-4125-9e82-2684190d08ec" providerId="ADAL" clId="{A0CEFBB3-1CCC-5EBA-B4B6-9C012A781A03}" dt="2026-04-23T13:14:24.038" v="1169" actId="2711"/>
          <ac:spMkLst>
            <pc:docMk/>
            <pc:sldMk cId="3022255394" sldId="2147480610"/>
            <ac:spMk id="38" creationId="{11A5E4CF-9BE2-4FB1-595F-71E7FFC8D0E8}"/>
          </ac:spMkLst>
        </pc:spChg>
        <pc:spChg chg="mod">
          <ac:chgData name="Louise Munch Blicher" userId="9d12dafc-6951-4125-9e82-2684190d08ec" providerId="ADAL" clId="{A0CEFBB3-1CCC-5EBA-B4B6-9C012A781A03}" dt="2026-04-23T20:38:34.542" v="1742" actId="1036"/>
          <ac:spMkLst>
            <pc:docMk/>
            <pc:sldMk cId="3022255394" sldId="2147480610"/>
            <ac:spMk id="39" creationId="{E37DB3D8-B5F7-1256-8995-7D02171C16BF}"/>
          </ac:spMkLst>
        </pc:spChg>
        <pc:spChg chg="mod">
          <ac:chgData name="Louise Munch Blicher" userId="9d12dafc-6951-4125-9e82-2684190d08ec" providerId="ADAL" clId="{A0CEFBB3-1CCC-5EBA-B4B6-9C012A781A03}" dt="2026-04-23T20:38:34.542" v="1742" actId="1036"/>
          <ac:spMkLst>
            <pc:docMk/>
            <pc:sldMk cId="3022255394" sldId="2147480610"/>
            <ac:spMk id="40" creationId="{90981EE5-EC86-C4B5-F961-12CEF161321A}"/>
          </ac:spMkLst>
        </pc:spChg>
        <pc:spChg chg="mod">
          <ac:chgData name="Louise Munch Blicher" userId="9d12dafc-6951-4125-9e82-2684190d08ec" providerId="ADAL" clId="{A0CEFBB3-1CCC-5EBA-B4B6-9C012A781A03}" dt="2026-04-23T13:14:24.038" v="1169" actId="2711"/>
          <ac:spMkLst>
            <pc:docMk/>
            <pc:sldMk cId="3022255394" sldId="2147480610"/>
            <ac:spMk id="41" creationId="{98409EF9-BF7E-D7E0-56B7-DD90A9E70067}"/>
          </ac:spMkLst>
        </pc:spChg>
        <pc:spChg chg="mod">
          <ac:chgData name="Louise Munch Blicher" userId="9d12dafc-6951-4125-9e82-2684190d08ec" providerId="ADAL" clId="{A0CEFBB3-1CCC-5EBA-B4B6-9C012A781A03}" dt="2026-04-23T13:14:24.038" v="1169" actId="2711"/>
          <ac:spMkLst>
            <pc:docMk/>
            <pc:sldMk cId="3022255394" sldId="2147480610"/>
            <ac:spMk id="44" creationId="{B9045CAA-0833-44E4-509D-2B09A29E35D7}"/>
          </ac:spMkLst>
        </pc:spChg>
        <pc:spChg chg="mod">
          <ac:chgData name="Louise Munch Blicher" userId="9d12dafc-6951-4125-9e82-2684190d08ec" providerId="ADAL" clId="{A0CEFBB3-1CCC-5EBA-B4B6-9C012A781A03}" dt="2026-04-23T13:14:24.038" v="1169" actId="2711"/>
          <ac:spMkLst>
            <pc:docMk/>
            <pc:sldMk cId="3022255394" sldId="2147480610"/>
            <ac:spMk id="45" creationId="{455E781F-9DCB-F16C-E093-E87DEFA146AD}"/>
          </ac:spMkLst>
        </pc:spChg>
        <pc:spChg chg="mod">
          <ac:chgData name="Louise Munch Blicher" userId="9d12dafc-6951-4125-9e82-2684190d08ec" providerId="ADAL" clId="{A0CEFBB3-1CCC-5EBA-B4B6-9C012A781A03}" dt="2026-04-23T20:38:34.542" v="1742" actId="1036"/>
          <ac:spMkLst>
            <pc:docMk/>
            <pc:sldMk cId="3022255394" sldId="2147480610"/>
            <ac:spMk id="46" creationId="{6FAB0F07-3BBC-3692-A1BC-E8FD0D5B1BF2}"/>
          </ac:spMkLst>
        </pc:spChg>
        <pc:spChg chg="mod">
          <ac:chgData name="Louise Munch Blicher" userId="9d12dafc-6951-4125-9e82-2684190d08ec" providerId="ADAL" clId="{A0CEFBB3-1CCC-5EBA-B4B6-9C012A781A03}" dt="2026-04-23T20:38:34.542" v="1742" actId="1036"/>
          <ac:spMkLst>
            <pc:docMk/>
            <pc:sldMk cId="3022255394" sldId="2147480610"/>
            <ac:spMk id="77" creationId="{B98ABB89-626E-DF38-583D-39DF20CFD823}"/>
          </ac:spMkLst>
        </pc:spChg>
        <pc:spChg chg="mod">
          <ac:chgData name="Louise Munch Blicher" userId="9d12dafc-6951-4125-9e82-2684190d08ec" providerId="ADAL" clId="{A0CEFBB3-1CCC-5EBA-B4B6-9C012A781A03}" dt="2026-04-23T13:14:41.423" v="1171" actId="2711"/>
          <ac:spMkLst>
            <pc:docMk/>
            <pc:sldMk cId="3022255394" sldId="2147480610"/>
            <ac:spMk id="78" creationId="{CD14D3AF-BF61-4502-41DE-B0913A405FAF}"/>
          </ac:spMkLst>
        </pc:spChg>
        <pc:spChg chg="mod">
          <ac:chgData name="Louise Munch Blicher" userId="9d12dafc-6951-4125-9e82-2684190d08ec" providerId="ADAL" clId="{A0CEFBB3-1CCC-5EBA-B4B6-9C012A781A03}" dt="2026-04-23T13:14:41.423" v="1171" actId="2711"/>
          <ac:spMkLst>
            <pc:docMk/>
            <pc:sldMk cId="3022255394" sldId="2147480610"/>
            <ac:spMk id="79" creationId="{898264C3-53B5-4E21-7FFD-A892E2F4F690}"/>
          </ac:spMkLst>
        </pc:spChg>
        <pc:spChg chg="mod">
          <ac:chgData name="Louise Munch Blicher" userId="9d12dafc-6951-4125-9e82-2684190d08ec" providerId="ADAL" clId="{A0CEFBB3-1CCC-5EBA-B4B6-9C012A781A03}" dt="2026-04-23T20:38:34.542" v="1742" actId="1036"/>
          <ac:spMkLst>
            <pc:docMk/>
            <pc:sldMk cId="3022255394" sldId="2147480610"/>
            <ac:spMk id="81" creationId="{8D056EEA-8F90-27B0-BF38-B04932CD2254}"/>
          </ac:spMkLst>
        </pc:spChg>
        <pc:spChg chg="mod">
          <ac:chgData name="Louise Munch Blicher" userId="9d12dafc-6951-4125-9e82-2684190d08ec" providerId="ADAL" clId="{A0CEFBB3-1CCC-5EBA-B4B6-9C012A781A03}" dt="2026-04-23T20:38:34.542" v="1742" actId="1036"/>
          <ac:spMkLst>
            <pc:docMk/>
            <pc:sldMk cId="3022255394" sldId="2147480610"/>
            <ac:spMk id="82" creationId="{65841AE0-6E43-8A1C-07FA-22D1E02CE24B}"/>
          </ac:spMkLst>
        </pc:spChg>
        <pc:spChg chg="mod">
          <ac:chgData name="Louise Munch Blicher" userId="9d12dafc-6951-4125-9e82-2684190d08ec" providerId="ADAL" clId="{A0CEFBB3-1CCC-5EBA-B4B6-9C012A781A03}" dt="2026-04-23T13:15:19.028" v="1175" actId="2711"/>
          <ac:spMkLst>
            <pc:docMk/>
            <pc:sldMk cId="3022255394" sldId="2147480610"/>
            <ac:spMk id="84" creationId="{CF0B90DE-5549-5572-1B94-7981323BCA3B}"/>
          </ac:spMkLst>
        </pc:spChg>
        <pc:spChg chg="mod">
          <ac:chgData name="Louise Munch Blicher" userId="9d12dafc-6951-4125-9e82-2684190d08ec" providerId="ADAL" clId="{A0CEFBB3-1CCC-5EBA-B4B6-9C012A781A03}" dt="2026-04-23T20:38:34.542" v="1742" actId="1036"/>
          <ac:spMkLst>
            <pc:docMk/>
            <pc:sldMk cId="3022255394" sldId="2147480610"/>
            <ac:spMk id="85" creationId="{F5FD5EC7-1EB8-CDD8-754E-D7FEB08651CC}"/>
          </ac:spMkLst>
        </pc:spChg>
        <pc:spChg chg="mod">
          <ac:chgData name="Louise Munch Blicher" userId="9d12dafc-6951-4125-9e82-2684190d08ec" providerId="ADAL" clId="{A0CEFBB3-1CCC-5EBA-B4B6-9C012A781A03}" dt="2026-04-23T20:38:34.542" v="1742" actId="1036"/>
          <ac:spMkLst>
            <pc:docMk/>
            <pc:sldMk cId="3022255394" sldId="2147480610"/>
            <ac:spMk id="86" creationId="{A34CA86E-4E38-7BC2-7E67-D02278F1C5FD}"/>
          </ac:spMkLst>
        </pc:spChg>
        <pc:spChg chg="mod">
          <ac:chgData name="Louise Munch Blicher" userId="9d12dafc-6951-4125-9e82-2684190d08ec" providerId="ADAL" clId="{A0CEFBB3-1CCC-5EBA-B4B6-9C012A781A03}" dt="2026-04-23T13:15:26.620" v="1176" actId="2711"/>
          <ac:spMkLst>
            <pc:docMk/>
            <pc:sldMk cId="3022255394" sldId="2147480610"/>
            <ac:spMk id="87" creationId="{7708FCB5-26A9-4AE5-55E2-4614110EFF8B}"/>
          </ac:spMkLst>
        </pc:spChg>
        <pc:spChg chg="mod">
          <ac:chgData name="Louise Munch Blicher" userId="9d12dafc-6951-4125-9e82-2684190d08ec" providerId="ADAL" clId="{A0CEFBB3-1CCC-5EBA-B4B6-9C012A781A03}" dt="2026-04-23T13:14:41.423" v="1171" actId="2711"/>
          <ac:spMkLst>
            <pc:docMk/>
            <pc:sldMk cId="3022255394" sldId="2147480610"/>
            <ac:spMk id="88" creationId="{BBB7831E-7087-CEC1-8433-53F8C565DFB5}"/>
          </ac:spMkLst>
        </pc:spChg>
        <pc:spChg chg="mod">
          <ac:chgData name="Louise Munch Blicher" userId="9d12dafc-6951-4125-9e82-2684190d08ec" providerId="ADAL" clId="{A0CEFBB3-1CCC-5EBA-B4B6-9C012A781A03}" dt="2026-04-23T20:38:34.542" v="1742" actId="1036"/>
          <ac:spMkLst>
            <pc:docMk/>
            <pc:sldMk cId="3022255394" sldId="2147480610"/>
            <ac:spMk id="93" creationId="{D26372EE-30CF-5D73-D44C-47EE8F3E1DF8}"/>
          </ac:spMkLst>
        </pc:spChg>
        <pc:picChg chg="add mod">
          <ac:chgData name="Louise Munch Blicher" userId="9d12dafc-6951-4125-9e82-2684190d08ec" providerId="ADAL" clId="{A0CEFBB3-1CCC-5EBA-B4B6-9C012A781A03}" dt="2026-04-23T20:38:25.915" v="1736" actId="1076"/>
          <ac:picMkLst>
            <pc:docMk/>
            <pc:sldMk cId="3022255394" sldId="2147480610"/>
            <ac:picMk id="10" creationId="{B436C5B8-4D0C-EF9A-75EB-3F36A311EBC6}"/>
          </ac:picMkLst>
        </pc:picChg>
        <pc:picChg chg="add mod">
          <ac:chgData name="Louise Munch Blicher" userId="9d12dafc-6951-4125-9e82-2684190d08ec" providerId="ADAL" clId="{A0CEFBB3-1CCC-5EBA-B4B6-9C012A781A03}" dt="2026-04-23T20:38:25.915" v="1736" actId="1076"/>
          <ac:picMkLst>
            <pc:docMk/>
            <pc:sldMk cId="3022255394" sldId="2147480610"/>
            <ac:picMk id="12" creationId="{C216039A-F599-C4F2-887E-B56A8295BDF4}"/>
          </ac:picMkLst>
        </pc:picChg>
        <pc:cxnChg chg="mod">
          <ac:chgData name="Louise Munch Blicher" userId="9d12dafc-6951-4125-9e82-2684190d08ec" providerId="ADAL" clId="{A0CEFBB3-1CCC-5EBA-B4B6-9C012A781A03}" dt="2026-04-23T13:21:07.713" v="1237" actId="692"/>
          <ac:cxnSpMkLst>
            <pc:docMk/>
            <pc:sldMk cId="3022255394" sldId="2147480610"/>
            <ac:cxnSpMk id="23" creationId="{303287D1-36F4-CF53-641B-33C7D6326ACB}"/>
          </ac:cxnSpMkLst>
        </pc:cxnChg>
        <pc:cxnChg chg="mod">
          <ac:chgData name="Louise Munch Blicher" userId="9d12dafc-6951-4125-9e82-2684190d08ec" providerId="ADAL" clId="{A0CEFBB3-1CCC-5EBA-B4B6-9C012A781A03}" dt="2026-04-23T13:21:07.713" v="1237" actId="692"/>
          <ac:cxnSpMkLst>
            <pc:docMk/>
            <pc:sldMk cId="3022255394" sldId="2147480610"/>
            <ac:cxnSpMk id="96" creationId="{20391E41-80A9-9C76-0415-CC9E8E9DE1FA}"/>
          </ac:cxnSpMkLst>
        </pc:cxnChg>
        <pc:cxnChg chg="mod">
          <ac:chgData name="Louise Munch Blicher" userId="9d12dafc-6951-4125-9e82-2684190d08ec" providerId="ADAL" clId="{A0CEFBB3-1CCC-5EBA-B4B6-9C012A781A03}" dt="2026-04-23T13:21:07.713" v="1237" actId="692"/>
          <ac:cxnSpMkLst>
            <pc:docMk/>
            <pc:sldMk cId="3022255394" sldId="2147480610"/>
            <ac:cxnSpMk id="97" creationId="{F75FC958-8556-16B3-087D-5A44E08FC42C}"/>
          </ac:cxnSpMkLst>
        </pc:cxnChg>
        <pc:cxnChg chg="mod">
          <ac:chgData name="Louise Munch Blicher" userId="9d12dafc-6951-4125-9e82-2684190d08ec" providerId="ADAL" clId="{A0CEFBB3-1CCC-5EBA-B4B6-9C012A781A03}" dt="2026-04-23T13:21:07.713" v="1237" actId="692"/>
          <ac:cxnSpMkLst>
            <pc:docMk/>
            <pc:sldMk cId="3022255394" sldId="2147480610"/>
            <ac:cxnSpMk id="98" creationId="{0955A05A-F8D2-363B-41B8-6B3015CC4218}"/>
          </ac:cxnSpMkLst>
        </pc:cxnChg>
        <pc:cxnChg chg="mod">
          <ac:chgData name="Louise Munch Blicher" userId="9d12dafc-6951-4125-9e82-2684190d08ec" providerId="ADAL" clId="{A0CEFBB3-1CCC-5EBA-B4B6-9C012A781A03}" dt="2026-04-23T13:21:07.713" v="1237" actId="692"/>
          <ac:cxnSpMkLst>
            <pc:docMk/>
            <pc:sldMk cId="3022255394" sldId="2147480610"/>
            <ac:cxnSpMk id="99" creationId="{CE4C2C87-167B-E2C1-8969-259C20A020B1}"/>
          </ac:cxnSpMkLst>
        </pc:cxnChg>
        <pc:cxnChg chg="mod">
          <ac:chgData name="Louise Munch Blicher" userId="9d12dafc-6951-4125-9e82-2684190d08ec" providerId="ADAL" clId="{A0CEFBB3-1CCC-5EBA-B4B6-9C012A781A03}" dt="2026-04-23T13:21:07.713" v="1237" actId="692"/>
          <ac:cxnSpMkLst>
            <pc:docMk/>
            <pc:sldMk cId="3022255394" sldId="2147480610"/>
            <ac:cxnSpMk id="100" creationId="{BA69F532-34BA-C3AA-BDFE-B240AE6E2D37}"/>
          </ac:cxnSpMkLst>
        </pc:cxnChg>
        <pc:cxnChg chg="mod">
          <ac:chgData name="Louise Munch Blicher" userId="9d12dafc-6951-4125-9e82-2684190d08ec" providerId="ADAL" clId="{A0CEFBB3-1CCC-5EBA-B4B6-9C012A781A03}" dt="2026-04-23T13:21:07.713" v="1237" actId="692"/>
          <ac:cxnSpMkLst>
            <pc:docMk/>
            <pc:sldMk cId="3022255394" sldId="2147480610"/>
            <ac:cxnSpMk id="101" creationId="{6EDC1A43-2565-2294-B90E-12FE85AA2D7A}"/>
          </ac:cxnSpMkLst>
        </pc:cxnChg>
        <pc:cxnChg chg="mod">
          <ac:chgData name="Louise Munch Blicher" userId="9d12dafc-6951-4125-9e82-2684190d08ec" providerId="ADAL" clId="{A0CEFBB3-1CCC-5EBA-B4B6-9C012A781A03}" dt="2026-04-23T13:21:07.713" v="1237" actId="692"/>
          <ac:cxnSpMkLst>
            <pc:docMk/>
            <pc:sldMk cId="3022255394" sldId="2147480610"/>
            <ac:cxnSpMk id="102" creationId="{02CA658F-A293-0B9C-9E44-09A4E3E50046}"/>
          </ac:cxnSpMkLst>
        </pc:cxnChg>
        <pc:cxnChg chg="mod">
          <ac:chgData name="Louise Munch Blicher" userId="9d12dafc-6951-4125-9e82-2684190d08ec" providerId="ADAL" clId="{A0CEFBB3-1CCC-5EBA-B4B6-9C012A781A03}" dt="2026-04-23T13:21:07.713" v="1237" actId="692"/>
          <ac:cxnSpMkLst>
            <pc:docMk/>
            <pc:sldMk cId="3022255394" sldId="2147480610"/>
            <ac:cxnSpMk id="103" creationId="{2A527C26-5BA7-3EB1-4195-B46DFA21F8B0}"/>
          </ac:cxnSpMkLst>
        </pc:cxnChg>
      </pc:sldChg>
      <pc:sldChg chg="delSp modSp mod">
        <pc:chgData name="Louise Munch Blicher" userId="9d12dafc-6951-4125-9e82-2684190d08ec" providerId="ADAL" clId="{A0CEFBB3-1CCC-5EBA-B4B6-9C012A781A03}" dt="2026-04-23T11:14:01.346" v="23" actId="18131"/>
        <pc:sldMkLst>
          <pc:docMk/>
          <pc:sldMk cId="2271534193" sldId="2147480613"/>
        </pc:sldMkLst>
        <pc:spChg chg="mod">
          <ac:chgData name="Louise Munch Blicher" userId="9d12dafc-6951-4125-9e82-2684190d08ec" providerId="ADAL" clId="{A0CEFBB3-1CCC-5EBA-B4B6-9C012A781A03}" dt="2026-04-23T11:11:24.533" v="18" actId="1036"/>
          <ac:spMkLst>
            <pc:docMk/>
            <pc:sldMk cId="2271534193" sldId="2147480613"/>
            <ac:spMk id="14" creationId="{88984795-3857-2CF4-ECA4-BBA27222239F}"/>
          </ac:spMkLst>
        </pc:spChg>
        <pc:spChg chg="topLvl">
          <ac:chgData name="Louise Munch Blicher" userId="9d12dafc-6951-4125-9e82-2684190d08ec" providerId="ADAL" clId="{A0CEFBB3-1CCC-5EBA-B4B6-9C012A781A03}" dt="2026-04-23T11:12:45.848" v="19" actId="165"/>
          <ac:spMkLst>
            <pc:docMk/>
            <pc:sldMk cId="2271534193" sldId="2147480613"/>
            <ac:spMk id="49" creationId="{FA3B1061-82B2-3E1C-BED9-103D60AEC077}"/>
          </ac:spMkLst>
        </pc:spChg>
        <pc:spChg chg="topLvl">
          <ac:chgData name="Louise Munch Blicher" userId="9d12dafc-6951-4125-9e82-2684190d08ec" providerId="ADAL" clId="{A0CEFBB3-1CCC-5EBA-B4B6-9C012A781A03}" dt="2026-04-23T11:12:45.848" v="19" actId="165"/>
          <ac:spMkLst>
            <pc:docMk/>
            <pc:sldMk cId="2271534193" sldId="2147480613"/>
            <ac:spMk id="2050" creationId="{13C6196A-C73B-E067-9DFE-6D3F3B03553A}"/>
          </ac:spMkLst>
        </pc:spChg>
        <pc:picChg chg="mod topLvl">
          <ac:chgData name="Louise Munch Blicher" userId="9d12dafc-6951-4125-9e82-2684190d08ec" providerId="ADAL" clId="{A0CEFBB3-1CCC-5EBA-B4B6-9C012A781A03}" dt="2026-04-23T11:14:01.346" v="23" actId="18131"/>
          <ac:picMkLst>
            <pc:docMk/>
            <pc:sldMk cId="2271534193" sldId="2147480613"/>
            <ac:picMk id="2074" creationId="{7BC6151B-EF07-340D-39BE-8B8AB1B4B5BA}"/>
          </ac:picMkLst>
        </pc:picChg>
        <pc:cxnChg chg="topLvl">
          <ac:chgData name="Louise Munch Blicher" userId="9d12dafc-6951-4125-9e82-2684190d08ec" providerId="ADAL" clId="{A0CEFBB3-1CCC-5EBA-B4B6-9C012A781A03}" dt="2026-04-23T11:12:45.848" v="19" actId="165"/>
          <ac:cxnSpMkLst>
            <pc:docMk/>
            <pc:sldMk cId="2271534193" sldId="2147480613"/>
            <ac:cxnSpMk id="8" creationId="{4580929C-84AF-C584-4306-C35260729D13}"/>
          </ac:cxnSpMkLst>
        </pc:cxnChg>
      </pc:sldChg>
      <pc:sldChg chg="addSp delSp modSp add mod modClrScheme chgLayout">
        <pc:chgData name="Louise Munch Blicher" userId="9d12dafc-6951-4125-9e82-2684190d08ec" providerId="ADAL" clId="{A0CEFBB3-1CCC-5EBA-B4B6-9C012A781A03}" dt="2026-04-23T19:35:50.243" v="1479" actId="1076"/>
        <pc:sldMkLst>
          <pc:docMk/>
          <pc:sldMk cId="892198963" sldId="2147480623"/>
        </pc:sldMkLst>
        <pc:spChg chg="mod ord">
          <ac:chgData name="Louise Munch Blicher" userId="9d12dafc-6951-4125-9e82-2684190d08ec" providerId="ADAL" clId="{A0CEFBB3-1CCC-5EBA-B4B6-9C012A781A03}" dt="2026-04-23T12:37:52.432" v="778" actId="14100"/>
          <ac:spMkLst>
            <pc:docMk/>
            <pc:sldMk cId="892198963" sldId="2147480623"/>
            <ac:spMk id="2" creationId="{7B80ABC4-ACCA-05E0-F219-7AF2481BF6C4}"/>
          </ac:spMkLst>
        </pc:spChg>
        <pc:spChg chg="mod">
          <ac:chgData name="Louise Munch Blicher" userId="9d12dafc-6951-4125-9e82-2684190d08ec" providerId="ADAL" clId="{A0CEFBB3-1CCC-5EBA-B4B6-9C012A781A03}" dt="2026-04-23T13:04:59.503" v="1116" actId="14100"/>
          <ac:spMkLst>
            <pc:docMk/>
            <pc:sldMk cId="892198963" sldId="2147480623"/>
            <ac:spMk id="85" creationId="{099475D6-09F4-4DC0-D134-7CE8C89F2546}"/>
          </ac:spMkLst>
        </pc:spChg>
        <pc:spChg chg="add mod">
          <ac:chgData name="Louise Munch Blicher" userId="9d12dafc-6951-4125-9e82-2684190d08ec" providerId="ADAL" clId="{A0CEFBB3-1CCC-5EBA-B4B6-9C012A781A03}" dt="2026-04-23T12:39:46.347" v="871" actId="1036"/>
          <ac:spMkLst>
            <pc:docMk/>
            <pc:sldMk cId="892198963" sldId="2147480623"/>
            <ac:spMk id="90" creationId="{A0E3785A-2E82-F9E6-DB00-A562BD474E53}"/>
          </ac:spMkLst>
        </pc:spChg>
        <pc:spChg chg="mod">
          <ac:chgData name="Louise Munch Blicher" userId="9d12dafc-6951-4125-9e82-2684190d08ec" providerId="ADAL" clId="{A0CEFBB3-1CCC-5EBA-B4B6-9C012A781A03}" dt="2026-04-23T13:04:41.215" v="1113" actId="1036"/>
          <ac:spMkLst>
            <pc:docMk/>
            <pc:sldMk cId="892198963" sldId="2147480623"/>
            <ac:spMk id="95" creationId="{CBCF08E1-A907-942D-F075-40841F0912A8}"/>
          </ac:spMkLst>
        </pc:spChg>
        <pc:spChg chg="mod">
          <ac:chgData name="Louise Munch Blicher" userId="9d12dafc-6951-4125-9e82-2684190d08ec" providerId="ADAL" clId="{A0CEFBB3-1CCC-5EBA-B4B6-9C012A781A03}" dt="2026-04-23T12:28:17.264" v="56"/>
          <ac:spMkLst>
            <pc:docMk/>
            <pc:sldMk cId="892198963" sldId="2147480623"/>
            <ac:spMk id="100" creationId="{971CAF00-4AF5-744C-7710-6A1F37298D58}"/>
          </ac:spMkLst>
        </pc:spChg>
        <pc:spChg chg="mod">
          <ac:chgData name="Louise Munch Blicher" userId="9d12dafc-6951-4125-9e82-2684190d08ec" providerId="ADAL" clId="{A0CEFBB3-1CCC-5EBA-B4B6-9C012A781A03}" dt="2026-04-23T12:28:17.264" v="56"/>
          <ac:spMkLst>
            <pc:docMk/>
            <pc:sldMk cId="892198963" sldId="2147480623"/>
            <ac:spMk id="101" creationId="{3EAC86FF-82F4-346D-95CA-15F8150B7F34}"/>
          </ac:spMkLst>
        </pc:spChg>
        <pc:spChg chg="mod">
          <ac:chgData name="Louise Munch Blicher" userId="9d12dafc-6951-4125-9e82-2684190d08ec" providerId="ADAL" clId="{A0CEFBB3-1CCC-5EBA-B4B6-9C012A781A03}" dt="2026-04-23T12:28:17.264" v="56"/>
          <ac:spMkLst>
            <pc:docMk/>
            <pc:sldMk cId="892198963" sldId="2147480623"/>
            <ac:spMk id="106" creationId="{1C17FAE0-8527-3F3D-546F-3B200FBF87D8}"/>
          </ac:spMkLst>
        </pc:spChg>
        <pc:spChg chg="mod">
          <ac:chgData name="Louise Munch Blicher" userId="9d12dafc-6951-4125-9e82-2684190d08ec" providerId="ADAL" clId="{A0CEFBB3-1CCC-5EBA-B4B6-9C012A781A03}" dt="2026-04-23T12:28:17.264" v="56"/>
          <ac:spMkLst>
            <pc:docMk/>
            <pc:sldMk cId="892198963" sldId="2147480623"/>
            <ac:spMk id="107" creationId="{2B3EE40D-2F4C-FDC7-4A9C-112550FD2BB1}"/>
          </ac:spMkLst>
        </pc:spChg>
        <pc:spChg chg="mod">
          <ac:chgData name="Louise Munch Blicher" userId="9d12dafc-6951-4125-9e82-2684190d08ec" providerId="ADAL" clId="{A0CEFBB3-1CCC-5EBA-B4B6-9C012A781A03}" dt="2026-04-23T12:28:17.264" v="56"/>
          <ac:spMkLst>
            <pc:docMk/>
            <pc:sldMk cId="892198963" sldId="2147480623"/>
            <ac:spMk id="109" creationId="{9E2E7967-F9B5-7CA1-8AEF-0E261F17AF55}"/>
          </ac:spMkLst>
        </pc:spChg>
        <pc:spChg chg="mod">
          <ac:chgData name="Louise Munch Blicher" userId="9d12dafc-6951-4125-9e82-2684190d08ec" providerId="ADAL" clId="{A0CEFBB3-1CCC-5EBA-B4B6-9C012A781A03}" dt="2026-04-23T12:28:17.264" v="56"/>
          <ac:spMkLst>
            <pc:docMk/>
            <pc:sldMk cId="892198963" sldId="2147480623"/>
            <ac:spMk id="110" creationId="{F47257BE-496D-D78C-142D-728E45EFE709}"/>
          </ac:spMkLst>
        </pc:spChg>
        <pc:spChg chg="mod">
          <ac:chgData name="Louise Munch Blicher" userId="9d12dafc-6951-4125-9e82-2684190d08ec" providerId="ADAL" clId="{A0CEFBB3-1CCC-5EBA-B4B6-9C012A781A03}" dt="2026-04-23T12:28:17.264" v="56"/>
          <ac:spMkLst>
            <pc:docMk/>
            <pc:sldMk cId="892198963" sldId="2147480623"/>
            <ac:spMk id="112" creationId="{39D1F861-003B-9779-F4C0-858C3CF33575}"/>
          </ac:spMkLst>
        </pc:spChg>
        <pc:spChg chg="mod">
          <ac:chgData name="Louise Munch Blicher" userId="9d12dafc-6951-4125-9e82-2684190d08ec" providerId="ADAL" clId="{A0CEFBB3-1CCC-5EBA-B4B6-9C012A781A03}" dt="2026-04-23T12:28:17.264" v="56"/>
          <ac:spMkLst>
            <pc:docMk/>
            <pc:sldMk cId="892198963" sldId="2147480623"/>
            <ac:spMk id="115" creationId="{95AE07DE-9CDE-74FB-6E75-D731E289E1B8}"/>
          </ac:spMkLst>
        </pc:spChg>
        <pc:spChg chg="mod">
          <ac:chgData name="Louise Munch Blicher" userId="9d12dafc-6951-4125-9e82-2684190d08ec" providerId="ADAL" clId="{A0CEFBB3-1CCC-5EBA-B4B6-9C012A781A03}" dt="2026-04-23T12:28:17.264" v="56"/>
          <ac:spMkLst>
            <pc:docMk/>
            <pc:sldMk cId="892198963" sldId="2147480623"/>
            <ac:spMk id="118" creationId="{BC59D42C-F72C-CB2B-43D4-3686DE89B14B}"/>
          </ac:spMkLst>
        </pc:spChg>
        <pc:spChg chg="mod">
          <ac:chgData name="Louise Munch Blicher" userId="9d12dafc-6951-4125-9e82-2684190d08ec" providerId="ADAL" clId="{A0CEFBB3-1CCC-5EBA-B4B6-9C012A781A03}" dt="2026-04-23T13:04:41.215" v="1113" actId="1036"/>
          <ac:spMkLst>
            <pc:docMk/>
            <pc:sldMk cId="892198963" sldId="2147480623"/>
            <ac:spMk id="120" creationId="{21187EA0-1DE9-4D44-3049-AF556CC97C14}"/>
          </ac:spMkLst>
        </pc:spChg>
        <pc:spChg chg="mod">
          <ac:chgData name="Louise Munch Blicher" userId="9d12dafc-6951-4125-9e82-2684190d08ec" providerId="ADAL" clId="{A0CEFBB3-1CCC-5EBA-B4B6-9C012A781A03}" dt="2026-04-23T13:03:16.070" v="1096" actId="1035"/>
          <ac:spMkLst>
            <pc:docMk/>
            <pc:sldMk cId="892198963" sldId="2147480623"/>
            <ac:spMk id="122" creationId="{EFC4B4B5-92AD-9421-948A-4BFF013685F2}"/>
          </ac:spMkLst>
        </pc:spChg>
        <pc:spChg chg="add mod">
          <ac:chgData name="Louise Munch Blicher" userId="9d12dafc-6951-4125-9e82-2684190d08ec" providerId="ADAL" clId="{A0CEFBB3-1CCC-5EBA-B4B6-9C012A781A03}" dt="2026-04-23T12:39:46.347" v="871" actId="1036"/>
          <ac:spMkLst>
            <pc:docMk/>
            <pc:sldMk cId="892198963" sldId="2147480623"/>
            <ac:spMk id="127" creationId="{B601C885-F1A4-D764-32EB-C4D87B0352B1}"/>
          </ac:spMkLst>
        </pc:spChg>
        <pc:spChg chg="mod">
          <ac:chgData name="Louise Munch Blicher" userId="9d12dafc-6951-4125-9e82-2684190d08ec" providerId="ADAL" clId="{A0CEFBB3-1CCC-5EBA-B4B6-9C012A781A03}" dt="2026-04-23T13:04:41.215" v="1113" actId="1036"/>
          <ac:spMkLst>
            <pc:docMk/>
            <pc:sldMk cId="892198963" sldId="2147480623"/>
            <ac:spMk id="130" creationId="{E9928739-758D-52B8-9E21-237DB607FFF9}"/>
          </ac:spMkLst>
        </pc:spChg>
        <pc:spChg chg="mod">
          <ac:chgData name="Louise Munch Blicher" userId="9d12dafc-6951-4125-9e82-2684190d08ec" providerId="ADAL" clId="{A0CEFBB3-1CCC-5EBA-B4B6-9C012A781A03}" dt="2026-04-23T12:29:08.397" v="75"/>
          <ac:spMkLst>
            <pc:docMk/>
            <pc:sldMk cId="892198963" sldId="2147480623"/>
            <ac:spMk id="135" creationId="{7B58425E-C1C0-54FC-8ED5-0A901F8B1235}"/>
          </ac:spMkLst>
        </pc:spChg>
        <pc:spChg chg="mod">
          <ac:chgData name="Louise Munch Blicher" userId="9d12dafc-6951-4125-9e82-2684190d08ec" providerId="ADAL" clId="{A0CEFBB3-1CCC-5EBA-B4B6-9C012A781A03}" dt="2026-04-23T13:04:41.215" v="1113" actId="1036"/>
          <ac:spMkLst>
            <pc:docMk/>
            <pc:sldMk cId="892198963" sldId="2147480623"/>
            <ac:spMk id="136" creationId="{C88F10D9-BA42-0C72-9120-FFFC943D0AAA}"/>
          </ac:spMkLst>
        </pc:spChg>
        <pc:spChg chg="mod">
          <ac:chgData name="Louise Munch Blicher" userId="9d12dafc-6951-4125-9e82-2684190d08ec" providerId="ADAL" clId="{A0CEFBB3-1CCC-5EBA-B4B6-9C012A781A03}" dt="2026-04-23T12:29:08.397" v="75"/>
          <ac:spMkLst>
            <pc:docMk/>
            <pc:sldMk cId="892198963" sldId="2147480623"/>
            <ac:spMk id="138" creationId="{65E08D41-B764-6626-41BA-1BF92F2AF6ED}"/>
          </ac:spMkLst>
        </pc:spChg>
        <pc:spChg chg="mod">
          <ac:chgData name="Louise Munch Blicher" userId="9d12dafc-6951-4125-9e82-2684190d08ec" providerId="ADAL" clId="{A0CEFBB3-1CCC-5EBA-B4B6-9C012A781A03}" dt="2026-04-23T12:29:08.397" v="75"/>
          <ac:spMkLst>
            <pc:docMk/>
            <pc:sldMk cId="892198963" sldId="2147480623"/>
            <ac:spMk id="140" creationId="{42423CA8-2E50-5D8A-F764-9B4C3064AAFA}"/>
          </ac:spMkLst>
        </pc:spChg>
        <pc:spChg chg="mod">
          <ac:chgData name="Louise Munch Blicher" userId="9d12dafc-6951-4125-9e82-2684190d08ec" providerId="ADAL" clId="{A0CEFBB3-1CCC-5EBA-B4B6-9C012A781A03}" dt="2026-04-23T12:29:08.397" v="75"/>
          <ac:spMkLst>
            <pc:docMk/>
            <pc:sldMk cId="892198963" sldId="2147480623"/>
            <ac:spMk id="141" creationId="{A4F66200-8E98-1D83-2B0A-3C374A67639C}"/>
          </ac:spMkLst>
        </pc:spChg>
        <pc:spChg chg="mod">
          <ac:chgData name="Louise Munch Blicher" userId="9d12dafc-6951-4125-9e82-2684190d08ec" providerId="ADAL" clId="{A0CEFBB3-1CCC-5EBA-B4B6-9C012A781A03}" dt="2026-04-23T12:29:08.397" v="75"/>
          <ac:spMkLst>
            <pc:docMk/>
            <pc:sldMk cId="892198963" sldId="2147480623"/>
            <ac:spMk id="142" creationId="{7656EE24-470A-AF43-0AF2-696561330FD6}"/>
          </ac:spMkLst>
        </pc:spChg>
        <pc:spChg chg="mod">
          <ac:chgData name="Louise Munch Blicher" userId="9d12dafc-6951-4125-9e82-2684190d08ec" providerId="ADAL" clId="{A0CEFBB3-1CCC-5EBA-B4B6-9C012A781A03}" dt="2026-04-23T12:29:08.397" v="75"/>
          <ac:spMkLst>
            <pc:docMk/>
            <pc:sldMk cId="892198963" sldId="2147480623"/>
            <ac:spMk id="143" creationId="{151ECC51-D0ED-33AC-BFC2-F38DA1700829}"/>
          </ac:spMkLst>
        </pc:spChg>
        <pc:spChg chg="add mod">
          <ac:chgData name="Louise Munch Blicher" userId="9d12dafc-6951-4125-9e82-2684190d08ec" providerId="ADAL" clId="{A0CEFBB3-1CCC-5EBA-B4B6-9C012A781A03}" dt="2026-04-23T12:39:46.347" v="871" actId="1036"/>
          <ac:spMkLst>
            <pc:docMk/>
            <pc:sldMk cId="892198963" sldId="2147480623"/>
            <ac:spMk id="144" creationId="{2ECBE851-7392-6CC7-F294-63C3A151FFBD}"/>
          </ac:spMkLst>
        </pc:spChg>
        <pc:spChg chg="mod">
          <ac:chgData name="Louise Munch Blicher" userId="9d12dafc-6951-4125-9e82-2684190d08ec" providerId="ADAL" clId="{A0CEFBB3-1CCC-5EBA-B4B6-9C012A781A03}" dt="2026-04-23T12:30:49.240" v="90"/>
          <ac:spMkLst>
            <pc:docMk/>
            <pc:sldMk cId="892198963" sldId="2147480623"/>
            <ac:spMk id="147" creationId="{F73BD408-C6CA-5B73-B68D-EB38CE3EDB3E}"/>
          </ac:spMkLst>
        </pc:spChg>
        <pc:spChg chg="mod">
          <ac:chgData name="Louise Munch Blicher" userId="9d12dafc-6951-4125-9e82-2684190d08ec" providerId="ADAL" clId="{A0CEFBB3-1CCC-5EBA-B4B6-9C012A781A03}" dt="2026-04-23T13:04:41.215" v="1113" actId="1036"/>
          <ac:spMkLst>
            <pc:docMk/>
            <pc:sldMk cId="892198963" sldId="2147480623"/>
            <ac:spMk id="148" creationId="{9DDAC901-E9F4-4F65-F9D5-4CAA611E13D5}"/>
          </ac:spMkLst>
        </pc:spChg>
        <pc:spChg chg="mod">
          <ac:chgData name="Louise Munch Blicher" userId="9d12dafc-6951-4125-9e82-2684190d08ec" providerId="ADAL" clId="{A0CEFBB3-1CCC-5EBA-B4B6-9C012A781A03}" dt="2026-04-23T12:30:49.240" v="90"/>
          <ac:spMkLst>
            <pc:docMk/>
            <pc:sldMk cId="892198963" sldId="2147480623"/>
            <ac:spMk id="149" creationId="{C331BB8E-6825-A118-8D63-05F082AEC1F0}"/>
          </ac:spMkLst>
        </pc:spChg>
        <pc:spChg chg="mod">
          <ac:chgData name="Louise Munch Blicher" userId="9d12dafc-6951-4125-9e82-2684190d08ec" providerId="ADAL" clId="{A0CEFBB3-1CCC-5EBA-B4B6-9C012A781A03}" dt="2026-04-23T12:30:49.240" v="90"/>
          <ac:spMkLst>
            <pc:docMk/>
            <pc:sldMk cId="892198963" sldId="2147480623"/>
            <ac:spMk id="150" creationId="{113DE9E8-B43E-D726-33B5-CA7A64F64CF1}"/>
          </ac:spMkLst>
        </pc:spChg>
        <pc:spChg chg="mod">
          <ac:chgData name="Louise Munch Blicher" userId="9d12dafc-6951-4125-9e82-2684190d08ec" providerId="ADAL" clId="{A0CEFBB3-1CCC-5EBA-B4B6-9C012A781A03}" dt="2026-04-23T12:30:49.240" v="90"/>
          <ac:spMkLst>
            <pc:docMk/>
            <pc:sldMk cId="892198963" sldId="2147480623"/>
            <ac:spMk id="151" creationId="{1D8856FF-1BAE-050C-C923-7F2883DF4D7C}"/>
          </ac:spMkLst>
        </pc:spChg>
        <pc:spChg chg="mod">
          <ac:chgData name="Louise Munch Blicher" userId="9d12dafc-6951-4125-9e82-2684190d08ec" providerId="ADAL" clId="{A0CEFBB3-1CCC-5EBA-B4B6-9C012A781A03}" dt="2026-04-23T12:30:49.240" v="90"/>
          <ac:spMkLst>
            <pc:docMk/>
            <pc:sldMk cId="892198963" sldId="2147480623"/>
            <ac:spMk id="152" creationId="{2A0E8E88-4E73-824D-9433-387D074ECCFA}"/>
          </ac:spMkLst>
        </pc:spChg>
        <pc:spChg chg="mod">
          <ac:chgData name="Louise Munch Blicher" userId="9d12dafc-6951-4125-9e82-2684190d08ec" providerId="ADAL" clId="{A0CEFBB3-1CCC-5EBA-B4B6-9C012A781A03}" dt="2026-04-23T12:30:49.240" v="90"/>
          <ac:spMkLst>
            <pc:docMk/>
            <pc:sldMk cId="892198963" sldId="2147480623"/>
            <ac:spMk id="153" creationId="{A2BC442B-E04B-7FC6-2533-F386EF66F6C7}"/>
          </ac:spMkLst>
        </pc:spChg>
        <pc:spChg chg="mod">
          <ac:chgData name="Louise Munch Blicher" userId="9d12dafc-6951-4125-9e82-2684190d08ec" providerId="ADAL" clId="{A0CEFBB3-1CCC-5EBA-B4B6-9C012A781A03}" dt="2026-04-23T12:30:49.240" v="90"/>
          <ac:spMkLst>
            <pc:docMk/>
            <pc:sldMk cId="892198963" sldId="2147480623"/>
            <ac:spMk id="154" creationId="{1B26E691-75CF-5006-A649-6AAB38AFE33C}"/>
          </ac:spMkLst>
        </pc:spChg>
        <pc:spChg chg="mod">
          <ac:chgData name="Louise Munch Blicher" userId="9d12dafc-6951-4125-9e82-2684190d08ec" providerId="ADAL" clId="{A0CEFBB3-1CCC-5EBA-B4B6-9C012A781A03}" dt="2026-04-23T12:30:49.240" v="90"/>
          <ac:spMkLst>
            <pc:docMk/>
            <pc:sldMk cId="892198963" sldId="2147480623"/>
            <ac:spMk id="155" creationId="{5F3500BD-6095-F3DE-B8B5-58A03C72E741}"/>
          </ac:spMkLst>
        </pc:spChg>
        <pc:spChg chg="mod">
          <ac:chgData name="Louise Munch Blicher" userId="9d12dafc-6951-4125-9e82-2684190d08ec" providerId="ADAL" clId="{A0CEFBB3-1CCC-5EBA-B4B6-9C012A781A03}" dt="2026-04-23T12:30:49.240" v="90"/>
          <ac:spMkLst>
            <pc:docMk/>
            <pc:sldMk cId="892198963" sldId="2147480623"/>
            <ac:spMk id="156" creationId="{F1F66457-643B-5A6D-167A-C45D855437ED}"/>
          </ac:spMkLst>
        </pc:spChg>
        <pc:spChg chg="mod">
          <ac:chgData name="Louise Munch Blicher" userId="9d12dafc-6951-4125-9e82-2684190d08ec" providerId="ADAL" clId="{A0CEFBB3-1CCC-5EBA-B4B6-9C012A781A03}" dt="2026-04-23T12:35:55.271" v="204" actId="207"/>
          <ac:spMkLst>
            <pc:docMk/>
            <pc:sldMk cId="892198963" sldId="2147480623"/>
            <ac:spMk id="161" creationId="{801C8CBC-039D-3038-34DB-C481BC7C98B6}"/>
          </ac:spMkLst>
        </pc:spChg>
        <pc:spChg chg="mod">
          <ac:chgData name="Louise Munch Blicher" userId="9d12dafc-6951-4125-9e82-2684190d08ec" providerId="ADAL" clId="{A0CEFBB3-1CCC-5EBA-B4B6-9C012A781A03}" dt="2026-04-23T12:36:38.735" v="625" actId="207"/>
          <ac:spMkLst>
            <pc:docMk/>
            <pc:sldMk cId="892198963" sldId="2147480623"/>
            <ac:spMk id="162" creationId="{BBEABD3D-B652-389A-5BD0-83046F0FDAD4}"/>
          </ac:spMkLst>
        </pc:spChg>
        <pc:spChg chg="mod">
          <ac:chgData name="Louise Munch Blicher" userId="9d12dafc-6951-4125-9e82-2684190d08ec" providerId="ADAL" clId="{A0CEFBB3-1CCC-5EBA-B4B6-9C012A781A03}" dt="2026-04-23T12:36:47.296" v="767" actId="207"/>
          <ac:spMkLst>
            <pc:docMk/>
            <pc:sldMk cId="892198963" sldId="2147480623"/>
            <ac:spMk id="163" creationId="{E8FDF626-DB5A-0B44-5F10-21EEED3FB4F2}"/>
          </ac:spMkLst>
        </pc:spChg>
        <pc:spChg chg="mod">
          <ac:chgData name="Louise Munch Blicher" userId="9d12dafc-6951-4125-9e82-2684190d08ec" providerId="ADAL" clId="{A0CEFBB3-1CCC-5EBA-B4B6-9C012A781A03}" dt="2026-04-23T13:04:41.215" v="1113" actId="1036"/>
          <ac:spMkLst>
            <pc:docMk/>
            <pc:sldMk cId="892198963" sldId="2147480623"/>
            <ac:spMk id="165" creationId="{621EA130-B24A-E9BA-C940-FC6B448B32FB}"/>
          </ac:spMkLst>
        </pc:spChg>
        <pc:spChg chg="mod">
          <ac:chgData name="Louise Munch Blicher" userId="9d12dafc-6951-4125-9e82-2684190d08ec" providerId="ADAL" clId="{A0CEFBB3-1CCC-5EBA-B4B6-9C012A781A03}" dt="2026-04-23T12:35:39.050" v="127" actId="27803"/>
          <ac:spMkLst>
            <pc:docMk/>
            <pc:sldMk cId="892198963" sldId="2147480623"/>
            <ac:spMk id="167" creationId="{0AB58F2B-CBE0-39F4-4B2E-6CABB632CA27}"/>
          </ac:spMkLst>
        </pc:spChg>
        <pc:spChg chg="mod">
          <ac:chgData name="Louise Munch Blicher" userId="9d12dafc-6951-4125-9e82-2684190d08ec" providerId="ADAL" clId="{A0CEFBB3-1CCC-5EBA-B4B6-9C012A781A03}" dt="2026-04-23T13:04:41.215" v="1113" actId="1036"/>
          <ac:spMkLst>
            <pc:docMk/>
            <pc:sldMk cId="892198963" sldId="2147480623"/>
            <ac:spMk id="168" creationId="{E8C74FC1-B7CA-EDC4-78CF-340124D42927}"/>
          </ac:spMkLst>
        </pc:spChg>
        <pc:spChg chg="mod">
          <ac:chgData name="Louise Munch Blicher" userId="9d12dafc-6951-4125-9e82-2684190d08ec" providerId="ADAL" clId="{A0CEFBB3-1CCC-5EBA-B4B6-9C012A781A03}" dt="2026-04-23T13:04:41.215" v="1113" actId="1036"/>
          <ac:spMkLst>
            <pc:docMk/>
            <pc:sldMk cId="892198963" sldId="2147480623"/>
            <ac:spMk id="169" creationId="{B11613D4-EF65-654E-83F3-7C4FA00E705E}"/>
          </ac:spMkLst>
        </pc:spChg>
        <pc:spChg chg="mod">
          <ac:chgData name="Louise Munch Blicher" userId="9d12dafc-6951-4125-9e82-2684190d08ec" providerId="ADAL" clId="{A0CEFBB3-1CCC-5EBA-B4B6-9C012A781A03}" dt="2026-04-23T12:35:39.050" v="127" actId="27803"/>
          <ac:spMkLst>
            <pc:docMk/>
            <pc:sldMk cId="892198963" sldId="2147480623"/>
            <ac:spMk id="170" creationId="{DD1708A2-D530-9167-7E15-F22CAC804183}"/>
          </ac:spMkLst>
        </pc:spChg>
        <pc:spChg chg="mod">
          <ac:chgData name="Louise Munch Blicher" userId="9d12dafc-6951-4125-9e82-2684190d08ec" providerId="ADAL" clId="{A0CEFBB3-1CCC-5EBA-B4B6-9C012A781A03}" dt="2026-04-23T12:35:39.050" v="127" actId="27803"/>
          <ac:spMkLst>
            <pc:docMk/>
            <pc:sldMk cId="892198963" sldId="2147480623"/>
            <ac:spMk id="172" creationId="{EDCE8E45-FAB3-29AA-F197-899F49A9CB02}"/>
          </ac:spMkLst>
        </pc:spChg>
        <pc:spChg chg="add mod">
          <ac:chgData name="Louise Munch Blicher" userId="9d12dafc-6951-4125-9e82-2684190d08ec" providerId="ADAL" clId="{A0CEFBB3-1CCC-5EBA-B4B6-9C012A781A03}" dt="2026-04-23T13:27:49.778" v="1455" actId="1076"/>
          <ac:spMkLst>
            <pc:docMk/>
            <pc:sldMk cId="892198963" sldId="2147480623"/>
            <ac:spMk id="173" creationId="{7A8A4EC7-D3EE-3675-4115-184BBE09DAD2}"/>
          </ac:spMkLst>
        </pc:spChg>
        <pc:spChg chg="add mod">
          <ac:chgData name="Louise Munch Blicher" userId="9d12dafc-6951-4125-9e82-2684190d08ec" providerId="ADAL" clId="{A0CEFBB3-1CCC-5EBA-B4B6-9C012A781A03}" dt="2026-04-23T13:27:34.552" v="1454" actId="1076"/>
          <ac:spMkLst>
            <pc:docMk/>
            <pc:sldMk cId="892198963" sldId="2147480623"/>
            <ac:spMk id="174" creationId="{D8381A2C-005A-1A24-C01C-C907474C9078}"/>
          </ac:spMkLst>
        </pc:spChg>
        <pc:spChg chg="add mod">
          <ac:chgData name="Louise Munch Blicher" userId="9d12dafc-6951-4125-9e82-2684190d08ec" providerId="ADAL" clId="{A0CEFBB3-1CCC-5EBA-B4B6-9C012A781A03}" dt="2026-04-23T13:27:49.778" v="1455" actId="1076"/>
          <ac:spMkLst>
            <pc:docMk/>
            <pc:sldMk cId="892198963" sldId="2147480623"/>
            <ac:spMk id="175" creationId="{435A096A-0328-4206-82D9-B37EDD8C321F}"/>
          </ac:spMkLst>
        </pc:spChg>
        <pc:spChg chg="add mod">
          <ac:chgData name="Louise Munch Blicher" userId="9d12dafc-6951-4125-9e82-2684190d08ec" providerId="ADAL" clId="{A0CEFBB3-1CCC-5EBA-B4B6-9C012A781A03}" dt="2026-04-23T13:27:34.552" v="1454" actId="1076"/>
          <ac:spMkLst>
            <pc:docMk/>
            <pc:sldMk cId="892198963" sldId="2147480623"/>
            <ac:spMk id="176" creationId="{E8A77957-DB4F-F3A7-311B-BA724FD2874E}"/>
          </ac:spMkLst>
        </pc:spChg>
        <pc:spChg chg="mod">
          <ac:chgData name="Louise Munch Blicher" userId="9d12dafc-6951-4125-9e82-2684190d08ec" providerId="ADAL" clId="{A0CEFBB3-1CCC-5EBA-B4B6-9C012A781A03}" dt="2026-04-23T12:41:39.185" v="893" actId="207"/>
          <ac:spMkLst>
            <pc:docMk/>
            <pc:sldMk cId="892198963" sldId="2147480623"/>
            <ac:spMk id="178" creationId="{FE19070A-D957-4EE8-828A-36CCF67A4378}"/>
          </ac:spMkLst>
        </pc:spChg>
        <pc:spChg chg="mod">
          <ac:chgData name="Louise Munch Blicher" userId="9d12dafc-6951-4125-9e82-2684190d08ec" providerId="ADAL" clId="{A0CEFBB3-1CCC-5EBA-B4B6-9C012A781A03}" dt="2026-04-23T12:41:39.185" v="893" actId="207"/>
          <ac:spMkLst>
            <pc:docMk/>
            <pc:sldMk cId="892198963" sldId="2147480623"/>
            <ac:spMk id="179" creationId="{D75A37D4-6A79-0101-DA49-08038BFA272E}"/>
          </ac:spMkLst>
        </pc:spChg>
        <pc:spChg chg="mod">
          <ac:chgData name="Louise Munch Blicher" userId="9d12dafc-6951-4125-9e82-2684190d08ec" providerId="ADAL" clId="{A0CEFBB3-1CCC-5EBA-B4B6-9C012A781A03}" dt="2026-04-23T12:41:39.185" v="893" actId="207"/>
          <ac:spMkLst>
            <pc:docMk/>
            <pc:sldMk cId="892198963" sldId="2147480623"/>
            <ac:spMk id="180" creationId="{6C77760C-237B-DFE4-D456-E360A32197A0}"/>
          </ac:spMkLst>
        </pc:spChg>
        <pc:spChg chg="mod">
          <ac:chgData name="Louise Munch Blicher" userId="9d12dafc-6951-4125-9e82-2684190d08ec" providerId="ADAL" clId="{A0CEFBB3-1CCC-5EBA-B4B6-9C012A781A03}" dt="2026-04-23T12:41:39.185" v="893" actId="207"/>
          <ac:spMkLst>
            <pc:docMk/>
            <pc:sldMk cId="892198963" sldId="2147480623"/>
            <ac:spMk id="181" creationId="{5F42DD00-E367-EBA6-0C0D-2BEA4E8C339F}"/>
          </ac:spMkLst>
        </pc:spChg>
        <pc:spChg chg="add mod">
          <ac:chgData name="Louise Munch Blicher" userId="9d12dafc-6951-4125-9e82-2684190d08ec" providerId="ADAL" clId="{A0CEFBB3-1CCC-5EBA-B4B6-9C012A781A03}" dt="2026-04-23T19:35:50.243" v="1479" actId="1076"/>
          <ac:spMkLst>
            <pc:docMk/>
            <pc:sldMk cId="892198963" sldId="2147480623"/>
            <ac:spMk id="183" creationId="{1C390D37-8D65-E520-89CA-610D693DB045}"/>
          </ac:spMkLst>
        </pc:spChg>
        <pc:spChg chg="add mod">
          <ac:chgData name="Louise Munch Blicher" userId="9d12dafc-6951-4125-9e82-2684190d08ec" providerId="ADAL" clId="{A0CEFBB3-1CCC-5EBA-B4B6-9C012A781A03}" dt="2026-04-23T19:35:50.243" v="1479" actId="1076"/>
          <ac:spMkLst>
            <pc:docMk/>
            <pc:sldMk cId="892198963" sldId="2147480623"/>
            <ac:spMk id="184" creationId="{C93240D8-F067-0A74-CB3B-1D4A91CBC2EF}"/>
          </ac:spMkLst>
        </pc:spChg>
        <pc:spChg chg="add mod">
          <ac:chgData name="Louise Munch Blicher" userId="9d12dafc-6951-4125-9e82-2684190d08ec" providerId="ADAL" clId="{A0CEFBB3-1CCC-5EBA-B4B6-9C012A781A03}" dt="2026-04-23T13:05:08.091" v="1118" actId="255"/>
          <ac:spMkLst>
            <pc:docMk/>
            <pc:sldMk cId="892198963" sldId="2147480623"/>
            <ac:spMk id="186" creationId="{A3871B91-961D-01E6-E516-77ECC126E7B5}"/>
          </ac:spMkLst>
        </pc:spChg>
        <pc:spChg chg="mod">
          <ac:chgData name="Louise Munch Blicher" userId="9d12dafc-6951-4125-9e82-2684190d08ec" providerId="ADAL" clId="{A0CEFBB3-1CCC-5EBA-B4B6-9C012A781A03}" dt="2026-04-23T13:01:09.786" v="1036" actId="1076"/>
          <ac:spMkLst>
            <pc:docMk/>
            <pc:sldMk cId="892198963" sldId="2147480623"/>
            <ac:spMk id="190" creationId="{1063C6DE-66C0-4878-0F04-5942A6FC6CD9}"/>
          </ac:spMkLst>
        </pc:spChg>
        <pc:spChg chg="mod">
          <ac:chgData name="Louise Munch Blicher" userId="9d12dafc-6951-4125-9e82-2684190d08ec" providerId="ADAL" clId="{A0CEFBB3-1CCC-5EBA-B4B6-9C012A781A03}" dt="2026-04-23T13:04:41.215" v="1113" actId="1036"/>
          <ac:spMkLst>
            <pc:docMk/>
            <pc:sldMk cId="892198963" sldId="2147480623"/>
            <ac:spMk id="191" creationId="{6644A370-431C-6F73-082A-68F4E4B54138}"/>
          </ac:spMkLst>
        </pc:spChg>
        <pc:spChg chg="mod">
          <ac:chgData name="Louise Munch Blicher" userId="9d12dafc-6951-4125-9e82-2684190d08ec" providerId="ADAL" clId="{A0CEFBB3-1CCC-5EBA-B4B6-9C012A781A03}" dt="2026-04-23T13:01:09.786" v="1036" actId="1076"/>
          <ac:spMkLst>
            <pc:docMk/>
            <pc:sldMk cId="892198963" sldId="2147480623"/>
            <ac:spMk id="192" creationId="{3C6FD3B6-4179-044B-D35E-B6416E34DAA3}"/>
          </ac:spMkLst>
        </pc:spChg>
        <pc:spChg chg="mod">
          <ac:chgData name="Louise Munch Blicher" userId="9d12dafc-6951-4125-9e82-2684190d08ec" providerId="ADAL" clId="{A0CEFBB3-1CCC-5EBA-B4B6-9C012A781A03}" dt="2026-04-23T12:56:29.625" v="1011" actId="207"/>
          <ac:spMkLst>
            <pc:docMk/>
            <pc:sldMk cId="892198963" sldId="2147480623"/>
            <ac:spMk id="197" creationId="{98E8F7E6-4B77-3AA7-0917-E4B2315072FE}"/>
          </ac:spMkLst>
        </pc:spChg>
        <pc:spChg chg="mod">
          <ac:chgData name="Louise Munch Blicher" userId="9d12dafc-6951-4125-9e82-2684190d08ec" providerId="ADAL" clId="{A0CEFBB3-1CCC-5EBA-B4B6-9C012A781A03}" dt="2026-04-23T12:56:29.625" v="1011" actId="207"/>
          <ac:spMkLst>
            <pc:docMk/>
            <pc:sldMk cId="892198963" sldId="2147480623"/>
            <ac:spMk id="198" creationId="{7CCD4295-86A5-FF6B-8EAD-53B84BB5F8C6}"/>
          </ac:spMkLst>
        </pc:spChg>
        <pc:spChg chg="add mod">
          <ac:chgData name="Louise Munch Blicher" userId="9d12dafc-6951-4125-9e82-2684190d08ec" providerId="ADAL" clId="{A0CEFBB3-1CCC-5EBA-B4B6-9C012A781A03}" dt="2026-04-23T13:03:06.942" v="1090" actId="1035"/>
          <ac:spMkLst>
            <pc:docMk/>
            <pc:sldMk cId="892198963" sldId="2147480623"/>
            <ac:spMk id="206" creationId="{C53EDCD7-D20C-258B-8783-D899C21AC4EF}"/>
          </ac:spMkLst>
        </pc:spChg>
        <pc:spChg chg="add mod">
          <ac:chgData name="Louise Munch Blicher" userId="9d12dafc-6951-4125-9e82-2684190d08ec" providerId="ADAL" clId="{A0CEFBB3-1CCC-5EBA-B4B6-9C012A781A03}" dt="2026-04-23T13:03:48.988" v="1100"/>
          <ac:spMkLst>
            <pc:docMk/>
            <pc:sldMk cId="892198963" sldId="2147480623"/>
            <ac:spMk id="212" creationId="{EFE9DA87-6EF4-BDC9-0002-18BBF8DE5AC3}"/>
          </ac:spMkLst>
        </pc:spChg>
        <pc:spChg chg="add mod">
          <ac:chgData name="Louise Munch Blicher" userId="9d12dafc-6951-4125-9e82-2684190d08ec" providerId="ADAL" clId="{A0CEFBB3-1CCC-5EBA-B4B6-9C012A781A03}" dt="2026-04-23T13:04:02.816" v="1104"/>
          <ac:spMkLst>
            <pc:docMk/>
            <pc:sldMk cId="892198963" sldId="2147480623"/>
            <ac:spMk id="218" creationId="{294B216A-0303-0A82-D8C9-230047114CA9}"/>
          </ac:spMkLst>
        </pc:spChg>
        <pc:spChg chg="mod">
          <ac:chgData name="Louise Munch Blicher" userId="9d12dafc-6951-4125-9e82-2684190d08ec" providerId="ADAL" clId="{A0CEFBB3-1CCC-5EBA-B4B6-9C012A781A03}" dt="2026-04-23T13:02:42.453" v="1080" actId="1035"/>
          <ac:spMkLst>
            <pc:docMk/>
            <pc:sldMk cId="892198963" sldId="2147480623"/>
            <ac:spMk id="225" creationId="{DE792B4A-A6E4-C735-B34F-E95EEF1F020B}"/>
          </ac:spMkLst>
        </pc:spChg>
        <pc:grpChg chg="mod">
          <ac:chgData name="Louise Munch Blicher" userId="9d12dafc-6951-4125-9e82-2684190d08ec" providerId="ADAL" clId="{A0CEFBB3-1CCC-5EBA-B4B6-9C012A781A03}" dt="2026-04-23T12:39:36.361" v="868" actId="1076"/>
          <ac:grpSpMkLst>
            <pc:docMk/>
            <pc:sldMk cId="892198963" sldId="2147480623"/>
            <ac:grpSpMk id="91" creationId="{15E0B19E-58C5-E071-5072-E5010B99786E}"/>
          </ac:grpSpMkLst>
        </pc:grpChg>
        <pc:grpChg chg="add mod">
          <ac:chgData name="Louise Munch Blicher" userId="9d12dafc-6951-4125-9e82-2684190d08ec" providerId="ADAL" clId="{A0CEFBB3-1CCC-5EBA-B4B6-9C012A781A03}" dt="2026-04-23T12:38:57.444" v="787" actId="1076"/>
          <ac:grpSpMkLst>
            <pc:docMk/>
            <pc:sldMk cId="892198963" sldId="2147480623"/>
            <ac:grpSpMk id="128" creationId="{1776F98D-E17F-1721-1CD8-97796D4B410B}"/>
          </ac:grpSpMkLst>
        </pc:grpChg>
        <pc:grpChg chg="mod">
          <ac:chgData name="Louise Munch Blicher" userId="9d12dafc-6951-4125-9e82-2684190d08ec" providerId="ADAL" clId="{A0CEFBB3-1CCC-5EBA-B4B6-9C012A781A03}" dt="2026-04-23T12:29:08.397" v="75"/>
          <ac:grpSpMkLst>
            <pc:docMk/>
            <pc:sldMk cId="892198963" sldId="2147480623"/>
            <ac:grpSpMk id="134" creationId="{2C410D67-3733-A048-E11F-32DC9766D0EE}"/>
          </ac:grpSpMkLst>
        </pc:grpChg>
        <pc:grpChg chg="mod">
          <ac:chgData name="Louise Munch Blicher" userId="9d12dafc-6951-4125-9e82-2684190d08ec" providerId="ADAL" clId="{A0CEFBB3-1CCC-5EBA-B4B6-9C012A781A03}" dt="2026-04-23T12:38:57.444" v="787" actId="1076"/>
          <ac:grpSpMkLst>
            <pc:docMk/>
            <pc:sldMk cId="892198963" sldId="2147480623"/>
            <ac:grpSpMk id="145" creationId="{E316A7F3-C877-ECA9-39C8-E59DE73CA5A6}"/>
          </ac:grpSpMkLst>
        </pc:grpChg>
        <pc:grpChg chg="mod">
          <ac:chgData name="Louise Munch Blicher" userId="9d12dafc-6951-4125-9e82-2684190d08ec" providerId="ADAL" clId="{A0CEFBB3-1CCC-5EBA-B4B6-9C012A781A03}" dt="2026-04-23T12:38:57.444" v="787" actId="1076"/>
          <ac:grpSpMkLst>
            <pc:docMk/>
            <pc:sldMk cId="892198963" sldId="2147480623"/>
            <ac:grpSpMk id="160" creationId="{A07438EA-2FB4-16E1-DA57-64E28B4C1279}"/>
          </ac:grpSpMkLst>
        </pc:grpChg>
        <pc:grpChg chg="add">
          <ac:chgData name="Louise Munch Blicher" userId="9d12dafc-6951-4125-9e82-2684190d08ec" providerId="ADAL" clId="{A0CEFBB3-1CCC-5EBA-B4B6-9C012A781A03}" dt="2026-04-23T12:41:44.488" v="894" actId="164"/>
          <ac:grpSpMkLst>
            <pc:docMk/>
            <pc:sldMk cId="892198963" sldId="2147480623"/>
            <ac:grpSpMk id="182" creationId="{351962CC-A4C1-9909-AAE2-18B067B90917}"/>
          </ac:grpSpMkLst>
        </pc:grpChg>
        <pc:grpChg chg="mod">
          <ac:chgData name="Louise Munch Blicher" userId="9d12dafc-6951-4125-9e82-2684190d08ec" providerId="ADAL" clId="{A0CEFBB3-1CCC-5EBA-B4B6-9C012A781A03}" dt="2026-04-23T13:01:09.786" v="1036" actId="1076"/>
          <ac:grpSpMkLst>
            <pc:docMk/>
            <pc:sldMk cId="892198963" sldId="2147480623"/>
            <ac:grpSpMk id="189" creationId="{B89E8363-49AE-C2AB-F016-490332F6174C}"/>
          </ac:grpSpMkLst>
        </pc:grpChg>
        <pc:grpChg chg="mod">
          <ac:chgData name="Louise Munch Blicher" userId="9d12dafc-6951-4125-9e82-2684190d08ec" providerId="ADAL" clId="{A0CEFBB3-1CCC-5EBA-B4B6-9C012A781A03}" dt="2026-04-23T13:01:43.994" v="1047" actId="1076"/>
          <ac:grpSpMkLst>
            <pc:docMk/>
            <pc:sldMk cId="892198963" sldId="2147480623"/>
            <ac:grpSpMk id="196" creationId="{0A457EA8-CBB2-0B46-065F-77B28E9E80B6}"/>
          </ac:grpSpMkLst>
        </pc:grpChg>
        <pc:picChg chg="add del mod">
          <ac:chgData name="Louise Munch Blicher" userId="9d12dafc-6951-4125-9e82-2684190d08ec" providerId="ADAL" clId="{A0CEFBB3-1CCC-5EBA-B4B6-9C012A781A03}" dt="2026-04-23T13:02:22.096" v="1069" actId="1035"/>
          <ac:picMkLst>
            <pc:docMk/>
            <pc:sldMk cId="892198963" sldId="2147480623"/>
            <ac:picMk id="137" creationId="{AF343862-B75A-D9C7-567C-4792A5D6F4C3}"/>
          </ac:picMkLst>
        </pc:picChg>
        <pc:picChg chg="add mod">
          <ac:chgData name="Louise Munch Blicher" userId="9d12dafc-6951-4125-9e82-2684190d08ec" providerId="ADAL" clId="{A0CEFBB3-1CCC-5EBA-B4B6-9C012A781A03}" dt="2026-04-23T13:17:48.187" v="1196" actId="692"/>
          <ac:picMkLst>
            <pc:docMk/>
            <pc:sldMk cId="892198963" sldId="2147480623"/>
            <ac:picMk id="188" creationId="{FC128384-E6B3-6ABD-BC16-F8DA1D6CD12F}"/>
          </ac:picMkLst>
        </pc:picChg>
        <pc:picChg chg="add mod">
          <ac:chgData name="Louise Munch Blicher" userId="9d12dafc-6951-4125-9e82-2684190d08ec" providerId="ADAL" clId="{A0CEFBB3-1CCC-5EBA-B4B6-9C012A781A03}" dt="2026-04-23T13:01:36.562" v="1046" actId="1076"/>
          <ac:picMkLst>
            <pc:docMk/>
            <pc:sldMk cId="892198963" sldId="2147480623"/>
            <ac:picMk id="207" creationId="{D2DD1534-4BE7-1362-D592-D7824D5A7FBC}"/>
          </ac:picMkLst>
        </pc:picChg>
        <pc:picChg chg="add del mod">
          <ac:chgData name="Louise Munch Blicher" userId="9d12dafc-6951-4125-9e82-2684190d08ec" providerId="ADAL" clId="{A0CEFBB3-1CCC-5EBA-B4B6-9C012A781A03}" dt="2026-04-23T13:02:17.877" v="1063" actId="1076"/>
          <ac:picMkLst>
            <pc:docMk/>
            <pc:sldMk cId="892198963" sldId="2147480623"/>
            <ac:picMk id="213" creationId="{0E1D5B55-7AA4-94D6-4BB7-790C8D7FBAA8}"/>
          </ac:picMkLst>
        </pc:picChg>
        <pc:picChg chg="add mod">
          <ac:chgData name="Louise Munch Blicher" userId="9d12dafc-6951-4125-9e82-2684190d08ec" providerId="ADAL" clId="{A0CEFBB3-1CCC-5EBA-B4B6-9C012A781A03}" dt="2026-04-23T13:01:21.096" v="1038" actId="571"/>
          <ac:picMkLst>
            <pc:docMk/>
            <pc:sldMk cId="892198963" sldId="2147480623"/>
            <ac:picMk id="219" creationId="{34EF2733-F972-81F4-641B-C46B27B301C0}"/>
          </ac:picMkLst>
        </pc:picChg>
        <pc:cxnChg chg="add mod">
          <ac:chgData name="Louise Munch Blicher" userId="9d12dafc-6951-4125-9e82-2684190d08ec" providerId="ADAL" clId="{A0CEFBB3-1CCC-5EBA-B4B6-9C012A781A03}" dt="2026-04-23T13:04:47.227" v="1114" actId="1076"/>
          <ac:cxnSpMkLst>
            <pc:docMk/>
            <pc:sldMk cId="892198963" sldId="2147480623"/>
            <ac:cxnSpMk id="194" creationId="{7C15801B-D5B0-C33E-F315-26ACBAE51061}"/>
          </ac:cxnSpMkLst>
        </pc:cxnChg>
      </pc:sldChg>
      <pc:sldChg chg="addSp delSp modSp add mod modClrScheme chgLayout">
        <pc:chgData name="Louise Munch Blicher" userId="9d12dafc-6951-4125-9e82-2684190d08ec" providerId="ADAL" clId="{A0CEFBB3-1CCC-5EBA-B4B6-9C012A781A03}" dt="2026-04-25T06:40:58.334" v="3129" actId="2711"/>
        <pc:sldMkLst>
          <pc:docMk/>
          <pc:sldMk cId="1420261725" sldId="2147480624"/>
        </pc:sldMkLst>
        <pc:spChg chg="mod ord">
          <ac:chgData name="Louise Munch Blicher" userId="9d12dafc-6951-4125-9e82-2684190d08ec" providerId="ADAL" clId="{A0CEFBB3-1CCC-5EBA-B4B6-9C012A781A03}" dt="2026-04-23T20:36:02.896" v="1719" actId="700"/>
          <ac:spMkLst>
            <pc:docMk/>
            <pc:sldMk cId="1420261725" sldId="2147480624"/>
            <ac:spMk id="2" creationId="{AB7F6E22-3C40-42BA-1B8F-5B2CC7C51501}"/>
          </ac:spMkLst>
        </pc:spChg>
        <pc:spChg chg="add mod">
          <ac:chgData name="Louise Munch Blicher" userId="9d12dafc-6951-4125-9e82-2684190d08ec" providerId="ADAL" clId="{A0CEFBB3-1CCC-5EBA-B4B6-9C012A781A03}" dt="2026-04-24T09:11:51.532" v="2109" actId="1076"/>
          <ac:spMkLst>
            <pc:docMk/>
            <pc:sldMk cId="1420261725" sldId="2147480624"/>
            <ac:spMk id="4" creationId="{E66CC381-3CA5-4AAC-6C17-FB87559E6E38}"/>
          </ac:spMkLst>
        </pc:spChg>
        <pc:spChg chg="add mod">
          <ac:chgData name="Louise Munch Blicher" userId="9d12dafc-6951-4125-9e82-2684190d08ec" providerId="ADAL" clId="{A0CEFBB3-1CCC-5EBA-B4B6-9C012A781A03}" dt="2026-04-24T09:11:51.532" v="2109" actId="1076"/>
          <ac:spMkLst>
            <pc:docMk/>
            <pc:sldMk cId="1420261725" sldId="2147480624"/>
            <ac:spMk id="14" creationId="{04E4AA90-6C46-B71D-AE1B-8BBBEBA87C99}"/>
          </ac:spMkLst>
        </pc:spChg>
        <pc:spChg chg="add mod">
          <ac:chgData name="Louise Munch Blicher" userId="9d12dafc-6951-4125-9e82-2684190d08ec" providerId="ADAL" clId="{A0CEFBB3-1CCC-5EBA-B4B6-9C012A781A03}" dt="2026-04-24T08:59:08.908" v="2097" actId="207"/>
          <ac:spMkLst>
            <pc:docMk/>
            <pc:sldMk cId="1420261725" sldId="2147480624"/>
            <ac:spMk id="17" creationId="{79BC7CC8-A8F7-235F-A414-A84DAF04DBC8}"/>
          </ac:spMkLst>
        </pc:spChg>
        <pc:spChg chg="add mod">
          <ac:chgData name="Louise Munch Blicher" userId="9d12dafc-6951-4125-9e82-2684190d08ec" providerId="ADAL" clId="{A0CEFBB3-1CCC-5EBA-B4B6-9C012A781A03}" dt="2026-04-24T09:58:42.221" v="3077" actId="1035"/>
          <ac:spMkLst>
            <pc:docMk/>
            <pc:sldMk cId="1420261725" sldId="2147480624"/>
            <ac:spMk id="19" creationId="{8A4BDECE-27CF-3292-62A8-8F7F1CE278FF}"/>
          </ac:spMkLst>
        </pc:spChg>
        <pc:spChg chg="mod topLvl">
          <ac:chgData name="Louise Munch Blicher" userId="9d12dafc-6951-4125-9e82-2684190d08ec" providerId="ADAL" clId="{A0CEFBB3-1CCC-5EBA-B4B6-9C012A781A03}" dt="2026-04-23T20:30:36.551" v="1492" actId="1076"/>
          <ac:spMkLst>
            <pc:docMk/>
            <pc:sldMk cId="1420261725" sldId="2147480624"/>
            <ac:spMk id="20" creationId="{CFB08C2A-163F-20AC-CBF1-AE1BEFB16D86}"/>
          </ac:spMkLst>
        </pc:spChg>
        <pc:spChg chg="add mod">
          <ac:chgData name="Louise Munch Blicher" userId="9d12dafc-6951-4125-9e82-2684190d08ec" providerId="ADAL" clId="{A0CEFBB3-1CCC-5EBA-B4B6-9C012A781A03}" dt="2026-04-24T09:11:51.532" v="2109" actId="1076"/>
          <ac:spMkLst>
            <pc:docMk/>
            <pc:sldMk cId="1420261725" sldId="2147480624"/>
            <ac:spMk id="22" creationId="{611CE0C5-DB1C-F5CE-1911-AA1407140AFB}"/>
          </ac:spMkLst>
        </pc:spChg>
        <pc:spChg chg="mod topLvl">
          <ac:chgData name="Louise Munch Blicher" userId="9d12dafc-6951-4125-9e82-2684190d08ec" providerId="ADAL" clId="{A0CEFBB3-1CCC-5EBA-B4B6-9C012A781A03}" dt="2026-04-23T13:31:53.390" v="1470" actId="165"/>
          <ac:spMkLst>
            <pc:docMk/>
            <pc:sldMk cId="1420261725" sldId="2147480624"/>
            <ac:spMk id="23" creationId="{984D178C-DBB6-E02C-C252-08EAD8F1AE34}"/>
          </ac:spMkLst>
        </pc:spChg>
        <pc:spChg chg="mod">
          <ac:chgData name="Louise Munch Blicher" userId="9d12dafc-6951-4125-9e82-2684190d08ec" providerId="ADAL" clId="{A0CEFBB3-1CCC-5EBA-B4B6-9C012A781A03}" dt="2026-04-24T09:11:51.532" v="2109" actId="1076"/>
          <ac:spMkLst>
            <pc:docMk/>
            <pc:sldMk cId="1420261725" sldId="2147480624"/>
            <ac:spMk id="24" creationId="{DFF27DD4-6115-7C80-EBF2-D0183B7BA7B8}"/>
          </ac:spMkLst>
        </pc:spChg>
        <pc:spChg chg="topLvl">
          <ac:chgData name="Louise Munch Blicher" userId="9d12dafc-6951-4125-9e82-2684190d08ec" providerId="ADAL" clId="{A0CEFBB3-1CCC-5EBA-B4B6-9C012A781A03}" dt="2026-04-23T13:31:53.390" v="1470" actId="165"/>
          <ac:spMkLst>
            <pc:docMk/>
            <pc:sldMk cId="1420261725" sldId="2147480624"/>
            <ac:spMk id="27" creationId="{56D6B7EE-693F-3A13-2968-B066ACC6EDF9}"/>
          </ac:spMkLst>
        </pc:spChg>
        <pc:spChg chg="add mod">
          <ac:chgData name="Louise Munch Blicher" userId="9d12dafc-6951-4125-9e82-2684190d08ec" providerId="ADAL" clId="{A0CEFBB3-1CCC-5EBA-B4B6-9C012A781A03}" dt="2026-04-24T08:59:04.473" v="2055" actId="207"/>
          <ac:spMkLst>
            <pc:docMk/>
            <pc:sldMk cId="1420261725" sldId="2147480624"/>
            <ac:spMk id="29" creationId="{69F688F9-9758-0ED6-40B2-85A888560F09}"/>
          </ac:spMkLst>
        </pc:spChg>
        <pc:spChg chg="add mod">
          <ac:chgData name="Louise Munch Blicher" userId="9d12dafc-6951-4125-9e82-2684190d08ec" providerId="ADAL" clId="{A0CEFBB3-1CCC-5EBA-B4B6-9C012A781A03}" dt="2026-04-24T09:14:41.341" v="2139" actId="14100"/>
          <ac:spMkLst>
            <pc:docMk/>
            <pc:sldMk cId="1420261725" sldId="2147480624"/>
            <ac:spMk id="30" creationId="{438BB28C-150B-6810-2811-85258233AA87}"/>
          </ac:spMkLst>
        </pc:spChg>
        <pc:spChg chg="add mod">
          <ac:chgData name="Louise Munch Blicher" userId="9d12dafc-6951-4125-9e82-2684190d08ec" providerId="ADAL" clId="{A0CEFBB3-1CCC-5EBA-B4B6-9C012A781A03}" dt="2026-04-23T20:34:45.629" v="1711" actId="167"/>
          <ac:spMkLst>
            <pc:docMk/>
            <pc:sldMk cId="1420261725" sldId="2147480624"/>
            <ac:spMk id="31" creationId="{118ADBF7-198C-30FC-127C-6926C9B8B150}"/>
          </ac:spMkLst>
        </pc:spChg>
        <pc:spChg chg="add mod">
          <ac:chgData name="Louise Munch Blicher" userId="9d12dafc-6951-4125-9e82-2684190d08ec" providerId="ADAL" clId="{A0CEFBB3-1CCC-5EBA-B4B6-9C012A781A03}" dt="2026-04-23T20:35:48.412" v="1718" actId="14100"/>
          <ac:spMkLst>
            <pc:docMk/>
            <pc:sldMk cId="1420261725" sldId="2147480624"/>
            <ac:spMk id="32" creationId="{FF4345E1-F82E-E6FF-BB47-B3C7F2575ADA}"/>
          </ac:spMkLst>
        </pc:spChg>
        <pc:spChg chg="mod">
          <ac:chgData name="Louise Munch Blicher" userId="9d12dafc-6951-4125-9e82-2684190d08ec" providerId="ADAL" clId="{A0CEFBB3-1CCC-5EBA-B4B6-9C012A781A03}" dt="2026-04-23T13:31:15.325" v="1464"/>
          <ac:spMkLst>
            <pc:docMk/>
            <pc:sldMk cId="1420261725" sldId="2147480624"/>
            <ac:spMk id="41" creationId="{0EA9D863-6EB5-FC47-C1A0-946AAE7C320B}"/>
          </ac:spMkLst>
        </pc:spChg>
        <pc:spChg chg="mod">
          <ac:chgData name="Louise Munch Blicher" userId="9d12dafc-6951-4125-9e82-2684190d08ec" providerId="ADAL" clId="{A0CEFBB3-1CCC-5EBA-B4B6-9C012A781A03}" dt="2026-04-23T13:31:15.325" v="1464"/>
          <ac:spMkLst>
            <pc:docMk/>
            <pc:sldMk cId="1420261725" sldId="2147480624"/>
            <ac:spMk id="44" creationId="{BCB4338A-3E3A-68C7-9BA0-DEEE8EC7F13E}"/>
          </ac:spMkLst>
        </pc:spChg>
        <pc:spChg chg="mod">
          <ac:chgData name="Louise Munch Blicher" userId="9d12dafc-6951-4125-9e82-2684190d08ec" providerId="ADAL" clId="{A0CEFBB3-1CCC-5EBA-B4B6-9C012A781A03}" dt="2026-04-23T13:31:15.325" v="1464"/>
          <ac:spMkLst>
            <pc:docMk/>
            <pc:sldMk cId="1420261725" sldId="2147480624"/>
            <ac:spMk id="46" creationId="{67708EC9-026A-5BA1-EF04-8F5E44391391}"/>
          </ac:spMkLst>
        </pc:spChg>
        <pc:spChg chg="mod topLvl">
          <ac:chgData name="Louise Munch Blicher" userId="9d12dafc-6951-4125-9e82-2684190d08ec" providerId="ADAL" clId="{A0CEFBB3-1CCC-5EBA-B4B6-9C012A781A03}" dt="2026-04-23T20:30:36.551" v="1492" actId="1076"/>
          <ac:spMkLst>
            <pc:docMk/>
            <pc:sldMk cId="1420261725" sldId="2147480624"/>
            <ac:spMk id="58" creationId="{4C1490E0-621C-D8F0-1398-5B977B2FE99F}"/>
          </ac:spMkLst>
        </pc:spChg>
        <pc:spChg chg="mod">
          <ac:chgData name="Louise Munch Blicher" userId="9d12dafc-6951-4125-9e82-2684190d08ec" providerId="ADAL" clId="{A0CEFBB3-1CCC-5EBA-B4B6-9C012A781A03}" dt="2026-04-23T20:30:36.551" v="1492" actId="1076"/>
          <ac:spMkLst>
            <pc:docMk/>
            <pc:sldMk cId="1420261725" sldId="2147480624"/>
            <ac:spMk id="61" creationId="{86DAD656-8AD4-D5B6-784A-D7C9F6123DAB}"/>
          </ac:spMkLst>
        </pc:spChg>
        <pc:spChg chg="mod topLvl">
          <ac:chgData name="Louise Munch Blicher" userId="9d12dafc-6951-4125-9e82-2684190d08ec" providerId="ADAL" clId="{A0CEFBB3-1CCC-5EBA-B4B6-9C012A781A03}" dt="2026-04-23T20:30:36.551" v="1492" actId="1076"/>
          <ac:spMkLst>
            <pc:docMk/>
            <pc:sldMk cId="1420261725" sldId="2147480624"/>
            <ac:spMk id="62" creationId="{3DC93361-2B49-F4DC-6456-0663FD9D80C5}"/>
          </ac:spMkLst>
        </pc:spChg>
        <pc:spChg chg="mod">
          <ac:chgData name="Louise Munch Blicher" userId="9d12dafc-6951-4125-9e82-2684190d08ec" providerId="ADAL" clId="{A0CEFBB3-1CCC-5EBA-B4B6-9C012A781A03}" dt="2026-04-23T20:30:36.551" v="1492" actId="1076"/>
          <ac:spMkLst>
            <pc:docMk/>
            <pc:sldMk cId="1420261725" sldId="2147480624"/>
            <ac:spMk id="64" creationId="{4D63EE68-C0FF-C45C-A48B-A3FB5E740AAA}"/>
          </ac:spMkLst>
        </pc:spChg>
        <pc:spChg chg="mod topLvl">
          <ac:chgData name="Louise Munch Blicher" userId="9d12dafc-6951-4125-9e82-2684190d08ec" providerId="ADAL" clId="{A0CEFBB3-1CCC-5EBA-B4B6-9C012A781A03}" dt="2026-04-23T20:30:36.551" v="1492" actId="1076"/>
          <ac:spMkLst>
            <pc:docMk/>
            <pc:sldMk cId="1420261725" sldId="2147480624"/>
            <ac:spMk id="65" creationId="{C1C25DD6-9AC8-303C-24AD-11ABD10E71FD}"/>
          </ac:spMkLst>
        </pc:spChg>
        <pc:spChg chg="mod topLvl">
          <ac:chgData name="Louise Munch Blicher" userId="9d12dafc-6951-4125-9e82-2684190d08ec" providerId="ADAL" clId="{A0CEFBB3-1CCC-5EBA-B4B6-9C012A781A03}" dt="2026-04-23T20:30:36.551" v="1492" actId="1076"/>
          <ac:spMkLst>
            <pc:docMk/>
            <pc:sldMk cId="1420261725" sldId="2147480624"/>
            <ac:spMk id="66" creationId="{3243F384-6896-37C8-77BA-D3C06F4D89AB}"/>
          </ac:spMkLst>
        </pc:spChg>
        <pc:spChg chg="topLvl">
          <ac:chgData name="Louise Munch Blicher" userId="9d12dafc-6951-4125-9e82-2684190d08ec" providerId="ADAL" clId="{A0CEFBB3-1CCC-5EBA-B4B6-9C012A781A03}" dt="2026-04-23T20:30:26.407" v="1490" actId="165"/>
          <ac:spMkLst>
            <pc:docMk/>
            <pc:sldMk cId="1420261725" sldId="2147480624"/>
            <ac:spMk id="67" creationId="{D3415A01-5C5B-25E0-76F6-D7697B48C144}"/>
          </ac:spMkLst>
        </pc:spChg>
        <pc:spChg chg="mod topLvl">
          <ac:chgData name="Louise Munch Blicher" userId="9d12dafc-6951-4125-9e82-2684190d08ec" providerId="ADAL" clId="{A0CEFBB3-1CCC-5EBA-B4B6-9C012A781A03}" dt="2026-04-23T20:30:36.551" v="1492" actId="1076"/>
          <ac:spMkLst>
            <pc:docMk/>
            <pc:sldMk cId="1420261725" sldId="2147480624"/>
            <ac:spMk id="68" creationId="{2A56A7B7-19F0-3C7A-1252-5920EC230D59}"/>
          </ac:spMkLst>
        </pc:spChg>
        <pc:spChg chg="topLvl">
          <ac:chgData name="Louise Munch Blicher" userId="9d12dafc-6951-4125-9e82-2684190d08ec" providerId="ADAL" clId="{A0CEFBB3-1CCC-5EBA-B4B6-9C012A781A03}" dt="2026-04-23T20:30:26.407" v="1490" actId="165"/>
          <ac:spMkLst>
            <pc:docMk/>
            <pc:sldMk cId="1420261725" sldId="2147480624"/>
            <ac:spMk id="70" creationId="{0DA5A8C5-8A05-3BD3-C31C-24421DD65439}"/>
          </ac:spMkLst>
        </pc:spChg>
        <pc:spChg chg="mod">
          <ac:chgData name="Louise Munch Blicher" userId="9d12dafc-6951-4125-9e82-2684190d08ec" providerId="ADAL" clId="{A0CEFBB3-1CCC-5EBA-B4B6-9C012A781A03}" dt="2026-04-23T13:31:15.325" v="1464"/>
          <ac:spMkLst>
            <pc:docMk/>
            <pc:sldMk cId="1420261725" sldId="2147480624"/>
            <ac:spMk id="77" creationId="{8D2248D2-C1F9-2916-A30A-31559B784501}"/>
          </ac:spMkLst>
        </pc:spChg>
        <pc:spChg chg="mod">
          <ac:chgData name="Louise Munch Blicher" userId="9d12dafc-6951-4125-9e82-2684190d08ec" providerId="ADAL" clId="{A0CEFBB3-1CCC-5EBA-B4B6-9C012A781A03}" dt="2026-04-23T13:31:15.325" v="1464"/>
          <ac:spMkLst>
            <pc:docMk/>
            <pc:sldMk cId="1420261725" sldId="2147480624"/>
            <ac:spMk id="78" creationId="{C51CFC5C-E35C-3A84-0002-98F94553BB47}"/>
          </ac:spMkLst>
        </pc:spChg>
        <pc:spChg chg="mod topLvl">
          <ac:chgData name="Louise Munch Blicher" userId="9d12dafc-6951-4125-9e82-2684190d08ec" providerId="ADAL" clId="{A0CEFBB3-1CCC-5EBA-B4B6-9C012A781A03}" dt="2026-04-23T20:30:36.551" v="1492" actId="1076"/>
          <ac:spMkLst>
            <pc:docMk/>
            <pc:sldMk cId="1420261725" sldId="2147480624"/>
            <ac:spMk id="79" creationId="{BB55E0E0-3376-A9FB-3CF1-4E52DFDC6AFE}"/>
          </ac:spMkLst>
        </pc:spChg>
        <pc:spChg chg="topLvl">
          <ac:chgData name="Louise Munch Blicher" userId="9d12dafc-6951-4125-9e82-2684190d08ec" providerId="ADAL" clId="{A0CEFBB3-1CCC-5EBA-B4B6-9C012A781A03}" dt="2026-04-23T20:30:26.407" v="1490" actId="165"/>
          <ac:spMkLst>
            <pc:docMk/>
            <pc:sldMk cId="1420261725" sldId="2147480624"/>
            <ac:spMk id="81" creationId="{64E34BC5-7376-C08C-0DC7-88161496144C}"/>
          </ac:spMkLst>
        </pc:spChg>
        <pc:spChg chg="add del">
          <ac:chgData name="Louise Munch Blicher" userId="9d12dafc-6951-4125-9e82-2684190d08ec" providerId="ADAL" clId="{A0CEFBB3-1CCC-5EBA-B4B6-9C012A781A03}" dt="2026-04-23T13:31:46.990" v="1469" actId="478"/>
          <ac:spMkLst>
            <pc:docMk/>
            <pc:sldMk cId="1420261725" sldId="2147480624"/>
            <ac:spMk id="82" creationId="{E26754D2-5BD9-9523-3494-0C21DAEB0F36}"/>
          </ac:spMkLst>
        </pc:spChg>
        <pc:spChg chg="mod">
          <ac:chgData name="Louise Munch Blicher" userId="9d12dafc-6951-4125-9e82-2684190d08ec" providerId="ADAL" clId="{A0CEFBB3-1CCC-5EBA-B4B6-9C012A781A03}" dt="2026-04-23T20:30:36.551" v="1492" actId="1076"/>
          <ac:spMkLst>
            <pc:docMk/>
            <pc:sldMk cId="1420261725" sldId="2147480624"/>
            <ac:spMk id="83" creationId="{A7347CC5-71C3-6A2B-BD2F-13D6932C8754}"/>
          </ac:spMkLst>
        </pc:spChg>
        <pc:spChg chg="mod topLvl">
          <ac:chgData name="Louise Munch Blicher" userId="9d12dafc-6951-4125-9e82-2684190d08ec" providerId="ADAL" clId="{A0CEFBB3-1CCC-5EBA-B4B6-9C012A781A03}" dt="2026-04-23T20:30:26.407" v="1490" actId="165"/>
          <ac:spMkLst>
            <pc:docMk/>
            <pc:sldMk cId="1420261725" sldId="2147480624"/>
            <ac:spMk id="88" creationId="{2C071D42-6AEE-FDF8-49F9-CC566150398E}"/>
          </ac:spMkLst>
        </pc:spChg>
        <pc:spChg chg="add mod">
          <ac:chgData name="Louise Munch Blicher" userId="9d12dafc-6951-4125-9e82-2684190d08ec" providerId="ADAL" clId="{A0CEFBB3-1CCC-5EBA-B4B6-9C012A781A03}" dt="2026-04-25T06:40:22.953" v="3125" actId="1076"/>
          <ac:spMkLst>
            <pc:docMk/>
            <pc:sldMk cId="1420261725" sldId="2147480624"/>
            <ac:spMk id="89" creationId="{A3913C37-8118-CA9F-934B-E0C6A6E527CC}"/>
          </ac:spMkLst>
        </pc:spChg>
        <pc:spChg chg="add mod">
          <ac:chgData name="Louise Munch Blicher" userId="9d12dafc-6951-4125-9e82-2684190d08ec" providerId="ADAL" clId="{A0CEFBB3-1CCC-5EBA-B4B6-9C012A781A03}" dt="2026-04-24T09:12:06.208" v="2110" actId="1037"/>
          <ac:spMkLst>
            <pc:docMk/>
            <pc:sldMk cId="1420261725" sldId="2147480624"/>
            <ac:spMk id="90" creationId="{FF6207DA-1991-0E46-8EAB-032CCCA6FECC}"/>
          </ac:spMkLst>
        </pc:spChg>
        <pc:spChg chg="add mod">
          <ac:chgData name="Louise Munch Blicher" userId="9d12dafc-6951-4125-9e82-2684190d08ec" providerId="ADAL" clId="{A0CEFBB3-1CCC-5EBA-B4B6-9C012A781A03}" dt="2026-04-24T09:14:48.940" v="2143" actId="1036"/>
          <ac:spMkLst>
            <pc:docMk/>
            <pc:sldMk cId="1420261725" sldId="2147480624"/>
            <ac:spMk id="91" creationId="{B7191D21-9B61-CD8C-5E9F-0D503EBF096C}"/>
          </ac:spMkLst>
        </pc:spChg>
        <pc:spChg chg="add mod">
          <ac:chgData name="Louise Munch Blicher" userId="9d12dafc-6951-4125-9e82-2684190d08ec" providerId="ADAL" clId="{A0CEFBB3-1CCC-5EBA-B4B6-9C012A781A03}" dt="2026-04-25T06:40:58.334" v="3129" actId="2711"/>
          <ac:spMkLst>
            <pc:docMk/>
            <pc:sldMk cId="1420261725" sldId="2147480624"/>
            <ac:spMk id="94" creationId="{FB63AD6D-D497-97B2-1F13-E1870066A145}"/>
          </ac:spMkLst>
        </pc:spChg>
        <pc:grpChg chg="topLvl">
          <ac:chgData name="Louise Munch Blicher" userId="9d12dafc-6951-4125-9e82-2684190d08ec" providerId="ADAL" clId="{A0CEFBB3-1CCC-5EBA-B4B6-9C012A781A03}" dt="2026-04-23T13:31:53.390" v="1470" actId="165"/>
          <ac:grpSpMkLst>
            <pc:docMk/>
            <pc:sldMk cId="1420261725" sldId="2147480624"/>
            <ac:grpSpMk id="26" creationId="{61F2B437-2526-3837-CE30-9C51C7906C93}"/>
          </ac:grpSpMkLst>
        </pc:grpChg>
        <pc:grpChg chg="topLvl">
          <ac:chgData name="Louise Munch Blicher" userId="9d12dafc-6951-4125-9e82-2684190d08ec" providerId="ADAL" clId="{A0CEFBB3-1CCC-5EBA-B4B6-9C012A781A03}" dt="2026-04-23T13:31:53.390" v="1470" actId="165"/>
          <ac:grpSpMkLst>
            <pc:docMk/>
            <pc:sldMk cId="1420261725" sldId="2147480624"/>
            <ac:grpSpMk id="28" creationId="{CEE60B42-CBF9-69D9-C35E-AFFBF5A63894}"/>
          </ac:grpSpMkLst>
        </pc:grpChg>
        <pc:cxnChg chg="add mod">
          <ac:chgData name="Louise Munch Blicher" userId="9d12dafc-6951-4125-9e82-2684190d08ec" providerId="ADAL" clId="{A0CEFBB3-1CCC-5EBA-B4B6-9C012A781A03}" dt="2026-04-24T09:14:53.522" v="2145" actId="1035"/>
          <ac:cxnSpMkLst>
            <pc:docMk/>
            <pc:sldMk cId="1420261725" sldId="2147480624"/>
            <ac:cxnSpMk id="60" creationId="{93476CE9-EF2A-0052-F857-4EA8CEFC802C}"/>
          </ac:cxnSpMkLst>
        </pc:cxnChg>
      </pc:sldChg>
      <pc:sldChg chg="addSp delSp modSp add mod modClrScheme chgLayout">
        <pc:chgData name="Louise Munch Blicher" userId="9d12dafc-6951-4125-9e82-2684190d08ec" providerId="ADAL" clId="{A0CEFBB3-1CCC-5EBA-B4B6-9C012A781A03}" dt="2026-05-08T08:27:14.407" v="9895" actId="1076"/>
        <pc:sldMkLst>
          <pc:docMk/>
          <pc:sldMk cId="3498047173" sldId="2147480625"/>
        </pc:sldMkLst>
        <pc:spChg chg="mod ord">
          <ac:chgData name="Louise Munch Blicher" userId="9d12dafc-6951-4125-9e82-2684190d08ec" providerId="ADAL" clId="{A0CEFBB3-1CCC-5EBA-B4B6-9C012A781A03}" dt="2026-04-24T09:19:57.615" v="2163" actId="1076"/>
          <ac:spMkLst>
            <pc:docMk/>
            <pc:sldMk cId="3498047173" sldId="2147480625"/>
            <ac:spMk id="2" creationId="{5AC4244F-60F5-5E98-D639-D44E50120B28}"/>
          </ac:spMkLst>
        </pc:spChg>
        <pc:spChg chg="add mod topLvl">
          <ac:chgData name="Louise Munch Blicher" userId="9d12dafc-6951-4125-9e82-2684190d08ec" providerId="ADAL" clId="{A0CEFBB3-1CCC-5EBA-B4B6-9C012A781A03}" dt="2026-04-24T09:31:24.446" v="2337" actId="165"/>
          <ac:spMkLst>
            <pc:docMk/>
            <pc:sldMk cId="3498047173" sldId="2147480625"/>
            <ac:spMk id="14" creationId="{3EFA59A7-1F0F-A36D-0E95-63E037273E74}"/>
          </ac:spMkLst>
        </pc:spChg>
        <pc:spChg chg="add mod">
          <ac:chgData name="Louise Munch Blicher" userId="9d12dafc-6951-4125-9e82-2684190d08ec" providerId="ADAL" clId="{A0CEFBB3-1CCC-5EBA-B4B6-9C012A781A03}" dt="2026-04-24T09:57:55.314" v="3073" actId="2711"/>
          <ac:spMkLst>
            <pc:docMk/>
            <pc:sldMk cId="3498047173" sldId="2147480625"/>
            <ac:spMk id="23" creationId="{0EC4FA4E-F7D1-0616-A060-E23F1D8594EE}"/>
          </ac:spMkLst>
        </pc:spChg>
        <pc:spChg chg="add mod">
          <ac:chgData name="Louise Munch Blicher" userId="9d12dafc-6951-4125-9e82-2684190d08ec" providerId="ADAL" clId="{A0CEFBB3-1CCC-5EBA-B4B6-9C012A781A03}" dt="2026-04-24T09:58:03.392" v="3074" actId="2711"/>
          <ac:spMkLst>
            <pc:docMk/>
            <pc:sldMk cId="3498047173" sldId="2147480625"/>
            <ac:spMk id="26" creationId="{B696EE85-40B6-557D-97D1-0F8DC5E827DB}"/>
          </ac:spMkLst>
        </pc:spChg>
        <pc:spChg chg="add mod">
          <ac:chgData name="Louise Munch Blicher" userId="9d12dafc-6951-4125-9e82-2684190d08ec" providerId="ADAL" clId="{A0CEFBB3-1CCC-5EBA-B4B6-9C012A781A03}" dt="2026-04-24T09:24:45.222" v="2264" actId="1076"/>
          <ac:spMkLst>
            <pc:docMk/>
            <pc:sldMk cId="3498047173" sldId="2147480625"/>
            <ac:spMk id="56" creationId="{34144DDA-962A-03CB-3ED6-AC63E9FABA8F}"/>
          </ac:spMkLst>
        </pc:spChg>
        <pc:spChg chg="add mod">
          <ac:chgData name="Louise Munch Blicher" userId="9d12dafc-6951-4125-9e82-2684190d08ec" providerId="ADAL" clId="{A0CEFBB3-1CCC-5EBA-B4B6-9C012A781A03}" dt="2026-04-24T09:27:13.982" v="2299" actId="255"/>
          <ac:spMkLst>
            <pc:docMk/>
            <pc:sldMk cId="3498047173" sldId="2147480625"/>
            <ac:spMk id="60" creationId="{059250D9-54A0-6121-3068-C506B5E49AD2}"/>
          </ac:spMkLst>
        </pc:spChg>
        <pc:spChg chg="add mod">
          <ac:chgData name="Louise Munch Blicher" userId="9d12dafc-6951-4125-9e82-2684190d08ec" providerId="ADAL" clId="{A0CEFBB3-1CCC-5EBA-B4B6-9C012A781A03}" dt="2026-05-08T08:27:14.407" v="9895" actId="1076"/>
          <ac:spMkLst>
            <pc:docMk/>
            <pc:sldMk cId="3498047173" sldId="2147480625"/>
            <ac:spMk id="62" creationId="{03AFFBBE-7859-8BD6-8B22-59B9266175ED}"/>
          </ac:spMkLst>
        </pc:spChg>
        <pc:spChg chg="add mod">
          <ac:chgData name="Louise Munch Blicher" userId="9d12dafc-6951-4125-9e82-2684190d08ec" providerId="ADAL" clId="{A0CEFBB3-1CCC-5EBA-B4B6-9C012A781A03}" dt="2026-05-08T08:27:14.407" v="9895" actId="1076"/>
          <ac:spMkLst>
            <pc:docMk/>
            <pc:sldMk cId="3498047173" sldId="2147480625"/>
            <ac:spMk id="65" creationId="{38690A68-0D35-62F2-618F-1C0BE329FE47}"/>
          </ac:spMkLst>
        </pc:spChg>
        <pc:spChg chg="add mod">
          <ac:chgData name="Louise Munch Blicher" userId="9d12dafc-6951-4125-9e82-2684190d08ec" providerId="ADAL" clId="{A0CEFBB3-1CCC-5EBA-B4B6-9C012A781A03}" dt="2026-04-24T09:29:27.849" v="2322" actId="948"/>
          <ac:spMkLst>
            <pc:docMk/>
            <pc:sldMk cId="3498047173" sldId="2147480625"/>
            <ac:spMk id="67" creationId="{88AC2E50-10D8-7F55-6549-2EC52B459F82}"/>
          </ac:spMkLst>
        </pc:spChg>
        <pc:spChg chg="add mod">
          <ac:chgData name="Louise Munch Blicher" userId="9d12dafc-6951-4125-9e82-2684190d08ec" providerId="ADAL" clId="{A0CEFBB3-1CCC-5EBA-B4B6-9C012A781A03}" dt="2026-04-24T09:29:27.849" v="2322" actId="948"/>
          <ac:spMkLst>
            <pc:docMk/>
            <pc:sldMk cId="3498047173" sldId="2147480625"/>
            <ac:spMk id="68" creationId="{FC7D31C6-BEC2-D882-8875-1EFB56E9560F}"/>
          </ac:spMkLst>
        </pc:spChg>
        <pc:spChg chg="add mod">
          <ac:chgData name="Louise Munch Blicher" userId="9d12dafc-6951-4125-9e82-2684190d08ec" providerId="ADAL" clId="{A0CEFBB3-1CCC-5EBA-B4B6-9C012A781A03}" dt="2026-04-24T09:30:26.820" v="2333" actId="948"/>
          <ac:spMkLst>
            <pc:docMk/>
            <pc:sldMk cId="3498047173" sldId="2147480625"/>
            <ac:spMk id="69" creationId="{891A65CF-3ADB-9ECC-C102-E0B326C83ABB}"/>
          </ac:spMkLst>
        </pc:spChg>
        <pc:spChg chg="mod">
          <ac:chgData name="Louise Munch Blicher" userId="9d12dafc-6951-4125-9e82-2684190d08ec" providerId="ADAL" clId="{A0CEFBB3-1CCC-5EBA-B4B6-9C012A781A03}" dt="2026-04-24T09:31:47.262" v="2343"/>
          <ac:spMkLst>
            <pc:docMk/>
            <pc:sldMk cId="3498047173" sldId="2147480625"/>
            <ac:spMk id="74" creationId="{E3416ED6-779B-D42C-CC2D-2491B246DCD6}"/>
          </ac:spMkLst>
        </pc:spChg>
        <pc:spChg chg="mod">
          <ac:chgData name="Louise Munch Blicher" userId="9d12dafc-6951-4125-9e82-2684190d08ec" providerId="ADAL" clId="{A0CEFBB3-1CCC-5EBA-B4B6-9C012A781A03}" dt="2026-04-24T09:31:47.262" v="2343"/>
          <ac:spMkLst>
            <pc:docMk/>
            <pc:sldMk cId="3498047173" sldId="2147480625"/>
            <ac:spMk id="77" creationId="{98F17D01-19E9-9381-2F24-D20F315DA343}"/>
          </ac:spMkLst>
        </pc:spChg>
        <pc:spChg chg="mod">
          <ac:chgData name="Louise Munch Blicher" userId="9d12dafc-6951-4125-9e82-2684190d08ec" providerId="ADAL" clId="{A0CEFBB3-1CCC-5EBA-B4B6-9C012A781A03}" dt="2026-04-24T09:32:31.723" v="2721" actId="207"/>
          <ac:spMkLst>
            <pc:docMk/>
            <pc:sldMk cId="3498047173" sldId="2147480625"/>
            <ac:spMk id="78" creationId="{78259509-C8AE-E9F6-073F-EB74851BDB03}"/>
          </ac:spMkLst>
        </pc:spChg>
        <pc:spChg chg="mod">
          <ac:chgData name="Louise Munch Blicher" userId="9d12dafc-6951-4125-9e82-2684190d08ec" providerId="ADAL" clId="{A0CEFBB3-1CCC-5EBA-B4B6-9C012A781A03}" dt="2026-04-24T09:31:47.262" v="2343"/>
          <ac:spMkLst>
            <pc:docMk/>
            <pc:sldMk cId="3498047173" sldId="2147480625"/>
            <ac:spMk id="79" creationId="{5BB97A2D-A8DF-D465-9881-E5376A922CDD}"/>
          </ac:spMkLst>
        </pc:spChg>
        <pc:spChg chg="mod">
          <ac:chgData name="Louise Munch Blicher" userId="9d12dafc-6951-4125-9e82-2684190d08ec" providerId="ADAL" clId="{A0CEFBB3-1CCC-5EBA-B4B6-9C012A781A03}" dt="2026-04-24T09:32:31.723" v="2721" actId="207"/>
          <ac:spMkLst>
            <pc:docMk/>
            <pc:sldMk cId="3498047173" sldId="2147480625"/>
            <ac:spMk id="80" creationId="{8456F30B-9607-D0C7-4A6D-562827AB5937}"/>
          </ac:spMkLst>
        </pc:spChg>
        <pc:spChg chg="mod">
          <ac:chgData name="Louise Munch Blicher" userId="9d12dafc-6951-4125-9e82-2684190d08ec" providerId="ADAL" clId="{A0CEFBB3-1CCC-5EBA-B4B6-9C012A781A03}" dt="2026-04-24T09:31:47.262" v="2343"/>
          <ac:spMkLst>
            <pc:docMk/>
            <pc:sldMk cId="3498047173" sldId="2147480625"/>
            <ac:spMk id="81" creationId="{4B7CEF70-DABB-B3DE-4B48-C2A9EE29C0AC}"/>
          </ac:spMkLst>
        </pc:spChg>
        <pc:spChg chg="mod">
          <ac:chgData name="Louise Munch Blicher" userId="9d12dafc-6951-4125-9e82-2684190d08ec" providerId="ADAL" clId="{A0CEFBB3-1CCC-5EBA-B4B6-9C012A781A03}" dt="2026-04-24T09:32:24.528" v="2554" actId="207"/>
          <ac:spMkLst>
            <pc:docMk/>
            <pc:sldMk cId="3498047173" sldId="2147480625"/>
            <ac:spMk id="82" creationId="{B3C25BA2-AC28-43D9-218B-9A6F5C470442}"/>
          </ac:spMkLst>
        </pc:spChg>
        <pc:spChg chg="mod">
          <ac:chgData name="Louise Munch Blicher" userId="9d12dafc-6951-4125-9e82-2684190d08ec" providerId="ADAL" clId="{A0CEFBB3-1CCC-5EBA-B4B6-9C012A781A03}" dt="2026-04-24T09:31:47.262" v="2343"/>
          <ac:spMkLst>
            <pc:docMk/>
            <pc:sldMk cId="3498047173" sldId="2147480625"/>
            <ac:spMk id="83" creationId="{D7B13FAC-89EC-EEF4-5E7F-51D698BAAC2C}"/>
          </ac:spMkLst>
        </pc:spChg>
        <pc:spChg chg="mod">
          <ac:chgData name="Louise Munch Blicher" userId="9d12dafc-6951-4125-9e82-2684190d08ec" providerId="ADAL" clId="{A0CEFBB3-1CCC-5EBA-B4B6-9C012A781A03}" dt="2026-04-24T09:32:47.490" v="2722" actId="27803"/>
          <ac:spMkLst>
            <pc:docMk/>
            <pc:sldMk cId="3498047173" sldId="2147480625"/>
            <ac:spMk id="86" creationId="{3AAF4756-DA30-3FCC-A52E-5C4C32B82B5D}"/>
          </ac:spMkLst>
        </pc:spChg>
        <pc:spChg chg="mod">
          <ac:chgData name="Louise Munch Blicher" userId="9d12dafc-6951-4125-9e82-2684190d08ec" providerId="ADAL" clId="{A0CEFBB3-1CCC-5EBA-B4B6-9C012A781A03}" dt="2026-04-24T09:32:47.490" v="2722" actId="27803"/>
          <ac:spMkLst>
            <pc:docMk/>
            <pc:sldMk cId="3498047173" sldId="2147480625"/>
            <ac:spMk id="87" creationId="{CDB82623-D332-1E15-19F7-09834E97CC0F}"/>
          </ac:spMkLst>
        </pc:spChg>
        <pc:spChg chg="mod">
          <ac:chgData name="Louise Munch Blicher" userId="9d12dafc-6951-4125-9e82-2684190d08ec" providerId="ADAL" clId="{A0CEFBB3-1CCC-5EBA-B4B6-9C012A781A03}" dt="2026-04-24T09:32:47.490" v="2722" actId="27803"/>
          <ac:spMkLst>
            <pc:docMk/>
            <pc:sldMk cId="3498047173" sldId="2147480625"/>
            <ac:spMk id="89" creationId="{A7F5FEEA-BAF5-5B3C-DB40-090EAEA687B8}"/>
          </ac:spMkLst>
        </pc:spChg>
        <pc:spChg chg="mod topLvl">
          <ac:chgData name="Louise Munch Blicher" userId="9d12dafc-6951-4125-9e82-2684190d08ec" providerId="ADAL" clId="{A0CEFBB3-1CCC-5EBA-B4B6-9C012A781A03}" dt="2026-04-24T09:33:03.013" v="2726" actId="165"/>
          <ac:spMkLst>
            <pc:docMk/>
            <pc:sldMk cId="3498047173" sldId="2147480625"/>
            <ac:spMk id="90" creationId="{86FC648F-0450-5B56-B973-D86B36E7BB65}"/>
          </ac:spMkLst>
        </pc:spChg>
        <pc:spChg chg="mod">
          <ac:chgData name="Louise Munch Blicher" userId="9d12dafc-6951-4125-9e82-2684190d08ec" providerId="ADAL" clId="{A0CEFBB3-1CCC-5EBA-B4B6-9C012A781A03}" dt="2026-04-24T09:55:28.225" v="2924" actId="1076"/>
          <ac:spMkLst>
            <pc:docMk/>
            <pc:sldMk cId="3498047173" sldId="2147480625"/>
            <ac:spMk id="155" creationId="{5082367F-775A-30E3-79F9-F4F96A111635}"/>
          </ac:spMkLst>
        </pc:spChg>
        <pc:spChg chg="mod">
          <ac:chgData name="Louise Munch Blicher" userId="9d12dafc-6951-4125-9e82-2684190d08ec" providerId="ADAL" clId="{A0CEFBB3-1CCC-5EBA-B4B6-9C012A781A03}" dt="2026-04-24T09:55:22.791" v="2922" actId="27803"/>
          <ac:spMkLst>
            <pc:docMk/>
            <pc:sldMk cId="3498047173" sldId="2147480625"/>
            <ac:spMk id="156" creationId="{54C05AC6-C303-A2EE-754C-C7E5F5573FA9}"/>
          </ac:spMkLst>
        </pc:spChg>
        <pc:spChg chg="mod">
          <ac:chgData name="Louise Munch Blicher" userId="9d12dafc-6951-4125-9e82-2684190d08ec" providerId="ADAL" clId="{A0CEFBB3-1CCC-5EBA-B4B6-9C012A781A03}" dt="2026-04-24T09:56:16.059" v="2942" actId="571"/>
          <ac:spMkLst>
            <pc:docMk/>
            <pc:sldMk cId="3498047173" sldId="2147480625"/>
            <ac:spMk id="168" creationId="{13F9A83D-B633-2D9F-AD3D-651CDD03C4FA}"/>
          </ac:spMkLst>
        </pc:spChg>
        <pc:spChg chg="mod">
          <ac:chgData name="Louise Munch Blicher" userId="9d12dafc-6951-4125-9e82-2684190d08ec" providerId="ADAL" clId="{A0CEFBB3-1CCC-5EBA-B4B6-9C012A781A03}" dt="2026-04-24T09:56:16.059" v="2942" actId="571"/>
          <ac:spMkLst>
            <pc:docMk/>
            <pc:sldMk cId="3498047173" sldId="2147480625"/>
            <ac:spMk id="169" creationId="{68613A3D-9263-B297-26C4-270AD5F87428}"/>
          </ac:spMkLst>
        </pc:spChg>
        <pc:spChg chg="mod">
          <ac:chgData name="Louise Munch Blicher" userId="9d12dafc-6951-4125-9e82-2684190d08ec" providerId="ADAL" clId="{A0CEFBB3-1CCC-5EBA-B4B6-9C012A781A03}" dt="2026-04-24T09:56:16.059" v="2942" actId="571"/>
          <ac:spMkLst>
            <pc:docMk/>
            <pc:sldMk cId="3498047173" sldId="2147480625"/>
            <ac:spMk id="170" creationId="{EF73C13D-8E84-21D1-1BE8-520378ED15F1}"/>
          </ac:spMkLst>
        </pc:spChg>
        <pc:spChg chg="mod">
          <ac:chgData name="Louise Munch Blicher" userId="9d12dafc-6951-4125-9e82-2684190d08ec" providerId="ADAL" clId="{A0CEFBB3-1CCC-5EBA-B4B6-9C012A781A03}" dt="2026-04-24T09:56:16.059" v="2942" actId="571"/>
          <ac:spMkLst>
            <pc:docMk/>
            <pc:sldMk cId="3498047173" sldId="2147480625"/>
            <ac:spMk id="178" creationId="{925FF613-287B-E3F4-93A3-F0B879B0EE63}"/>
          </ac:spMkLst>
        </pc:spChg>
        <pc:spChg chg="mod">
          <ac:chgData name="Louise Munch Blicher" userId="9d12dafc-6951-4125-9e82-2684190d08ec" providerId="ADAL" clId="{A0CEFBB3-1CCC-5EBA-B4B6-9C012A781A03}" dt="2026-04-24T09:56:16.059" v="2942" actId="571"/>
          <ac:spMkLst>
            <pc:docMk/>
            <pc:sldMk cId="3498047173" sldId="2147480625"/>
            <ac:spMk id="179" creationId="{25C6F241-DD42-0DA2-F3B0-56B22ED4B3C9}"/>
          </ac:spMkLst>
        </pc:spChg>
        <pc:spChg chg="mod">
          <ac:chgData name="Louise Munch Blicher" userId="9d12dafc-6951-4125-9e82-2684190d08ec" providerId="ADAL" clId="{A0CEFBB3-1CCC-5EBA-B4B6-9C012A781A03}" dt="2026-04-24T09:56:16.059" v="2942" actId="571"/>
          <ac:spMkLst>
            <pc:docMk/>
            <pc:sldMk cId="3498047173" sldId="2147480625"/>
            <ac:spMk id="182" creationId="{96E030E5-D3EC-533B-78E9-462D66DBAD48}"/>
          </ac:spMkLst>
        </pc:spChg>
        <pc:spChg chg="mod">
          <ac:chgData name="Louise Munch Blicher" userId="9d12dafc-6951-4125-9e82-2684190d08ec" providerId="ADAL" clId="{A0CEFBB3-1CCC-5EBA-B4B6-9C012A781A03}" dt="2026-04-24T09:56:16.059" v="2942" actId="571"/>
          <ac:spMkLst>
            <pc:docMk/>
            <pc:sldMk cId="3498047173" sldId="2147480625"/>
            <ac:spMk id="183" creationId="{4B2AE113-90DA-C445-9C73-25FC46539AD0}"/>
          </ac:spMkLst>
        </pc:spChg>
        <pc:spChg chg="mod">
          <ac:chgData name="Louise Munch Blicher" userId="9d12dafc-6951-4125-9e82-2684190d08ec" providerId="ADAL" clId="{A0CEFBB3-1CCC-5EBA-B4B6-9C012A781A03}" dt="2026-04-24T09:56:16.059" v="2942" actId="571"/>
          <ac:spMkLst>
            <pc:docMk/>
            <pc:sldMk cId="3498047173" sldId="2147480625"/>
            <ac:spMk id="184" creationId="{3F1D3157-069B-3BCA-0F5B-2D1BACBE03FE}"/>
          </ac:spMkLst>
        </pc:spChg>
        <pc:spChg chg="mod">
          <ac:chgData name="Louise Munch Blicher" userId="9d12dafc-6951-4125-9e82-2684190d08ec" providerId="ADAL" clId="{A0CEFBB3-1CCC-5EBA-B4B6-9C012A781A03}" dt="2026-04-24T09:56:16.059" v="2942" actId="571"/>
          <ac:spMkLst>
            <pc:docMk/>
            <pc:sldMk cId="3498047173" sldId="2147480625"/>
            <ac:spMk id="185" creationId="{4141E091-A322-5D50-846B-1B2A78305EBE}"/>
          </ac:spMkLst>
        </pc:spChg>
        <pc:spChg chg="mod">
          <ac:chgData name="Louise Munch Blicher" userId="9d12dafc-6951-4125-9e82-2684190d08ec" providerId="ADAL" clId="{A0CEFBB3-1CCC-5EBA-B4B6-9C012A781A03}" dt="2026-04-24T09:56:16.059" v="2942" actId="571"/>
          <ac:spMkLst>
            <pc:docMk/>
            <pc:sldMk cId="3498047173" sldId="2147480625"/>
            <ac:spMk id="186" creationId="{24D2FA0B-5B74-85C1-0153-BB0AB689DBB2}"/>
          </ac:spMkLst>
        </pc:spChg>
        <pc:grpChg chg="add mod">
          <ac:chgData name="Louise Munch Blicher" userId="9d12dafc-6951-4125-9e82-2684190d08ec" providerId="ADAL" clId="{A0CEFBB3-1CCC-5EBA-B4B6-9C012A781A03}" dt="2026-04-24T09:32:15.511" v="2352" actId="1076"/>
          <ac:grpSpMkLst>
            <pc:docMk/>
            <pc:sldMk cId="3498047173" sldId="2147480625"/>
            <ac:grpSpMk id="72" creationId="{F2C3DEA4-B859-1393-7EDD-9561C696314F}"/>
          </ac:grpSpMkLst>
        </pc:grpChg>
        <pc:grpChg chg="mod">
          <ac:chgData name="Louise Munch Blicher" userId="9d12dafc-6951-4125-9e82-2684190d08ec" providerId="ADAL" clId="{A0CEFBB3-1CCC-5EBA-B4B6-9C012A781A03}" dt="2026-04-24T09:31:47.262" v="2343"/>
          <ac:grpSpMkLst>
            <pc:docMk/>
            <pc:sldMk cId="3498047173" sldId="2147480625"/>
            <ac:grpSpMk id="76" creationId="{71E16B5C-CDD1-3927-2F26-0C2D2A37E8EA}"/>
          </ac:grpSpMkLst>
        </pc:grpChg>
        <pc:grpChg chg="mod topLvl">
          <ac:chgData name="Louise Munch Blicher" userId="9d12dafc-6951-4125-9e82-2684190d08ec" providerId="ADAL" clId="{A0CEFBB3-1CCC-5EBA-B4B6-9C012A781A03}" dt="2026-04-24T09:56:10.450" v="2941" actId="1076"/>
          <ac:grpSpMkLst>
            <pc:docMk/>
            <pc:sldMk cId="3498047173" sldId="2147480625"/>
            <ac:grpSpMk id="85" creationId="{65E35DCD-46D4-3E61-CDA3-0600D78DDB59}"/>
          </ac:grpSpMkLst>
        </pc:grpChg>
        <pc:grpChg chg="add del topLvl">
          <ac:chgData name="Louise Munch Blicher" userId="9d12dafc-6951-4125-9e82-2684190d08ec" providerId="ADAL" clId="{A0CEFBB3-1CCC-5EBA-B4B6-9C012A781A03}" dt="2026-04-24T09:56:01.868" v="2938" actId="478"/>
          <ac:grpSpMkLst>
            <pc:docMk/>
            <pc:sldMk cId="3498047173" sldId="2147480625"/>
            <ac:grpSpMk id="154" creationId="{CC42719F-905A-5244-BB44-EAAC2A3C95F9}"/>
          </ac:grpSpMkLst>
        </pc:grpChg>
        <pc:picChg chg="topLvl">
          <ac:chgData name="Louise Munch Blicher" userId="9d12dafc-6951-4125-9e82-2684190d08ec" providerId="ADAL" clId="{A0CEFBB3-1CCC-5EBA-B4B6-9C012A781A03}" dt="2026-04-24T09:31:24.446" v="2337" actId="165"/>
          <ac:picMkLst>
            <pc:docMk/>
            <pc:sldMk cId="3498047173" sldId="2147480625"/>
            <ac:picMk id="15" creationId="{72C4E924-6353-4846-E16B-88835A258DCC}"/>
          </ac:picMkLst>
        </pc:picChg>
        <pc:picChg chg="add mod">
          <ac:chgData name="Louise Munch Blicher" userId="9d12dafc-6951-4125-9e82-2684190d08ec" providerId="ADAL" clId="{A0CEFBB3-1CCC-5EBA-B4B6-9C012A781A03}" dt="2026-04-24T09:24:45.222" v="2264" actId="1076"/>
          <ac:picMkLst>
            <pc:docMk/>
            <pc:sldMk cId="3498047173" sldId="2147480625"/>
            <ac:picMk id="58" creationId="{F32A233C-3F50-DC77-AE0F-AE1F9471BEDB}"/>
          </ac:picMkLst>
        </pc:picChg>
        <pc:picChg chg="add mod">
          <ac:chgData name="Louise Munch Blicher" userId="9d12dafc-6951-4125-9e82-2684190d08ec" providerId="ADAL" clId="{A0CEFBB3-1CCC-5EBA-B4B6-9C012A781A03}" dt="2026-04-24T09:57:16.732" v="3069" actId="207"/>
          <ac:picMkLst>
            <pc:docMk/>
            <pc:sldMk cId="3498047173" sldId="2147480625"/>
            <ac:picMk id="187" creationId="{812DF682-7026-C699-4D3A-7CFD2535DC51}"/>
          </ac:picMkLst>
        </pc:picChg>
        <pc:cxnChg chg="mod topLvl">
          <ac:chgData name="Louise Munch Blicher" userId="9d12dafc-6951-4125-9e82-2684190d08ec" providerId="ADAL" clId="{A0CEFBB3-1CCC-5EBA-B4B6-9C012A781A03}" dt="2026-04-24T09:31:24.446" v="2337" actId="165"/>
          <ac:cxnSpMkLst>
            <pc:docMk/>
            <pc:sldMk cId="3498047173" sldId="2147480625"/>
            <ac:cxnSpMk id="12" creationId="{5435038F-7DA7-5C8D-6A01-378DEE874E5C}"/>
          </ac:cxnSpMkLst>
        </pc:cxnChg>
        <pc:cxnChg chg="mod">
          <ac:chgData name="Louise Munch Blicher" userId="9d12dafc-6951-4125-9e82-2684190d08ec" providerId="ADAL" clId="{A0CEFBB3-1CCC-5EBA-B4B6-9C012A781A03}" dt="2026-04-24T09:26:19.859" v="2286" actId="1076"/>
          <ac:cxnSpMkLst>
            <pc:docMk/>
            <pc:sldMk cId="3498047173" sldId="2147480625"/>
            <ac:cxnSpMk id="21" creationId="{3DE8A375-6B0A-39C5-4F89-A97747DE8213}"/>
          </ac:cxnSpMkLst>
        </pc:cxnChg>
        <pc:cxnChg chg="mod">
          <ac:chgData name="Louise Munch Blicher" userId="9d12dafc-6951-4125-9e82-2684190d08ec" providerId="ADAL" clId="{A0CEFBB3-1CCC-5EBA-B4B6-9C012A781A03}" dt="2026-04-24T09:26:19.859" v="2286" actId="1076"/>
          <ac:cxnSpMkLst>
            <pc:docMk/>
            <pc:sldMk cId="3498047173" sldId="2147480625"/>
            <ac:cxnSpMk id="25" creationId="{B27E1FCB-9C61-8AE0-9EC2-4BFF0D98140C}"/>
          </ac:cxnSpMkLst>
        </pc:cxnChg>
        <pc:cxnChg chg="add mod">
          <ac:chgData name="Louise Munch Blicher" userId="9d12dafc-6951-4125-9e82-2684190d08ec" providerId="ADAL" clId="{A0CEFBB3-1CCC-5EBA-B4B6-9C012A781A03}" dt="2026-04-24T09:59:01.254" v="3079" actId="692"/>
          <ac:cxnSpMkLst>
            <pc:docMk/>
            <pc:sldMk cId="3498047173" sldId="2147480625"/>
            <ac:cxnSpMk id="55" creationId="{5542D060-5F4D-71B2-845D-9C75104CF73B}"/>
          </ac:cxnSpMkLst>
        </pc:cxnChg>
      </pc:sldChg>
      <pc:sldChg chg="addSp delSp modSp add mod modClrScheme chgLayout">
        <pc:chgData name="Louise Munch Blicher" userId="9d12dafc-6951-4125-9e82-2684190d08ec" providerId="ADAL" clId="{A0CEFBB3-1CCC-5EBA-B4B6-9C012A781A03}" dt="2026-04-29T12:09:17.788" v="8015" actId="14100"/>
        <pc:sldMkLst>
          <pc:docMk/>
          <pc:sldMk cId="2820396330" sldId="2147480626"/>
        </pc:sldMkLst>
        <pc:spChg chg="mod ord">
          <ac:chgData name="Louise Munch Blicher" userId="9d12dafc-6951-4125-9e82-2684190d08ec" providerId="ADAL" clId="{A0CEFBB3-1CCC-5EBA-B4B6-9C012A781A03}" dt="2026-04-24T10:01:14.037" v="3090" actId="700"/>
          <ac:spMkLst>
            <pc:docMk/>
            <pc:sldMk cId="2820396330" sldId="2147480626"/>
            <ac:spMk id="2" creationId="{E110195A-A2FF-2480-F2B3-7C139FC31518}"/>
          </ac:spMkLst>
        </pc:spChg>
        <pc:spChg chg="mod">
          <ac:chgData name="Louise Munch Blicher" userId="9d12dafc-6951-4125-9e82-2684190d08ec" providerId="ADAL" clId="{A0CEFBB3-1CCC-5EBA-B4B6-9C012A781A03}" dt="2026-04-25T06:44:26.066" v="3176" actId="1076"/>
          <ac:spMkLst>
            <pc:docMk/>
            <pc:sldMk cId="2820396330" sldId="2147480626"/>
            <ac:spMk id="15" creationId="{EE9F706C-8018-B057-9E73-056ADA4DEDC2}"/>
          </ac:spMkLst>
        </pc:spChg>
        <pc:spChg chg="mod">
          <ac:chgData name="Louise Munch Blicher" userId="9d12dafc-6951-4125-9e82-2684190d08ec" providerId="ADAL" clId="{A0CEFBB3-1CCC-5EBA-B4B6-9C012A781A03}" dt="2026-04-25T06:44:26.066" v="3176" actId="1076"/>
          <ac:spMkLst>
            <pc:docMk/>
            <pc:sldMk cId="2820396330" sldId="2147480626"/>
            <ac:spMk id="21" creationId="{76D2BC1D-B0E6-4D65-1CCA-6BF9A85945D8}"/>
          </ac:spMkLst>
        </pc:spChg>
        <pc:spChg chg="mod">
          <ac:chgData name="Louise Munch Blicher" userId="9d12dafc-6951-4125-9e82-2684190d08ec" providerId="ADAL" clId="{A0CEFBB3-1CCC-5EBA-B4B6-9C012A781A03}" dt="2026-04-25T06:41:42.540" v="3130"/>
          <ac:spMkLst>
            <pc:docMk/>
            <pc:sldMk cId="2820396330" sldId="2147480626"/>
            <ac:spMk id="23" creationId="{B35B6AEC-6397-5F62-F524-DAAF8421AC88}"/>
          </ac:spMkLst>
        </pc:spChg>
        <pc:spChg chg="mod">
          <ac:chgData name="Louise Munch Blicher" userId="9d12dafc-6951-4125-9e82-2684190d08ec" providerId="ADAL" clId="{A0CEFBB3-1CCC-5EBA-B4B6-9C012A781A03}" dt="2026-04-25T06:41:42.540" v="3130"/>
          <ac:spMkLst>
            <pc:docMk/>
            <pc:sldMk cId="2820396330" sldId="2147480626"/>
            <ac:spMk id="24" creationId="{1D63013B-EE43-44BD-10BA-C10EBBF9792D}"/>
          </ac:spMkLst>
        </pc:spChg>
        <pc:spChg chg="mod">
          <ac:chgData name="Louise Munch Blicher" userId="9d12dafc-6951-4125-9e82-2684190d08ec" providerId="ADAL" clId="{A0CEFBB3-1CCC-5EBA-B4B6-9C012A781A03}" dt="2026-04-25T06:41:42.540" v="3130"/>
          <ac:spMkLst>
            <pc:docMk/>
            <pc:sldMk cId="2820396330" sldId="2147480626"/>
            <ac:spMk id="25" creationId="{CAAC2643-C05B-3941-A8BD-0DA63332632C}"/>
          </ac:spMkLst>
        </pc:spChg>
        <pc:spChg chg="mod">
          <ac:chgData name="Louise Munch Blicher" userId="9d12dafc-6951-4125-9e82-2684190d08ec" providerId="ADAL" clId="{A0CEFBB3-1CCC-5EBA-B4B6-9C012A781A03}" dt="2026-04-25T06:57:36.827" v="3566" actId="207"/>
          <ac:spMkLst>
            <pc:docMk/>
            <pc:sldMk cId="2820396330" sldId="2147480626"/>
            <ac:spMk id="26" creationId="{9C5056FD-A211-E4F9-1FCD-035B26B26D8E}"/>
          </ac:spMkLst>
        </pc:spChg>
        <pc:spChg chg="mod">
          <ac:chgData name="Louise Munch Blicher" userId="9d12dafc-6951-4125-9e82-2684190d08ec" providerId="ADAL" clId="{A0CEFBB3-1CCC-5EBA-B4B6-9C012A781A03}" dt="2026-04-25T06:44:26.066" v="3176" actId="1076"/>
          <ac:spMkLst>
            <pc:docMk/>
            <pc:sldMk cId="2820396330" sldId="2147480626"/>
            <ac:spMk id="28" creationId="{0027488F-FC9C-2B1D-4CA7-2CBB7829BD34}"/>
          </ac:spMkLst>
        </pc:spChg>
        <pc:spChg chg="mod">
          <ac:chgData name="Louise Munch Blicher" userId="9d12dafc-6951-4125-9e82-2684190d08ec" providerId="ADAL" clId="{A0CEFBB3-1CCC-5EBA-B4B6-9C012A781A03}" dt="2026-04-25T06:48:33.418" v="3242" actId="114"/>
          <ac:spMkLst>
            <pc:docMk/>
            <pc:sldMk cId="2820396330" sldId="2147480626"/>
            <ac:spMk id="29" creationId="{4034FF97-1DCC-504D-DC70-FF9A1C7D2C38}"/>
          </ac:spMkLst>
        </pc:spChg>
        <pc:spChg chg="mod">
          <ac:chgData name="Louise Munch Blicher" userId="9d12dafc-6951-4125-9e82-2684190d08ec" providerId="ADAL" clId="{A0CEFBB3-1CCC-5EBA-B4B6-9C012A781A03}" dt="2026-04-25T06:43:32.873" v="3168" actId="207"/>
          <ac:spMkLst>
            <pc:docMk/>
            <pc:sldMk cId="2820396330" sldId="2147480626"/>
            <ac:spMk id="30" creationId="{ECEE482E-0809-13B5-F274-8273BA8B1CD5}"/>
          </ac:spMkLst>
        </pc:spChg>
        <pc:spChg chg="mod">
          <ac:chgData name="Louise Munch Blicher" userId="9d12dafc-6951-4125-9e82-2684190d08ec" providerId="ADAL" clId="{A0CEFBB3-1CCC-5EBA-B4B6-9C012A781A03}" dt="2026-04-25T06:43:16.080" v="3165" actId="114"/>
          <ac:spMkLst>
            <pc:docMk/>
            <pc:sldMk cId="2820396330" sldId="2147480626"/>
            <ac:spMk id="31" creationId="{C3291B92-E893-3F63-6EED-4D94DFEC1528}"/>
          </ac:spMkLst>
        </pc:spChg>
        <pc:spChg chg="mod">
          <ac:chgData name="Louise Munch Blicher" userId="9d12dafc-6951-4125-9e82-2684190d08ec" providerId="ADAL" clId="{A0CEFBB3-1CCC-5EBA-B4B6-9C012A781A03}" dt="2026-04-25T06:52:03.049" v="3428" actId="114"/>
          <ac:spMkLst>
            <pc:docMk/>
            <pc:sldMk cId="2820396330" sldId="2147480626"/>
            <ac:spMk id="32" creationId="{EFCE6A54-C349-9F52-477C-85825CB2CFCD}"/>
          </ac:spMkLst>
        </pc:spChg>
        <pc:spChg chg="mod">
          <ac:chgData name="Louise Munch Blicher" userId="9d12dafc-6951-4125-9e82-2684190d08ec" providerId="ADAL" clId="{A0CEFBB3-1CCC-5EBA-B4B6-9C012A781A03}" dt="2026-04-25T06:57:25.985" v="3564" actId="207"/>
          <ac:spMkLst>
            <pc:docMk/>
            <pc:sldMk cId="2820396330" sldId="2147480626"/>
            <ac:spMk id="33" creationId="{683545AD-C91C-41B6-6318-5DECD9B453CC}"/>
          </ac:spMkLst>
        </pc:spChg>
        <pc:spChg chg="mod">
          <ac:chgData name="Louise Munch Blicher" userId="9d12dafc-6951-4125-9e82-2684190d08ec" providerId="ADAL" clId="{A0CEFBB3-1CCC-5EBA-B4B6-9C012A781A03}" dt="2026-04-25T06:44:26.066" v="3176" actId="1076"/>
          <ac:spMkLst>
            <pc:docMk/>
            <pc:sldMk cId="2820396330" sldId="2147480626"/>
            <ac:spMk id="34" creationId="{C68ED1BB-94FC-CFFB-9FD8-0A3B40939904}"/>
          </ac:spMkLst>
        </pc:spChg>
        <pc:spChg chg="mod">
          <ac:chgData name="Louise Munch Blicher" userId="9d12dafc-6951-4125-9e82-2684190d08ec" providerId="ADAL" clId="{A0CEFBB3-1CCC-5EBA-B4B6-9C012A781A03}" dt="2026-04-25T06:57:25.985" v="3564" actId="207"/>
          <ac:spMkLst>
            <pc:docMk/>
            <pc:sldMk cId="2820396330" sldId="2147480626"/>
            <ac:spMk id="35" creationId="{4DD7F606-CB17-A212-501B-09061C1DDAF5}"/>
          </ac:spMkLst>
        </pc:spChg>
        <pc:spChg chg="mod">
          <ac:chgData name="Louise Munch Blicher" userId="9d12dafc-6951-4125-9e82-2684190d08ec" providerId="ADAL" clId="{A0CEFBB3-1CCC-5EBA-B4B6-9C012A781A03}" dt="2026-04-25T06:57:25.985" v="3564" actId="207"/>
          <ac:spMkLst>
            <pc:docMk/>
            <pc:sldMk cId="2820396330" sldId="2147480626"/>
            <ac:spMk id="36" creationId="{FA7F465B-8C1F-7E8E-9E06-5A9158E74D64}"/>
          </ac:spMkLst>
        </pc:spChg>
        <pc:spChg chg="mod">
          <ac:chgData name="Louise Munch Blicher" userId="9d12dafc-6951-4125-9e82-2684190d08ec" providerId="ADAL" clId="{A0CEFBB3-1CCC-5EBA-B4B6-9C012A781A03}" dt="2026-04-25T06:58:42.245" v="3597" actId="1076"/>
          <ac:spMkLst>
            <pc:docMk/>
            <pc:sldMk cId="2820396330" sldId="2147480626"/>
            <ac:spMk id="37" creationId="{DD3BC748-FEA1-4902-EB12-7484DF3D05DA}"/>
          </ac:spMkLst>
        </pc:spChg>
        <pc:spChg chg="mod topLvl">
          <ac:chgData name="Louise Munch Blicher" userId="9d12dafc-6951-4125-9e82-2684190d08ec" providerId="ADAL" clId="{A0CEFBB3-1CCC-5EBA-B4B6-9C012A781A03}" dt="2026-04-25T06:48:24.149" v="3240" actId="165"/>
          <ac:spMkLst>
            <pc:docMk/>
            <pc:sldMk cId="2820396330" sldId="2147480626"/>
            <ac:spMk id="40" creationId="{6F037A59-60DE-C93F-F95C-441DDF5719A9}"/>
          </ac:spMkLst>
        </pc:spChg>
        <pc:spChg chg="mod topLvl">
          <ac:chgData name="Louise Munch Blicher" userId="9d12dafc-6951-4125-9e82-2684190d08ec" providerId="ADAL" clId="{A0CEFBB3-1CCC-5EBA-B4B6-9C012A781A03}" dt="2026-04-25T06:48:33.418" v="3242" actId="114"/>
          <ac:spMkLst>
            <pc:docMk/>
            <pc:sldMk cId="2820396330" sldId="2147480626"/>
            <ac:spMk id="41" creationId="{C86EFE64-5D77-D79D-78C6-3F0278238702}"/>
          </ac:spMkLst>
        </pc:spChg>
        <pc:spChg chg="mod topLvl">
          <ac:chgData name="Louise Munch Blicher" userId="9d12dafc-6951-4125-9e82-2684190d08ec" providerId="ADAL" clId="{A0CEFBB3-1CCC-5EBA-B4B6-9C012A781A03}" dt="2026-04-25T06:48:33.418" v="3242" actId="114"/>
          <ac:spMkLst>
            <pc:docMk/>
            <pc:sldMk cId="2820396330" sldId="2147480626"/>
            <ac:spMk id="42" creationId="{A679BC4E-CAC2-1D70-4A99-A97305F305E9}"/>
          </ac:spMkLst>
        </pc:spChg>
        <pc:spChg chg="mod topLvl">
          <ac:chgData name="Louise Munch Blicher" userId="9d12dafc-6951-4125-9e82-2684190d08ec" providerId="ADAL" clId="{A0CEFBB3-1CCC-5EBA-B4B6-9C012A781A03}" dt="2026-04-25T06:51:48.147" v="3426" actId="165"/>
          <ac:spMkLst>
            <pc:docMk/>
            <pc:sldMk cId="2820396330" sldId="2147480626"/>
            <ac:spMk id="45" creationId="{E8050314-A82E-E151-12D2-D5D00814E4BA}"/>
          </ac:spMkLst>
        </pc:spChg>
        <pc:spChg chg="mod topLvl">
          <ac:chgData name="Louise Munch Blicher" userId="9d12dafc-6951-4125-9e82-2684190d08ec" providerId="ADAL" clId="{A0CEFBB3-1CCC-5EBA-B4B6-9C012A781A03}" dt="2026-04-25T06:52:03.049" v="3428" actId="114"/>
          <ac:spMkLst>
            <pc:docMk/>
            <pc:sldMk cId="2820396330" sldId="2147480626"/>
            <ac:spMk id="46" creationId="{E98BC636-8644-1A16-A615-B842774FE423}"/>
          </ac:spMkLst>
        </pc:spChg>
        <pc:spChg chg="mod topLvl">
          <ac:chgData name="Louise Munch Blicher" userId="9d12dafc-6951-4125-9e82-2684190d08ec" providerId="ADAL" clId="{A0CEFBB3-1CCC-5EBA-B4B6-9C012A781A03}" dt="2026-04-25T06:52:03.049" v="3428" actId="114"/>
          <ac:spMkLst>
            <pc:docMk/>
            <pc:sldMk cId="2820396330" sldId="2147480626"/>
            <ac:spMk id="47" creationId="{E9D08A8B-249C-CAA4-841B-3F6A2C3B056A}"/>
          </ac:spMkLst>
        </pc:spChg>
        <pc:spChg chg="mod topLvl">
          <ac:chgData name="Louise Munch Blicher" userId="9d12dafc-6951-4125-9e82-2684190d08ec" providerId="ADAL" clId="{A0CEFBB3-1CCC-5EBA-B4B6-9C012A781A03}" dt="2026-04-25T06:55:55.862" v="3553" actId="165"/>
          <ac:spMkLst>
            <pc:docMk/>
            <pc:sldMk cId="2820396330" sldId="2147480626"/>
            <ac:spMk id="50" creationId="{760CA175-C2DC-5C97-525F-B93661CE89AB}"/>
          </ac:spMkLst>
        </pc:spChg>
        <pc:spChg chg="mod topLvl">
          <ac:chgData name="Louise Munch Blicher" userId="9d12dafc-6951-4125-9e82-2684190d08ec" providerId="ADAL" clId="{A0CEFBB3-1CCC-5EBA-B4B6-9C012A781A03}" dt="2026-04-25T06:56:12.999" v="3555" actId="207"/>
          <ac:spMkLst>
            <pc:docMk/>
            <pc:sldMk cId="2820396330" sldId="2147480626"/>
            <ac:spMk id="51" creationId="{1F796442-8022-3347-6D43-EA00D75A2AE0}"/>
          </ac:spMkLst>
        </pc:spChg>
        <pc:spChg chg="mod topLvl">
          <ac:chgData name="Louise Munch Blicher" userId="9d12dafc-6951-4125-9e82-2684190d08ec" providerId="ADAL" clId="{A0CEFBB3-1CCC-5EBA-B4B6-9C012A781A03}" dt="2026-04-25T06:56:12.999" v="3555" actId="207"/>
          <ac:spMkLst>
            <pc:docMk/>
            <pc:sldMk cId="2820396330" sldId="2147480626"/>
            <ac:spMk id="52" creationId="{575FBDF1-51D0-22B9-723D-1E2C99BDDFE4}"/>
          </ac:spMkLst>
        </pc:spChg>
        <pc:spChg chg="mod">
          <ac:chgData name="Louise Munch Blicher" userId="9d12dafc-6951-4125-9e82-2684190d08ec" providerId="ADAL" clId="{A0CEFBB3-1CCC-5EBA-B4B6-9C012A781A03}" dt="2026-04-25T06:41:42.540" v="3130"/>
          <ac:spMkLst>
            <pc:docMk/>
            <pc:sldMk cId="2820396330" sldId="2147480626"/>
            <ac:spMk id="53" creationId="{EEB7B33F-83B5-19EF-C979-888C3974F198}"/>
          </ac:spMkLst>
        </pc:spChg>
        <pc:spChg chg="mod">
          <ac:chgData name="Louise Munch Blicher" userId="9d12dafc-6951-4125-9e82-2684190d08ec" providerId="ADAL" clId="{A0CEFBB3-1CCC-5EBA-B4B6-9C012A781A03}" dt="2026-04-25T06:58:42.245" v="3597" actId="1076"/>
          <ac:spMkLst>
            <pc:docMk/>
            <pc:sldMk cId="2820396330" sldId="2147480626"/>
            <ac:spMk id="54" creationId="{6F189703-5C77-BF31-769C-A8C8EA8D0F23}"/>
          </ac:spMkLst>
        </pc:spChg>
        <pc:spChg chg="mod">
          <ac:chgData name="Louise Munch Blicher" userId="9d12dafc-6951-4125-9e82-2684190d08ec" providerId="ADAL" clId="{A0CEFBB3-1CCC-5EBA-B4B6-9C012A781A03}" dt="2026-04-25T06:41:42.540" v="3130"/>
          <ac:spMkLst>
            <pc:docMk/>
            <pc:sldMk cId="2820396330" sldId="2147480626"/>
            <ac:spMk id="56" creationId="{A6D134C6-11C8-5681-8DB1-B13AB00D4E33}"/>
          </ac:spMkLst>
        </pc:spChg>
        <pc:spChg chg="mod">
          <ac:chgData name="Louise Munch Blicher" userId="9d12dafc-6951-4125-9e82-2684190d08ec" providerId="ADAL" clId="{A0CEFBB3-1CCC-5EBA-B4B6-9C012A781A03}" dt="2026-04-25T07:04:26.998" v="4255" actId="1076"/>
          <ac:spMkLst>
            <pc:docMk/>
            <pc:sldMk cId="2820396330" sldId="2147480626"/>
            <ac:spMk id="57" creationId="{BF08C4B7-D443-8AC5-7933-459774E75D1A}"/>
          </ac:spMkLst>
        </pc:spChg>
        <pc:spChg chg="mod">
          <ac:chgData name="Louise Munch Blicher" userId="9d12dafc-6951-4125-9e82-2684190d08ec" providerId="ADAL" clId="{A0CEFBB3-1CCC-5EBA-B4B6-9C012A781A03}" dt="2026-04-25T06:58:42.245" v="3597" actId="1076"/>
          <ac:spMkLst>
            <pc:docMk/>
            <pc:sldMk cId="2820396330" sldId="2147480626"/>
            <ac:spMk id="58" creationId="{00D0904D-8DBA-39E6-32A4-ED1A066002D4}"/>
          </ac:spMkLst>
        </pc:spChg>
        <pc:spChg chg="mod">
          <ac:chgData name="Louise Munch Blicher" userId="9d12dafc-6951-4125-9e82-2684190d08ec" providerId="ADAL" clId="{A0CEFBB3-1CCC-5EBA-B4B6-9C012A781A03}" dt="2026-04-25T06:41:42.540" v="3130"/>
          <ac:spMkLst>
            <pc:docMk/>
            <pc:sldMk cId="2820396330" sldId="2147480626"/>
            <ac:spMk id="59" creationId="{3C261D8D-8ABB-7A08-7EE0-739BE2C5F1C3}"/>
          </ac:spMkLst>
        </pc:spChg>
        <pc:spChg chg="mod">
          <ac:chgData name="Louise Munch Blicher" userId="9d12dafc-6951-4125-9e82-2684190d08ec" providerId="ADAL" clId="{A0CEFBB3-1CCC-5EBA-B4B6-9C012A781A03}" dt="2026-04-25T06:46:01.787" v="3191"/>
          <ac:spMkLst>
            <pc:docMk/>
            <pc:sldMk cId="2820396330" sldId="2147480626"/>
            <ac:spMk id="64" creationId="{3C91DC85-2E91-67B1-D855-F5F73F195847}"/>
          </ac:spMkLst>
        </pc:spChg>
        <pc:spChg chg="mod">
          <ac:chgData name="Louise Munch Blicher" userId="9d12dafc-6951-4125-9e82-2684190d08ec" providerId="ADAL" clId="{A0CEFBB3-1CCC-5EBA-B4B6-9C012A781A03}" dt="2026-04-25T06:46:01.787" v="3191"/>
          <ac:spMkLst>
            <pc:docMk/>
            <pc:sldMk cId="2820396330" sldId="2147480626"/>
            <ac:spMk id="65" creationId="{293FCB60-70D9-F74B-039C-9861190C0232}"/>
          </ac:spMkLst>
        </pc:spChg>
        <pc:spChg chg="mod">
          <ac:chgData name="Louise Munch Blicher" userId="9d12dafc-6951-4125-9e82-2684190d08ec" providerId="ADAL" clId="{A0CEFBB3-1CCC-5EBA-B4B6-9C012A781A03}" dt="2026-04-25T06:46:01.787" v="3191"/>
          <ac:spMkLst>
            <pc:docMk/>
            <pc:sldMk cId="2820396330" sldId="2147480626"/>
            <ac:spMk id="66" creationId="{701D9709-3925-8BF8-B27F-DE0921566A8E}"/>
          </ac:spMkLst>
        </pc:spChg>
        <pc:spChg chg="mod">
          <ac:chgData name="Louise Munch Blicher" userId="9d12dafc-6951-4125-9e82-2684190d08ec" providerId="ADAL" clId="{A0CEFBB3-1CCC-5EBA-B4B6-9C012A781A03}" dt="2026-04-25T06:46:01.787" v="3191"/>
          <ac:spMkLst>
            <pc:docMk/>
            <pc:sldMk cId="2820396330" sldId="2147480626"/>
            <ac:spMk id="67" creationId="{CD66499A-731D-54EE-8C65-AF5853C4A76F}"/>
          </ac:spMkLst>
        </pc:spChg>
        <pc:spChg chg="mod">
          <ac:chgData name="Louise Munch Blicher" userId="9d12dafc-6951-4125-9e82-2684190d08ec" providerId="ADAL" clId="{A0CEFBB3-1CCC-5EBA-B4B6-9C012A781A03}" dt="2026-04-25T06:50:47.281" v="3413" actId="571"/>
          <ac:spMkLst>
            <pc:docMk/>
            <pc:sldMk cId="2820396330" sldId="2147480626"/>
            <ac:spMk id="83" creationId="{EB2DFACE-6ADC-0796-CBE3-CF9F3B34908E}"/>
          </ac:spMkLst>
        </pc:spChg>
        <pc:spChg chg="mod">
          <ac:chgData name="Louise Munch Blicher" userId="9d12dafc-6951-4125-9e82-2684190d08ec" providerId="ADAL" clId="{A0CEFBB3-1CCC-5EBA-B4B6-9C012A781A03}" dt="2026-04-25T06:50:47.281" v="3413" actId="571"/>
          <ac:spMkLst>
            <pc:docMk/>
            <pc:sldMk cId="2820396330" sldId="2147480626"/>
            <ac:spMk id="84" creationId="{A90D182A-9570-2A22-C8D1-26AC7DFDF04C}"/>
          </ac:spMkLst>
        </pc:spChg>
        <pc:spChg chg="mod">
          <ac:chgData name="Louise Munch Blicher" userId="9d12dafc-6951-4125-9e82-2684190d08ec" providerId="ADAL" clId="{A0CEFBB3-1CCC-5EBA-B4B6-9C012A781A03}" dt="2026-04-25T06:50:47.281" v="3413" actId="571"/>
          <ac:spMkLst>
            <pc:docMk/>
            <pc:sldMk cId="2820396330" sldId="2147480626"/>
            <ac:spMk id="85" creationId="{E702E746-4ECF-6D25-33DE-7147BBA643B6}"/>
          </ac:spMkLst>
        </pc:spChg>
        <pc:spChg chg="mod">
          <ac:chgData name="Louise Munch Blicher" userId="9d12dafc-6951-4125-9e82-2684190d08ec" providerId="ADAL" clId="{A0CEFBB3-1CCC-5EBA-B4B6-9C012A781A03}" dt="2026-04-25T06:50:47.281" v="3413" actId="571"/>
          <ac:spMkLst>
            <pc:docMk/>
            <pc:sldMk cId="2820396330" sldId="2147480626"/>
            <ac:spMk id="86" creationId="{EB1A0FC1-F02B-18C3-9343-35FE3CD85896}"/>
          </ac:spMkLst>
        </pc:spChg>
        <pc:spChg chg="mod">
          <ac:chgData name="Louise Munch Blicher" userId="9d12dafc-6951-4125-9e82-2684190d08ec" providerId="ADAL" clId="{A0CEFBB3-1CCC-5EBA-B4B6-9C012A781A03}" dt="2026-04-25T06:50:55.311" v="3417"/>
          <ac:spMkLst>
            <pc:docMk/>
            <pc:sldMk cId="2820396330" sldId="2147480626"/>
            <ac:spMk id="88" creationId="{85A721FE-3A72-B9DD-D6E4-C9C03A5DFF28}"/>
          </ac:spMkLst>
        </pc:spChg>
        <pc:spChg chg="mod">
          <ac:chgData name="Louise Munch Blicher" userId="9d12dafc-6951-4125-9e82-2684190d08ec" providerId="ADAL" clId="{A0CEFBB3-1CCC-5EBA-B4B6-9C012A781A03}" dt="2026-04-25T06:50:55.311" v="3417"/>
          <ac:spMkLst>
            <pc:docMk/>
            <pc:sldMk cId="2820396330" sldId="2147480626"/>
            <ac:spMk id="90" creationId="{2FBE61A7-8F93-8B8A-E23F-B87CF7D773CC}"/>
          </ac:spMkLst>
        </pc:spChg>
        <pc:spChg chg="mod">
          <ac:chgData name="Louise Munch Blicher" userId="9d12dafc-6951-4125-9e82-2684190d08ec" providerId="ADAL" clId="{A0CEFBB3-1CCC-5EBA-B4B6-9C012A781A03}" dt="2026-04-25T06:50:55.311" v="3417"/>
          <ac:spMkLst>
            <pc:docMk/>
            <pc:sldMk cId="2820396330" sldId="2147480626"/>
            <ac:spMk id="91" creationId="{1AA03ED9-637B-06CC-0B29-18272DDC6397}"/>
          </ac:spMkLst>
        </pc:spChg>
        <pc:spChg chg="add mod">
          <ac:chgData name="Louise Munch Blicher" userId="9d12dafc-6951-4125-9e82-2684190d08ec" providerId="ADAL" clId="{A0CEFBB3-1CCC-5EBA-B4B6-9C012A781A03}" dt="2026-04-25T06:55:19.786" v="3548" actId="166"/>
          <ac:spMkLst>
            <pc:docMk/>
            <pc:sldMk cId="2820396330" sldId="2147480626"/>
            <ac:spMk id="122" creationId="{F4DF0CCF-0D3B-FF76-4860-6BC376F604ED}"/>
          </ac:spMkLst>
        </pc:spChg>
        <pc:spChg chg="add mod">
          <ac:chgData name="Louise Munch Blicher" userId="9d12dafc-6951-4125-9e82-2684190d08ec" providerId="ADAL" clId="{A0CEFBB3-1CCC-5EBA-B4B6-9C012A781A03}" dt="2026-04-25T06:54:41.172" v="3458" actId="571"/>
          <ac:spMkLst>
            <pc:docMk/>
            <pc:sldMk cId="2820396330" sldId="2147480626"/>
            <ac:spMk id="124" creationId="{D3EA5796-734F-5FD0-40C8-58F8BB1D07D0}"/>
          </ac:spMkLst>
        </pc:spChg>
        <pc:spChg chg="add mod">
          <ac:chgData name="Louise Munch Blicher" userId="9d12dafc-6951-4125-9e82-2684190d08ec" providerId="ADAL" clId="{A0CEFBB3-1CCC-5EBA-B4B6-9C012A781A03}" dt="2026-04-25T06:55:12.701" v="3547" actId="207"/>
          <ac:spMkLst>
            <pc:docMk/>
            <pc:sldMk cId="2820396330" sldId="2147480626"/>
            <ac:spMk id="125" creationId="{31E5022F-7C42-1661-4F50-886EED6295A1}"/>
          </ac:spMkLst>
        </pc:spChg>
        <pc:spChg chg="add mod">
          <ac:chgData name="Louise Munch Blicher" userId="9d12dafc-6951-4125-9e82-2684190d08ec" providerId="ADAL" clId="{A0CEFBB3-1CCC-5EBA-B4B6-9C012A781A03}" dt="2026-04-29T12:09:17.788" v="8015" actId="14100"/>
          <ac:spMkLst>
            <pc:docMk/>
            <pc:sldMk cId="2820396330" sldId="2147480626"/>
            <ac:spMk id="129" creationId="{438D1E21-5C9D-0098-78C1-000C4C7B823A}"/>
          </ac:spMkLst>
        </pc:spChg>
        <pc:spChg chg="add mod">
          <ac:chgData name="Louise Munch Blicher" userId="9d12dafc-6951-4125-9e82-2684190d08ec" providerId="ADAL" clId="{A0CEFBB3-1CCC-5EBA-B4B6-9C012A781A03}" dt="2026-04-25T06:59:33.037" v="3603" actId="2711"/>
          <ac:spMkLst>
            <pc:docMk/>
            <pc:sldMk cId="2820396330" sldId="2147480626"/>
            <ac:spMk id="130" creationId="{4C77A15E-AD4B-89BB-2D6C-30225690989C}"/>
          </ac:spMkLst>
        </pc:spChg>
        <pc:grpChg chg="add mod">
          <ac:chgData name="Louise Munch Blicher" userId="9d12dafc-6951-4125-9e82-2684190d08ec" providerId="ADAL" clId="{A0CEFBB3-1CCC-5EBA-B4B6-9C012A781A03}" dt="2026-04-25T06:41:42.540" v="3130"/>
          <ac:grpSpMkLst>
            <pc:docMk/>
            <pc:sldMk cId="2820396330" sldId="2147480626"/>
            <ac:grpSpMk id="6" creationId="{D0898FB5-419F-F4E5-8FF9-6A68EF4C797A}"/>
          </ac:grpSpMkLst>
        </pc:grpChg>
        <pc:grpChg chg="add mod">
          <ac:chgData name="Louise Munch Blicher" userId="9d12dafc-6951-4125-9e82-2684190d08ec" providerId="ADAL" clId="{A0CEFBB3-1CCC-5EBA-B4B6-9C012A781A03}" dt="2026-04-25T07:01:51.485" v="3630" actId="1076"/>
          <ac:grpSpMkLst>
            <pc:docMk/>
            <pc:sldMk cId="2820396330" sldId="2147480626"/>
            <ac:grpSpMk id="60" creationId="{63B40376-E96E-BB08-E400-62EE5E4D1BCA}"/>
          </ac:grpSpMkLst>
        </pc:grpChg>
        <pc:grpChg chg="add mod">
          <ac:chgData name="Louise Munch Blicher" userId="9d12dafc-6951-4125-9e82-2684190d08ec" providerId="ADAL" clId="{A0CEFBB3-1CCC-5EBA-B4B6-9C012A781A03}" dt="2026-04-25T06:46:01.787" v="3191"/>
          <ac:grpSpMkLst>
            <pc:docMk/>
            <pc:sldMk cId="2820396330" sldId="2147480626"/>
            <ac:grpSpMk id="63" creationId="{4ED96503-1DBC-8C9A-18D4-BAD135829553}"/>
          </ac:grpSpMkLst>
        </pc:grpChg>
        <pc:grpChg chg="add mod">
          <ac:chgData name="Louise Munch Blicher" userId="9d12dafc-6951-4125-9e82-2684190d08ec" providerId="ADAL" clId="{A0CEFBB3-1CCC-5EBA-B4B6-9C012A781A03}" dt="2026-04-25T07:01:51.485" v="3630" actId="1076"/>
          <ac:grpSpMkLst>
            <pc:docMk/>
            <pc:sldMk cId="2820396330" sldId="2147480626"/>
            <ac:grpSpMk id="69" creationId="{D82A7FEF-CC4F-57C4-AA7F-E479B66E398D}"/>
          </ac:grpSpMkLst>
        </pc:grpChg>
        <pc:grpChg chg="mod topLvl">
          <ac:chgData name="Louise Munch Blicher" userId="9d12dafc-6951-4125-9e82-2684190d08ec" providerId="ADAL" clId="{A0CEFBB3-1CCC-5EBA-B4B6-9C012A781A03}" dt="2026-04-25T06:51:02.626" v="3421" actId="1076"/>
          <ac:grpSpMkLst>
            <pc:docMk/>
            <pc:sldMk cId="2820396330" sldId="2147480626"/>
            <ac:grpSpMk id="81" creationId="{6A02B4AB-61F4-B00E-00F5-F146C54D9819}"/>
          </ac:grpSpMkLst>
        </pc:grpChg>
        <pc:grpChg chg="add mod">
          <ac:chgData name="Louise Munch Blicher" userId="9d12dafc-6951-4125-9e82-2684190d08ec" providerId="ADAL" clId="{A0CEFBB3-1CCC-5EBA-B4B6-9C012A781A03}" dt="2026-04-25T06:51:04.410" v="3422" actId="1076"/>
          <ac:grpSpMkLst>
            <pc:docMk/>
            <pc:sldMk cId="2820396330" sldId="2147480626"/>
            <ac:grpSpMk id="87" creationId="{25D459D3-4EF9-C4C9-AA5B-3A51DA1EA786}"/>
          </ac:grpSpMkLst>
        </pc:grpChg>
        <pc:grpChg chg="mod">
          <ac:chgData name="Louise Munch Blicher" userId="9d12dafc-6951-4125-9e82-2684190d08ec" providerId="ADAL" clId="{A0CEFBB3-1CCC-5EBA-B4B6-9C012A781A03}" dt="2026-04-25T06:50:55.311" v="3417"/>
          <ac:grpSpMkLst>
            <pc:docMk/>
            <pc:sldMk cId="2820396330" sldId="2147480626"/>
            <ac:grpSpMk id="89" creationId="{CDEA7DC2-9A91-C6EB-09A2-6FAEBD70B2C8}"/>
          </ac:grpSpMkLst>
        </pc:grpChg>
        <pc:grpChg chg="add mod">
          <ac:chgData name="Louise Munch Blicher" userId="9d12dafc-6951-4125-9e82-2684190d08ec" providerId="ADAL" clId="{A0CEFBB3-1CCC-5EBA-B4B6-9C012A781A03}" dt="2026-04-25T07:01:51.485" v="3630" actId="1076"/>
          <ac:grpSpMkLst>
            <pc:docMk/>
            <pc:sldMk cId="2820396330" sldId="2147480626"/>
            <ac:grpSpMk id="92" creationId="{4CFB0E6B-D915-A4C9-DC16-620289C458F6}"/>
          </ac:grpSpMkLst>
        </pc:grpChg>
        <pc:grpChg chg="add mod">
          <ac:chgData name="Louise Munch Blicher" userId="9d12dafc-6951-4125-9e82-2684190d08ec" providerId="ADAL" clId="{A0CEFBB3-1CCC-5EBA-B4B6-9C012A781A03}" dt="2026-04-25T07:01:51.485" v="3630" actId="1076"/>
          <ac:grpSpMkLst>
            <pc:docMk/>
            <pc:sldMk cId="2820396330" sldId="2147480626"/>
            <ac:grpSpMk id="126" creationId="{53CDC324-A786-024C-0D7B-62D2C8DA8E73}"/>
          </ac:grpSpMkLst>
        </pc:grpChg>
        <pc:picChg chg="add mod">
          <ac:chgData name="Louise Munch Blicher" userId="9d12dafc-6951-4125-9e82-2684190d08ec" providerId="ADAL" clId="{A0CEFBB3-1CCC-5EBA-B4B6-9C012A781A03}" dt="2026-04-25T06:41:42.540" v="3130"/>
          <ac:picMkLst>
            <pc:docMk/>
            <pc:sldMk cId="2820396330" sldId="2147480626"/>
            <ac:picMk id="4" creationId="{0F18D859-E892-B480-61CA-B95207E64D7B}"/>
          </ac:picMkLst>
        </pc:picChg>
        <pc:picChg chg="add mod">
          <ac:chgData name="Louise Munch Blicher" userId="9d12dafc-6951-4125-9e82-2684190d08ec" providerId="ADAL" clId="{A0CEFBB3-1CCC-5EBA-B4B6-9C012A781A03}" dt="2026-04-25T06:49:15.047" v="3253" actId="1038"/>
          <ac:picMkLst>
            <pc:docMk/>
            <pc:sldMk cId="2820396330" sldId="2147480626"/>
            <ac:picMk id="68" creationId="{4389BA03-F47B-683E-E145-C05EF576999C}"/>
          </ac:picMkLst>
        </pc:picChg>
        <pc:picChg chg="mod topLvl">
          <ac:chgData name="Louise Munch Blicher" userId="9d12dafc-6951-4125-9e82-2684190d08ec" providerId="ADAL" clId="{A0CEFBB3-1CCC-5EBA-B4B6-9C012A781A03}" dt="2026-04-25T06:54:37.767" v="3457" actId="1076"/>
          <ac:picMkLst>
            <pc:docMk/>
            <pc:sldMk cId="2820396330" sldId="2147480626"/>
            <ac:picMk id="109" creationId="{59A2A773-2627-2E4A-C1D1-FAABED6928F5}"/>
          </ac:picMkLst>
        </pc:picChg>
        <pc:picChg chg="add mod">
          <ac:chgData name="Louise Munch Blicher" userId="9d12dafc-6951-4125-9e82-2684190d08ec" providerId="ADAL" clId="{A0CEFBB3-1CCC-5EBA-B4B6-9C012A781A03}" dt="2026-04-25T07:04:30.528" v="4256" actId="14100"/>
          <ac:picMkLst>
            <pc:docMk/>
            <pc:sldMk cId="2820396330" sldId="2147480626"/>
            <ac:picMk id="128" creationId="{25C28EBA-F16E-72D7-E2E9-B0D7EA5F687B}"/>
          </ac:picMkLst>
        </pc:picChg>
        <pc:picChg chg="add mod">
          <ac:chgData name="Louise Munch Blicher" userId="9d12dafc-6951-4125-9e82-2684190d08ec" providerId="ADAL" clId="{A0CEFBB3-1CCC-5EBA-B4B6-9C012A781A03}" dt="2026-04-25T07:04:19.628" v="4252" actId="1076"/>
          <ac:picMkLst>
            <pc:docMk/>
            <pc:sldMk cId="2820396330" sldId="2147480626"/>
            <ac:picMk id="135" creationId="{EB696EED-D42B-FBE1-9248-5A5D874BB549}"/>
          </ac:picMkLst>
        </pc:picChg>
        <pc:cxnChg chg="mod">
          <ac:chgData name="Louise Munch Blicher" userId="9d12dafc-6951-4125-9e82-2684190d08ec" providerId="ADAL" clId="{A0CEFBB3-1CCC-5EBA-B4B6-9C012A781A03}" dt="2026-04-25T06:42:42.135" v="3162" actId="692"/>
          <ac:cxnSpMkLst>
            <pc:docMk/>
            <pc:sldMk cId="2820396330" sldId="2147480626"/>
            <ac:cxnSpMk id="9" creationId="{905A3E90-0230-97E7-4C79-9240B978E4AB}"/>
          </ac:cxnSpMkLst>
        </pc:cxnChg>
        <pc:cxnChg chg="mod topLvl">
          <ac:chgData name="Louise Munch Blicher" userId="9d12dafc-6951-4125-9e82-2684190d08ec" providerId="ADAL" clId="{A0CEFBB3-1CCC-5EBA-B4B6-9C012A781A03}" dt="2026-04-25T06:48:24.149" v="3240" actId="165"/>
          <ac:cxnSpMkLst>
            <pc:docMk/>
            <pc:sldMk cId="2820396330" sldId="2147480626"/>
            <ac:cxnSpMk id="39" creationId="{3A52D1AA-2816-1CEC-08DB-333A98E92CD5}"/>
          </ac:cxnSpMkLst>
        </pc:cxnChg>
        <pc:cxnChg chg="mod topLvl">
          <ac:chgData name="Louise Munch Blicher" userId="9d12dafc-6951-4125-9e82-2684190d08ec" providerId="ADAL" clId="{A0CEFBB3-1CCC-5EBA-B4B6-9C012A781A03}" dt="2026-04-25T06:52:22.849" v="3432" actId="692"/>
          <ac:cxnSpMkLst>
            <pc:docMk/>
            <pc:sldMk cId="2820396330" sldId="2147480626"/>
            <ac:cxnSpMk id="44" creationId="{95C8B627-06B9-349D-37E4-99BABFC578E2}"/>
          </ac:cxnSpMkLst>
        </pc:cxnChg>
        <pc:cxnChg chg="mod topLvl">
          <ac:chgData name="Louise Munch Blicher" userId="9d12dafc-6951-4125-9e82-2684190d08ec" providerId="ADAL" clId="{A0CEFBB3-1CCC-5EBA-B4B6-9C012A781A03}" dt="2026-04-25T06:56:24.018" v="3558" actId="692"/>
          <ac:cxnSpMkLst>
            <pc:docMk/>
            <pc:sldMk cId="2820396330" sldId="2147480626"/>
            <ac:cxnSpMk id="49" creationId="{9D97D776-6C83-66D7-4D41-9CF0C3E60F36}"/>
          </ac:cxnSpMkLst>
        </pc:cxnChg>
      </pc:sldChg>
      <pc:sldChg chg="addSp delSp modSp add mod modClrScheme chgLayout">
        <pc:chgData name="Louise Munch Blicher" userId="9d12dafc-6951-4125-9e82-2684190d08ec" providerId="ADAL" clId="{A0CEFBB3-1CCC-5EBA-B4B6-9C012A781A03}" dt="2026-04-25T08:07:49.507" v="7129" actId="1076"/>
        <pc:sldMkLst>
          <pc:docMk/>
          <pc:sldMk cId="1954223883" sldId="2147480628"/>
        </pc:sldMkLst>
        <pc:spChg chg="mod ord">
          <ac:chgData name="Louise Munch Blicher" userId="9d12dafc-6951-4125-9e82-2684190d08ec" providerId="ADAL" clId="{A0CEFBB3-1CCC-5EBA-B4B6-9C012A781A03}" dt="2026-04-25T07:57:19.463" v="6321" actId="700"/>
          <ac:spMkLst>
            <pc:docMk/>
            <pc:sldMk cId="1954223883" sldId="2147480628"/>
            <ac:spMk id="2" creationId="{2F91B5D1-4835-BF40-5651-92E82649BBAD}"/>
          </ac:spMkLst>
        </pc:spChg>
        <pc:spChg chg="mod topLvl">
          <ac:chgData name="Louise Munch Blicher" userId="9d12dafc-6951-4125-9e82-2684190d08ec" providerId="ADAL" clId="{A0CEFBB3-1CCC-5EBA-B4B6-9C012A781A03}" dt="2026-04-25T07:52:37.744" v="6130" actId="1076"/>
          <ac:spMkLst>
            <pc:docMk/>
            <pc:sldMk cId="1954223883" sldId="2147480628"/>
            <ac:spMk id="53" creationId="{1E12CB4E-FFD5-36A4-4F70-C850E48B1E82}"/>
          </ac:spMkLst>
        </pc:spChg>
        <pc:spChg chg="add mod">
          <ac:chgData name="Louise Munch Blicher" userId="9d12dafc-6951-4125-9e82-2684190d08ec" providerId="ADAL" clId="{A0CEFBB3-1CCC-5EBA-B4B6-9C012A781A03}" dt="2026-04-25T08:05:44.286" v="6956" actId="1076"/>
          <ac:spMkLst>
            <pc:docMk/>
            <pc:sldMk cId="1954223883" sldId="2147480628"/>
            <ac:spMk id="154" creationId="{BDACBF56-6F56-91C0-9601-2285FBB60126}"/>
          </ac:spMkLst>
        </pc:spChg>
        <pc:spChg chg="mod topLvl">
          <ac:chgData name="Louise Munch Blicher" userId="9d12dafc-6951-4125-9e82-2684190d08ec" providerId="ADAL" clId="{A0CEFBB3-1CCC-5EBA-B4B6-9C012A781A03}" dt="2026-04-25T07:47:04.026" v="6068" actId="207"/>
          <ac:spMkLst>
            <pc:docMk/>
            <pc:sldMk cId="1954223883" sldId="2147480628"/>
            <ac:spMk id="157" creationId="{6BBFE345-6DBE-5678-D9BD-D1BC0EAEA229}"/>
          </ac:spMkLst>
        </pc:spChg>
        <pc:spChg chg="mod topLvl">
          <ac:chgData name="Louise Munch Blicher" userId="9d12dafc-6951-4125-9e82-2684190d08ec" providerId="ADAL" clId="{A0CEFBB3-1CCC-5EBA-B4B6-9C012A781A03}" dt="2026-04-25T07:46:39.045" v="5927" actId="207"/>
          <ac:spMkLst>
            <pc:docMk/>
            <pc:sldMk cId="1954223883" sldId="2147480628"/>
            <ac:spMk id="158" creationId="{49ABE111-2762-8798-BB1B-3146364E985B}"/>
          </ac:spMkLst>
        </pc:spChg>
        <pc:spChg chg="mod topLvl">
          <ac:chgData name="Louise Munch Blicher" userId="9d12dafc-6951-4125-9e82-2684190d08ec" providerId="ADAL" clId="{A0CEFBB3-1CCC-5EBA-B4B6-9C012A781A03}" dt="2026-04-25T07:46:30.501" v="5854" actId="207"/>
          <ac:spMkLst>
            <pc:docMk/>
            <pc:sldMk cId="1954223883" sldId="2147480628"/>
            <ac:spMk id="159" creationId="{7D0C3EA4-501E-16DA-6604-9C6881079767}"/>
          </ac:spMkLst>
        </pc:spChg>
        <pc:spChg chg="add mod">
          <ac:chgData name="Louise Munch Blicher" userId="9d12dafc-6951-4125-9e82-2684190d08ec" providerId="ADAL" clId="{A0CEFBB3-1CCC-5EBA-B4B6-9C012A781A03}" dt="2026-04-25T08:05:13.533" v="6952" actId="1076"/>
          <ac:spMkLst>
            <pc:docMk/>
            <pc:sldMk cId="1954223883" sldId="2147480628"/>
            <ac:spMk id="163" creationId="{E1330084-E589-D22A-46A9-8D35D0CA2EF2}"/>
          </ac:spMkLst>
        </pc:spChg>
        <pc:spChg chg="mod">
          <ac:chgData name="Louise Munch Blicher" userId="9d12dafc-6951-4125-9e82-2684190d08ec" providerId="ADAL" clId="{A0CEFBB3-1CCC-5EBA-B4B6-9C012A781A03}" dt="2026-04-25T07:48:11.315" v="6083" actId="207"/>
          <ac:spMkLst>
            <pc:docMk/>
            <pc:sldMk cId="1954223883" sldId="2147480628"/>
            <ac:spMk id="165" creationId="{3509EA86-2800-B902-9C50-598D4E6E9AA6}"/>
          </ac:spMkLst>
        </pc:spChg>
        <pc:spChg chg="mod">
          <ac:chgData name="Louise Munch Blicher" userId="9d12dafc-6951-4125-9e82-2684190d08ec" providerId="ADAL" clId="{A0CEFBB3-1CCC-5EBA-B4B6-9C012A781A03}" dt="2026-04-25T07:52:37.744" v="6130" actId="1076"/>
          <ac:spMkLst>
            <pc:docMk/>
            <pc:sldMk cId="1954223883" sldId="2147480628"/>
            <ac:spMk id="166" creationId="{FF76693E-D12B-EFC5-1905-63ADC00F9005}"/>
          </ac:spMkLst>
        </pc:spChg>
        <pc:spChg chg="mod">
          <ac:chgData name="Louise Munch Blicher" userId="9d12dafc-6951-4125-9e82-2684190d08ec" providerId="ADAL" clId="{A0CEFBB3-1CCC-5EBA-B4B6-9C012A781A03}" dt="2026-04-25T07:48:05.324" v="6082" actId="207"/>
          <ac:spMkLst>
            <pc:docMk/>
            <pc:sldMk cId="1954223883" sldId="2147480628"/>
            <ac:spMk id="167" creationId="{23E8A7EF-831D-9386-464C-187F3C059C39}"/>
          </ac:spMkLst>
        </pc:spChg>
        <pc:spChg chg="add mod">
          <ac:chgData name="Louise Munch Blicher" userId="9d12dafc-6951-4125-9e82-2684190d08ec" providerId="ADAL" clId="{A0CEFBB3-1CCC-5EBA-B4B6-9C012A781A03}" dt="2026-04-25T08:05:26.849" v="6953" actId="1076"/>
          <ac:spMkLst>
            <pc:docMk/>
            <pc:sldMk cId="1954223883" sldId="2147480628"/>
            <ac:spMk id="168" creationId="{9C9F03F2-D261-5EB6-3A1E-71F499909797}"/>
          </ac:spMkLst>
        </pc:spChg>
        <pc:spChg chg="mod">
          <ac:chgData name="Louise Munch Blicher" userId="9d12dafc-6951-4125-9e82-2684190d08ec" providerId="ADAL" clId="{A0CEFBB3-1CCC-5EBA-B4B6-9C012A781A03}" dt="2026-04-25T08:05:36.633" v="6955" actId="12788"/>
          <ac:spMkLst>
            <pc:docMk/>
            <pc:sldMk cId="1954223883" sldId="2147480628"/>
            <ac:spMk id="171" creationId="{579EFB34-8C0E-550B-6723-17A3D507338C}"/>
          </ac:spMkLst>
        </pc:spChg>
        <pc:spChg chg="mod">
          <ac:chgData name="Louise Munch Blicher" userId="9d12dafc-6951-4125-9e82-2684190d08ec" providerId="ADAL" clId="{A0CEFBB3-1CCC-5EBA-B4B6-9C012A781A03}" dt="2026-04-25T08:05:36.633" v="6955" actId="12788"/>
          <ac:spMkLst>
            <pc:docMk/>
            <pc:sldMk cId="1954223883" sldId="2147480628"/>
            <ac:spMk id="172" creationId="{646CB9CA-7F88-4866-6333-B12F80381DC2}"/>
          </ac:spMkLst>
        </pc:spChg>
        <pc:spChg chg="mod">
          <ac:chgData name="Louise Munch Blicher" userId="9d12dafc-6951-4125-9e82-2684190d08ec" providerId="ADAL" clId="{A0CEFBB3-1CCC-5EBA-B4B6-9C012A781A03}" dt="2026-04-25T07:52:37.744" v="6130" actId="1076"/>
          <ac:spMkLst>
            <pc:docMk/>
            <pc:sldMk cId="1954223883" sldId="2147480628"/>
            <ac:spMk id="173" creationId="{049EE5C1-F904-FF95-5F65-26D203AC1872}"/>
          </ac:spMkLst>
        </pc:spChg>
        <pc:spChg chg="add mod">
          <ac:chgData name="Louise Munch Blicher" userId="9d12dafc-6951-4125-9e82-2684190d08ec" providerId="ADAL" clId="{A0CEFBB3-1CCC-5EBA-B4B6-9C012A781A03}" dt="2026-04-25T08:05:36.633" v="6955" actId="12788"/>
          <ac:spMkLst>
            <pc:docMk/>
            <pc:sldMk cId="1954223883" sldId="2147480628"/>
            <ac:spMk id="174" creationId="{5411CBAD-44D5-2D5E-CE04-BBE353727163}"/>
          </ac:spMkLst>
        </pc:spChg>
        <pc:spChg chg="mod">
          <ac:chgData name="Louise Munch Blicher" userId="9d12dafc-6951-4125-9e82-2684190d08ec" providerId="ADAL" clId="{A0CEFBB3-1CCC-5EBA-B4B6-9C012A781A03}" dt="2026-04-25T08:05:36.633" v="6955" actId="12788"/>
          <ac:spMkLst>
            <pc:docMk/>
            <pc:sldMk cId="1954223883" sldId="2147480628"/>
            <ac:spMk id="176" creationId="{4B515DCD-179B-B94F-DF5B-E662B19C8D62}"/>
          </ac:spMkLst>
        </pc:spChg>
        <pc:spChg chg="mod">
          <ac:chgData name="Louise Munch Blicher" userId="9d12dafc-6951-4125-9e82-2684190d08ec" providerId="ADAL" clId="{A0CEFBB3-1CCC-5EBA-B4B6-9C012A781A03}" dt="2026-04-25T08:05:36.633" v="6955" actId="12788"/>
          <ac:spMkLst>
            <pc:docMk/>
            <pc:sldMk cId="1954223883" sldId="2147480628"/>
            <ac:spMk id="177" creationId="{BD3A9039-73EC-3777-21A0-2661283BEC1A}"/>
          </ac:spMkLst>
        </pc:spChg>
        <pc:spChg chg="mod">
          <ac:chgData name="Louise Munch Blicher" userId="9d12dafc-6951-4125-9e82-2684190d08ec" providerId="ADAL" clId="{A0CEFBB3-1CCC-5EBA-B4B6-9C012A781A03}" dt="2026-04-25T08:05:36.633" v="6955" actId="12788"/>
          <ac:spMkLst>
            <pc:docMk/>
            <pc:sldMk cId="1954223883" sldId="2147480628"/>
            <ac:spMk id="178" creationId="{BBA5805D-0350-D026-C967-B520A66B6D07}"/>
          </ac:spMkLst>
        </pc:spChg>
        <pc:spChg chg="add mod">
          <ac:chgData name="Louise Munch Blicher" userId="9d12dafc-6951-4125-9e82-2684190d08ec" providerId="ADAL" clId="{A0CEFBB3-1CCC-5EBA-B4B6-9C012A781A03}" dt="2026-04-25T08:05:36.633" v="6955" actId="12788"/>
          <ac:spMkLst>
            <pc:docMk/>
            <pc:sldMk cId="1954223883" sldId="2147480628"/>
            <ac:spMk id="181" creationId="{786A66B4-1E74-93C1-386E-1C33B699228E}"/>
          </ac:spMkLst>
        </pc:spChg>
        <pc:spChg chg="add mod">
          <ac:chgData name="Louise Munch Blicher" userId="9d12dafc-6951-4125-9e82-2684190d08ec" providerId="ADAL" clId="{A0CEFBB3-1CCC-5EBA-B4B6-9C012A781A03}" dt="2026-04-25T08:05:36.633" v="6955" actId="12788"/>
          <ac:spMkLst>
            <pc:docMk/>
            <pc:sldMk cId="1954223883" sldId="2147480628"/>
            <ac:spMk id="182" creationId="{A1380DBD-A2DF-2E26-0FC6-261A262ACD5C}"/>
          </ac:spMkLst>
        </pc:spChg>
        <pc:spChg chg="mod">
          <ac:chgData name="Louise Munch Blicher" userId="9d12dafc-6951-4125-9e82-2684190d08ec" providerId="ADAL" clId="{A0CEFBB3-1CCC-5EBA-B4B6-9C012A781A03}" dt="2026-04-25T08:05:36.633" v="6955" actId="12788"/>
          <ac:spMkLst>
            <pc:docMk/>
            <pc:sldMk cId="1954223883" sldId="2147480628"/>
            <ac:spMk id="189" creationId="{54BC4EDC-AC8F-126F-C302-B08C4363F8A8}"/>
          </ac:spMkLst>
        </pc:spChg>
        <pc:spChg chg="mod">
          <ac:chgData name="Louise Munch Blicher" userId="9d12dafc-6951-4125-9e82-2684190d08ec" providerId="ADAL" clId="{A0CEFBB3-1CCC-5EBA-B4B6-9C012A781A03}" dt="2026-04-25T08:05:36.633" v="6955" actId="12788"/>
          <ac:spMkLst>
            <pc:docMk/>
            <pc:sldMk cId="1954223883" sldId="2147480628"/>
            <ac:spMk id="190" creationId="{642F7FCC-5670-F8EF-CA7E-81F60D937844}"/>
          </ac:spMkLst>
        </pc:spChg>
        <pc:grpChg chg="add mod">
          <ac:chgData name="Louise Munch Blicher" userId="9d12dafc-6951-4125-9e82-2684190d08ec" providerId="ADAL" clId="{A0CEFBB3-1CCC-5EBA-B4B6-9C012A781A03}" dt="2026-04-25T08:05:13.533" v="6952" actId="1076"/>
          <ac:grpSpMkLst>
            <pc:docMk/>
            <pc:sldMk cId="1954223883" sldId="2147480628"/>
            <ac:grpSpMk id="162" creationId="{B5F38C65-41EB-660A-FF35-F881D20D00F8}"/>
          </ac:grpSpMkLst>
        </pc:grpChg>
        <pc:grpChg chg="add mod">
          <ac:chgData name="Louise Munch Blicher" userId="9d12dafc-6951-4125-9e82-2684190d08ec" providerId="ADAL" clId="{A0CEFBB3-1CCC-5EBA-B4B6-9C012A781A03}" dt="2026-04-25T08:05:26.849" v="6953" actId="1076"/>
          <ac:grpSpMkLst>
            <pc:docMk/>
            <pc:sldMk cId="1954223883" sldId="2147480628"/>
            <ac:grpSpMk id="164" creationId="{6AAC6B68-8C25-8C3F-56F9-032F2A6869A1}"/>
          </ac:grpSpMkLst>
        </pc:grpChg>
        <pc:grpChg chg="add mod">
          <ac:chgData name="Louise Munch Blicher" userId="9d12dafc-6951-4125-9e82-2684190d08ec" providerId="ADAL" clId="{A0CEFBB3-1CCC-5EBA-B4B6-9C012A781A03}" dt="2026-04-25T08:04:48.189" v="6950" actId="1076"/>
          <ac:grpSpMkLst>
            <pc:docMk/>
            <pc:sldMk cId="1954223883" sldId="2147480628"/>
            <ac:grpSpMk id="170" creationId="{388116E4-FB3A-5B9D-5F45-306FAFD97903}"/>
          </ac:grpSpMkLst>
        </pc:grpChg>
        <pc:grpChg chg="add mod">
          <ac:chgData name="Louise Munch Blicher" userId="9d12dafc-6951-4125-9e82-2684190d08ec" providerId="ADAL" clId="{A0CEFBB3-1CCC-5EBA-B4B6-9C012A781A03}" dt="2026-04-25T08:04:52.310" v="6951" actId="1076"/>
          <ac:grpSpMkLst>
            <pc:docMk/>
            <pc:sldMk cId="1954223883" sldId="2147480628"/>
            <ac:grpSpMk id="175" creationId="{67179B79-81EA-7C43-F721-CD1D7734F20D}"/>
          </ac:grpSpMkLst>
        </pc:grpChg>
        <pc:grpChg chg="add mod">
          <ac:chgData name="Louise Munch Blicher" userId="9d12dafc-6951-4125-9e82-2684190d08ec" providerId="ADAL" clId="{A0CEFBB3-1CCC-5EBA-B4B6-9C012A781A03}" dt="2026-04-25T08:04:44.105" v="6949" actId="408"/>
          <ac:grpSpMkLst>
            <pc:docMk/>
            <pc:sldMk cId="1954223883" sldId="2147480628"/>
            <ac:grpSpMk id="187" creationId="{63037B58-88D4-0537-1BE0-2605EA0A1802}"/>
          </ac:grpSpMkLst>
        </pc:grpChg>
        <pc:picChg chg="add mod">
          <ac:chgData name="Louise Munch Blicher" userId="9d12dafc-6951-4125-9e82-2684190d08ec" providerId="ADAL" clId="{A0CEFBB3-1CCC-5EBA-B4B6-9C012A781A03}" dt="2026-04-25T08:05:29.428" v="6954" actId="1076"/>
          <ac:picMkLst>
            <pc:docMk/>
            <pc:sldMk cId="1954223883" sldId="2147480628"/>
            <ac:picMk id="144" creationId="{CD02B432-21E3-9437-BAB9-DB9D94BDD349}"/>
          </ac:picMkLst>
        </pc:picChg>
        <pc:cxnChg chg="add del mod">
          <ac:chgData name="Louise Munch Blicher" userId="9d12dafc-6951-4125-9e82-2684190d08ec" providerId="ADAL" clId="{A0CEFBB3-1CCC-5EBA-B4B6-9C012A781A03}" dt="2026-04-25T08:07:49.507" v="7129" actId="1076"/>
          <ac:cxnSpMkLst>
            <pc:docMk/>
            <pc:sldMk cId="1954223883" sldId="2147480628"/>
            <ac:cxnSpMk id="39" creationId="{EF208966-21B3-8072-7968-1565B3EA6BB8}"/>
          </ac:cxnSpMkLst>
        </pc:cxnChg>
        <pc:cxnChg chg="mod">
          <ac:chgData name="Louise Munch Blicher" userId="9d12dafc-6951-4125-9e82-2684190d08ec" providerId="ADAL" clId="{A0CEFBB3-1CCC-5EBA-B4B6-9C012A781A03}" dt="2026-04-25T08:06:15.938" v="6961" actId="1076"/>
          <ac:cxnSpMkLst>
            <pc:docMk/>
            <pc:sldMk cId="1954223883" sldId="2147480628"/>
            <ac:cxnSpMk id="44" creationId="{B1C53B0E-D19F-C002-A461-E94E0DD87B34}"/>
          </ac:cxnSpMkLst>
        </pc:cxnChg>
      </pc:sldChg>
      <pc:sldChg chg="addSp delSp modSp add mod">
        <pc:chgData name="Louise Munch Blicher" userId="9d12dafc-6951-4125-9e82-2684190d08ec" providerId="ADAL" clId="{A0CEFBB3-1CCC-5EBA-B4B6-9C012A781A03}" dt="2026-04-28T11:59:34.094" v="7607" actId="18131"/>
        <pc:sldMkLst>
          <pc:docMk/>
          <pc:sldMk cId="528712359" sldId="2147480629"/>
        </pc:sldMkLst>
        <pc:spChg chg="mod">
          <ac:chgData name="Louise Munch Blicher" userId="9d12dafc-6951-4125-9e82-2684190d08ec" providerId="ADAL" clId="{A0CEFBB3-1CCC-5EBA-B4B6-9C012A781A03}" dt="2026-04-28T08:04:36.897" v="7312" actId="20577"/>
          <ac:spMkLst>
            <pc:docMk/>
            <pc:sldMk cId="528712359" sldId="2147480629"/>
            <ac:spMk id="6" creationId="{2B307389-C5A2-5BE2-4175-2A12F9E7A032}"/>
          </ac:spMkLst>
        </pc:spChg>
        <pc:spChg chg="add mod">
          <ac:chgData name="Louise Munch Blicher" userId="9d12dafc-6951-4125-9e82-2684190d08ec" providerId="ADAL" clId="{A0CEFBB3-1CCC-5EBA-B4B6-9C012A781A03}" dt="2026-04-28T11:59:20.516" v="7606" actId="1076"/>
          <ac:spMkLst>
            <pc:docMk/>
            <pc:sldMk cId="528712359" sldId="2147480629"/>
            <ac:spMk id="8" creationId="{FD06D350-99E0-537E-2CE3-EF2FED75542C}"/>
          </ac:spMkLst>
        </pc:spChg>
        <pc:spChg chg="mod">
          <ac:chgData name="Louise Munch Blicher" userId="9d12dafc-6951-4125-9e82-2684190d08ec" providerId="ADAL" clId="{A0CEFBB3-1CCC-5EBA-B4B6-9C012A781A03}" dt="2026-04-28T08:19:04.774" v="7564" actId="1076"/>
          <ac:spMkLst>
            <pc:docMk/>
            <pc:sldMk cId="528712359" sldId="2147480629"/>
            <ac:spMk id="13" creationId="{020AC873-8679-80F7-88D5-8F17A1C76A69}"/>
          </ac:spMkLst>
        </pc:spChg>
        <pc:spChg chg="mod">
          <ac:chgData name="Louise Munch Blicher" userId="9d12dafc-6951-4125-9e82-2684190d08ec" providerId="ADAL" clId="{A0CEFBB3-1CCC-5EBA-B4B6-9C012A781A03}" dt="2026-04-28T08:03:51.065" v="7301" actId="1076"/>
          <ac:spMkLst>
            <pc:docMk/>
            <pc:sldMk cId="528712359" sldId="2147480629"/>
            <ac:spMk id="14" creationId="{AB549C1D-287F-6B05-69B2-F5DA5B508D7A}"/>
          </ac:spMkLst>
        </pc:spChg>
        <pc:spChg chg="mod">
          <ac:chgData name="Louise Munch Blicher" userId="9d12dafc-6951-4125-9e82-2684190d08ec" providerId="ADAL" clId="{A0CEFBB3-1CCC-5EBA-B4B6-9C012A781A03}" dt="2026-04-28T08:03:51.065" v="7301" actId="1076"/>
          <ac:spMkLst>
            <pc:docMk/>
            <pc:sldMk cId="528712359" sldId="2147480629"/>
            <ac:spMk id="16" creationId="{1D4E6759-6871-6C37-2C82-129776972712}"/>
          </ac:spMkLst>
        </pc:spChg>
        <pc:spChg chg="mod">
          <ac:chgData name="Louise Munch Blicher" userId="9d12dafc-6951-4125-9e82-2684190d08ec" providerId="ADAL" clId="{A0CEFBB3-1CCC-5EBA-B4B6-9C012A781A03}" dt="2026-04-28T08:03:51.065" v="7301" actId="1076"/>
          <ac:spMkLst>
            <pc:docMk/>
            <pc:sldMk cId="528712359" sldId="2147480629"/>
            <ac:spMk id="18" creationId="{C0BFE18E-1873-7D70-F853-869C9DE9794F}"/>
          </ac:spMkLst>
        </pc:spChg>
        <pc:spChg chg="mod">
          <ac:chgData name="Louise Munch Blicher" userId="9d12dafc-6951-4125-9e82-2684190d08ec" providerId="ADAL" clId="{A0CEFBB3-1CCC-5EBA-B4B6-9C012A781A03}" dt="2026-04-28T11:59:20.516" v="7606" actId="1076"/>
          <ac:spMkLst>
            <pc:docMk/>
            <pc:sldMk cId="528712359" sldId="2147480629"/>
            <ac:spMk id="19" creationId="{1CF52C6C-9C3A-61EA-1ED9-D7C9AB9B58DE}"/>
          </ac:spMkLst>
        </pc:spChg>
        <pc:spChg chg="mod">
          <ac:chgData name="Louise Munch Blicher" userId="9d12dafc-6951-4125-9e82-2684190d08ec" providerId="ADAL" clId="{A0CEFBB3-1CCC-5EBA-B4B6-9C012A781A03}" dt="2026-04-28T11:59:20.516" v="7606" actId="1076"/>
          <ac:spMkLst>
            <pc:docMk/>
            <pc:sldMk cId="528712359" sldId="2147480629"/>
            <ac:spMk id="20" creationId="{2C9E5AB8-1E82-6367-9862-588D8A460C1E}"/>
          </ac:spMkLst>
        </pc:spChg>
        <pc:spChg chg="add mod">
          <ac:chgData name="Louise Munch Blicher" userId="9d12dafc-6951-4125-9e82-2684190d08ec" providerId="ADAL" clId="{A0CEFBB3-1CCC-5EBA-B4B6-9C012A781A03}" dt="2026-04-28T11:59:20.516" v="7606" actId="1076"/>
          <ac:spMkLst>
            <pc:docMk/>
            <pc:sldMk cId="528712359" sldId="2147480629"/>
            <ac:spMk id="21" creationId="{1B43FF0E-A821-6FF9-6515-023DC0A14233}"/>
          </ac:spMkLst>
        </pc:spChg>
        <pc:spChg chg="mod">
          <ac:chgData name="Louise Munch Blicher" userId="9d12dafc-6951-4125-9e82-2684190d08ec" providerId="ADAL" clId="{A0CEFBB3-1CCC-5EBA-B4B6-9C012A781A03}" dt="2026-04-28T11:59:20.516" v="7606" actId="1076"/>
          <ac:spMkLst>
            <pc:docMk/>
            <pc:sldMk cId="528712359" sldId="2147480629"/>
            <ac:spMk id="22" creationId="{D1063F16-6E01-F5DA-C8D4-B3A6A5FB164B}"/>
          </ac:spMkLst>
        </pc:spChg>
        <pc:spChg chg="mod">
          <ac:chgData name="Louise Munch Blicher" userId="9d12dafc-6951-4125-9e82-2684190d08ec" providerId="ADAL" clId="{A0CEFBB3-1CCC-5EBA-B4B6-9C012A781A03}" dt="2026-04-28T08:10:50.805" v="7473" actId="571"/>
          <ac:spMkLst>
            <pc:docMk/>
            <pc:sldMk cId="528712359" sldId="2147480629"/>
            <ac:spMk id="30" creationId="{3834CB2A-180A-699F-7184-9071B850B706}"/>
          </ac:spMkLst>
        </pc:spChg>
        <pc:spChg chg="add mod">
          <ac:chgData name="Louise Munch Blicher" userId="9d12dafc-6951-4125-9e82-2684190d08ec" providerId="ADAL" clId="{A0CEFBB3-1CCC-5EBA-B4B6-9C012A781A03}" dt="2026-04-28T08:16:26.312" v="7533" actId="1076"/>
          <ac:spMkLst>
            <pc:docMk/>
            <pc:sldMk cId="528712359" sldId="2147480629"/>
            <ac:spMk id="32" creationId="{01EC63FC-5F8A-9620-E844-AAF6B49B6529}"/>
          </ac:spMkLst>
        </pc:spChg>
        <pc:spChg chg="add mod">
          <ac:chgData name="Louise Munch Blicher" userId="9d12dafc-6951-4125-9e82-2684190d08ec" providerId="ADAL" clId="{A0CEFBB3-1CCC-5EBA-B4B6-9C012A781A03}" dt="2026-04-28T08:18:51.251" v="7562" actId="1076"/>
          <ac:spMkLst>
            <pc:docMk/>
            <pc:sldMk cId="528712359" sldId="2147480629"/>
            <ac:spMk id="33" creationId="{C06D25CE-A415-44BE-B62C-A78F100EE315}"/>
          </ac:spMkLst>
        </pc:spChg>
        <pc:spChg chg="add mod">
          <ac:chgData name="Louise Munch Blicher" userId="9d12dafc-6951-4125-9e82-2684190d08ec" providerId="ADAL" clId="{A0CEFBB3-1CCC-5EBA-B4B6-9C012A781A03}" dt="2026-04-28T08:18:51.251" v="7562" actId="1076"/>
          <ac:spMkLst>
            <pc:docMk/>
            <pc:sldMk cId="528712359" sldId="2147480629"/>
            <ac:spMk id="34" creationId="{7B4E103A-B99B-4497-D24B-B2E71F0925EE}"/>
          </ac:spMkLst>
        </pc:spChg>
        <pc:spChg chg="add mod">
          <ac:chgData name="Louise Munch Blicher" userId="9d12dafc-6951-4125-9e82-2684190d08ec" providerId="ADAL" clId="{A0CEFBB3-1CCC-5EBA-B4B6-9C012A781A03}" dt="2026-04-28T08:19:40.536" v="7572" actId="1076"/>
          <ac:spMkLst>
            <pc:docMk/>
            <pc:sldMk cId="528712359" sldId="2147480629"/>
            <ac:spMk id="35" creationId="{334225EB-DBF1-1318-DBA1-09C6412F5FB0}"/>
          </ac:spMkLst>
        </pc:spChg>
        <pc:grpChg chg="mod">
          <ac:chgData name="Louise Munch Blicher" userId="9d12dafc-6951-4125-9e82-2684190d08ec" providerId="ADAL" clId="{A0CEFBB3-1CCC-5EBA-B4B6-9C012A781A03}" dt="2026-04-28T11:59:20.516" v="7606" actId="1076"/>
          <ac:grpSpMkLst>
            <pc:docMk/>
            <pc:sldMk cId="528712359" sldId="2147480629"/>
            <ac:grpSpMk id="23" creationId="{AAEF58B1-C5B8-5A29-D926-4F5DAB931ABC}"/>
          </ac:grpSpMkLst>
        </pc:grpChg>
        <pc:grpChg chg="add mod">
          <ac:chgData name="Louise Munch Blicher" userId="9d12dafc-6951-4125-9e82-2684190d08ec" providerId="ADAL" clId="{A0CEFBB3-1CCC-5EBA-B4B6-9C012A781A03}" dt="2026-04-28T11:59:20.516" v="7606" actId="1076"/>
          <ac:grpSpMkLst>
            <pc:docMk/>
            <pc:sldMk cId="528712359" sldId="2147480629"/>
            <ac:grpSpMk id="29" creationId="{784790DA-BF1E-EF08-B138-EADB485F66AA}"/>
          </ac:grpSpMkLst>
        </pc:grpChg>
        <pc:picChg chg="add mod">
          <ac:chgData name="Louise Munch Blicher" userId="9d12dafc-6951-4125-9e82-2684190d08ec" providerId="ADAL" clId="{A0CEFBB3-1CCC-5EBA-B4B6-9C012A781A03}" dt="2026-04-28T08:19:40.536" v="7572" actId="1076"/>
          <ac:picMkLst>
            <pc:docMk/>
            <pc:sldMk cId="528712359" sldId="2147480629"/>
            <ac:picMk id="5" creationId="{53B31109-E7D0-FC2A-D922-7C95312BC670}"/>
          </ac:picMkLst>
        </pc:picChg>
        <pc:picChg chg="add mod">
          <ac:chgData name="Louise Munch Blicher" userId="9d12dafc-6951-4125-9e82-2684190d08ec" providerId="ADAL" clId="{A0CEFBB3-1CCC-5EBA-B4B6-9C012A781A03}" dt="2026-04-28T08:15:41.251" v="7527" actId="1076"/>
          <ac:picMkLst>
            <pc:docMk/>
            <pc:sldMk cId="528712359" sldId="2147480629"/>
            <ac:picMk id="9" creationId="{7B4EE347-6111-3FCE-34E2-988A516EA424}"/>
          </ac:picMkLst>
        </pc:picChg>
        <pc:picChg chg="add mod modCrop">
          <ac:chgData name="Louise Munch Blicher" userId="9d12dafc-6951-4125-9e82-2684190d08ec" providerId="ADAL" clId="{A0CEFBB3-1CCC-5EBA-B4B6-9C012A781A03}" dt="2026-04-28T11:59:34.094" v="7607" actId="18131"/>
          <ac:picMkLst>
            <pc:docMk/>
            <pc:sldMk cId="528712359" sldId="2147480629"/>
            <ac:picMk id="26" creationId="{38525796-5F01-F9AA-BED1-9C367074DD8A}"/>
          </ac:picMkLst>
        </pc:picChg>
        <pc:picChg chg="mod">
          <ac:chgData name="Louise Munch Blicher" userId="9d12dafc-6951-4125-9e82-2684190d08ec" providerId="ADAL" clId="{A0CEFBB3-1CCC-5EBA-B4B6-9C012A781A03}" dt="2026-04-28T08:10:50.805" v="7473" actId="571"/>
          <ac:picMkLst>
            <pc:docMk/>
            <pc:sldMk cId="528712359" sldId="2147480629"/>
            <ac:picMk id="31" creationId="{BCEE7519-9907-6F49-C956-58F8E608ADE1}"/>
          </ac:picMkLst>
        </pc:picChg>
        <pc:cxnChg chg="mod">
          <ac:chgData name="Louise Munch Blicher" userId="9d12dafc-6951-4125-9e82-2684190d08ec" providerId="ADAL" clId="{A0CEFBB3-1CCC-5EBA-B4B6-9C012A781A03}" dt="2026-04-28T08:12:18.769" v="7486" actId="1036"/>
          <ac:cxnSpMkLst>
            <pc:docMk/>
            <pc:sldMk cId="528712359" sldId="2147480629"/>
            <ac:cxnSpMk id="39" creationId="{EA186AE3-9805-58CF-178B-1857674108A7}"/>
          </ac:cxnSpMkLst>
        </pc:cxnChg>
      </pc:sldChg>
      <pc:sldChg chg="addSp delSp modSp add mod">
        <pc:chgData name="Louise Munch Blicher" userId="9d12dafc-6951-4125-9e82-2684190d08ec" providerId="ADAL" clId="{A0CEFBB3-1CCC-5EBA-B4B6-9C012A781A03}" dt="2026-04-29T07:12:52.967" v="7968" actId="1037"/>
        <pc:sldMkLst>
          <pc:docMk/>
          <pc:sldMk cId="857495108" sldId="2147480633"/>
        </pc:sldMkLst>
        <pc:spChg chg="mod">
          <ac:chgData name="Louise Munch Blicher" userId="9d12dafc-6951-4125-9e82-2684190d08ec" providerId="ADAL" clId="{A0CEFBB3-1CCC-5EBA-B4B6-9C012A781A03}" dt="2026-04-29T07:12:22.172" v="7954" actId="1076"/>
          <ac:spMkLst>
            <pc:docMk/>
            <pc:sldMk cId="857495108" sldId="2147480633"/>
            <ac:spMk id="12" creationId="{BB78921F-2D4A-0574-B485-0E0DA49BDD7A}"/>
          </ac:spMkLst>
        </pc:spChg>
        <pc:spChg chg="mod">
          <ac:chgData name="Louise Munch Blicher" userId="9d12dafc-6951-4125-9e82-2684190d08ec" providerId="ADAL" clId="{A0CEFBB3-1CCC-5EBA-B4B6-9C012A781A03}" dt="2026-04-29T07:12:18.369" v="7953" actId="1076"/>
          <ac:spMkLst>
            <pc:docMk/>
            <pc:sldMk cId="857495108" sldId="2147480633"/>
            <ac:spMk id="14" creationId="{C2755086-7F4E-9142-7FB3-DDFA15B11C96}"/>
          </ac:spMkLst>
        </pc:spChg>
        <pc:spChg chg="mod">
          <ac:chgData name="Louise Munch Blicher" userId="9d12dafc-6951-4125-9e82-2684190d08ec" providerId="ADAL" clId="{A0CEFBB3-1CCC-5EBA-B4B6-9C012A781A03}" dt="2026-04-29T07:12:26.979" v="7955" actId="1076"/>
          <ac:spMkLst>
            <pc:docMk/>
            <pc:sldMk cId="857495108" sldId="2147480633"/>
            <ac:spMk id="15" creationId="{22B55ABF-FE9E-94EE-D663-0E04338DC026}"/>
          </ac:spMkLst>
        </pc:spChg>
        <pc:spChg chg="mod">
          <ac:chgData name="Louise Munch Blicher" userId="9d12dafc-6951-4125-9e82-2684190d08ec" providerId="ADAL" clId="{A0CEFBB3-1CCC-5EBA-B4B6-9C012A781A03}" dt="2026-04-29T07:11:34.413" v="7943" actId="1076"/>
          <ac:spMkLst>
            <pc:docMk/>
            <pc:sldMk cId="857495108" sldId="2147480633"/>
            <ac:spMk id="17" creationId="{FD8DC3FF-C2AC-029B-1F16-B30D04E89B7F}"/>
          </ac:spMkLst>
        </pc:spChg>
        <pc:spChg chg="mod">
          <ac:chgData name="Louise Munch Blicher" userId="9d12dafc-6951-4125-9e82-2684190d08ec" providerId="ADAL" clId="{A0CEFBB3-1CCC-5EBA-B4B6-9C012A781A03}" dt="2026-04-29T07:08:11.280" v="7910" actId="1076"/>
          <ac:spMkLst>
            <pc:docMk/>
            <pc:sldMk cId="857495108" sldId="2147480633"/>
            <ac:spMk id="557" creationId="{9F66F0A2-1E74-6BD8-AD82-83E82FF91DEC}"/>
          </ac:spMkLst>
        </pc:spChg>
        <pc:spChg chg="mod">
          <ac:chgData name="Louise Munch Blicher" userId="9d12dafc-6951-4125-9e82-2684190d08ec" providerId="ADAL" clId="{A0CEFBB3-1CCC-5EBA-B4B6-9C012A781A03}" dt="2026-04-29T07:08:14.903" v="7911" actId="1076"/>
          <ac:spMkLst>
            <pc:docMk/>
            <pc:sldMk cId="857495108" sldId="2147480633"/>
            <ac:spMk id="558" creationId="{19C39D82-8FA0-517D-D05C-E127C613C2FE}"/>
          </ac:spMkLst>
        </pc:spChg>
        <pc:spChg chg="mod">
          <ac:chgData name="Louise Munch Blicher" userId="9d12dafc-6951-4125-9e82-2684190d08ec" providerId="ADAL" clId="{A0CEFBB3-1CCC-5EBA-B4B6-9C012A781A03}" dt="2026-04-29T07:12:08.118" v="7949" actId="1076"/>
          <ac:spMkLst>
            <pc:docMk/>
            <pc:sldMk cId="857495108" sldId="2147480633"/>
            <ac:spMk id="560" creationId="{5061D979-FE8E-4008-B2E6-6B8C078535D8}"/>
          </ac:spMkLst>
        </pc:spChg>
        <pc:spChg chg="mod">
          <ac:chgData name="Louise Munch Blicher" userId="9d12dafc-6951-4125-9e82-2684190d08ec" providerId="ADAL" clId="{A0CEFBB3-1CCC-5EBA-B4B6-9C012A781A03}" dt="2026-04-29T07:12:11.289" v="7950" actId="1076"/>
          <ac:spMkLst>
            <pc:docMk/>
            <pc:sldMk cId="857495108" sldId="2147480633"/>
            <ac:spMk id="561" creationId="{755D8FBB-C34F-E0A0-63D4-2A92BB3828AD}"/>
          </ac:spMkLst>
        </pc:spChg>
        <pc:spChg chg="mod topLvl">
          <ac:chgData name="Louise Munch Blicher" userId="9d12dafc-6951-4125-9e82-2684190d08ec" providerId="ADAL" clId="{A0CEFBB3-1CCC-5EBA-B4B6-9C012A781A03}" dt="2026-04-29T07:04:32.677" v="7872" actId="14100"/>
          <ac:spMkLst>
            <pc:docMk/>
            <pc:sldMk cId="857495108" sldId="2147480633"/>
            <ac:spMk id="643" creationId="{30088820-831C-9869-CDE1-2156324E4718}"/>
          </ac:spMkLst>
        </pc:spChg>
        <pc:spChg chg="mod">
          <ac:chgData name="Louise Munch Blicher" userId="9d12dafc-6951-4125-9e82-2684190d08ec" providerId="ADAL" clId="{A0CEFBB3-1CCC-5EBA-B4B6-9C012A781A03}" dt="2026-04-29T07:03:53.638" v="7864" actId="207"/>
          <ac:spMkLst>
            <pc:docMk/>
            <pc:sldMk cId="857495108" sldId="2147480633"/>
            <ac:spMk id="930" creationId="{F4EC0F3B-593D-6CD6-1110-52F0BE6A0C22}"/>
          </ac:spMkLst>
        </pc:spChg>
        <pc:spChg chg="add del">
          <ac:chgData name="Louise Munch Blicher" userId="9d12dafc-6951-4125-9e82-2684190d08ec" providerId="ADAL" clId="{A0CEFBB3-1CCC-5EBA-B4B6-9C012A781A03}" dt="2026-04-29T07:02:46.682" v="7644" actId="478"/>
          <ac:spMkLst>
            <pc:docMk/>
            <pc:sldMk cId="857495108" sldId="2147480633"/>
            <ac:spMk id="931" creationId="{825F877D-DE6D-68F7-303B-661C35336BFD}"/>
          </ac:spMkLst>
        </pc:spChg>
        <pc:spChg chg="mod topLvl">
          <ac:chgData name="Louise Munch Blicher" userId="9d12dafc-6951-4125-9e82-2684190d08ec" providerId="ADAL" clId="{A0CEFBB3-1CCC-5EBA-B4B6-9C012A781A03}" dt="2026-04-29T07:04:39.370" v="7875" actId="1076"/>
          <ac:spMkLst>
            <pc:docMk/>
            <pc:sldMk cId="857495108" sldId="2147480633"/>
            <ac:spMk id="1017" creationId="{7C3351E6-A923-47DC-134B-485875A8DCC6}"/>
          </ac:spMkLst>
        </pc:spChg>
        <pc:spChg chg="mod">
          <ac:chgData name="Louise Munch Blicher" userId="9d12dafc-6951-4125-9e82-2684190d08ec" providerId="ADAL" clId="{A0CEFBB3-1CCC-5EBA-B4B6-9C012A781A03}" dt="2026-04-29T07:11:19.847" v="7941" actId="408"/>
          <ac:spMkLst>
            <pc:docMk/>
            <pc:sldMk cId="857495108" sldId="2147480633"/>
            <ac:spMk id="1023" creationId="{06AF824D-6583-4E47-B573-BA8D8CE5C429}"/>
          </ac:spMkLst>
        </pc:spChg>
        <pc:spChg chg="mod">
          <ac:chgData name="Louise Munch Blicher" userId="9d12dafc-6951-4125-9e82-2684190d08ec" providerId="ADAL" clId="{A0CEFBB3-1CCC-5EBA-B4B6-9C012A781A03}" dt="2026-04-29T07:11:19.847" v="7941" actId="408"/>
          <ac:spMkLst>
            <pc:docMk/>
            <pc:sldMk cId="857495108" sldId="2147480633"/>
            <ac:spMk id="1024" creationId="{58D0FADF-37BA-391E-0CF1-1BCDEAC1F166}"/>
          </ac:spMkLst>
        </pc:spChg>
        <pc:spChg chg="mod">
          <ac:chgData name="Louise Munch Blicher" userId="9d12dafc-6951-4125-9e82-2684190d08ec" providerId="ADAL" clId="{A0CEFBB3-1CCC-5EBA-B4B6-9C012A781A03}" dt="2026-04-29T07:11:19.847" v="7941" actId="408"/>
          <ac:spMkLst>
            <pc:docMk/>
            <pc:sldMk cId="857495108" sldId="2147480633"/>
            <ac:spMk id="1025" creationId="{9D99F887-57F5-6FDE-191D-9A5ED5C58913}"/>
          </ac:spMkLst>
        </pc:spChg>
        <pc:spChg chg="add mod">
          <ac:chgData name="Louise Munch Blicher" userId="9d12dafc-6951-4125-9e82-2684190d08ec" providerId="ADAL" clId="{A0CEFBB3-1CCC-5EBA-B4B6-9C012A781A03}" dt="2026-04-29T07:11:19.847" v="7941" actId="408"/>
          <ac:spMkLst>
            <pc:docMk/>
            <pc:sldMk cId="857495108" sldId="2147480633"/>
            <ac:spMk id="1026" creationId="{193E557F-4151-0366-DA18-E40B7FB6AA31}"/>
          </ac:spMkLst>
        </pc:spChg>
        <pc:spChg chg="mod">
          <ac:chgData name="Louise Munch Blicher" userId="9d12dafc-6951-4125-9e82-2684190d08ec" providerId="ADAL" clId="{A0CEFBB3-1CCC-5EBA-B4B6-9C012A781A03}" dt="2026-04-29T07:11:19.847" v="7941" actId="408"/>
          <ac:spMkLst>
            <pc:docMk/>
            <pc:sldMk cId="857495108" sldId="2147480633"/>
            <ac:spMk id="1030" creationId="{DBE6BD96-413D-0E21-C14A-0035F20531AA}"/>
          </ac:spMkLst>
        </pc:spChg>
        <pc:spChg chg="mod">
          <ac:chgData name="Louise Munch Blicher" userId="9d12dafc-6951-4125-9e82-2684190d08ec" providerId="ADAL" clId="{A0CEFBB3-1CCC-5EBA-B4B6-9C012A781A03}" dt="2026-04-29T07:11:19.847" v="7941" actId="408"/>
          <ac:spMkLst>
            <pc:docMk/>
            <pc:sldMk cId="857495108" sldId="2147480633"/>
            <ac:spMk id="1031" creationId="{80AA9659-27EE-C604-E833-34ADCBDACAF5}"/>
          </ac:spMkLst>
        </pc:spChg>
        <pc:spChg chg="mod">
          <ac:chgData name="Louise Munch Blicher" userId="9d12dafc-6951-4125-9e82-2684190d08ec" providerId="ADAL" clId="{A0CEFBB3-1CCC-5EBA-B4B6-9C012A781A03}" dt="2026-04-29T07:11:19.847" v="7941" actId="408"/>
          <ac:spMkLst>
            <pc:docMk/>
            <pc:sldMk cId="857495108" sldId="2147480633"/>
            <ac:spMk id="1032" creationId="{B57931CA-3FD5-282B-7E82-D5873BBD2333}"/>
          </ac:spMkLst>
        </pc:spChg>
        <pc:spChg chg="mod">
          <ac:chgData name="Louise Munch Blicher" userId="9d12dafc-6951-4125-9e82-2684190d08ec" providerId="ADAL" clId="{A0CEFBB3-1CCC-5EBA-B4B6-9C012A781A03}" dt="2026-04-29T07:11:19.847" v="7941" actId="408"/>
          <ac:spMkLst>
            <pc:docMk/>
            <pc:sldMk cId="857495108" sldId="2147480633"/>
            <ac:spMk id="1033" creationId="{40C999B1-7117-2633-F019-D8D1C79BE05D}"/>
          </ac:spMkLst>
        </pc:spChg>
        <pc:spChg chg="mod">
          <ac:chgData name="Louise Munch Blicher" userId="9d12dafc-6951-4125-9e82-2684190d08ec" providerId="ADAL" clId="{A0CEFBB3-1CCC-5EBA-B4B6-9C012A781A03}" dt="2026-04-29T07:06:58.259" v="7897" actId="571"/>
          <ac:spMkLst>
            <pc:docMk/>
            <pc:sldMk cId="857495108" sldId="2147480633"/>
            <ac:spMk id="1046" creationId="{E2605B5E-FFED-761E-B898-14BB322700E4}"/>
          </ac:spMkLst>
        </pc:spChg>
        <pc:spChg chg="mod">
          <ac:chgData name="Louise Munch Blicher" userId="9d12dafc-6951-4125-9e82-2684190d08ec" providerId="ADAL" clId="{A0CEFBB3-1CCC-5EBA-B4B6-9C012A781A03}" dt="2026-04-29T07:06:58.259" v="7897" actId="571"/>
          <ac:spMkLst>
            <pc:docMk/>
            <pc:sldMk cId="857495108" sldId="2147480633"/>
            <ac:spMk id="1047" creationId="{56655BA6-08FD-6D3E-FEA7-6AC1B5BAFA1E}"/>
          </ac:spMkLst>
        </pc:spChg>
        <pc:spChg chg="mod">
          <ac:chgData name="Louise Munch Blicher" userId="9d12dafc-6951-4125-9e82-2684190d08ec" providerId="ADAL" clId="{A0CEFBB3-1CCC-5EBA-B4B6-9C012A781A03}" dt="2026-04-29T07:06:58.259" v="7897" actId="571"/>
          <ac:spMkLst>
            <pc:docMk/>
            <pc:sldMk cId="857495108" sldId="2147480633"/>
            <ac:spMk id="1048" creationId="{CC30F6AD-6FDC-1978-B23D-BCE6C5F4FEB5}"/>
          </ac:spMkLst>
        </pc:spChg>
        <pc:spChg chg="mod">
          <ac:chgData name="Louise Munch Blicher" userId="9d12dafc-6951-4125-9e82-2684190d08ec" providerId="ADAL" clId="{A0CEFBB3-1CCC-5EBA-B4B6-9C012A781A03}" dt="2026-04-29T07:06:58.259" v="7897" actId="571"/>
          <ac:spMkLst>
            <pc:docMk/>
            <pc:sldMk cId="857495108" sldId="2147480633"/>
            <ac:spMk id="1049" creationId="{CA790F93-F431-D407-380A-B529019AB7E7}"/>
          </ac:spMkLst>
        </pc:spChg>
        <pc:spChg chg="add mod">
          <ac:chgData name="Louise Munch Blicher" userId="9d12dafc-6951-4125-9e82-2684190d08ec" providerId="ADAL" clId="{A0CEFBB3-1CCC-5EBA-B4B6-9C012A781A03}" dt="2026-04-29T07:11:08.350" v="7940" actId="1076"/>
          <ac:spMkLst>
            <pc:docMk/>
            <pc:sldMk cId="857495108" sldId="2147480633"/>
            <ac:spMk id="1050" creationId="{6E7DCB37-4B55-CCE1-7053-13B984F03756}"/>
          </ac:spMkLst>
        </pc:spChg>
        <pc:spChg chg="add mod">
          <ac:chgData name="Louise Munch Blicher" userId="9d12dafc-6951-4125-9e82-2684190d08ec" providerId="ADAL" clId="{A0CEFBB3-1CCC-5EBA-B4B6-9C012A781A03}" dt="2026-04-29T07:12:52.967" v="7968" actId="1037"/>
          <ac:spMkLst>
            <pc:docMk/>
            <pc:sldMk cId="857495108" sldId="2147480633"/>
            <ac:spMk id="1051" creationId="{41442BC9-97B9-254E-B68D-C5E06FB9CBA7}"/>
          </ac:spMkLst>
        </pc:spChg>
        <pc:spChg chg="mod">
          <ac:chgData name="Louise Munch Blicher" userId="9d12dafc-6951-4125-9e82-2684190d08ec" providerId="ADAL" clId="{A0CEFBB3-1CCC-5EBA-B4B6-9C012A781A03}" dt="2026-04-29T07:08:29.716" v="7915" actId="571"/>
          <ac:spMkLst>
            <pc:docMk/>
            <pc:sldMk cId="857495108" sldId="2147480633"/>
            <ac:spMk id="1061" creationId="{989D698E-1CB0-C561-6F02-1282139D07E6}"/>
          </ac:spMkLst>
        </pc:spChg>
        <pc:spChg chg="mod">
          <ac:chgData name="Louise Munch Blicher" userId="9d12dafc-6951-4125-9e82-2684190d08ec" providerId="ADAL" clId="{A0CEFBB3-1CCC-5EBA-B4B6-9C012A781A03}" dt="2026-04-29T07:08:29.716" v="7915" actId="571"/>
          <ac:spMkLst>
            <pc:docMk/>
            <pc:sldMk cId="857495108" sldId="2147480633"/>
            <ac:spMk id="1062" creationId="{9854F28E-E3FF-DD1C-1F5D-62C412A54413}"/>
          </ac:spMkLst>
        </pc:spChg>
        <pc:spChg chg="mod">
          <ac:chgData name="Louise Munch Blicher" userId="9d12dafc-6951-4125-9e82-2684190d08ec" providerId="ADAL" clId="{A0CEFBB3-1CCC-5EBA-B4B6-9C012A781A03}" dt="2026-04-29T07:08:29.716" v="7915" actId="571"/>
          <ac:spMkLst>
            <pc:docMk/>
            <pc:sldMk cId="857495108" sldId="2147480633"/>
            <ac:spMk id="1063" creationId="{987F60C6-BB5D-1CC3-4997-C42816B7B809}"/>
          </ac:spMkLst>
        </pc:spChg>
        <pc:spChg chg="mod">
          <ac:chgData name="Louise Munch Blicher" userId="9d12dafc-6951-4125-9e82-2684190d08ec" providerId="ADAL" clId="{A0CEFBB3-1CCC-5EBA-B4B6-9C012A781A03}" dt="2026-04-29T07:08:29.716" v="7915" actId="571"/>
          <ac:spMkLst>
            <pc:docMk/>
            <pc:sldMk cId="857495108" sldId="2147480633"/>
            <ac:spMk id="1069" creationId="{62F225F4-301A-29E4-2738-4E2E6993E1D7}"/>
          </ac:spMkLst>
        </pc:spChg>
        <pc:spChg chg="mod">
          <ac:chgData name="Louise Munch Blicher" userId="9d12dafc-6951-4125-9e82-2684190d08ec" providerId="ADAL" clId="{A0CEFBB3-1CCC-5EBA-B4B6-9C012A781A03}" dt="2026-04-29T07:08:29.716" v="7915" actId="571"/>
          <ac:spMkLst>
            <pc:docMk/>
            <pc:sldMk cId="857495108" sldId="2147480633"/>
            <ac:spMk id="1071" creationId="{0AB48B78-1BE7-4511-B411-2B5555D68E6B}"/>
          </ac:spMkLst>
        </pc:spChg>
        <pc:spChg chg="mod">
          <ac:chgData name="Louise Munch Blicher" userId="9d12dafc-6951-4125-9e82-2684190d08ec" providerId="ADAL" clId="{A0CEFBB3-1CCC-5EBA-B4B6-9C012A781A03}" dt="2026-04-29T07:08:29.716" v="7915" actId="571"/>
          <ac:spMkLst>
            <pc:docMk/>
            <pc:sldMk cId="857495108" sldId="2147480633"/>
            <ac:spMk id="1072" creationId="{A7271261-55EB-6108-B410-08A0515FF841}"/>
          </ac:spMkLst>
        </pc:spChg>
        <pc:spChg chg="mod">
          <ac:chgData name="Louise Munch Blicher" userId="9d12dafc-6951-4125-9e82-2684190d08ec" providerId="ADAL" clId="{A0CEFBB3-1CCC-5EBA-B4B6-9C012A781A03}" dt="2026-04-29T07:08:29.716" v="7915" actId="571"/>
          <ac:spMkLst>
            <pc:docMk/>
            <pc:sldMk cId="857495108" sldId="2147480633"/>
            <ac:spMk id="1073" creationId="{58810F4E-B281-5F63-0C6C-FA1C51A8F364}"/>
          </ac:spMkLst>
        </pc:spChg>
        <pc:spChg chg="add mod">
          <ac:chgData name="Louise Munch Blicher" userId="9d12dafc-6951-4125-9e82-2684190d08ec" providerId="ADAL" clId="{A0CEFBB3-1CCC-5EBA-B4B6-9C012A781A03}" dt="2026-04-29T07:09:23.399" v="7923" actId="1076"/>
          <ac:spMkLst>
            <pc:docMk/>
            <pc:sldMk cId="857495108" sldId="2147480633"/>
            <ac:spMk id="1081" creationId="{5F3975BE-9368-FDB6-CF27-5D0BBDE9E6F3}"/>
          </ac:spMkLst>
        </pc:spChg>
        <pc:spChg chg="add mod">
          <ac:chgData name="Louise Munch Blicher" userId="9d12dafc-6951-4125-9e82-2684190d08ec" providerId="ADAL" clId="{A0CEFBB3-1CCC-5EBA-B4B6-9C012A781A03}" dt="2026-04-29T07:12:45.496" v="7967" actId="20577"/>
          <ac:spMkLst>
            <pc:docMk/>
            <pc:sldMk cId="857495108" sldId="2147480633"/>
            <ac:spMk id="1084" creationId="{F7B2E0A1-6D19-0E25-CFA5-3C0F9623EEF0}"/>
          </ac:spMkLst>
        </pc:spChg>
        <pc:grpChg chg="mod">
          <ac:chgData name="Louise Munch Blicher" userId="9d12dafc-6951-4125-9e82-2684190d08ec" providerId="ADAL" clId="{A0CEFBB3-1CCC-5EBA-B4B6-9C012A781A03}" dt="2026-04-29T07:03:34.338" v="7656" actId="167"/>
          <ac:grpSpMkLst>
            <pc:docMk/>
            <pc:sldMk cId="857495108" sldId="2147480633"/>
            <ac:grpSpMk id="929" creationId="{9267B5A6-257E-67BA-6098-0EB35198613B}"/>
          </ac:grpSpMkLst>
        </pc:grpChg>
        <pc:grpChg chg="mod">
          <ac:chgData name="Louise Munch Blicher" userId="9d12dafc-6951-4125-9e82-2684190d08ec" providerId="ADAL" clId="{A0CEFBB3-1CCC-5EBA-B4B6-9C012A781A03}" dt="2026-04-29T07:04:39.370" v="7875" actId="1076"/>
          <ac:grpSpMkLst>
            <pc:docMk/>
            <pc:sldMk cId="857495108" sldId="2147480633"/>
            <ac:grpSpMk id="1014" creationId="{EC89BAB4-4172-C20E-8EBB-E568B643F55D}"/>
          </ac:grpSpMkLst>
        </pc:grpChg>
        <pc:grpChg chg="add mod">
          <ac:chgData name="Louise Munch Blicher" userId="9d12dafc-6951-4125-9e82-2684190d08ec" providerId="ADAL" clId="{A0CEFBB3-1CCC-5EBA-B4B6-9C012A781A03}" dt="2026-04-29T07:11:19.847" v="7941" actId="408"/>
          <ac:grpSpMkLst>
            <pc:docMk/>
            <pc:sldMk cId="857495108" sldId="2147480633"/>
            <ac:grpSpMk id="1022" creationId="{71ADE770-6A9C-0776-E2DF-4D079C8CDDF3}"/>
          </ac:grpSpMkLst>
        </pc:grpChg>
        <pc:grpChg chg="add mod">
          <ac:chgData name="Louise Munch Blicher" userId="9d12dafc-6951-4125-9e82-2684190d08ec" providerId="ADAL" clId="{A0CEFBB3-1CCC-5EBA-B4B6-9C012A781A03}" dt="2026-04-29T07:06:35.923" v="7894" actId="1076"/>
          <ac:grpSpMkLst>
            <pc:docMk/>
            <pc:sldMk cId="857495108" sldId="2147480633"/>
            <ac:grpSpMk id="1027" creationId="{84AA676E-9F67-B98E-7DD1-3D8E78FD18E3}"/>
          </ac:grpSpMkLst>
        </pc:grpChg>
        <pc:grpChg chg="add mod">
          <ac:chgData name="Louise Munch Blicher" userId="9d12dafc-6951-4125-9e82-2684190d08ec" providerId="ADAL" clId="{A0CEFBB3-1CCC-5EBA-B4B6-9C012A781A03}" dt="2026-04-29T07:12:16.072" v="7952" actId="1076"/>
          <ac:grpSpMkLst>
            <pc:docMk/>
            <pc:sldMk cId="857495108" sldId="2147480633"/>
            <ac:grpSpMk id="1028" creationId="{CD8D52AF-47A2-E857-9E04-545221FFDEDF}"/>
          </ac:grpSpMkLst>
        </pc:grpChg>
        <pc:grpChg chg="mod">
          <ac:chgData name="Louise Munch Blicher" userId="9d12dafc-6951-4125-9e82-2684190d08ec" providerId="ADAL" clId="{A0CEFBB3-1CCC-5EBA-B4B6-9C012A781A03}" dt="2026-04-29T07:05:06.971" v="7881" actId="571"/>
          <ac:grpSpMkLst>
            <pc:docMk/>
            <pc:sldMk cId="857495108" sldId="2147480633"/>
            <ac:grpSpMk id="1029" creationId="{30C0CABC-BD1F-1345-B0DF-D89415F9126C}"/>
          </ac:grpSpMkLst>
        </pc:grpChg>
        <pc:grpChg chg="add mod">
          <ac:chgData name="Louise Munch Blicher" userId="9d12dafc-6951-4125-9e82-2684190d08ec" providerId="ADAL" clId="{A0CEFBB3-1CCC-5EBA-B4B6-9C012A781A03}" dt="2026-04-29T07:11:19.847" v="7941" actId="408"/>
          <ac:grpSpMkLst>
            <pc:docMk/>
            <pc:sldMk cId="857495108" sldId="2147480633"/>
            <ac:grpSpMk id="1044" creationId="{F6D3F053-6EA2-7E85-140B-55473E4E89D8}"/>
          </ac:grpSpMkLst>
        </pc:grpChg>
        <pc:grpChg chg="mod">
          <ac:chgData name="Louise Munch Blicher" userId="9d12dafc-6951-4125-9e82-2684190d08ec" providerId="ADAL" clId="{A0CEFBB3-1CCC-5EBA-B4B6-9C012A781A03}" dt="2026-04-29T07:06:58.259" v="7897" actId="571"/>
          <ac:grpSpMkLst>
            <pc:docMk/>
            <pc:sldMk cId="857495108" sldId="2147480633"/>
            <ac:grpSpMk id="1045" creationId="{8D54F859-9182-DC67-295A-66C718E02A73}"/>
          </ac:grpSpMkLst>
        </pc:grpChg>
        <pc:grpChg chg="mod">
          <ac:chgData name="Louise Munch Blicher" userId="9d12dafc-6951-4125-9e82-2684190d08ec" providerId="ADAL" clId="{A0CEFBB3-1CCC-5EBA-B4B6-9C012A781A03}" dt="2026-04-29T07:11:26.943" v="7942" actId="1076"/>
          <ac:grpSpMkLst>
            <pc:docMk/>
            <pc:sldMk cId="857495108" sldId="2147480633"/>
            <ac:grpSpMk id="1058" creationId="{05CE531D-4F62-F065-1AD6-7A28EE7191A9}"/>
          </ac:grpSpMkLst>
        </pc:grpChg>
        <pc:grpChg chg="mod">
          <ac:chgData name="Louise Munch Blicher" userId="9d12dafc-6951-4125-9e82-2684190d08ec" providerId="ADAL" clId="{A0CEFBB3-1CCC-5EBA-B4B6-9C012A781A03}" dt="2026-04-29T07:11:34.413" v="7943" actId="1076"/>
          <ac:grpSpMkLst>
            <pc:docMk/>
            <pc:sldMk cId="857495108" sldId="2147480633"/>
            <ac:grpSpMk id="1064" creationId="{CC9E9A54-389D-6DE6-8D40-63873AE70C4E}"/>
          </ac:grpSpMkLst>
        </pc:grpChg>
        <pc:grpChg chg="mod">
          <ac:chgData name="Louise Munch Blicher" userId="9d12dafc-6951-4125-9e82-2684190d08ec" providerId="ADAL" clId="{A0CEFBB3-1CCC-5EBA-B4B6-9C012A781A03}" dt="2026-04-29T07:11:41.990" v="7946" actId="1076"/>
          <ac:grpSpMkLst>
            <pc:docMk/>
            <pc:sldMk cId="857495108" sldId="2147480633"/>
            <ac:grpSpMk id="1070" creationId="{0A80C3A0-10FE-D8C9-E9AC-F081F4C2CA07}"/>
          </ac:grpSpMkLst>
        </pc:grpChg>
        <pc:grpChg chg="add mod">
          <ac:chgData name="Louise Munch Blicher" userId="9d12dafc-6951-4125-9e82-2684190d08ec" providerId="ADAL" clId="{A0CEFBB3-1CCC-5EBA-B4B6-9C012A781A03}" dt="2026-04-29T07:12:02.535" v="7948" actId="1076"/>
          <ac:grpSpMkLst>
            <pc:docMk/>
            <pc:sldMk cId="857495108" sldId="2147480633"/>
            <ac:grpSpMk id="1082" creationId="{100F7D19-A769-165A-1514-6E8D51A26F7C}"/>
          </ac:grpSpMkLst>
        </pc:grpChg>
      </pc:sldChg>
      <pc:sldChg chg="modSp mod">
        <pc:chgData name="Louise Munch Blicher" userId="9d12dafc-6951-4125-9e82-2684190d08ec" providerId="ADAL" clId="{A0CEFBB3-1CCC-5EBA-B4B6-9C012A781A03}" dt="2026-04-30T13:25:25.395" v="8774" actId="692"/>
        <pc:sldMkLst>
          <pc:docMk/>
          <pc:sldMk cId="1638789848" sldId="2147480634"/>
        </pc:sldMkLst>
        <pc:graphicFrameChg chg="mod">
          <ac:chgData name="Louise Munch Blicher" userId="9d12dafc-6951-4125-9e82-2684190d08ec" providerId="ADAL" clId="{A0CEFBB3-1CCC-5EBA-B4B6-9C012A781A03}" dt="2026-04-30T13:25:05.888" v="8769" actId="692"/>
          <ac:graphicFrameMkLst>
            <pc:docMk/>
            <pc:sldMk cId="1638789848" sldId="2147480634"/>
            <ac:graphicFrameMk id="5" creationId="{AC382909-94E5-D4FC-48E0-E17E26BCC1FE}"/>
          </ac:graphicFrameMkLst>
        </pc:graphicFrameChg>
        <pc:graphicFrameChg chg="mod">
          <ac:chgData name="Louise Munch Blicher" userId="9d12dafc-6951-4125-9e82-2684190d08ec" providerId="ADAL" clId="{A0CEFBB3-1CCC-5EBA-B4B6-9C012A781A03}" dt="2026-04-30T13:25:25.395" v="8774" actId="692"/>
          <ac:graphicFrameMkLst>
            <pc:docMk/>
            <pc:sldMk cId="1638789848" sldId="2147480634"/>
            <ac:graphicFrameMk id="11" creationId="{AE0A6BB2-6084-3430-AB81-5A48F7F338E6}"/>
          </ac:graphicFrameMkLst>
        </pc:graphicFrameChg>
        <pc:graphicFrameChg chg="mod">
          <ac:chgData name="Louise Munch Blicher" userId="9d12dafc-6951-4125-9e82-2684190d08ec" providerId="ADAL" clId="{A0CEFBB3-1CCC-5EBA-B4B6-9C012A781A03}" dt="2026-04-30T13:25:18.564" v="8773" actId="692"/>
          <ac:graphicFrameMkLst>
            <pc:docMk/>
            <pc:sldMk cId="1638789848" sldId="2147480634"/>
            <ac:graphicFrameMk id="12" creationId="{EFE20F8D-1EC9-5F89-A2E5-E1EA405977E1}"/>
          </ac:graphicFrameMkLst>
        </pc:graphicFrameChg>
      </pc:sldChg>
      <pc:sldChg chg="addSp delSp modSp mod">
        <pc:chgData name="Louise Munch Blicher" userId="9d12dafc-6951-4125-9e82-2684190d08ec" providerId="ADAL" clId="{A0CEFBB3-1CCC-5EBA-B4B6-9C012A781A03}" dt="2026-05-01T05:55:06.248" v="9737" actId="27918"/>
        <pc:sldMkLst>
          <pc:docMk/>
          <pc:sldMk cId="3619368324" sldId="2147483146"/>
        </pc:sldMkLst>
        <pc:spChg chg="mod">
          <ac:chgData name="Louise Munch Blicher" userId="9d12dafc-6951-4125-9e82-2684190d08ec" providerId="ADAL" clId="{A0CEFBB3-1CCC-5EBA-B4B6-9C012A781A03}" dt="2026-04-30T13:17:22.968" v="8145" actId="255"/>
          <ac:spMkLst>
            <pc:docMk/>
            <pc:sldMk cId="3619368324" sldId="2147483146"/>
            <ac:spMk id="9" creationId="{218FF9AE-FC39-E20C-A08F-FC436DA99022}"/>
          </ac:spMkLst>
        </pc:spChg>
        <pc:spChg chg="mod topLvl">
          <ac:chgData name="Louise Munch Blicher" userId="9d12dafc-6951-4125-9e82-2684190d08ec" providerId="ADAL" clId="{A0CEFBB3-1CCC-5EBA-B4B6-9C012A781A03}" dt="2026-05-01T05:50:16.787" v="8784" actId="165"/>
          <ac:spMkLst>
            <pc:docMk/>
            <pc:sldMk cId="3619368324" sldId="2147483146"/>
            <ac:spMk id="11" creationId="{C9A8AE4F-DF82-6A4E-6B54-43FB94589BF2}"/>
          </ac:spMkLst>
        </pc:spChg>
        <pc:spChg chg="mod">
          <ac:chgData name="Louise Munch Blicher" userId="9d12dafc-6951-4125-9e82-2684190d08ec" providerId="ADAL" clId="{A0CEFBB3-1CCC-5EBA-B4B6-9C012A781A03}" dt="2026-05-01T05:51:21.249" v="9150" actId="207"/>
          <ac:spMkLst>
            <pc:docMk/>
            <pc:sldMk cId="3619368324" sldId="2147483146"/>
            <ac:spMk id="13" creationId="{131EC13F-7EF0-9351-5FEC-4836A6C4CE98}"/>
          </ac:spMkLst>
        </pc:spChg>
        <pc:spChg chg="mod">
          <ac:chgData name="Louise Munch Blicher" userId="9d12dafc-6951-4125-9e82-2684190d08ec" providerId="ADAL" clId="{A0CEFBB3-1CCC-5EBA-B4B6-9C012A781A03}" dt="2026-05-01T05:49:55.825" v="8780"/>
          <ac:spMkLst>
            <pc:docMk/>
            <pc:sldMk cId="3619368324" sldId="2147483146"/>
            <ac:spMk id="14" creationId="{117CBF33-4AEB-7251-453F-9905AF248F45}"/>
          </ac:spMkLst>
        </pc:spChg>
        <pc:spChg chg="mod">
          <ac:chgData name="Louise Munch Blicher" userId="9d12dafc-6951-4125-9e82-2684190d08ec" providerId="ADAL" clId="{A0CEFBB3-1CCC-5EBA-B4B6-9C012A781A03}" dt="2026-05-01T05:54:39.371" v="9475" actId="1076"/>
          <ac:spMkLst>
            <pc:docMk/>
            <pc:sldMk cId="3619368324" sldId="2147483146"/>
            <ac:spMk id="15" creationId="{E0CCA05E-737D-6C6E-A7F5-8AF3A2569966}"/>
          </ac:spMkLst>
        </pc:spChg>
        <pc:spChg chg="mod">
          <ac:chgData name="Louise Munch Blicher" userId="9d12dafc-6951-4125-9e82-2684190d08ec" providerId="ADAL" clId="{A0CEFBB3-1CCC-5EBA-B4B6-9C012A781A03}" dt="2026-05-01T05:51:31.029" v="9217" actId="207"/>
          <ac:spMkLst>
            <pc:docMk/>
            <pc:sldMk cId="3619368324" sldId="2147483146"/>
            <ac:spMk id="17" creationId="{B75D9980-D9C8-B6C5-E5FD-B9AD08E1A806}"/>
          </ac:spMkLst>
        </pc:spChg>
        <pc:spChg chg="mod">
          <ac:chgData name="Louise Munch Blicher" userId="9d12dafc-6951-4125-9e82-2684190d08ec" providerId="ADAL" clId="{A0CEFBB3-1CCC-5EBA-B4B6-9C012A781A03}" dt="2026-05-01T05:49:55.825" v="8780"/>
          <ac:spMkLst>
            <pc:docMk/>
            <pc:sldMk cId="3619368324" sldId="2147483146"/>
            <ac:spMk id="18" creationId="{6AEFEF5D-79C1-67CF-FC90-0A1765BCE3B5}"/>
          </ac:spMkLst>
        </pc:spChg>
        <pc:spChg chg="mod">
          <ac:chgData name="Louise Munch Blicher" userId="9d12dafc-6951-4125-9e82-2684190d08ec" providerId="ADAL" clId="{A0CEFBB3-1CCC-5EBA-B4B6-9C012A781A03}" dt="2026-05-01T05:49:55.825" v="8780"/>
          <ac:spMkLst>
            <pc:docMk/>
            <pc:sldMk cId="3619368324" sldId="2147483146"/>
            <ac:spMk id="20" creationId="{A15490B4-EA61-B748-961D-1961702CE00C}"/>
          </ac:spMkLst>
        </pc:spChg>
        <pc:spChg chg="mod">
          <ac:chgData name="Louise Munch Blicher" userId="9d12dafc-6951-4125-9e82-2684190d08ec" providerId="ADAL" clId="{A0CEFBB3-1CCC-5EBA-B4B6-9C012A781A03}" dt="2026-05-01T05:53:32.050" v="9469" actId="2711"/>
          <ac:spMkLst>
            <pc:docMk/>
            <pc:sldMk cId="3619368324" sldId="2147483146"/>
            <ac:spMk id="22" creationId="{7BC64D40-F1E5-3576-0F31-76D3835DC6C3}"/>
          </ac:spMkLst>
        </pc:spChg>
        <pc:spChg chg="mod">
          <ac:chgData name="Louise Munch Blicher" userId="9d12dafc-6951-4125-9e82-2684190d08ec" providerId="ADAL" clId="{A0CEFBB3-1CCC-5EBA-B4B6-9C012A781A03}" dt="2026-04-30T13:18:21.572" v="8156" actId="14100"/>
          <ac:spMkLst>
            <pc:docMk/>
            <pc:sldMk cId="3619368324" sldId="2147483146"/>
            <ac:spMk id="28" creationId="{F3456AFD-2FC9-79DB-8368-EA75871B1AC9}"/>
          </ac:spMkLst>
        </pc:spChg>
        <pc:spChg chg="mod">
          <ac:chgData name="Louise Munch Blicher" userId="9d12dafc-6951-4125-9e82-2684190d08ec" providerId="ADAL" clId="{A0CEFBB3-1CCC-5EBA-B4B6-9C012A781A03}" dt="2026-04-30T13:17:56.124" v="8151" actId="2711"/>
          <ac:spMkLst>
            <pc:docMk/>
            <pc:sldMk cId="3619368324" sldId="2147483146"/>
            <ac:spMk id="29" creationId="{595E3E87-3E96-0D30-DCBD-972B63153DBC}"/>
          </ac:spMkLst>
        </pc:spChg>
        <pc:spChg chg="mod">
          <ac:chgData name="Louise Munch Blicher" userId="9d12dafc-6951-4125-9e82-2684190d08ec" providerId="ADAL" clId="{A0CEFBB3-1CCC-5EBA-B4B6-9C012A781A03}" dt="2026-04-30T13:18:10.882" v="8154" actId="2711"/>
          <ac:spMkLst>
            <pc:docMk/>
            <pc:sldMk cId="3619368324" sldId="2147483146"/>
            <ac:spMk id="30" creationId="{D3BCBCFA-78B7-E687-2A6A-985F6F26EF17}"/>
          </ac:spMkLst>
        </pc:spChg>
        <pc:spChg chg="mod">
          <ac:chgData name="Louise Munch Blicher" userId="9d12dafc-6951-4125-9e82-2684190d08ec" providerId="ADAL" clId="{A0CEFBB3-1CCC-5EBA-B4B6-9C012A781A03}" dt="2026-05-01T05:49:55.825" v="8780"/>
          <ac:spMkLst>
            <pc:docMk/>
            <pc:sldMk cId="3619368324" sldId="2147483146"/>
            <ac:spMk id="31" creationId="{08F46999-7FC3-2ACA-608A-B9A4319FD3F2}"/>
          </ac:spMkLst>
        </pc:spChg>
        <pc:spChg chg="add mod">
          <ac:chgData name="Louise Munch Blicher" userId="9d12dafc-6951-4125-9e82-2684190d08ec" providerId="ADAL" clId="{A0CEFBB3-1CCC-5EBA-B4B6-9C012A781A03}" dt="2026-05-01T05:51:59.116" v="9380" actId="207"/>
          <ac:spMkLst>
            <pc:docMk/>
            <pc:sldMk cId="3619368324" sldId="2147483146"/>
            <ac:spMk id="33" creationId="{B7158454-F26E-A7B8-90E1-5ADED07B0CA7}"/>
          </ac:spMkLst>
        </pc:spChg>
        <pc:spChg chg="add mod">
          <ac:chgData name="Louise Munch Blicher" userId="9d12dafc-6951-4125-9e82-2684190d08ec" providerId="ADAL" clId="{A0CEFBB3-1CCC-5EBA-B4B6-9C012A781A03}" dt="2026-05-01T05:53:01.762" v="9468" actId="1038"/>
          <ac:spMkLst>
            <pc:docMk/>
            <pc:sldMk cId="3619368324" sldId="2147483146"/>
            <ac:spMk id="34" creationId="{1AED2348-CA0E-6AA0-1798-136ECA7D019B}"/>
          </ac:spMkLst>
        </pc:spChg>
        <pc:spChg chg="mod">
          <ac:chgData name="Louise Munch Blicher" userId="9d12dafc-6951-4125-9e82-2684190d08ec" providerId="ADAL" clId="{A0CEFBB3-1CCC-5EBA-B4B6-9C012A781A03}" dt="2026-05-01T05:53:39.414" v="9470" actId="2711"/>
          <ac:spMkLst>
            <pc:docMk/>
            <pc:sldMk cId="3619368324" sldId="2147483146"/>
            <ac:spMk id="36" creationId="{81E740A6-82EA-89B7-F15F-7A75BA7C237E}"/>
          </ac:spMkLst>
        </pc:spChg>
        <pc:spChg chg="mod">
          <ac:chgData name="Louise Munch Blicher" userId="9d12dafc-6951-4125-9e82-2684190d08ec" providerId="ADAL" clId="{A0CEFBB3-1CCC-5EBA-B4B6-9C012A781A03}" dt="2026-05-01T05:53:45.497" v="9471" actId="2711"/>
          <ac:spMkLst>
            <pc:docMk/>
            <pc:sldMk cId="3619368324" sldId="2147483146"/>
            <ac:spMk id="41" creationId="{1F7462D1-A711-EC2C-EA6D-BF7D2395F8BD}"/>
          </ac:spMkLst>
        </pc:spChg>
        <pc:spChg chg="mod">
          <ac:chgData name="Louise Munch Blicher" userId="9d12dafc-6951-4125-9e82-2684190d08ec" providerId="ADAL" clId="{A0CEFBB3-1CCC-5EBA-B4B6-9C012A781A03}" dt="2026-04-30T13:18:00.701" v="8152" actId="2711"/>
          <ac:spMkLst>
            <pc:docMk/>
            <pc:sldMk cId="3619368324" sldId="2147483146"/>
            <ac:spMk id="42" creationId="{42B181B6-FA02-648E-2F2F-8B928724D2A7}"/>
          </ac:spMkLst>
        </pc:spChg>
        <pc:spChg chg="mod">
          <ac:chgData name="Louise Munch Blicher" userId="9d12dafc-6951-4125-9e82-2684190d08ec" providerId="ADAL" clId="{A0CEFBB3-1CCC-5EBA-B4B6-9C012A781A03}" dt="2026-05-01T05:53:50.918" v="9472" actId="2711"/>
          <ac:spMkLst>
            <pc:docMk/>
            <pc:sldMk cId="3619368324" sldId="2147483146"/>
            <ac:spMk id="46" creationId="{CF447E0F-55E2-3A75-81D7-8853671E172C}"/>
          </ac:spMkLst>
        </pc:spChg>
        <pc:spChg chg="mod">
          <ac:chgData name="Louise Munch Blicher" userId="9d12dafc-6951-4125-9e82-2684190d08ec" providerId="ADAL" clId="{A0CEFBB3-1CCC-5EBA-B4B6-9C012A781A03}" dt="2026-05-01T05:53:56.530" v="9473" actId="2711"/>
          <ac:spMkLst>
            <pc:docMk/>
            <pc:sldMk cId="3619368324" sldId="2147483146"/>
            <ac:spMk id="47" creationId="{A31EFBB1-C43E-4EB4-0E78-82A4CF5B8123}"/>
          </ac:spMkLst>
        </pc:spChg>
        <pc:grpChg chg="topLvl">
          <ac:chgData name="Louise Munch Blicher" userId="9d12dafc-6951-4125-9e82-2684190d08ec" providerId="ADAL" clId="{A0CEFBB3-1CCC-5EBA-B4B6-9C012A781A03}" dt="2026-05-01T05:50:16.787" v="8784" actId="165"/>
          <ac:grpSpMkLst>
            <pc:docMk/>
            <pc:sldMk cId="3619368324" sldId="2147483146"/>
            <ac:grpSpMk id="5" creationId="{B413432B-8BA6-295E-7127-BAB78B3DCD2A}"/>
          </ac:grpSpMkLst>
        </pc:grpChg>
        <pc:grpChg chg="topLvl">
          <ac:chgData name="Louise Munch Blicher" userId="9d12dafc-6951-4125-9e82-2684190d08ec" providerId="ADAL" clId="{A0CEFBB3-1CCC-5EBA-B4B6-9C012A781A03}" dt="2026-05-01T05:50:16.787" v="8784" actId="165"/>
          <ac:grpSpMkLst>
            <pc:docMk/>
            <pc:sldMk cId="3619368324" sldId="2147483146"/>
            <ac:grpSpMk id="6" creationId="{E342EAE3-CAED-5E30-0D28-037A2B6238BD}"/>
          </ac:grpSpMkLst>
        </pc:grpChg>
        <pc:grpChg chg="mod topLvl">
          <ac:chgData name="Louise Munch Blicher" userId="9d12dafc-6951-4125-9e82-2684190d08ec" providerId="ADAL" clId="{A0CEFBB3-1CCC-5EBA-B4B6-9C012A781A03}" dt="2026-05-01T05:50:16.787" v="8784" actId="165"/>
          <ac:grpSpMkLst>
            <pc:docMk/>
            <pc:sldMk cId="3619368324" sldId="2147483146"/>
            <ac:grpSpMk id="8" creationId="{C9239716-7D71-F7F1-ADA6-57A7146678C6}"/>
          </ac:grpSpMkLst>
        </pc:grpChg>
        <pc:grpChg chg="add mod">
          <ac:chgData name="Louise Munch Blicher" userId="9d12dafc-6951-4125-9e82-2684190d08ec" providerId="ADAL" clId="{A0CEFBB3-1CCC-5EBA-B4B6-9C012A781A03}" dt="2026-05-01T05:51:08.383" v="8968" actId="14100"/>
          <ac:grpSpMkLst>
            <pc:docMk/>
            <pc:sldMk cId="3619368324" sldId="2147483146"/>
            <ac:grpSpMk id="32" creationId="{D1FA9142-985B-30FE-9D21-B711B160B3A9}"/>
          </ac:grpSpMkLst>
        </pc:grpChg>
        <pc:graphicFrameChg chg="mod">
          <ac:chgData name="Louise Munch Blicher" userId="9d12dafc-6951-4125-9e82-2684190d08ec" providerId="ADAL" clId="{A0CEFBB3-1CCC-5EBA-B4B6-9C012A781A03}" dt="2026-05-01T05:55:01.134" v="9606" actId="692"/>
          <ac:graphicFrameMkLst>
            <pc:docMk/>
            <pc:sldMk cId="3619368324" sldId="2147483146"/>
            <ac:graphicFrameMk id="107" creationId="{2F1A244C-E668-BB80-5035-AE56210EF29E}"/>
          </ac:graphicFrameMkLst>
        </pc:graphicFrameChg>
        <pc:picChg chg="mod">
          <ac:chgData name="Louise Munch Blicher" userId="9d12dafc-6951-4125-9e82-2684190d08ec" providerId="ADAL" clId="{A0CEFBB3-1CCC-5EBA-B4B6-9C012A781A03}" dt="2026-05-01T05:52:07.788" v="9381" actId="166"/>
          <ac:picMkLst>
            <pc:docMk/>
            <pc:sldMk cId="3619368324" sldId="2147483146"/>
            <ac:picMk id="40" creationId="{13E14469-D91E-18B9-0DF9-7D4492405626}"/>
          </ac:picMkLst>
        </pc:picChg>
        <pc:picChg chg="mod">
          <ac:chgData name="Louise Munch Blicher" userId="9d12dafc-6951-4125-9e82-2684190d08ec" providerId="ADAL" clId="{A0CEFBB3-1CCC-5EBA-B4B6-9C012A781A03}" dt="2026-05-01T05:52:44.472" v="9462" actId="166"/>
          <ac:picMkLst>
            <pc:docMk/>
            <pc:sldMk cId="3619368324" sldId="2147483146"/>
            <ac:picMk id="48" creationId="{0C937B1E-919D-6E84-8B1A-EF85FB5C323E}"/>
          </ac:picMkLst>
        </pc:picChg>
        <pc:picChg chg="mod">
          <ac:chgData name="Louise Munch Blicher" userId="9d12dafc-6951-4125-9e82-2684190d08ec" providerId="ADAL" clId="{A0CEFBB3-1CCC-5EBA-B4B6-9C012A781A03}" dt="2026-05-01T05:52:53.961" v="9464" actId="166"/>
          <ac:picMkLst>
            <pc:docMk/>
            <pc:sldMk cId="3619368324" sldId="2147483146"/>
            <ac:picMk id="50" creationId="{371B1274-2BFC-D977-F56B-73769C1C2E10}"/>
          </ac:picMkLst>
        </pc:picChg>
        <pc:cxnChg chg="mod">
          <ac:chgData name="Louise Munch Blicher" userId="9d12dafc-6951-4125-9e82-2684190d08ec" providerId="ADAL" clId="{A0CEFBB3-1CCC-5EBA-B4B6-9C012A781A03}" dt="2026-04-30T13:17:10.466" v="8143" actId="692"/>
          <ac:cxnSpMkLst>
            <pc:docMk/>
            <pc:sldMk cId="3619368324" sldId="2147483146"/>
            <ac:cxnSpMk id="23" creationId="{4F9B0172-3AFD-D45E-4D49-DCC41B751AA1}"/>
          </ac:cxnSpMkLst>
        </pc:cxnChg>
        <pc:cxnChg chg="mod">
          <ac:chgData name="Louise Munch Blicher" userId="9d12dafc-6951-4125-9e82-2684190d08ec" providerId="ADAL" clId="{A0CEFBB3-1CCC-5EBA-B4B6-9C012A781A03}" dt="2026-04-30T13:17:10.466" v="8143" actId="692"/>
          <ac:cxnSpMkLst>
            <pc:docMk/>
            <pc:sldMk cId="3619368324" sldId="2147483146"/>
            <ac:cxnSpMk id="27" creationId="{1304F5A4-28B0-6293-05BA-B3308AD1DBF4}"/>
          </ac:cxnSpMkLst>
        </pc:cxnChg>
        <pc:cxnChg chg="mod">
          <ac:chgData name="Louise Munch Blicher" userId="9d12dafc-6951-4125-9e82-2684190d08ec" providerId="ADAL" clId="{A0CEFBB3-1CCC-5EBA-B4B6-9C012A781A03}" dt="2026-04-30T13:17:10.466" v="8143" actId="692"/>
          <ac:cxnSpMkLst>
            <pc:docMk/>
            <pc:sldMk cId="3619368324" sldId="2147483146"/>
            <ac:cxnSpMk id="54" creationId="{DD2FD0E3-B339-5FEA-9EEC-51553A419AFC}"/>
          </ac:cxnSpMkLst>
        </pc:cxnChg>
      </pc:sldChg>
      <pc:sldChg chg="addSp delSp modSp add mod">
        <pc:chgData name="Louise Munch Blicher" userId="9d12dafc-6951-4125-9e82-2684190d08ec" providerId="ADAL" clId="{A0CEFBB3-1CCC-5EBA-B4B6-9C012A781A03}" dt="2026-05-08T07:41:35.473" v="9890" actId="1076"/>
        <pc:sldMkLst>
          <pc:docMk/>
          <pc:sldMk cId="388824945" sldId="2147483161"/>
        </pc:sldMkLst>
        <pc:spChg chg="mod">
          <ac:chgData name="Louise Munch Blicher" userId="9d12dafc-6951-4125-9e82-2684190d08ec" providerId="ADAL" clId="{A0CEFBB3-1CCC-5EBA-B4B6-9C012A781A03}" dt="2026-05-08T07:41:35.473" v="9890" actId="1076"/>
          <ac:spMkLst>
            <pc:docMk/>
            <pc:sldMk cId="388824945" sldId="2147483161"/>
            <ac:spMk id="2" creationId="{597173A0-F709-598F-8A83-AC6329B76387}"/>
          </ac:spMkLst>
        </pc:spChg>
        <pc:spChg chg="add mod">
          <ac:chgData name="Louise Munch Blicher" userId="9d12dafc-6951-4125-9e82-2684190d08ec" providerId="ADAL" clId="{A0CEFBB3-1CCC-5EBA-B4B6-9C012A781A03}" dt="2026-05-01T06:07:23.390" v="9797" actId="207"/>
          <ac:spMkLst>
            <pc:docMk/>
            <pc:sldMk cId="388824945" sldId="2147483161"/>
            <ac:spMk id="3" creationId="{2C805528-891A-2DAA-827C-EE32DDF82F17}"/>
          </ac:spMkLst>
        </pc:spChg>
        <pc:spChg chg="add mod">
          <ac:chgData name="Louise Munch Blicher" userId="9d12dafc-6951-4125-9e82-2684190d08ec" providerId="ADAL" clId="{A0CEFBB3-1CCC-5EBA-B4B6-9C012A781A03}" dt="2026-05-01T06:07:23.390" v="9797" actId="207"/>
          <ac:spMkLst>
            <pc:docMk/>
            <pc:sldMk cId="388824945" sldId="2147483161"/>
            <ac:spMk id="4" creationId="{ED20867E-EF99-EC39-7960-F4B492484909}"/>
          </ac:spMkLst>
        </pc:spChg>
        <pc:spChg chg="mod">
          <ac:chgData name="Louise Munch Blicher" userId="9d12dafc-6951-4125-9e82-2684190d08ec" providerId="ADAL" clId="{A0CEFBB3-1CCC-5EBA-B4B6-9C012A781A03}" dt="2026-05-01T06:05:24.469" v="9771" actId="167"/>
          <ac:spMkLst>
            <pc:docMk/>
            <pc:sldMk cId="388824945" sldId="2147483161"/>
            <ac:spMk id="29" creationId="{2E816449-97FD-C3B7-9927-A62764F1A543}"/>
          </ac:spMkLst>
        </pc:spChg>
        <pc:spChg chg="add mod">
          <ac:chgData name="Louise Munch Blicher" userId="9d12dafc-6951-4125-9e82-2684190d08ec" providerId="ADAL" clId="{A0CEFBB3-1CCC-5EBA-B4B6-9C012A781A03}" dt="2026-05-01T06:07:23.390" v="9797" actId="207"/>
          <ac:spMkLst>
            <pc:docMk/>
            <pc:sldMk cId="388824945" sldId="2147483161"/>
            <ac:spMk id="40" creationId="{6EFB82F5-6438-2B86-FB76-374AB0C3A185}"/>
          </ac:spMkLst>
        </pc:spChg>
        <pc:spChg chg="mod">
          <ac:chgData name="Louise Munch Blicher" userId="9d12dafc-6951-4125-9e82-2684190d08ec" providerId="ADAL" clId="{A0CEFBB3-1CCC-5EBA-B4B6-9C012A781A03}" dt="2026-05-01T06:08:08.557" v="9811" actId="692"/>
          <ac:spMkLst>
            <pc:docMk/>
            <pc:sldMk cId="388824945" sldId="2147483161"/>
            <ac:spMk id="66" creationId="{C334093E-73D4-7DBF-7572-DD293F6B2E79}"/>
          </ac:spMkLst>
        </pc:spChg>
        <pc:spChg chg="mod">
          <ac:chgData name="Louise Munch Blicher" userId="9d12dafc-6951-4125-9e82-2684190d08ec" providerId="ADAL" clId="{A0CEFBB3-1CCC-5EBA-B4B6-9C012A781A03}" dt="2026-05-01T06:07:50.098" v="9804" actId="1076"/>
          <ac:spMkLst>
            <pc:docMk/>
            <pc:sldMk cId="388824945" sldId="2147483161"/>
            <ac:spMk id="72" creationId="{EF459880-1948-1FB3-7311-848EE4DEBEBB}"/>
          </ac:spMkLst>
        </pc:spChg>
        <pc:spChg chg="mod">
          <ac:chgData name="Louise Munch Blicher" userId="9d12dafc-6951-4125-9e82-2684190d08ec" providerId="ADAL" clId="{A0CEFBB3-1CCC-5EBA-B4B6-9C012A781A03}" dt="2026-05-01T06:08:08.557" v="9811" actId="692"/>
          <ac:spMkLst>
            <pc:docMk/>
            <pc:sldMk cId="388824945" sldId="2147483161"/>
            <ac:spMk id="89" creationId="{59DAF3A2-FECB-C644-7AD0-86F5CD84F45C}"/>
          </ac:spMkLst>
        </pc:spChg>
        <pc:spChg chg="mod">
          <ac:chgData name="Louise Munch Blicher" userId="9d12dafc-6951-4125-9e82-2684190d08ec" providerId="ADAL" clId="{A0CEFBB3-1CCC-5EBA-B4B6-9C012A781A03}" dt="2026-05-01T06:08:08.557" v="9811" actId="692"/>
          <ac:spMkLst>
            <pc:docMk/>
            <pc:sldMk cId="388824945" sldId="2147483161"/>
            <ac:spMk id="93" creationId="{3B52C254-CFA9-E509-0C66-6FCADB9B7CD7}"/>
          </ac:spMkLst>
        </pc:spChg>
        <pc:spChg chg="mod">
          <ac:chgData name="Louise Munch Blicher" userId="9d12dafc-6951-4125-9e82-2684190d08ec" providerId="ADAL" clId="{A0CEFBB3-1CCC-5EBA-B4B6-9C012A781A03}" dt="2026-05-01T06:08:08.557" v="9811" actId="692"/>
          <ac:spMkLst>
            <pc:docMk/>
            <pc:sldMk cId="388824945" sldId="2147483161"/>
            <ac:spMk id="94" creationId="{429E86F5-35AD-9AF5-8B6A-39BA538FF163}"/>
          </ac:spMkLst>
        </pc:spChg>
        <pc:spChg chg="mod">
          <ac:chgData name="Louise Munch Blicher" userId="9d12dafc-6951-4125-9e82-2684190d08ec" providerId="ADAL" clId="{A0CEFBB3-1CCC-5EBA-B4B6-9C012A781A03}" dt="2026-05-01T06:08:08.557" v="9811" actId="692"/>
          <ac:spMkLst>
            <pc:docMk/>
            <pc:sldMk cId="388824945" sldId="2147483161"/>
            <ac:spMk id="98" creationId="{8F424D85-1FAF-E4DB-8ABB-E30810B670D2}"/>
          </ac:spMkLst>
        </pc:spChg>
        <pc:spChg chg="mod">
          <ac:chgData name="Louise Munch Blicher" userId="9d12dafc-6951-4125-9e82-2684190d08ec" providerId="ADAL" clId="{A0CEFBB3-1CCC-5EBA-B4B6-9C012A781A03}" dt="2026-05-01T06:08:08.557" v="9811" actId="692"/>
          <ac:spMkLst>
            <pc:docMk/>
            <pc:sldMk cId="388824945" sldId="2147483161"/>
            <ac:spMk id="100" creationId="{AD705849-FCA8-3228-FD2C-86F8EB1CFC75}"/>
          </ac:spMkLst>
        </pc:spChg>
        <pc:spChg chg="mod">
          <ac:chgData name="Louise Munch Blicher" userId="9d12dafc-6951-4125-9e82-2684190d08ec" providerId="ADAL" clId="{A0CEFBB3-1CCC-5EBA-B4B6-9C012A781A03}" dt="2026-05-01T06:08:08.557" v="9811" actId="692"/>
          <ac:spMkLst>
            <pc:docMk/>
            <pc:sldMk cId="388824945" sldId="2147483161"/>
            <ac:spMk id="101" creationId="{8AC78E4C-2774-9D0F-9EEF-301A415041BA}"/>
          </ac:spMkLst>
        </pc:spChg>
        <pc:spChg chg="mod">
          <ac:chgData name="Louise Munch Blicher" userId="9d12dafc-6951-4125-9e82-2684190d08ec" providerId="ADAL" clId="{A0CEFBB3-1CCC-5EBA-B4B6-9C012A781A03}" dt="2026-05-01T06:08:08.557" v="9811" actId="692"/>
          <ac:spMkLst>
            <pc:docMk/>
            <pc:sldMk cId="388824945" sldId="2147483161"/>
            <ac:spMk id="102" creationId="{F91B787D-8BBD-EB3D-87EF-2D55D91E34C9}"/>
          </ac:spMkLst>
        </pc:spChg>
        <pc:spChg chg="mod">
          <ac:chgData name="Louise Munch Blicher" userId="9d12dafc-6951-4125-9e82-2684190d08ec" providerId="ADAL" clId="{A0CEFBB3-1CCC-5EBA-B4B6-9C012A781A03}" dt="2026-05-01T06:04:54.220" v="9764" actId="207"/>
          <ac:spMkLst>
            <pc:docMk/>
            <pc:sldMk cId="388824945" sldId="2147483161"/>
            <ac:spMk id="103" creationId="{03729B28-A5CD-D286-9798-533FED9997FB}"/>
          </ac:spMkLst>
        </pc:spChg>
        <pc:spChg chg="mod">
          <ac:chgData name="Louise Munch Blicher" userId="9d12dafc-6951-4125-9e82-2684190d08ec" providerId="ADAL" clId="{A0CEFBB3-1CCC-5EBA-B4B6-9C012A781A03}" dt="2026-05-01T06:04:57.569" v="9765" actId="207"/>
          <ac:spMkLst>
            <pc:docMk/>
            <pc:sldMk cId="388824945" sldId="2147483161"/>
            <ac:spMk id="105" creationId="{3EDE41B7-F565-31E9-17D0-85999B4CA193}"/>
          </ac:spMkLst>
        </pc:spChg>
        <pc:spChg chg="mod">
          <ac:chgData name="Louise Munch Blicher" userId="9d12dafc-6951-4125-9e82-2684190d08ec" providerId="ADAL" clId="{A0CEFBB3-1CCC-5EBA-B4B6-9C012A781A03}" dt="2026-05-01T06:08:08.557" v="9811" actId="692"/>
          <ac:spMkLst>
            <pc:docMk/>
            <pc:sldMk cId="388824945" sldId="2147483161"/>
            <ac:spMk id="106" creationId="{400C6642-8838-54C5-EE50-635B8EFEE8C6}"/>
          </ac:spMkLst>
        </pc:spChg>
        <pc:spChg chg="mod">
          <ac:chgData name="Louise Munch Blicher" userId="9d12dafc-6951-4125-9e82-2684190d08ec" providerId="ADAL" clId="{A0CEFBB3-1CCC-5EBA-B4B6-9C012A781A03}" dt="2026-05-01T06:04:45.667" v="9762" actId="207"/>
          <ac:spMkLst>
            <pc:docMk/>
            <pc:sldMk cId="388824945" sldId="2147483161"/>
            <ac:spMk id="107" creationId="{125B5690-1192-47C5-5284-386FABDE3662}"/>
          </ac:spMkLst>
        </pc:spChg>
        <pc:spChg chg="mod">
          <ac:chgData name="Louise Munch Blicher" userId="9d12dafc-6951-4125-9e82-2684190d08ec" providerId="ADAL" clId="{A0CEFBB3-1CCC-5EBA-B4B6-9C012A781A03}" dt="2026-05-01T06:08:08.557" v="9811" actId="692"/>
          <ac:spMkLst>
            <pc:docMk/>
            <pc:sldMk cId="388824945" sldId="2147483161"/>
            <ac:spMk id="108" creationId="{2A61F32D-8D5B-CA9E-AEA0-5DF7A7AB7D0A}"/>
          </ac:spMkLst>
        </pc:spChg>
        <pc:grpChg chg="add mod">
          <ac:chgData name="Louise Munch Blicher" userId="9d12dafc-6951-4125-9e82-2684190d08ec" providerId="ADAL" clId="{A0CEFBB3-1CCC-5EBA-B4B6-9C012A781A03}" dt="2026-05-01T06:29:56.546" v="9886" actId="1037"/>
          <ac:grpSpMkLst>
            <pc:docMk/>
            <pc:sldMk cId="388824945" sldId="2147483161"/>
            <ac:grpSpMk id="41" creationId="{5BB20652-5B0E-EF6A-C1FF-733C46D01A3C}"/>
          </ac:grpSpMkLst>
        </pc:grpChg>
        <pc:grpChg chg="mod">
          <ac:chgData name="Louise Munch Blicher" userId="9d12dafc-6951-4125-9e82-2684190d08ec" providerId="ADAL" clId="{A0CEFBB3-1CCC-5EBA-B4B6-9C012A781A03}" dt="2026-05-01T06:07:27.662" v="9798" actId="166"/>
          <ac:grpSpMkLst>
            <pc:docMk/>
            <pc:sldMk cId="388824945" sldId="2147483161"/>
            <ac:grpSpMk id="63" creationId="{C5004FB8-1042-79BA-DBC3-C12DE6271212}"/>
          </ac:grpSpMkLst>
        </pc:grpChg>
        <pc:picChg chg="mod">
          <ac:chgData name="Louise Munch Blicher" userId="9d12dafc-6951-4125-9e82-2684190d08ec" providerId="ADAL" clId="{A0CEFBB3-1CCC-5EBA-B4B6-9C012A781A03}" dt="2026-05-01T06:05:17.368" v="9770" actId="167"/>
          <ac:picMkLst>
            <pc:docMk/>
            <pc:sldMk cId="388824945" sldId="2147483161"/>
            <ac:picMk id="111" creationId="{31A4589B-536C-F750-50B6-C19D2D8BC569}"/>
          </ac:picMkLst>
        </pc:picChg>
      </pc:sldChg>
      <pc:sldChg chg="addSp delSp modSp add mod">
        <pc:chgData name="Louise Munch Blicher" userId="9d12dafc-6951-4125-9e82-2684190d08ec" providerId="ADAL" clId="{A0CEFBB3-1CCC-5EBA-B4B6-9C012A781A03}" dt="2026-05-01T08:54:31.830" v="9888" actId="14826"/>
        <pc:sldMkLst>
          <pc:docMk/>
          <pc:sldMk cId="3761536524" sldId="2147483162"/>
        </pc:sldMkLst>
        <pc:spChg chg="mod">
          <ac:chgData name="Louise Munch Blicher" userId="9d12dafc-6951-4125-9e82-2684190d08ec" providerId="ADAL" clId="{A0CEFBB3-1CCC-5EBA-B4B6-9C012A781A03}" dt="2026-05-01T06:25:37.785" v="9874" actId="1076"/>
          <ac:spMkLst>
            <pc:docMk/>
            <pc:sldMk cId="3761536524" sldId="2147483162"/>
            <ac:spMk id="3" creationId="{8FF83808-2E86-E24B-23B9-38BD72D5C9CC}"/>
          </ac:spMkLst>
        </pc:spChg>
        <pc:spChg chg="mod">
          <ac:chgData name="Louise Munch Blicher" userId="9d12dafc-6951-4125-9e82-2684190d08ec" providerId="ADAL" clId="{A0CEFBB3-1CCC-5EBA-B4B6-9C012A781A03}" dt="2026-05-01T06:25:29.756" v="9873" actId="1037"/>
          <ac:spMkLst>
            <pc:docMk/>
            <pc:sldMk cId="3761536524" sldId="2147483162"/>
            <ac:spMk id="6" creationId="{6672F262-4B68-7733-3E06-A72421852E51}"/>
          </ac:spMkLst>
        </pc:spChg>
        <pc:spChg chg="mod">
          <ac:chgData name="Louise Munch Blicher" userId="9d12dafc-6951-4125-9e82-2684190d08ec" providerId="ADAL" clId="{A0CEFBB3-1CCC-5EBA-B4B6-9C012A781A03}" dt="2026-05-01T06:25:29.756" v="9873" actId="1037"/>
          <ac:spMkLst>
            <pc:docMk/>
            <pc:sldMk cId="3761536524" sldId="2147483162"/>
            <ac:spMk id="7" creationId="{A89A9A95-E915-683D-EEE4-EFEA2BC6EB61}"/>
          </ac:spMkLst>
        </pc:spChg>
        <pc:spChg chg="mod">
          <ac:chgData name="Louise Munch Blicher" userId="9d12dafc-6951-4125-9e82-2684190d08ec" providerId="ADAL" clId="{A0CEFBB3-1CCC-5EBA-B4B6-9C012A781A03}" dt="2026-05-01T06:25:29.756" v="9873" actId="1037"/>
          <ac:spMkLst>
            <pc:docMk/>
            <pc:sldMk cId="3761536524" sldId="2147483162"/>
            <ac:spMk id="8" creationId="{FA0B3E93-3AC6-5315-1E72-E655423393A6}"/>
          </ac:spMkLst>
        </pc:spChg>
        <pc:spChg chg="mod">
          <ac:chgData name="Louise Munch Blicher" userId="9d12dafc-6951-4125-9e82-2684190d08ec" providerId="ADAL" clId="{A0CEFBB3-1CCC-5EBA-B4B6-9C012A781A03}" dt="2026-05-01T06:25:29.756" v="9873" actId="1037"/>
          <ac:spMkLst>
            <pc:docMk/>
            <pc:sldMk cId="3761536524" sldId="2147483162"/>
            <ac:spMk id="9" creationId="{D745D441-71B6-4FA0-98D2-AB178BDAA683}"/>
          </ac:spMkLst>
        </pc:spChg>
        <pc:spChg chg="mod">
          <ac:chgData name="Louise Munch Blicher" userId="9d12dafc-6951-4125-9e82-2684190d08ec" providerId="ADAL" clId="{A0CEFBB3-1CCC-5EBA-B4B6-9C012A781A03}" dt="2026-05-01T06:25:29.756" v="9873" actId="1037"/>
          <ac:spMkLst>
            <pc:docMk/>
            <pc:sldMk cId="3761536524" sldId="2147483162"/>
            <ac:spMk id="10" creationId="{2BFF56D0-C490-41DB-8900-8C70B28FDCFF}"/>
          </ac:spMkLst>
        </pc:spChg>
        <pc:spChg chg="mod">
          <ac:chgData name="Louise Munch Blicher" userId="9d12dafc-6951-4125-9e82-2684190d08ec" providerId="ADAL" clId="{A0CEFBB3-1CCC-5EBA-B4B6-9C012A781A03}" dt="2026-05-01T06:25:29.756" v="9873" actId="1037"/>
          <ac:spMkLst>
            <pc:docMk/>
            <pc:sldMk cId="3761536524" sldId="2147483162"/>
            <ac:spMk id="12" creationId="{9EB87BA9-B6D2-CD18-21C9-2879BE2AC68D}"/>
          </ac:spMkLst>
        </pc:spChg>
        <pc:picChg chg="add mod">
          <ac:chgData name="Louise Munch Blicher" userId="9d12dafc-6951-4125-9e82-2684190d08ec" providerId="ADAL" clId="{A0CEFBB3-1CCC-5EBA-B4B6-9C012A781A03}" dt="2026-05-01T08:54:31.830" v="9888" actId="14826"/>
          <ac:picMkLst>
            <pc:docMk/>
            <pc:sldMk cId="3761536524" sldId="2147483162"/>
            <ac:picMk id="5" creationId="{24214022-9F5B-BEF5-AC90-BAAC8F5D9A41}"/>
          </ac:picMkLst>
        </pc:picChg>
      </pc:sldChg>
    </pc:docChg>
  </pc:docChgLst>
  <pc:docChgLst>
    <pc:chgData name="Thomas Langenickel" userId="3837518f-f834-4cdc-a9ef-a6f8b3d3882f" providerId="ADAL" clId="{BD860EB1-BA7E-5781-BD67-2D94C0CF27D4}"/>
    <pc:docChg chg="undo custSel addSld delSld modSld">
      <pc:chgData name="Thomas Langenickel" userId="3837518f-f834-4cdc-a9ef-a6f8b3d3882f" providerId="ADAL" clId="{BD860EB1-BA7E-5781-BD67-2D94C0CF27D4}" dt="2026-05-05T19:08:46.134" v="39" actId="21"/>
      <pc:docMkLst>
        <pc:docMk/>
      </pc:docMkLst>
      <pc:sldChg chg="addSp modSp mod">
        <pc:chgData name="Thomas Langenickel" userId="3837518f-f834-4cdc-a9ef-a6f8b3d3882f" providerId="ADAL" clId="{BD860EB1-BA7E-5781-BD67-2D94C0CF27D4}" dt="2026-05-05T19:08:44.980" v="38" actId="571"/>
        <pc:sldMkLst>
          <pc:docMk/>
          <pc:sldMk cId="3646326074" sldId="2147480437"/>
        </pc:sldMkLst>
      </pc:sldChg>
      <pc:sldChg chg="addSp delSp modSp mod">
        <pc:chgData name="Thomas Langenickel" userId="3837518f-f834-4cdc-a9ef-a6f8b3d3882f" providerId="ADAL" clId="{BD860EB1-BA7E-5781-BD67-2D94C0CF27D4}" dt="2026-05-05T19:08:46.134" v="39" actId="21"/>
        <pc:sldMkLst>
          <pc:docMk/>
          <pc:sldMk cId="4136824861" sldId="2147480507"/>
        </pc:sldMkLst>
        <pc:spChg chg="mod">
          <ac:chgData name="Thomas Langenickel" userId="3837518f-f834-4cdc-a9ef-a6f8b3d3882f" providerId="ADAL" clId="{BD860EB1-BA7E-5781-BD67-2D94C0CF27D4}" dt="2026-05-05T19:02:56.312" v="24" actId="20577"/>
          <ac:spMkLst>
            <pc:docMk/>
            <pc:sldMk cId="4136824861" sldId="2147480507"/>
            <ac:spMk id="25" creationId="{1014075A-E8BE-B7F1-8742-FEE2E903ACE1}"/>
          </ac:spMkLst>
        </pc:spChg>
        <pc:grpChg chg="add del">
          <ac:chgData name="Thomas Langenickel" userId="3837518f-f834-4cdc-a9ef-a6f8b3d3882f" providerId="ADAL" clId="{BD860EB1-BA7E-5781-BD67-2D94C0CF27D4}" dt="2026-05-05T19:08:46.134" v="39" actId="21"/>
          <ac:grpSpMkLst>
            <pc:docMk/>
            <pc:sldMk cId="4136824861" sldId="2147480507"/>
            <ac:grpSpMk id="11" creationId="{24A3789D-A041-0486-8120-1EB3075BC185}"/>
          </ac:grpSpMkLst>
        </pc:grpChg>
      </pc:sldChg>
    </pc:docChg>
  </pc:docChgLst>
  <pc:docChgLst>
    <pc:chgData name="Emma Jappe Lange" userId="50167a89-1da6-43cb-b919-73793a3e7cc3" providerId="ADAL" clId="{A72C95B2-B9E6-4ABD-BBAD-56D980520408}"/>
    <pc:docChg chg="undo custSel addSld delSld modSld sldOrd delMainMaster modMainMaster modSection">
      <pc:chgData name="Emma Jappe Lange" userId="50167a89-1da6-43cb-b919-73793a3e7cc3" providerId="ADAL" clId="{A72C95B2-B9E6-4ABD-BBAD-56D980520408}" dt="2026-05-13T06:47:13.385" v="11319"/>
      <pc:docMkLst>
        <pc:docMk/>
      </pc:docMkLst>
      <pc:sldChg chg="ord">
        <pc:chgData name="Emma Jappe Lange" userId="50167a89-1da6-43cb-b919-73793a3e7cc3" providerId="ADAL" clId="{A72C95B2-B9E6-4ABD-BBAD-56D980520408}" dt="2026-04-20T12:14:59.482" v="483"/>
        <pc:sldMkLst>
          <pc:docMk/>
          <pc:sldMk cId="3646326074" sldId="2147480437"/>
        </pc:sldMkLst>
      </pc:sldChg>
      <pc:sldChg chg="addSp delSp modSp mod">
        <pc:chgData name="Emma Jappe Lange" userId="50167a89-1da6-43cb-b919-73793a3e7cc3" providerId="ADAL" clId="{A72C95B2-B9E6-4ABD-BBAD-56D980520408}" dt="2026-04-30T09:05:37.755" v="8794" actId="478"/>
        <pc:sldMkLst>
          <pc:docMk/>
          <pc:sldMk cId="1804018898" sldId="2147480499"/>
        </pc:sldMkLst>
      </pc:sldChg>
      <pc:sldChg chg="addSp delSp modSp mod modCm">
        <pc:chgData name="Emma Jappe Lange" userId="50167a89-1da6-43cb-b919-73793a3e7cc3" providerId="ADAL" clId="{A72C95B2-B9E6-4ABD-BBAD-56D980520408}" dt="2026-05-01T12:33:21.073" v="11202" actId="20577"/>
        <pc:sldMkLst>
          <pc:docMk/>
          <pc:sldMk cId="4136824861" sldId="2147480507"/>
        </pc:sldMkLst>
        <pc:spChg chg="mod">
          <ac:chgData name="Emma Jappe Lange" userId="50167a89-1da6-43cb-b919-73793a3e7cc3" providerId="ADAL" clId="{A72C95B2-B9E6-4ABD-BBAD-56D980520408}" dt="2026-04-27T06:13:41.159" v="1616" actId="20577"/>
          <ac:spMkLst>
            <pc:docMk/>
            <pc:sldMk cId="4136824861" sldId="2147480507"/>
            <ac:spMk id="2" creationId="{6F98F379-9B77-F743-4A68-BEE285336ABF}"/>
          </ac:spMkLst>
        </pc:spChg>
        <pc:spChg chg="mod">
          <ac:chgData name="Emma Jappe Lange" userId="50167a89-1da6-43cb-b919-73793a3e7cc3" providerId="ADAL" clId="{A72C95B2-B9E6-4ABD-BBAD-56D980520408}" dt="2026-05-01T12:33:21.073" v="11202" actId="20577"/>
          <ac:spMkLst>
            <pc:docMk/>
            <pc:sldMk cId="4136824861" sldId="2147480507"/>
            <ac:spMk id="3" creationId="{EB2ECB42-46B1-6587-5080-81896EED03D6}"/>
          </ac:spMkLst>
        </pc:spChg>
        <pc:spChg chg="mod">
          <ac:chgData name="Emma Jappe Lange" userId="50167a89-1da6-43cb-b919-73793a3e7cc3" providerId="ADAL" clId="{A72C95B2-B9E6-4ABD-BBAD-56D980520408}" dt="2026-04-27T06:22:16.984" v="2046" actId="14100"/>
          <ac:spMkLst>
            <pc:docMk/>
            <pc:sldMk cId="4136824861" sldId="2147480507"/>
            <ac:spMk id="4" creationId="{A95276D7-65EA-63B9-DD51-6CAC7AB4F408}"/>
          </ac:spMkLst>
        </pc:spChg>
        <pc:spChg chg="mod">
          <ac:chgData name="Emma Jappe Lange" userId="50167a89-1da6-43cb-b919-73793a3e7cc3" providerId="ADAL" clId="{A72C95B2-B9E6-4ABD-BBAD-56D980520408}" dt="2026-04-27T06:22:09.733" v="2045" actId="1035"/>
          <ac:spMkLst>
            <pc:docMk/>
            <pc:sldMk cId="4136824861" sldId="2147480507"/>
            <ac:spMk id="5" creationId="{58117053-FC0B-E3F2-3608-02ECC25ACE19}"/>
          </ac:spMkLst>
        </pc:spChg>
        <pc:spChg chg="mod">
          <ac:chgData name="Emma Jappe Lange" userId="50167a89-1da6-43cb-b919-73793a3e7cc3" providerId="ADAL" clId="{A72C95B2-B9E6-4ABD-BBAD-56D980520408}" dt="2026-04-27T06:19:14.658" v="1973" actId="1036"/>
          <ac:spMkLst>
            <pc:docMk/>
            <pc:sldMk cId="4136824861" sldId="2147480507"/>
            <ac:spMk id="8" creationId="{8573F7EA-21A0-4C10-27BC-77F1ADB843A3}"/>
          </ac:spMkLst>
        </pc:spChg>
        <pc:spChg chg="mod">
          <ac:chgData name="Emma Jappe Lange" userId="50167a89-1da6-43cb-b919-73793a3e7cc3" providerId="ADAL" clId="{A72C95B2-B9E6-4ABD-BBAD-56D980520408}" dt="2026-04-27T06:22:51.133" v="2057"/>
          <ac:spMkLst>
            <pc:docMk/>
            <pc:sldMk cId="4136824861" sldId="2147480507"/>
            <ac:spMk id="9" creationId="{1CDD8004-C41A-801C-4D8A-ECA017D77D1C}"/>
          </ac:spMkLst>
        </pc:spChg>
        <pc:spChg chg="mod">
          <ac:chgData name="Emma Jappe Lange" userId="50167a89-1da6-43cb-b919-73793a3e7cc3" providerId="ADAL" clId="{A72C95B2-B9E6-4ABD-BBAD-56D980520408}" dt="2026-04-27T06:17:16.040" v="1705" actId="1035"/>
          <ac:spMkLst>
            <pc:docMk/>
            <pc:sldMk cId="4136824861" sldId="2147480507"/>
            <ac:spMk id="10" creationId="{4373B655-E4DE-6262-46B1-3F38764BECD5}"/>
          </ac:spMkLst>
        </pc:spChg>
        <pc:spChg chg="mod">
          <ac:chgData name="Emma Jappe Lange" userId="50167a89-1da6-43cb-b919-73793a3e7cc3" providerId="ADAL" clId="{A72C95B2-B9E6-4ABD-BBAD-56D980520408}" dt="2026-04-27T06:16:28.122" v="1685" actId="1036"/>
          <ac:spMkLst>
            <pc:docMk/>
            <pc:sldMk cId="4136824861" sldId="2147480507"/>
            <ac:spMk id="14" creationId="{F3C1216B-71C3-1C88-93F8-C65772FA7BB0}"/>
          </ac:spMkLst>
        </pc:spChg>
        <pc:spChg chg="mod">
          <ac:chgData name="Emma Jappe Lange" userId="50167a89-1da6-43cb-b919-73793a3e7cc3" providerId="ADAL" clId="{A72C95B2-B9E6-4ABD-BBAD-56D980520408}" dt="2026-04-30T09:24:12.506" v="9240"/>
          <ac:spMkLst>
            <pc:docMk/>
            <pc:sldMk cId="4136824861" sldId="2147480507"/>
            <ac:spMk id="15" creationId="{11A0DDBA-920E-F5A7-8053-4437B4BA5E06}"/>
          </ac:spMkLst>
        </pc:spChg>
        <pc:spChg chg="mod">
          <ac:chgData name="Emma Jappe Lange" userId="50167a89-1da6-43cb-b919-73793a3e7cc3" providerId="ADAL" clId="{A72C95B2-B9E6-4ABD-BBAD-56D980520408}" dt="2026-04-30T09:24:12.506" v="9240"/>
          <ac:spMkLst>
            <pc:docMk/>
            <pc:sldMk cId="4136824861" sldId="2147480507"/>
            <ac:spMk id="16" creationId="{2B420E78-D4E1-0CBB-A02C-81C80F723084}"/>
          </ac:spMkLst>
        </pc:spChg>
        <pc:spChg chg="mod">
          <ac:chgData name="Emma Jappe Lange" userId="50167a89-1da6-43cb-b919-73793a3e7cc3" providerId="ADAL" clId="{A72C95B2-B9E6-4ABD-BBAD-56D980520408}" dt="2026-04-27T06:22:27.508" v="2051" actId="1036"/>
          <ac:spMkLst>
            <pc:docMk/>
            <pc:sldMk cId="4136824861" sldId="2147480507"/>
            <ac:spMk id="19" creationId="{A490919E-CCDB-5FDA-5555-5DAE41A47474}"/>
          </ac:spMkLst>
        </pc:spChg>
        <pc:spChg chg="mod">
          <ac:chgData name="Emma Jappe Lange" userId="50167a89-1da6-43cb-b919-73793a3e7cc3" providerId="ADAL" clId="{A72C95B2-B9E6-4ABD-BBAD-56D980520408}" dt="2026-05-01T09:03:38.857" v="10694" actId="1036"/>
          <ac:spMkLst>
            <pc:docMk/>
            <pc:sldMk cId="4136824861" sldId="2147480507"/>
            <ac:spMk id="21" creationId="{DC1779C9-EBCE-A6DB-6CE1-97E15E46CBE5}"/>
          </ac:spMkLst>
        </pc:spChg>
        <pc:spChg chg="mod">
          <ac:chgData name="Emma Jappe Lange" userId="50167a89-1da6-43cb-b919-73793a3e7cc3" providerId="ADAL" clId="{A72C95B2-B9E6-4ABD-BBAD-56D980520408}" dt="2026-04-27T06:16:28.122" v="1685" actId="1036"/>
          <ac:spMkLst>
            <pc:docMk/>
            <pc:sldMk cId="4136824861" sldId="2147480507"/>
            <ac:spMk id="22" creationId="{22CD8CCD-5F73-CA9E-3EEC-7B60072F02D5}"/>
          </ac:spMkLst>
        </pc:spChg>
        <pc:spChg chg="mod">
          <ac:chgData name="Emma Jappe Lange" userId="50167a89-1da6-43cb-b919-73793a3e7cc3" providerId="ADAL" clId="{A72C95B2-B9E6-4ABD-BBAD-56D980520408}" dt="2026-04-27T06:16:28.122" v="1685" actId="1036"/>
          <ac:spMkLst>
            <pc:docMk/>
            <pc:sldMk cId="4136824861" sldId="2147480507"/>
            <ac:spMk id="23" creationId="{AD730815-71D9-8ACF-76BC-FAAEF759A071}"/>
          </ac:spMkLst>
        </pc:spChg>
        <pc:spChg chg="mod">
          <ac:chgData name="Emma Jappe Lange" userId="50167a89-1da6-43cb-b919-73793a3e7cc3" providerId="ADAL" clId="{A72C95B2-B9E6-4ABD-BBAD-56D980520408}" dt="2026-04-27T06:22:27.508" v="2051" actId="1036"/>
          <ac:spMkLst>
            <pc:docMk/>
            <pc:sldMk cId="4136824861" sldId="2147480507"/>
            <ac:spMk id="24" creationId="{EB3D8799-2800-E0F9-8149-B4C6687AB780}"/>
          </ac:spMkLst>
        </pc:spChg>
        <pc:spChg chg="mod">
          <ac:chgData name="Emma Jappe Lange" userId="50167a89-1da6-43cb-b919-73793a3e7cc3" providerId="ADAL" clId="{A72C95B2-B9E6-4ABD-BBAD-56D980520408}" dt="2026-04-27T06:22:27.508" v="2051" actId="1036"/>
          <ac:spMkLst>
            <pc:docMk/>
            <pc:sldMk cId="4136824861" sldId="2147480507"/>
            <ac:spMk id="25" creationId="{1014075A-E8BE-B7F1-8742-FEE2E903ACE1}"/>
          </ac:spMkLst>
        </pc:spChg>
        <pc:spChg chg="mod">
          <ac:chgData name="Emma Jappe Lange" userId="50167a89-1da6-43cb-b919-73793a3e7cc3" providerId="ADAL" clId="{A72C95B2-B9E6-4ABD-BBAD-56D980520408}" dt="2026-04-27T06:22:09.733" v="2045" actId="1035"/>
          <ac:spMkLst>
            <pc:docMk/>
            <pc:sldMk cId="4136824861" sldId="2147480507"/>
            <ac:spMk id="26" creationId="{8264006E-16F9-E1AF-1D3F-F731A745E874}"/>
          </ac:spMkLst>
        </pc:spChg>
        <pc:spChg chg="mod">
          <ac:chgData name="Emma Jappe Lange" userId="50167a89-1da6-43cb-b919-73793a3e7cc3" providerId="ADAL" clId="{A72C95B2-B9E6-4ABD-BBAD-56D980520408}" dt="2026-04-27T06:22:09.733" v="2045" actId="1035"/>
          <ac:spMkLst>
            <pc:docMk/>
            <pc:sldMk cId="4136824861" sldId="2147480507"/>
            <ac:spMk id="27" creationId="{BB25C0C8-617F-0A56-EFD9-86B9B088FA9D}"/>
          </ac:spMkLst>
        </pc:spChg>
        <pc:spChg chg="mod">
          <ac:chgData name="Emma Jappe Lange" userId="50167a89-1da6-43cb-b919-73793a3e7cc3" providerId="ADAL" clId="{A72C95B2-B9E6-4ABD-BBAD-56D980520408}" dt="2026-04-27T06:22:27.508" v="2051" actId="1036"/>
          <ac:spMkLst>
            <pc:docMk/>
            <pc:sldMk cId="4136824861" sldId="2147480507"/>
            <ac:spMk id="28" creationId="{634FCFD6-88DB-07EF-7CD9-2E7B6110CAC1}"/>
          </ac:spMkLst>
        </pc:spChg>
        <pc:spChg chg="mod">
          <ac:chgData name="Emma Jappe Lange" userId="50167a89-1da6-43cb-b919-73793a3e7cc3" providerId="ADAL" clId="{A72C95B2-B9E6-4ABD-BBAD-56D980520408}" dt="2026-04-27T06:22:27.508" v="2051" actId="1036"/>
          <ac:spMkLst>
            <pc:docMk/>
            <pc:sldMk cId="4136824861" sldId="2147480507"/>
            <ac:spMk id="29" creationId="{3655219A-4A66-9708-E53C-4E568D48A1DC}"/>
          </ac:spMkLst>
        </pc:spChg>
        <pc:spChg chg="mod">
          <ac:chgData name="Emma Jappe Lange" userId="50167a89-1da6-43cb-b919-73793a3e7cc3" providerId="ADAL" clId="{A72C95B2-B9E6-4ABD-BBAD-56D980520408}" dt="2026-04-27T06:22:33.702" v="2055" actId="1036"/>
          <ac:spMkLst>
            <pc:docMk/>
            <pc:sldMk cId="4136824861" sldId="2147480507"/>
            <ac:spMk id="30" creationId="{B84D85D2-1BC7-752B-3B69-3F3382DF7D14}"/>
          </ac:spMkLst>
        </pc:spChg>
        <pc:spChg chg="mod">
          <ac:chgData name="Emma Jappe Lange" userId="50167a89-1da6-43cb-b919-73793a3e7cc3" providerId="ADAL" clId="{A72C95B2-B9E6-4ABD-BBAD-56D980520408}" dt="2026-04-27T06:22:33.702" v="2055" actId="1036"/>
          <ac:spMkLst>
            <pc:docMk/>
            <pc:sldMk cId="4136824861" sldId="2147480507"/>
            <ac:spMk id="31" creationId="{42CD4809-5BE4-6476-8FA4-35F13EE47A6F}"/>
          </ac:spMkLst>
        </pc:spChg>
        <pc:spChg chg="mod">
          <ac:chgData name="Emma Jappe Lange" userId="50167a89-1da6-43cb-b919-73793a3e7cc3" providerId="ADAL" clId="{A72C95B2-B9E6-4ABD-BBAD-56D980520408}" dt="2026-04-27T06:22:16.984" v="2046" actId="14100"/>
          <ac:spMkLst>
            <pc:docMk/>
            <pc:sldMk cId="4136824861" sldId="2147480507"/>
            <ac:spMk id="35" creationId="{8E6A62D4-51F1-862D-08C3-418845E88341}"/>
          </ac:spMkLst>
        </pc:spChg>
        <pc:spChg chg="mod">
          <ac:chgData name="Emma Jappe Lange" userId="50167a89-1da6-43cb-b919-73793a3e7cc3" providerId="ADAL" clId="{A72C95B2-B9E6-4ABD-BBAD-56D980520408}" dt="2026-04-27T06:22:16.984" v="2046" actId="14100"/>
          <ac:spMkLst>
            <pc:docMk/>
            <pc:sldMk cId="4136824861" sldId="2147480507"/>
            <ac:spMk id="37" creationId="{2AF04EBD-24F9-A820-F1A9-98B3EAFAECD1}"/>
          </ac:spMkLst>
        </pc:spChg>
        <pc:spChg chg="mod">
          <ac:chgData name="Emma Jappe Lange" userId="50167a89-1da6-43cb-b919-73793a3e7cc3" providerId="ADAL" clId="{A72C95B2-B9E6-4ABD-BBAD-56D980520408}" dt="2026-04-27T06:22:09.733" v="2045" actId="1035"/>
          <ac:spMkLst>
            <pc:docMk/>
            <pc:sldMk cId="4136824861" sldId="2147480507"/>
            <ac:spMk id="40" creationId="{F790A82E-F6C0-3EDA-3649-8A85633EE8FF}"/>
          </ac:spMkLst>
        </pc:spChg>
        <pc:spChg chg="mod">
          <ac:chgData name="Emma Jappe Lange" userId="50167a89-1da6-43cb-b919-73793a3e7cc3" providerId="ADAL" clId="{A72C95B2-B9E6-4ABD-BBAD-56D980520408}" dt="2026-04-27T06:22:09.733" v="2045" actId="1035"/>
          <ac:spMkLst>
            <pc:docMk/>
            <pc:sldMk cId="4136824861" sldId="2147480507"/>
            <ac:spMk id="45" creationId="{AECB8927-4358-8C1D-0DA7-1FC0D5A9D3D6}"/>
          </ac:spMkLst>
        </pc:spChg>
        <pc:spChg chg="mod">
          <ac:chgData name="Emma Jappe Lange" userId="50167a89-1da6-43cb-b919-73793a3e7cc3" providerId="ADAL" clId="{A72C95B2-B9E6-4ABD-BBAD-56D980520408}" dt="2026-04-27T06:22:09.733" v="2045" actId="1035"/>
          <ac:spMkLst>
            <pc:docMk/>
            <pc:sldMk cId="4136824861" sldId="2147480507"/>
            <ac:spMk id="48" creationId="{37247465-BB11-6DB6-5EC0-D958A8F5B05D}"/>
          </ac:spMkLst>
        </pc:spChg>
        <pc:grpChg chg="add mod">
          <ac:chgData name="Emma Jappe Lange" userId="50167a89-1da6-43cb-b919-73793a3e7cc3" providerId="ADAL" clId="{A72C95B2-B9E6-4ABD-BBAD-56D980520408}" dt="2026-04-30T09:24:12.506" v="9240"/>
          <ac:grpSpMkLst>
            <pc:docMk/>
            <pc:sldMk cId="4136824861" sldId="2147480507"/>
            <ac:grpSpMk id="11" creationId="{24A3789D-A041-0486-8120-1EB3075BC185}"/>
          </ac:grpSpMkLst>
        </pc:grpChg>
        <pc:picChg chg="mod">
          <ac:chgData name="Emma Jappe Lange" userId="50167a89-1da6-43cb-b919-73793a3e7cc3" providerId="ADAL" clId="{A72C95B2-B9E6-4ABD-BBAD-56D980520408}" dt="2026-04-27T06:21:59.662" v="2039" actId="1035"/>
          <ac:picMkLst>
            <pc:docMk/>
            <pc:sldMk cId="4136824861" sldId="2147480507"/>
            <ac:picMk id="34" creationId="{DBB50DC1-33C8-68BD-6C40-B6C28A1932DD}"/>
          </ac:picMkLst>
        </pc:picChg>
        <pc:picChg chg="mod">
          <ac:chgData name="Emma Jappe Lange" userId="50167a89-1da6-43cb-b919-73793a3e7cc3" providerId="ADAL" clId="{A72C95B2-B9E6-4ABD-BBAD-56D980520408}" dt="2026-04-27T06:21:59.662" v="2039" actId="1035"/>
          <ac:picMkLst>
            <pc:docMk/>
            <pc:sldMk cId="4136824861" sldId="2147480507"/>
            <ac:picMk id="39" creationId="{2C698698-754E-1FE5-0BAE-B96ADA7D37D0}"/>
          </ac:picMkLst>
        </pc:picChg>
        <pc:picChg chg="mod">
          <ac:chgData name="Emma Jappe Lange" userId="50167a89-1da6-43cb-b919-73793a3e7cc3" providerId="ADAL" clId="{A72C95B2-B9E6-4ABD-BBAD-56D980520408}" dt="2026-04-27T06:21:59.662" v="2039" actId="1035"/>
          <ac:picMkLst>
            <pc:docMk/>
            <pc:sldMk cId="4136824861" sldId="2147480507"/>
            <ac:picMk id="47" creationId="{C20B3770-A9CD-82A9-C91B-CC609C548382}"/>
          </ac:picMkLst>
        </pc:picChg>
        <pc:cxnChg chg="mod">
          <ac:chgData name="Emma Jappe Lange" userId="50167a89-1da6-43cb-b919-73793a3e7cc3" providerId="ADAL" clId="{A72C95B2-B9E6-4ABD-BBAD-56D980520408}" dt="2026-04-27T06:19:14.658" v="1973" actId="1036"/>
          <ac:cxnSpMkLst>
            <pc:docMk/>
            <pc:sldMk cId="4136824861" sldId="2147480507"/>
            <ac:cxnSpMk id="6" creationId="{89ED5546-4F27-01C1-F6C4-779D08DFC5A1}"/>
          </ac:cxnSpMkLst>
        </pc:cxnChg>
        <pc:extLst>
          <p:ext xmlns:p="http://schemas.openxmlformats.org/presentationml/2006/main" uri="{D6D511B9-2390-475A-947B-AFAB55BFBCF1}">
            <pc226:cmChg xmlns:pc226="http://schemas.microsoft.com/office/powerpoint/2022/06/main/command" chg="mod">
              <pc226:chgData name="Emma Jappe Lange" userId="50167a89-1da6-43cb-b919-73793a3e7cc3" providerId="ADAL" clId="{A72C95B2-B9E6-4ABD-BBAD-56D980520408}" dt="2026-04-30T08:06:31.069" v="7246" actId="20577"/>
              <pc2:cmMkLst xmlns:pc2="http://schemas.microsoft.com/office/powerpoint/2019/9/main/command">
                <pc:docMk/>
                <pc:sldMk cId="4136824861" sldId="2147480507"/>
                <pc2:cmMk id="{BD13D79C-F3AE-4332-B6AD-8EC98986FCB2}"/>
              </pc2:cmMkLst>
            </pc226:cmChg>
          </p:ext>
        </pc:extLst>
      </pc:sldChg>
      <pc:sldChg chg="addSp delSp modSp mod ord modShow">
        <pc:chgData name="Emma Jappe Lange" userId="50167a89-1da6-43cb-b919-73793a3e7cc3" providerId="ADAL" clId="{A72C95B2-B9E6-4ABD-BBAD-56D980520408}" dt="2026-05-13T06:46:38.857" v="11316"/>
        <pc:sldMkLst>
          <pc:docMk/>
          <pc:sldMk cId="779466664" sldId="2147480512"/>
        </pc:sldMkLst>
        <pc:spChg chg="add mod">
          <ac:chgData name="Emma Jappe Lange" userId="50167a89-1da6-43cb-b919-73793a3e7cc3" providerId="ADAL" clId="{A72C95B2-B9E6-4ABD-BBAD-56D980520408}" dt="2026-05-13T06:46:38.857" v="11316"/>
          <ac:spMkLst>
            <pc:docMk/>
            <pc:sldMk cId="779466664" sldId="2147480512"/>
            <ac:spMk id="2" creationId="{21C60EB4-0C52-6A39-2ABC-81D57DA730EC}"/>
          </ac:spMkLst>
        </pc:spChg>
        <pc:spChg chg="mod">
          <ac:chgData name="Emma Jappe Lange" userId="50167a89-1da6-43cb-b919-73793a3e7cc3" providerId="ADAL" clId="{A72C95B2-B9E6-4ABD-BBAD-56D980520408}" dt="2026-04-30T06:51:47.870" v="6162" actId="255"/>
          <ac:spMkLst>
            <pc:docMk/>
            <pc:sldMk cId="779466664" sldId="2147480512"/>
            <ac:spMk id="11" creationId="{C85A184A-E4AE-E8E0-D249-B017B8CE6F65}"/>
          </ac:spMkLst>
        </pc:spChg>
        <pc:spChg chg="mod">
          <ac:chgData name="Emma Jappe Lange" userId="50167a89-1da6-43cb-b919-73793a3e7cc3" providerId="ADAL" clId="{A72C95B2-B9E6-4ABD-BBAD-56D980520408}" dt="2026-04-30T08:34:34.252" v="8343" actId="20577"/>
          <ac:spMkLst>
            <pc:docMk/>
            <pc:sldMk cId="779466664" sldId="2147480512"/>
            <ac:spMk id="21" creationId="{799C9716-AC4B-D8EF-3EBF-9DB29C7FC84D}"/>
          </ac:spMkLst>
        </pc:spChg>
        <pc:spChg chg="add mod">
          <ac:chgData name="Emma Jappe Lange" userId="50167a89-1da6-43cb-b919-73793a3e7cc3" providerId="ADAL" clId="{A72C95B2-B9E6-4ABD-BBAD-56D980520408}" dt="2026-04-30T06:57:34.535" v="6340" actId="164"/>
          <ac:spMkLst>
            <pc:docMk/>
            <pc:sldMk cId="779466664" sldId="2147480512"/>
            <ac:spMk id="28" creationId="{E10C260D-CF93-8FA0-951F-207FBD1AD76D}"/>
          </ac:spMkLst>
        </pc:spChg>
        <pc:spChg chg="mod">
          <ac:chgData name="Emma Jappe Lange" userId="50167a89-1da6-43cb-b919-73793a3e7cc3" providerId="ADAL" clId="{A72C95B2-B9E6-4ABD-BBAD-56D980520408}" dt="2026-04-30T06:54:21.265" v="6212"/>
          <ac:spMkLst>
            <pc:docMk/>
            <pc:sldMk cId="779466664" sldId="2147480512"/>
            <ac:spMk id="47" creationId="{603BF848-B959-18A3-9288-9DA48AE629FD}"/>
          </ac:spMkLst>
        </pc:spChg>
        <pc:spChg chg="mod">
          <ac:chgData name="Emma Jappe Lange" userId="50167a89-1da6-43cb-b919-73793a3e7cc3" providerId="ADAL" clId="{A72C95B2-B9E6-4ABD-BBAD-56D980520408}" dt="2026-04-30T08:33:26.594" v="8248" actId="20577"/>
          <ac:spMkLst>
            <pc:docMk/>
            <pc:sldMk cId="779466664" sldId="2147480512"/>
            <ac:spMk id="50" creationId="{EF2712C8-88F5-F229-547E-BA2D3222BE1A}"/>
          </ac:spMkLst>
        </pc:spChg>
        <pc:spChg chg="mod">
          <ac:chgData name="Emma Jappe Lange" userId="50167a89-1da6-43cb-b919-73793a3e7cc3" providerId="ADAL" clId="{A72C95B2-B9E6-4ABD-BBAD-56D980520408}" dt="2026-04-30T06:54:38.500" v="6255" actId="1035"/>
          <ac:spMkLst>
            <pc:docMk/>
            <pc:sldMk cId="779466664" sldId="2147480512"/>
            <ac:spMk id="51" creationId="{9284B3C1-F7A5-140C-9E4D-A3EF0BC180EB}"/>
          </ac:spMkLst>
        </pc:spChg>
        <pc:spChg chg="mod">
          <ac:chgData name="Emma Jappe Lange" userId="50167a89-1da6-43cb-b919-73793a3e7cc3" providerId="ADAL" clId="{A72C95B2-B9E6-4ABD-BBAD-56D980520408}" dt="2026-04-30T08:33:42.482" v="8270" actId="20577"/>
          <ac:spMkLst>
            <pc:docMk/>
            <pc:sldMk cId="779466664" sldId="2147480512"/>
            <ac:spMk id="54" creationId="{95DCA317-B033-0C92-F332-642F8C3816E1}"/>
          </ac:spMkLst>
        </pc:spChg>
        <pc:spChg chg="add mod">
          <ac:chgData name="Emma Jappe Lange" userId="50167a89-1da6-43cb-b919-73793a3e7cc3" providerId="ADAL" clId="{A72C95B2-B9E6-4ABD-BBAD-56D980520408}" dt="2026-04-30T06:57:34.535" v="6340" actId="164"/>
          <ac:spMkLst>
            <pc:docMk/>
            <pc:sldMk cId="779466664" sldId="2147480512"/>
            <ac:spMk id="55" creationId="{786CB1EF-BFC4-B267-04AE-B66CFCEA0FAD}"/>
          </ac:spMkLst>
        </pc:spChg>
        <pc:spChg chg="mod">
          <ac:chgData name="Emma Jappe Lange" userId="50167a89-1da6-43cb-b919-73793a3e7cc3" providerId="ADAL" clId="{A72C95B2-B9E6-4ABD-BBAD-56D980520408}" dt="2026-04-30T06:52:36.896" v="6177" actId="20577"/>
          <ac:spMkLst>
            <pc:docMk/>
            <pc:sldMk cId="779466664" sldId="2147480512"/>
            <ac:spMk id="56" creationId="{1E695BFB-FE44-237A-77AD-E494791A7129}"/>
          </ac:spMkLst>
        </pc:spChg>
        <pc:spChg chg="mod">
          <ac:chgData name="Emma Jappe Lange" userId="50167a89-1da6-43cb-b919-73793a3e7cc3" providerId="ADAL" clId="{A72C95B2-B9E6-4ABD-BBAD-56D980520408}" dt="2026-04-30T06:54:21.267" v="6214"/>
          <ac:spMkLst>
            <pc:docMk/>
            <pc:sldMk cId="779466664" sldId="2147480512"/>
            <ac:spMk id="57" creationId="{965793BE-9FD9-3B3A-1AE0-648E8C68277C}"/>
          </ac:spMkLst>
        </pc:spChg>
        <pc:spChg chg="mod">
          <ac:chgData name="Emma Jappe Lange" userId="50167a89-1da6-43cb-b919-73793a3e7cc3" providerId="ADAL" clId="{A72C95B2-B9E6-4ABD-BBAD-56D980520408}" dt="2026-04-30T06:54:21.267" v="6216"/>
          <ac:spMkLst>
            <pc:docMk/>
            <pc:sldMk cId="779466664" sldId="2147480512"/>
            <ac:spMk id="60" creationId="{DBE5A9B8-33E8-3B84-3683-64F3B64EDEB8}"/>
          </ac:spMkLst>
        </pc:spChg>
        <pc:spChg chg="mod">
          <ac:chgData name="Emma Jappe Lange" userId="50167a89-1da6-43cb-b919-73793a3e7cc3" providerId="ADAL" clId="{A72C95B2-B9E6-4ABD-BBAD-56D980520408}" dt="2026-04-30T06:58:52.818" v="6376" actId="164"/>
          <ac:spMkLst>
            <pc:docMk/>
            <pc:sldMk cId="779466664" sldId="2147480512"/>
            <ac:spMk id="8103" creationId="{81D4B8D0-45C1-6F56-B244-809AEA59374F}"/>
          </ac:spMkLst>
        </pc:spChg>
        <pc:spChg chg="mod topLvl">
          <ac:chgData name="Emma Jappe Lange" userId="50167a89-1da6-43cb-b919-73793a3e7cc3" providerId="ADAL" clId="{A72C95B2-B9E6-4ABD-BBAD-56D980520408}" dt="2026-04-30T06:58:52.818" v="6376" actId="164"/>
          <ac:spMkLst>
            <pc:docMk/>
            <pc:sldMk cId="779466664" sldId="2147480512"/>
            <ac:spMk id="8104" creationId="{5223DB94-B8EB-C4A2-C6E0-ED89C24C9B19}"/>
          </ac:spMkLst>
        </pc:spChg>
        <pc:spChg chg="mod">
          <ac:chgData name="Emma Jappe Lange" userId="50167a89-1da6-43cb-b919-73793a3e7cc3" providerId="ADAL" clId="{A72C95B2-B9E6-4ABD-BBAD-56D980520408}" dt="2026-04-30T06:59:31.326" v="6392" actId="1038"/>
          <ac:spMkLst>
            <pc:docMk/>
            <pc:sldMk cId="779466664" sldId="2147480512"/>
            <ac:spMk id="8116" creationId="{18D1E360-8BF9-1B3E-11A8-FF5FF0792CE8}"/>
          </ac:spMkLst>
        </pc:spChg>
        <pc:spChg chg="mod topLvl">
          <ac:chgData name="Emma Jappe Lange" userId="50167a89-1da6-43cb-b919-73793a3e7cc3" providerId="ADAL" clId="{A72C95B2-B9E6-4ABD-BBAD-56D980520408}" dt="2026-04-30T06:58:47.948" v="6373" actId="164"/>
          <ac:spMkLst>
            <pc:docMk/>
            <pc:sldMk cId="779466664" sldId="2147480512"/>
            <ac:spMk id="8122" creationId="{0E524594-EC29-DCF0-732B-F438888C410A}"/>
          </ac:spMkLst>
        </pc:spChg>
        <pc:spChg chg="mod">
          <ac:chgData name="Emma Jappe Lange" userId="50167a89-1da6-43cb-b919-73793a3e7cc3" providerId="ADAL" clId="{A72C95B2-B9E6-4ABD-BBAD-56D980520408}" dt="2026-04-30T06:58:47.948" v="6373" actId="164"/>
          <ac:spMkLst>
            <pc:docMk/>
            <pc:sldMk cId="779466664" sldId="2147480512"/>
            <ac:spMk id="8385" creationId="{F82D10D5-3D0E-9692-B597-3DE92DF624E4}"/>
          </ac:spMkLst>
        </pc:spChg>
        <pc:spChg chg="mod topLvl">
          <ac:chgData name="Emma Jappe Lange" userId="50167a89-1da6-43cb-b919-73793a3e7cc3" providerId="ADAL" clId="{A72C95B2-B9E6-4ABD-BBAD-56D980520408}" dt="2026-04-30T06:58:47.948" v="6373" actId="164"/>
          <ac:spMkLst>
            <pc:docMk/>
            <pc:sldMk cId="779466664" sldId="2147480512"/>
            <ac:spMk id="8386" creationId="{E9B27F24-4D4A-3FBF-67A5-F7F5256DE4EA}"/>
          </ac:spMkLst>
        </pc:spChg>
        <pc:spChg chg="add mod">
          <ac:chgData name="Emma Jappe Lange" userId="50167a89-1da6-43cb-b919-73793a3e7cc3" providerId="ADAL" clId="{A72C95B2-B9E6-4ABD-BBAD-56D980520408}" dt="2026-04-30T06:57:34.535" v="6340" actId="164"/>
          <ac:spMkLst>
            <pc:docMk/>
            <pc:sldMk cId="779466664" sldId="2147480512"/>
            <ac:spMk id="9600" creationId="{2B85F3AB-B152-2A29-7B2E-0AB672CB42B9}"/>
          </ac:spMkLst>
        </pc:spChg>
        <pc:spChg chg="add mod">
          <ac:chgData name="Emma Jappe Lange" userId="50167a89-1da6-43cb-b919-73793a3e7cc3" providerId="ADAL" clId="{A72C95B2-B9E6-4ABD-BBAD-56D980520408}" dt="2026-04-30T06:57:34.535" v="6340" actId="164"/>
          <ac:spMkLst>
            <pc:docMk/>
            <pc:sldMk cId="779466664" sldId="2147480512"/>
            <ac:spMk id="9601" creationId="{D45E7C2D-855F-DE2C-5E67-FA30DDACDE2F}"/>
          </ac:spMkLst>
        </pc:spChg>
        <pc:spChg chg="add mod">
          <ac:chgData name="Emma Jappe Lange" userId="50167a89-1da6-43cb-b919-73793a3e7cc3" providerId="ADAL" clId="{A72C95B2-B9E6-4ABD-BBAD-56D980520408}" dt="2026-04-30T06:57:34.535" v="6340" actId="164"/>
          <ac:spMkLst>
            <pc:docMk/>
            <pc:sldMk cId="779466664" sldId="2147480512"/>
            <ac:spMk id="9602" creationId="{4A83C8A6-2A93-A847-B1BE-C3BE7F1DAFFF}"/>
          </ac:spMkLst>
        </pc:spChg>
        <pc:spChg chg="mod">
          <ac:chgData name="Emma Jappe Lange" userId="50167a89-1da6-43cb-b919-73793a3e7cc3" providerId="ADAL" clId="{A72C95B2-B9E6-4ABD-BBAD-56D980520408}" dt="2026-04-30T06:56:03.621" v="6293" actId="1035"/>
          <ac:spMkLst>
            <pc:docMk/>
            <pc:sldMk cId="779466664" sldId="2147480512"/>
            <ac:spMk id="9603" creationId="{94FAD779-5D05-A30C-9589-717F4C22F974}"/>
          </ac:spMkLst>
        </pc:spChg>
        <pc:spChg chg="mod">
          <ac:chgData name="Emma Jappe Lange" userId="50167a89-1da6-43cb-b919-73793a3e7cc3" providerId="ADAL" clId="{A72C95B2-B9E6-4ABD-BBAD-56D980520408}" dt="2026-04-30T06:54:21.268" v="6218"/>
          <ac:spMkLst>
            <pc:docMk/>
            <pc:sldMk cId="779466664" sldId="2147480512"/>
            <ac:spMk id="9604" creationId="{51BC42F9-27A5-6781-4195-103193EAEB32}"/>
          </ac:spMkLst>
        </pc:spChg>
        <pc:spChg chg="add mod">
          <ac:chgData name="Emma Jappe Lange" userId="50167a89-1da6-43cb-b919-73793a3e7cc3" providerId="ADAL" clId="{A72C95B2-B9E6-4ABD-BBAD-56D980520408}" dt="2026-04-30T06:57:34.535" v="6340" actId="164"/>
          <ac:spMkLst>
            <pc:docMk/>
            <pc:sldMk cId="779466664" sldId="2147480512"/>
            <ac:spMk id="9605" creationId="{17D8CCF9-EA25-C098-FEA9-3EF4CB1A8E5D}"/>
          </ac:spMkLst>
        </pc:spChg>
        <pc:spChg chg="add mod">
          <ac:chgData name="Emma Jappe Lange" userId="50167a89-1da6-43cb-b919-73793a3e7cc3" providerId="ADAL" clId="{A72C95B2-B9E6-4ABD-BBAD-56D980520408}" dt="2026-04-30T06:57:34.535" v="6340" actId="164"/>
          <ac:spMkLst>
            <pc:docMk/>
            <pc:sldMk cId="779466664" sldId="2147480512"/>
            <ac:spMk id="9606" creationId="{0308B2FE-AA66-05A7-EABB-9BCC941A519F}"/>
          </ac:spMkLst>
        </pc:spChg>
        <pc:spChg chg="mod">
          <ac:chgData name="Emma Jappe Lange" userId="50167a89-1da6-43cb-b919-73793a3e7cc3" providerId="ADAL" clId="{A72C95B2-B9E6-4ABD-BBAD-56D980520408}" dt="2026-04-30T06:54:38.500" v="6255" actId="1035"/>
          <ac:spMkLst>
            <pc:docMk/>
            <pc:sldMk cId="779466664" sldId="2147480512"/>
            <ac:spMk id="9624" creationId="{3BD5E453-FC06-566D-7717-1861C43E4153}"/>
          </ac:spMkLst>
        </pc:spChg>
        <pc:spChg chg="mod">
          <ac:chgData name="Emma Jappe Lange" userId="50167a89-1da6-43cb-b919-73793a3e7cc3" providerId="ADAL" clId="{A72C95B2-B9E6-4ABD-BBAD-56D980520408}" dt="2026-04-30T06:56:03.621" v="6293" actId="1035"/>
          <ac:spMkLst>
            <pc:docMk/>
            <pc:sldMk cId="779466664" sldId="2147480512"/>
            <ac:spMk id="9625" creationId="{37524880-9601-9569-FDB6-59D8D44FA445}"/>
          </ac:spMkLst>
        </pc:spChg>
        <pc:spChg chg="mod">
          <ac:chgData name="Emma Jappe Lange" userId="50167a89-1da6-43cb-b919-73793a3e7cc3" providerId="ADAL" clId="{A72C95B2-B9E6-4ABD-BBAD-56D980520408}" dt="2026-04-30T06:56:03.621" v="6293" actId="1035"/>
          <ac:spMkLst>
            <pc:docMk/>
            <pc:sldMk cId="779466664" sldId="2147480512"/>
            <ac:spMk id="9626" creationId="{11065BA9-7304-814D-76F8-A905CBE49606}"/>
          </ac:spMkLst>
        </pc:spChg>
        <pc:spChg chg="mod">
          <ac:chgData name="Emma Jappe Lange" userId="50167a89-1da6-43cb-b919-73793a3e7cc3" providerId="ADAL" clId="{A72C95B2-B9E6-4ABD-BBAD-56D980520408}" dt="2026-04-30T06:54:21.269" v="6222"/>
          <ac:spMkLst>
            <pc:docMk/>
            <pc:sldMk cId="779466664" sldId="2147480512"/>
            <ac:spMk id="9627" creationId="{7623B537-6CB9-F6E4-51A1-5F5534B8CC22}"/>
          </ac:spMkLst>
        </pc:spChg>
        <pc:spChg chg="mod">
          <ac:chgData name="Emma Jappe Lange" userId="50167a89-1da6-43cb-b919-73793a3e7cc3" providerId="ADAL" clId="{A72C95B2-B9E6-4ABD-BBAD-56D980520408}" dt="2026-04-30T06:54:25.129" v="6238"/>
          <ac:spMkLst>
            <pc:docMk/>
            <pc:sldMk cId="779466664" sldId="2147480512"/>
            <ac:spMk id="9628" creationId="{5EE23697-A884-ED65-91B6-D1639B3E76A6}"/>
          </ac:spMkLst>
        </pc:spChg>
        <pc:spChg chg="add mod">
          <ac:chgData name="Emma Jappe Lange" userId="50167a89-1da6-43cb-b919-73793a3e7cc3" providerId="ADAL" clId="{A72C95B2-B9E6-4ABD-BBAD-56D980520408}" dt="2026-04-30T06:57:34.535" v="6340" actId="164"/>
          <ac:spMkLst>
            <pc:docMk/>
            <pc:sldMk cId="779466664" sldId="2147480512"/>
            <ac:spMk id="9629" creationId="{E2820597-DFB7-03EC-2E6F-C86104B83E1A}"/>
          </ac:spMkLst>
        </pc:spChg>
        <pc:spChg chg="add mod">
          <ac:chgData name="Emma Jappe Lange" userId="50167a89-1da6-43cb-b919-73793a3e7cc3" providerId="ADAL" clId="{A72C95B2-B9E6-4ABD-BBAD-56D980520408}" dt="2026-04-30T06:57:34.535" v="6340" actId="164"/>
          <ac:spMkLst>
            <pc:docMk/>
            <pc:sldMk cId="779466664" sldId="2147480512"/>
            <ac:spMk id="9630" creationId="{3F61AD7F-D408-67E1-D7D6-E97858B6F2B6}"/>
          </ac:spMkLst>
        </pc:spChg>
        <pc:spChg chg="mod">
          <ac:chgData name="Emma Jappe Lange" userId="50167a89-1da6-43cb-b919-73793a3e7cc3" providerId="ADAL" clId="{A72C95B2-B9E6-4ABD-BBAD-56D980520408}" dt="2026-04-30T06:56:17.303" v="6295" actId="242"/>
          <ac:spMkLst>
            <pc:docMk/>
            <pc:sldMk cId="779466664" sldId="2147480512"/>
            <ac:spMk id="9631" creationId="{FA4EFCB1-6C7E-DEA9-8CB0-81108D70845D}"/>
          </ac:spMkLst>
        </pc:spChg>
        <pc:spChg chg="add mod">
          <ac:chgData name="Emma Jappe Lange" userId="50167a89-1da6-43cb-b919-73793a3e7cc3" providerId="ADAL" clId="{A72C95B2-B9E6-4ABD-BBAD-56D980520408}" dt="2026-04-30T06:57:34.535" v="6340" actId="164"/>
          <ac:spMkLst>
            <pc:docMk/>
            <pc:sldMk cId="779466664" sldId="2147480512"/>
            <ac:spMk id="9632" creationId="{5135F54A-CE1E-5B9F-58D2-BB1084A5D029}"/>
          </ac:spMkLst>
        </pc:spChg>
        <pc:spChg chg="mod">
          <ac:chgData name="Emma Jappe Lange" userId="50167a89-1da6-43cb-b919-73793a3e7cc3" providerId="ADAL" clId="{A72C95B2-B9E6-4ABD-BBAD-56D980520408}" dt="2026-04-30T06:56:30.415" v="6337"/>
          <ac:spMkLst>
            <pc:docMk/>
            <pc:sldMk cId="779466664" sldId="2147480512"/>
            <ac:spMk id="9633" creationId="{6E453D31-A534-89E8-E882-F0F87A2E9701}"/>
          </ac:spMkLst>
        </pc:spChg>
        <pc:spChg chg="mod">
          <ac:chgData name="Emma Jappe Lange" userId="50167a89-1da6-43cb-b919-73793a3e7cc3" providerId="ADAL" clId="{A72C95B2-B9E6-4ABD-BBAD-56D980520408}" dt="2026-04-30T06:56:30.415" v="6337"/>
          <ac:spMkLst>
            <pc:docMk/>
            <pc:sldMk cId="779466664" sldId="2147480512"/>
            <ac:spMk id="9634" creationId="{FA518338-4F54-76E2-E8DC-4D97F7651483}"/>
          </ac:spMkLst>
        </pc:spChg>
        <pc:spChg chg="mod topLvl">
          <ac:chgData name="Emma Jappe Lange" userId="50167a89-1da6-43cb-b919-73793a3e7cc3" providerId="ADAL" clId="{A72C95B2-B9E6-4ABD-BBAD-56D980520408}" dt="2026-04-30T06:58:52.818" v="6376" actId="164"/>
          <ac:spMkLst>
            <pc:docMk/>
            <pc:sldMk cId="779466664" sldId="2147480512"/>
            <ac:spMk id="9661" creationId="{B90FD5F8-CBEF-F3F1-BB62-F75D711D0505}"/>
          </ac:spMkLst>
        </pc:spChg>
        <pc:spChg chg="mod topLvl">
          <ac:chgData name="Emma Jappe Lange" userId="50167a89-1da6-43cb-b919-73793a3e7cc3" providerId="ADAL" clId="{A72C95B2-B9E6-4ABD-BBAD-56D980520408}" dt="2026-04-30T06:58:52.818" v="6376" actId="164"/>
          <ac:spMkLst>
            <pc:docMk/>
            <pc:sldMk cId="779466664" sldId="2147480512"/>
            <ac:spMk id="9729" creationId="{9DA6CF05-75B2-2116-B238-FE60F1A0528E}"/>
          </ac:spMkLst>
        </pc:spChg>
        <pc:spChg chg="mod">
          <ac:chgData name="Emma Jappe Lange" userId="50167a89-1da6-43cb-b919-73793a3e7cc3" providerId="ADAL" clId="{A72C95B2-B9E6-4ABD-BBAD-56D980520408}" dt="2026-04-30T06:58:51.801" v="6375" actId="164"/>
          <ac:spMkLst>
            <pc:docMk/>
            <pc:sldMk cId="779466664" sldId="2147480512"/>
            <ac:spMk id="9731" creationId="{EE059119-E1F1-500D-3A29-E5AEAE7D2C46}"/>
          </ac:spMkLst>
        </pc:spChg>
        <pc:spChg chg="mod">
          <ac:chgData name="Emma Jappe Lange" userId="50167a89-1da6-43cb-b919-73793a3e7cc3" providerId="ADAL" clId="{A72C95B2-B9E6-4ABD-BBAD-56D980520408}" dt="2026-04-30T06:58:51.801" v="6375" actId="164"/>
          <ac:spMkLst>
            <pc:docMk/>
            <pc:sldMk cId="779466664" sldId="2147480512"/>
            <ac:spMk id="9734" creationId="{67BEE6B3-37C0-FF22-A2F1-78231133CE48}"/>
          </ac:spMkLst>
        </pc:spChg>
        <pc:spChg chg="mod">
          <ac:chgData name="Emma Jappe Lange" userId="50167a89-1da6-43cb-b919-73793a3e7cc3" providerId="ADAL" clId="{A72C95B2-B9E6-4ABD-BBAD-56D980520408}" dt="2026-04-30T06:58:51.801" v="6375" actId="164"/>
          <ac:spMkLst>
            <pc:docMk/>
            <pc:sldMk cId="779466664" sldId="2147480512"/>
            <ac:spMk id="9739" creationId="{5DCE3A99-1869-55B9-33B5-82CBB2537145}"/>
          </ac:spMkLst>
        </pc:spChg>
        <pc:spChg chg="mod topLvl">
          <ac:chgData name="Emma Jappe Lange" userId="50167a89-1da6-43cb-b919-73793a3e7cc3" providerId="ADAL" clId="{A72C95B2-B9E6-4ABD-BBAD-56D980520408}" dt="2026-04-30T06:58:52.818" v="6376" actId="164"/>
          <ac:spMkLst>
            <pc:docMk/>
            <pc:sldMk cId="779466664" sldId="2147480512"/>
            <ac:spMk id="9747" creationId="{582A8E34-C5FB-87CC-5EA4-A943FBA19A17}"/>
          </ac:spMkLst>
        </pc:spChg>
        <pc:spChg chg="mod">
          <ac:chgData name="Emma Jappe Lange" userId="50167a89-1da6-43cb-b919-73793a3e7cc3" providerId="ADAL" clId="{A72C95B2-B9E6-4ABD-BBAD-56D980520408}" dt="2026-04-30T06:58:51.801" v="6375" actId="164"/>
          <ac:spMkLst>
            <pc:docMk/>
            <pc:sldMk cId="779466664" sldId="2147480512"/>
            <ac:spMk id="9751" creationId="{9B918758-8C46-D082-9839-EE9519D06CA7}"/>
          </ac:spMkLst>
        </pc:spChg>
        <pc:spChg chg="mod">
          <ac:chgData name="Emma Jappe Lange" userId="50167a89-1da6-43cb-b919-73793a3e7cc3" providerId="ADAL" clId="{A72C95B2-B9E6-4ABD-BBAD-56D980520408}" dt="2026-04-30T06:58:51.801" v="6375" actId="164"/>
          <ac:spMkLst>
            <pc:docMk/>
            <pc:sldMk cId="779466664" sldId="2147480512"/>
            <ac:spMk id="9752" creationId="{CE106EEA-DF97-6C1C-6D24-631A939A8FDD}"/>
          </ac:spMkLst>
        </pc:spChg>
        <pc:spChg chg="mod topLvl">
          <ac:chgData name="Emma Jappe Lange" userId="50167a89-1da6-43cb-b919-73793a3e7cc3" providerId="ADAL" clId="{A72C95B2-B9E6-4ABD-BBAD-56D980520408}" dt="2026-04-30T06:58:52.818" v="6376" actId="164"/>
          <ac:spMkLst>
            <pc:docMk/>
            <pc:sldMk cId="779466664" sldId="2147480512"/>
            <ac:spMk id="9754" creationId="{EEE66066-7C85-8213-D4DB-86189DCA68DF}"/>
          </ac:spMkLst>
        </pc:spChg>
        <pc:spChg chg="mod topLvl">
          <ac:chgData name="Emma Jappe Lange" userId="50167a89-1da6-43cb-b919-73793a3e7cc3" providerId="ADAL" clId="{A72C95B2-B9E6-4ABD-BBAD-56D980520408}" dt="2026-04-30T06:58:52.818" v="6376" actId="164"/>
          <ac:spMkLst>
            <pc:docMk/>
            <pc:sldMk cId="779466664" sldId="2147480512"/>
            <ac:spMk id="9755" creationId="{E87436DE-CCA1-84B6-73C1-FE733DFAF964}"/>
          </ac:spMkLst>
        </pc:spChg>
        <pc:spChg chg="mod">
          <ac:chgData name="Emma Jappe Lange" userId="50167a89-1da6-43cb-b919-73793a3e7cc3" providerId="ADAL" clId="{A72C95B2-B9E6-4ABD-BBAD-56D980520408}" dt="2026-04-30T06:58:51.801" v="6375" actId="164"/>
          <ac:spMkLst>
            <pc:docMk/>
            <pc:sldMk cId="779466664" sldId="2147480512"/>
            <ac:spMk id="9757" creationId="{F3BAF7C3-B4C2-2B82-1A6C-1B309AEC8F60}"/>
          </ac:spMkLst>
        </pc:spChg>
        <pc:spChg chg="mod topLvl">
          <ac:chgData name="Emma Jappe Lange" userId="50167a89-1da6-43cb-b919-73793a3e7cc3" providerId="ADAL" clId="{A72C95B2-B9E6-4ABD-BBAD-56D980520408}" dt="2026-04-30T06:58:52.818" v="6376" actId="164"/>
          <ac:spMkLst>
            <pc:docMk/>
            <pc:sldMk cId="779466664" sldId="2147480512"/>
            <ac:spMk id="9760" creationId="{1D71D161-144E-8E46-5684-36921EDADCFB}"/>
          </ac:spMkLst>
        </pc:spChg>
        <pc:spChg chg="mod">
          <ac:chgData name="Emma Jappe Lange" userId="50167a89-1da6-43cb-b919-73793a3e7cc3" providerId="ADAL" clId="{A72C95B2-B9E6-4ABD-BBAD-56D980520408}" dt="2026-04-30T06:57:26.611" v="6338"/>
          <ac:spMkLst>
            <pc:docMk/>
            <pc:sldMk cId="779466664" sldId="2147480512"/>
            <ac:spMk id="9766" creationId="{46761D3C-184E-E45B-A07F-CC041F1D3297}"/>
          </ac:spMkLst>
        </pc:spChg>
        <pc:spChg chg="mod topLvl">
          <ac:chgData name="Emma Jappe Lange" userId="50167a89-1da6-43cb-b919-73793a3e7cc3" providerId="ADAL" clId="{A72C95B2-B9E6-4ABD-BBAD-56D980520408}" dt="2026-04-30T06:58:52.818" v="6376" actId="164"/>
          <ac:spMkLst>
            <pc:docMk/>
            <pc:sldMk cId="779466664" sldId="2147480512"/>
            <ac:spMk id="9769" creationId="{07571FB1-7008-57E0-897D-32859ACF15DC}"/>
          </ac:spMkLst>
        </pc:spChg>
        <pc:spChg chg="mod topLvl">
          <ac:chgData name="Emma Jappe Lange" userId="50167a89-1da6-43cb-b919-73793a3e7cc3" providerId="ADAL" clId="{A72C95B2-B9E6-4ABD-BBAD-56D980520408}" dt="2026-04-30T06:58:52.818" v="6376" actId="164"/>
          <ac:spMkLst>
            <pc:docMk/>
            <pc:sldMk cId="779466664" sldId="2147480512"/>
            <ac:spMk id="9771" creationId="{33205A13-120F-1234-01EA-9512115C8781}"/>
          </ac:spMkLst>
        </pc:spChg>
        <pc:spChg chg="mod topLvl">
          <ac:chgData name="Emma Jappe Lange" userId="50167a89-1da6-43cb-b919-73793a3e7cc3" providerId="ADAL" clId="{A72C95B2-B9E6-4ABD-BBAD-56D980520408}" dt="2026-04-30T06:58:47.948" v="6373" actId="164"/>
          <ac:spMkLst>
            <pc:docMk/>
            <pc:sldMk cId="779466664" sldId="2147480512"/>
            <ac:spMk id="10658" creationId="{EC21A9F6-033C-C405-A8DB-AC829938ECA7}"/>
          </ac:spMkLst>
        </pc:spChg>
        <pc:spChg chg="mod topLvl">
          <ac:chgData name="Emma Jappe Lange" userId="50167a89-1da6-43cb-b919-73793a3e7cc3" providerId="ADAL" clId="{A72C95B2-B9E6-4ABD-BBAD-56D980520408}" dt="2026-04-30T06:58:47.948" v="6373" actId="164"/>
          <ac:spMkLst>
            <pc:docMk/>
            <pc:sldMk cId="779466664" sldId="2147480512"/>
            <ac:spMk id="10661" creationId="{9059400F-5CA7-4CDC-96C1-7AF8E3D9FF61}"/>
          </ac:spMkLst>
        </pc:spChg>
        <pc:spChg chg="mod topLvl">
          <ac:chgData name="Emma Jappe Lange" userId="50167a89-1da6-43cb-b919-73793a3e7cc3" providerId="ADAL" clId="{A72C95B2-B9E6-4ABD-BBAD-56D980520408}" dt="2026-04-30T06:58:47.948" v="6373" actId="164"/>
          <ac:spMkLst>
            <pc:docMk/>
            <pc:sldMk cId="779466664" sldId="2147480512"/>
            <ac:spMk id="10669" creationId="{EB6643FB-3478-4532-6367-0A55464BCD32}"/>
          </ac:spMkLst>
        </pc:spChg>
        <pc:spChg chg="mod topLvl">
          <ac:chgData name="Emma Jappe Lange" userId="50167a89-1da6-43cb-b919-73793a3e7cc3" providerId="ADAL" clId="{A72C95B2-B9E6-4ABD-BBAD-56D980520408}" dt="2026-04-30T06:58:47.948" v="6373" actId="164"/>
          <ac:spMkLst>
            <pc:docMk/>
            <pc:sldMk cId="779466664" sldId="2147480512"/>
            <ac:spMk id="10817" creationId="{337AE3CA-9039-B5AF-2DF0-DF1834398EE0}"/>
          </ac:spMkLst>
        </pc:spChg>
        <pc:spChg chg="mod topLvl">
          <ac:chgData name="Emma Jappe Lange" userId="50167a89-1da6-43cb-b919-73793a3e7cc3" providerId="ADAL" clId="{A72C95B2-B9E6-4ABD-BBAD-56D980520408}" dt="2026-04-30T06:58:47.948" v="6373" actId="164"/>
          <ac:spMkLst>
            <pc:docMk/>
            <pc:sldMk cId="779466664" sldId="2147480512"/>
            <ac:spMk id="10818" creationId="{C2A0C4B3-96EF-FDD1-969C-E388E3F7268C}"/>
          </ac:spMkLst>
        </pc:spChg>
        <pc:spChg chg="mod topLvl">
          <ac:chgData name="Emma Jappe Lange" userId="50167a89-1da6-43cb-b919-73793a3e7cc3" providerId="ADAL" clId="{A72C95B2-B9E6-4ABD-BBAD-56D980520408}" dt="2026-04-30T06:58:47.948" v="6373" actId="164"/>
          <ac:spMkLst>
            <pc:docMk/>
            <pc:sldMk cId="779466664" sldId="2147480512"/>
            <ac:spMk id="10820" creationId="{85FD579A-FB2B-8490-11FA-C5607225B565}"/>
          </ac:spMkLst>
        </pc:spChg>
        <pc:spChg chg="mod topLvl">
          <ac:chgData name="Emma Jappe Lange" userId="50167a89-1da6-43cb-b919-73793a3e7cc3" providerId="ADAL" clId="{A72C95B2-B9E6-4ABD-BBAD-56D980520408}" dt="2026-04-30T06:59:34.549" v="6394" actId="1038"/>
          <ac:spMkLst>
            <pc:docMk/>
            <pc:sldMk cId="779466664" sldId="2147480512"/>
            <ac:spMk id="10833" creationId="{282C38C4-365B-F66E-37C8-6FE92D5D7EB5}"/>
          </ac:spMkLst>
        </pc:spChg>
        <pc:spChg chg="mod">
          <ac:chgData name="Emma Jappe Lange" userId="50167a89-1da6-43cb-b919-73793a3e7cc3" providerId="ADAL" clId="{A72C95B2-B9E6-4ABD-BBAD-56D980520408}" dt="2026-04-30T06:57:26.611" v="6338"/>
          <ac:spMkLst>
            <pc:docMk/>
            <pc:sldMk cId="779466664" sldId="2147480512"/>
            <ac:spMk id="10840" creationId="{E275231D-1FBF-5EC1-67F3-226D7BD590C0}"/>
          </ac:spMkLst>
        </pc:spChg>
        <pc:spChg chg="mod topLvl">
          <ac:chgData name="Emma Jappe Lange" userId="50167a89-1da6-43cb-b919-73793a3e7cc3" providerId="ADAL" clId="{A72C95B2-B9E6-4ABD-BBAD-56D980520408}" dt="2026-04-30T06:57:41.653" v="6364"/>
          <ac:spMkLst>
            <pc:docMk/>
            <pc:sldMk cId="779466664" sldId="2147480512"/>
            <ac:spMk id="11065" creationId="{84FB4F7B-66F7-C2E4-AA3B-DDECDCD3ACA4}"/>
          </ac:spMkLst>
        </pc:spChg>
        <pc:spChg chg="mod">
          <ac:chgData name="Emma Jappe Lange" userId="50167a89-1da6-43cb-b919-73793a3e7cc3" providerId="ADAL" clId="{A72C95B2-B9E6-4ABD-BBAD-56D980520408}" dt="2026-04-30T06:59:00.087" v="6377" actId="164"/>
          <ac:spMkLst>
            <pc:docMk/>
            <pc:sldMk cId="779466664" sldId="2147480512"/>
            <ac:spMk id="11073" creationId="{8A578D02-EFCB-ACD4-72C6-A55EDDDE08C7}"/>
          </ac:spMkLst>
        </pc:spChg>
        <pc:spChg chg="mod">
          <ac:chgData name="Emma Jappe Lange" userId="50167a89-1da6-43cb-b919-73793a3e7cc3" providerId="ADAL" clId="{A72C95B2-B9E6-4ABD-BBAD-56D980520408}" dt="2026-04-30T06:59:00.087" v="6377" actId="164"/>
          <ac:spMkLst>
            <pc:docMk/>
            <pc:sldMk cId="779466664" sldId="2147480512"/>
            <ac:spMk id="11094" creationId="{6E3AE77C-E05F-E575-DF18-519F31A35FAD}"/>
          </ac:spMkLst>
        </pc:spChg>
        <pc:spChg chg="mod">
          <ac:chgData name="Emma Jappe Lange" userId="50167a89-1da6-43cb-b919-73793a3e7cc3" providerId="ADAL" clId="{A72C95B2-B9E6-4ABD-BBAD-56D980520408}" dt="2026-04-30T06:57:26.611" v="6338"/>
          <ac:spMkLst>
            <pc:docMk/>
            <pc:sldMk cId="779466664" sldId="2147480512"/>
            <ac:spMk id="11129" creationId="{7E29C5CB-2D23-721C-EF8E-78310AE9E221}"/>
          </ac:spMkLst>
        </pc:spChg>
        <pc:spChg chg="mod">
          <ac:chgData name="Emma Jappe Lange" userId="50167a89-1da6-43cb-b919-73793a3e7cc3" providerId="ADAL" clId="{A72C95B2-B9E6-4ABD-BBAD-56D980520408}" dt="2026-04-30T06:57:26.611" v="6338"/>
          <ac:spMkLst>
            <pc:docMk/>
            <pc:sldMk cId="779466664" sldId="2147480512"/>
            <ac:spMk id="11148" creationId="{4F451609-8AB4-1A54-CA44-4DF87DFDE9BB}"/>
          </ac:spMkLst>
        </pc:spChg>
        <pc:spChg chg="mod topLvl">
          <ac:chgData name="Emma Jappe Lange" userId="50167a89-1da6-43cb-b919-73793a3e7cc3" providerId="ADAL" clId="{A72C95B2-B9E6-4ABD-BBAD-56D980520408}" dt="2026-04-30T06:57:41.653" v="6364"/>
          <ac:spMkLst>
            <pc:docMk/>
            <pc:sldMk cId="779466664" sldId="2147480512"/>
            <ac:spMk id="11161" creationId="{925272A2-2CAB-51F1-515E-8F60073B47D2}"/>
          </ac:spMkLst>
        </pc:spChg>
        <pc:spChg chg="mod">
          <ac:chgData name="Emma Jappe Lange" userId="50167a89-1da6-43cb-b919-73793a3e7cc3" providerId="ADAL" clId="{A72C95B2-B9E6-4ABD-BBAD-56D980520408}" dt="2026-04-30T06:59:00.087" v="6377" actId="164"/>
          <ac:spMkLst>
            <pc:docMk/>
            <pc:sldMk cId="779466664" sldId="2147480512"/>
            <ac:spMk id="11194" creationId="{60AC6813-F3CF-288A-5F16-A4C8351939E3}"/>
          </ac:spMkLst>
        </pc:spChg>
        <pc:spChg chg="mod topLvl">
          <ac:chgData name="Emma Jappe Lange" userId="50167a89-1da6-43cb-b919-73793a3e7cc3" providerId="ADAL" clId="{A72C95B2-B9E6-4ABD-BBAD-56D980520408}" dt="2026-04-30T06:57:41.653" v="6364"/>
          <ac:spMkLst>
            <pc:docMk/>
            <pc:sldMk cId="779466664" sldId="2147480512"/>
            <ac:spMk id="11200" creationId="{C19800DE-236B-3B81-07A7-DA67A57B7510}"/>
          </ac:spMkLst>
        </pc:spChg>
        <pc:spChg chg="mod">
          <ac:chgData name="Emma Jappe Lange" userId="50167a89-1da6-43cb-b919-73793a3e7cc3" providerId="ADAL" clId="{A72C95B2-B9E6-4ABD-BBAD-56D980520408}" dt="2026-04-30T06:57:26.611" v="6338"/>
          <ac:spMkLst>
            <pc:docMk/>
            <pc:sldMk cId="779466664" sldId="2147480512"/>
            <ac:spMk id="11219" creationId="{551C39CE-01F5-7CCA-F63F-1C40D348670A}"/>
          </ac:spMkLst>
        </pc:spChg>
        <pc:spChg chg="mod">
          <ac:chgData name="Emma Jappe Lange" userId="50167a89-1da6-43cb-b919-73793a3e7cc3" providerId="ADAL" clId="{A72C95B2-B9E6-4ABD-BBAD-56D980520408}" dt="2026-04-30T06:59:00.087" v="6377" actId="164"/>
          <ac:spMkLst>
            <pc:docMk/>
            <pc:sldMk cId="779466664" sldId="2147480512"/>
            <ac:spMk id="11243" creationId="{2C2573BB-3152-1701-5812-F8455F9BB0BC}"/>
          </ac:spMkLst>
        </pc:spChg>
        <pc:spChg chg="mod topLvl">
          <ac:chgData name="Emma Jappe Lange" userId="50167a89-1da6-43cb-b919-73793a3e7cc3" providerId="ADAL" clId="{A72C95B2-B9E6-4ABD-BBAD-56D980520408}" dt="2026-04-30T06:57:41.653" v="6364"/>
          <ac:spMkLst>
            <pc:docMk/>
            <pc:sldMk cId="779466664" sldId="2147480512"/>
            <ac:spMk id="11254" creationId="{B87907DD-9D97-ACDE-4F8C-07382D20E273}"/>
          </ac:spMkLst>
        </pc:spChg>
        <pc:spChg chg="mod">
          <ac:chgData name="Emma Jappe Lange" userId="50167a89-1da6-43cb-b919-73793a3e7cc3" providerId="ADAL" clId="{A72C95B2-B9E6-4ABD-BBAD-56D980520408}" dt="2026-04-30T06:57:26.611" v="6338"/>
          <ac:spMkLst>
            <pc:docMk/>
            <pc:sldMk cId="779466664" sldId="2147480512"/>
            <ac:spMk id="11267" creationId="{EFE3751A-CE4E-9F3E-3443-0FAE26E2E9E3}"/>
          </ac:spMkLst>
        </pc:spChg>
        <pc:spChg chg="mod">
          <ac:chgData name="Emma Jappe Lange" userId="50167a89-1da6-43cb-b919-73793a3e7cc3" providerId="ADAL" clId="{A72C95B2-B9E6-4ABD-BBAD-56D980520408}" dt="2026-04-30T06:59:00.087" v="6377" actId="164"/>
          <ac:spMkLst>
            <pc:docMk/>
            <pc:sldMk cId="779466664" sldId="2147480512"/>
            <ac:spMk id="11289" creationId="{F03783BC-CC12-FF07-58DD-25F02D632AAB}"/>
          </ac:spMkLst>
        </pc:spChg>
        <pc:spChg chg="mod">
          <ac:chgData name="Emma Jappe Lange" userId="50167a89-1da6-43cb-b919-73793a3e7cc3" providerId="ADAL" clId="{A72C95B2-B9E6-4ABD-BBAD-56D980520408}" dt="2026-04-30T06:57:26.611" v="6338"/>
          <ac:spMkLst>
            <pc:docMk/>
            <pc:sldMk cId="779466664" sldId="2147480512"/>
            <ac:spMk id="11293" creationId="{B4338981-C80D-8464-7751-4101FDDC7B99}"/>
          </ac:spMkLst>
        </pc:spChg>
        <pc:spChg chg="mod">
          <ac:chgData name="Emma Jappe Lange" userId="50167a89-1da6-43cb-b919-73793a3e7cc3" providerId="ADAL" clId="{A72C95B2-B9E6-4ABD-BBAD-56D980520408}" dt="2026-04-30T06:57:26.611" v="6338"/>
          <ac:spMkLst>
            <pc:docMk/>
            <pc:sldMk cId="779466664" sldId="2147480512"/>
            <ac:spMk id="11333" creationId="{ECB7BA33-844A-A4DB-ED05-E7B124AE911A}"/>
          </ac:spMkLst>
        </pc:spChg>
        <pc:spChg chg="mod topLvl">
          <ac:chgData name="Emma Jappe Lange" userId="50167a89-1da6-43cb-b919-73793a3e7cc3" providerId="ADAL" clId="{A72C95B2-B9E6-4ABD-BBAD-56D980520408}" dt="2026-04-30T06:59:00.087" v="6377" actId="164"/>
          <ac:spMkLst>
            <pc:docMk/>
            <pc:sldMk cId="779466664" sldId="2147480512"/>
            <ac:spMk id="11355" creationId="{388DD22B-53A2-566E-9E33-64E1516D80E6}"/>
          </ac:spMkLst>
        </pc:spChg>
        <pc:spChg chg="mod topLvl">
          <ac:chgData name="Emma Jappe Lange" userId="50167a89-1da6-43cb-b919-73793a3e7cc3" providerId="ADAL" clId="{A72C95B2-B9E6-4ABD-BBAD-56D980520408}" dt="2026-04-30T06:57:41.653" v="6364"/>
          <ac:spMkLst>
            <pc:docMk/>
            <pc:sldMk cId="779466664" sldId="2147480512"/>
            <ac:spMk id="11366" creationId="{64549282-7AA1-A00A-73B5-0FF743CAF8FE}"/>
          </ac:spMkLst>
        </pc:spChg>
        <pc:spChg chg="mod topLvl">
          <ac:chgData name="Emma Jappe Lange" userId="50167a89-1da6-43cb-b919-73793a3e7cc3" providerId="ADAL" clId="{A72C95B2-B9E6-4ABD-BBAD-56D980520408}" dt="2026-04-30T06:57:41.653" v="6364"/>
          <ac:spMkLst>
            <pc:docMk/>
            <pc:sldMk cId="779466664" sldId="2147480512"/>
            <ac:spMk id="11372" creationId="{DCBFC471-4C66-7AB5-D7D0-6D528BF545E8}"/>
          </ac:spMkLst>
        </pc:spChg>
        <pc:spChg chg="mod">
          <ac:chgData name="Emma Jappe Lange" userId="50167a89-1da6-43cb-b919-73793a3e7cc3" providerId="ADAL" clId="{A72C95B2-B9E6-4ABD-BBAD-56D980520408}" dt="2026-04-30T06:57:26.611" v="6338"/>
          <ac:spMkLst>
            <pc:docMk/>
            <pc:sldMk cId="779466664" sldId="2147480512"/>
            <ac:spMk id="11379" creationId="{030C5F60-5EB7-DC67-5A9C-C0E038D7F88D}"/>
          </ac:spMkLst>
        </pc:spChg>
        <pc:spChg chg="mod topLvl">
          <ac:chgData name="Emma Jappe Lange" userId="50167a89-1da6-43cb-b919-73793a3e7cc3" providerId="ADAL" clId="{A72C95B2-B9E6-4ABD-BBAD-56D980520408}" dt="2026-04-30T06:57:41.653" v="6364"/>
          <ac:spMkLst>
            <pc:docMk/>
            <pc:sldMk cId="779466664" sldId="2147480512"/>
            <ac:spMk id="11429" creationId="{1F482327-3BA9-6B6D-760D-77BA1A2856D3}"/>
          </ac:spMkLst>
        </pc:spChg>
        <pc:spChg chg="mod topLvl">
          <ac:chgData name="Emma Jappe Lange" userId="50167a89-1da6-43cb-b919-73793a3e7cc3" providerId="ADAL" clId="{A72C95B2-B9E6-4ABD-BBAD-56D980520408}" dt="2026-04-30T06:57:41.653" v="6364"/>
          <ac:spMkLst>
            <pc:docMk/>
            <pc:sldMk cId="779466664" sldId="2147480512"/>
            <ac:spMk id="11438" creationId="{0A81D3F9-AAC9-B896-22E8-27CCF7DE54A4}"/>
          </ac:spMkLst>
        </pc:spChg>
        <pc:spChg chg="mod">
          <ac:chgData name="Emma Jappe Lange" userId="50167a89-1da6-43cb-b919-73793a3e7cc3" providerId="ADAL" clId="{A72C95B2-B9E6-4ABD-BBAD-56D980520408}" dt="2026-04-30T06:59:00.087" v="6377" actId="164"/>
          <ac:spMkLst>
            <pc:docMk/>
            <pc:sldMk cId="779466664" sldId="2147480512"/>
            <ac:spMk id="11450" creationId="{C9658D53-673A-B2E6-2AEE-A0DF54FC2D07}"/>
          </ac:spMkLst>
        </pc:spChg>
        <pc:spChg chg="mod">
          <ac:chgData name="Emma Jappe Lange" userId="50167a89-1da6-43cb-b919-73793a3e7cc3" providerId="ADAL" clId="{A72C95B2-B9E6-4ABD-BBAD-56D980520408}" dt="2026-04-30T06:59:00.087" v="6377" actId="164"/>
          <ac:spMkLst>
            <pc:docMk/>
            <pc:sldMk cId="779466664" sldId="2147480512"/>
            <ac:spMk id="11523" creationId="{6B966C8D-530B-9AFB-23CB-E3C8CC437940}"/>
          </ac:spMkLst>
        </pc:spChg>
        <pc:spChg chg="mod">
          <ac:chgData name="Emma Jappe Lange" userId="50167a89-1da6-43cb-b919-73793a3e7cc3" providerId="ADAL" clId="{A72C95B2-B9E6-4ABD-BBAD-56D980520408}" dt="2026-04-30T06:59:00.087" v="6377" actId="164"/>
          <ac:spMkLst>
            <pc:docMk/>
            <pc:sldMk cId="779466664" sldId="2147480512"/>
            <ac:spMk id="11563" creationId="{0374EEFC-B47C-1DCF-CF36-3C566269B3D0}"/>
          </ac:spMkLst>
        </pc:spChg>
        <pc:spChg chg="mod topLvl">
          <ac:chgData name="Emma Jappe Lange" userId="50167a89-1da6-43cb-b919-73793a3e7cc3" providerId="ADAL" clId="{A72C95B2-B9E6-4ABD-BBAD-56D980520408}" dt="2026-04-30T06:57:41.653" v="6364"/>
          <ac:spMkLst>
            <pc:docMk/>
            <pc:sldMk cId="779466664" sldId="2147480512"/>
            <ac:spMk id="11567" creationId="{B3CED2A0-2343-5303-AE89-F84CFC61A894}"/>
          </ac:spMkLst>
        </pc:spChg>
        <pc:spChg chg="mod">
          <ac:chgData name="Emma Jappe Lange" userId="50167a89-1da6-43cb-b919-73793a3e7cc3" providerId="ADAL" clId="{A72C95B2-B9E6-4ABD-BBAD-56D980520408}" dt="2026-04-30T06:59:00.087" v="6377" actId="164"/>
          <ac:spMkLst>
            <pc:docMk/>
            <pc:sldMk cId="779466664" sldId="2147480512"/>
            <ac:spMk id="11575" creationId="{71587A29-4622-FF0C-CAF2-86FC2A7FE0C3}"/>
          </ac:spMkLst>
        </pc:spChg>
        <pc:spChg chg="mod">
          <ac:chgData name="Emma Jappe Lange" userId="50167a89-1da6-43cb-b919-73793a3e7cc3" providerId="ADAL" clId="{A72C95B2-B9E6-4ABD-BBAD-56D980520408}" dt="2026-04-30T06:59:11.604" v="6382" actId="1076"/>
          <ac:spMkLst>
            <pc:docMk/>
            <pc:sldMk cId="779466664" sldId="2147480512"/>
            <ac:spMk id="11597" creationId="{C4261AC9-6BD9-D268-8865-3F8F1C004469}"/>
          </ac:spMkLst>
        </pc:spChg>
        <pc:grpChg chg="mod">
          <ac:chgData name="Emma Jappe Lange" userId="50167a89-1da6-43cb-b919-73793a3e7cc3" providerId="ADAL" clId="{A72C95B2-B9E6-4ABD-BBAD-56D980520408}" dt="2026-04-30T06:58:29.676" v="6370" actId="1076"/>
          <ac:grpSpMkLst>
            <pc:docMk/>
            <pc:sldMk cId="779466664" sldId="2147480512"/>
            <ac:grpSpMk id="11631" creationId="{CA4115C2-29CC-6702-C8E4-2600ECECAAB1}"/>
          </ac:grpSpMkLst>
        </pc:grpChg>
        <pc:grpChg chg="mod">
          <ac:chgData name="Emma Jappe Lange" userId="50167a89-1da6-43cb-b919-73793a3e7cc3" providerId="ADAL" clId="{A72C95B2-B9E6-4ABD-BBAD-56D980520408}" dt="2026-04-30T06:59:44.079" v="6396" actId="14100"/>
          <ac:grpSpMkLst>
            <pc:docMk/>
            <pc:sldMk cId="779466664" sldId="2147480512"/>
            <ac:grpSpMk id="11633" creationId="{E911380C-FD08-DDA5-9553-51E128B8B48B}"/>
          </ac:grpSpMkLst>
        </pc:grpChg>
        <pc:grpChg chg="mod">
          <ac:chgData name="Emma Jappe Lange" userId="50167a89-1da6-43cb-b919-73793a3e7cc3" providerId="ADAL" clId="{A72C95B2-B9E6-4ABD-BBAD-56D980520408}" dt="2026-04-30T06:59:44.079" v="6396" actId="14100"/>
          <ac:grpSpMkLst>
            <pc:docMk/>
            <pc:sldMk cId="779466664" sldId="2147480512"/>
            <ac:grpSpMk id="11635" creationId="{9D23DE17-C697-F549-D680-EA7FAB2ECFF1}"/>
          </ac:grpSpMkLst>
        </pc:grpChg>
        <pc:grpChg chg="mod">
          <ac:chgData name="Emma Jappe Lange" userId="50167a89-1da6-43cb-b919-73793a3e7cc3" providerId="ADAL" clId="{A72C95B2-B9E6-4ABD-BBAD-56D980520408}" dt="2026-04-30T06:59:05.762" v="6380" actId="1076"/>
          <ac:grpSpMkLst>
            <pc:docMk/>
            <pc:sldMk cId="779466664" sldId="2147480512"/>
            <ac:grpSpMk id="11636" creationId="{6237B29B-282D-983A-6286-209328876E44}"/>
          </ac:grpSpMkLst>
        </pc:grpChg>
      </pc:sldChg>
      <pc:sldChg chg="addSp modSp mod ord modShow">
        <pc:chgData name="Emma Jappe Lange" userId="50167a89-1da6-43cb-b919-73793a3e7cc3" providerId="ADAL" clId="{A72C95B2-B9E6-4ABD-BBAD-56D980520408}" dt="2026-05-13T06:46:40.110" v="11317"/>
        <pc:sldMkLst>
          <pc:docMk/>
          <pc:sldMk cId="998800623" sldId="2147480514"/>
        </pc:sldMkLst>
        <pc:spChg chg="add mod">
          <ac:chgData name="Emma Jappe Lange" userId="50167a89-1da6-43cb-b919-73793a3e7cc3" providerId="ADAL" clId="{A72C95B2-B9E6-4ABD-BBAD-56D980520408}" dt="2026-05-13T06:46:40.110" v="11317"/>
          <ac:spMkLst>
            <pc:docMk/>
            <pc:sldMk cId="998800623" sldId="2147480514"/>
            <ac:spMk id="3" creationId="{040DA61D-E0CF-9D0E-C362-02879C701662}"/>
          </ac:spMkLst>
        </pc:spChg>
      </pc:sldChg>
      <pc:sldChg chg="modSp mod">
        <pc:chgData name="Emma Jappe Lange" userId="50167a89-1da6-43cb-b919-73793a3e7cc3" providerId="ADAL" clId="{A72C95B2-B9E6-4ABD-BBAD-56D980520408}" dt="2026-05-01T08:39:57.867" v="9972"/>
        <pc:sldMkLst>
          <pc:docMk/>
          <pc:sldMk cId="1379153476" sldId="2147480542"/>
        </pc:sldMkLst>
        <pc:spChg chg="mod">
          <ac:chgData name="Emma Jappe Lange" userId="50167a89-1da6-43cb-b919-73793a3e7cc3" providerId="ADAL" clId="{A72C95B2-B9E6-4ABD-BBAD-56D980520408}" dt="2026-05-01T08:38:57.772" v="9971" actId="20577"/>
          <ac:spMkLst>
            <pc:docMk/>
            <pc:sldMk cId="1379153476" sldId="2147480542"/>
            <ac:spMk id="2" creationId="{782A0C28-C45F-42C7-177F-7FD42D0A5262}"/>
          </ac:spMkLst>
        </pc:spChg>
        <pc:spChg chg="mod">
          <ac:chgData name="Emma Jappe Lange" userId="50167a89-1da6-43cb-b919-73793a3e7cc3" providerId="ADAL" clId="{A72C95B2-B9E6-4ABD-BBAD-56D980520408}" dt="2026-05-01T08:39:57.867" v="9972"/>
          <ac:spMkLst>
            <pc:docMk/>
            <pc:sldMk cId="1379153476" sldId="2147480542"/>
            <ac:spMk id="5" creationId="{EF8CF786-B847-2A96-6B78-EF04A29BDDEE}"/>
          </ac:spMkLst>
        </pc:spChg>
        <pc:spChg chg="mod">
          <ac:chgData name="Emma Jappe Lange" userId="50167a89-1da6-43cb-b919-73793a3e7cc3" providerId="ADAL" clId="{A72C95B2-B9E6-4ABD-BBAD-56D980520408}" dt="2026-04-28T07:36:38.678" v="2951" actId="20577"/>
          <ac:spMkLst>
            <pc:docMk/>
            <pc:sldMk cId="1379153476" sldId="2147480542"/>
            <ac:spMk id="7" creationId="{C3622F13-4594-79FF-D60D-B7B5A54F3D92}"/>
          </ac:spMkLst>
        </pc:spChg>
        <pc:spChg chg="mod">
          <ac:chgData name="Emma Jappe Lange" userId="50167a89-1da6-43cb-b919-73793a3e7cc3" providerId="ADAL" clId="{A72C95B2-B9E6-4ABD-BBAD-56D980520408}" dt="2026-05-01T08:39:57.867" v="9972"/>
          <ac:spMkLst>
            <pc:docMk/>
            <pc:sldMk cId="1379153476" sldId="2147480542"/>
            <ac:spMk id="8" creationId="{89901E4B-7E68-C1D4-47A2-3F139EFBE19D}"/>
          </ac:spMkLst>
        </pc:spChg>
        <pc:spChg chg="mod">
          <ac:chgData name="Emma Jappe Lange" userId="50167a89-1da6-43cb-b919-73793a3e7cc3" providerId="ADAL" clId="{A72C95B2-B9E6-4ABD-BBAD-56D980520408}" dt="2026-05-01T08:39:57.867" v="9972"/>
          <ac:spMkLst>
            <pc:docMk/>
            <pc:sldMk cId="1379153476" sldId="2147480542"/>
            <ac:spMk id="11" creationId="{ACDFEB5C-3C12-6D85-6355-35207A13F794}"/>
          </ac:spMkLst>
        </pc:spChg>
        <pc:spChg chg="mod">
          <ac:chgData name="Emma Jappe Lange" userId="50167a89-1da6-43cb-b919-73793a3e7cc3" providerId="ADAL" clId="{A72C95B2-B9E6-4ABD-BBAD-56D980520408}" dt="2026-04-28T07:37:43.164" v="2982" actId="14100"/>
          <ac:spMkLst>
            <pc:docMk/>
            <pc:sldMk cId="1379153476" sldId="2147480542"/>
            <ac:spMk id="15" creationId="{671B01A2-22E3-B40A-FF95-EE0BD8CD0FCC}"/>
          </ac:spMkLst>
        </pc:spChg>
        <pc:spChg chg="mod">
          <ac:chgData name="Emma Jappe Lange" userId="50167a89-1da6-43cb-b919-73793a3e7cc3" providerId="ADAL" clId="{A72C95B2-B9E6-4ABD-BBAD-56D980520408}" dt="2026-04-28T07:37:44.901" v="2983" actId="14100"/>
          <ac:spMkLst>
            <pc:docMk/>
            <pc:sldMk cId="1379153476" sldId="2147480542"/>
            <ac:spMk id="23" creationId="{C36537BF-9C6C-64A0-25ED-935E16AE58F9}"/>
          </ac:spMkLst>
        </pc:spChg>
      </pc:sldChg>
      <pc:sldChg chg="delSp modSp mod">
        <pc:chgData name="Emma Jappe Lange" userId="50167a89-1da6-43cb-b919-73793a3e7cc3" providerId="ADAL" clId="{A72C95B2-B9E6-4ABD-BBAD-56D980520408}" dt="2026-04-30T09:05:34.697" v="8793" actId="478"/>
        <pc:sldMkLst>
          <pc:docMk/>
          <pc:sldMk cId="870120286" sldId="2147480543"/>
        </pc:sldMkLst>
        <pc:spChg chg="mod">
          <ac:chgData name="Emma Jappe Lange" userId="50167a89-1da6-43cb-b919-73793a3e7cc3" providerId="ADAL" clId="{A72C95B2-B9E6-4ABD-BBAD-56D980520408}" dt="2026-04-27T11:50:51.460" v="2869" actId="20577"/>
          <ac:spMkLst>
            <pc:docMk/>
            <pc:sldMk cId="870120286" sldId="2147480543"/>
            <ac:spMk id="24" creationId="{2FA6BCDE-B91F-57CE-692A-E307D6600549}"/>
          </ac:spMkLst>
        </pc:spChg>
      </pc:sldChg>
      <pc:sldChg chg="addSp modSp mod ord modShow">
        <pc:chgData name="Emma Jappe Lange" userId="50167a89-1da6-43cb-b919-73793a3e7cc3" providerId="ADAL" clId="{A72C95B2-B9E6-4ABD-BBAD-56D980520408}" dt="2026-05-13T06:46:43.764" v="11318"/>
        <pc:sldMkLst>
          <pc:docMk/>
          <pc:sldMk cId="806025802" sldId="2147480544"/>
        </pc:sldMkLst>
        <pc:spChg chg="add mod">
          <ac:chgData name="Emma Jappe Lange" userId="50167a89-1da6-43cb-b919-73793a3e7cc3" providerId="ADAL" clId="{A72C95B2-B9E6-4ABD-BBAD-56D980520408}" dt="2026-05-13T06:46:43.764" v="11318"/>
          <ac:spMkLst>
            <pc:docMk/>
            <pc:sldMk cId="806025802" sldId="2147480544"/>
            <ac:spMk id="2" creationId="{31C28E12-C9F0-1916-AA3B-F35A99E67D45}"/>
          </ac:spMkLst>
        </pc:spChg>
        <pc:grpChg chg="mod">
          <ac:chgData name="Emma Jappe Lange" userId="50167a89-1da6-43cb-b919-73793a3e7cc3" providerId="ADAL" clId="{A72C95B2-B9E6-4ABD-BBAD-56D980520408}" dt="2026-04-28T14:10:23.491" v="3821" actId="14100"/>
          <ac:grpSpMkLst>
            <pc:docMk/>
            <pc:sldMk cId="806025802" sldId="2147480544"/>
            <ac:grpSpMk id="40" creationId="{CA65B45F-CE26-A82B-DB94-6EBA81029388}"/>
          </ac:grpSpMkLst>
        </pc:grpChg>
      </pc:sldChg>
      <pc:sldChg chg="delSp modSp mod">
        <pc:chgData name="Emma Jappe Lange" userId="50167a89-1da6-43cb-b919-73793a3e7cc3" providerId="ADAL" clId="{A72C95B2-B9E6-4ABD-BBAD-56D980520408}" dt="2026-04-30T09:05:30.150" v="8792" actId="478"/>
        <pc:sldMkLst>
          <pc:docMk/>
          <pc:sldMk cId="2776678040" sldId="2147480553"/>
        </pc:sldMkLst>
      </pc:sldChg>
      <pc:sldChg chg="delSp modSp mod">
        <pc:chgData name="Emma Jappe Lange" userId="50167a89-1da6-43cb-b919-73793a3e7cc3" providerId="ADAL" clId="{A72C95B2-B9E6-4ABD-BBAD-56D980520408}" dt="2026-04-29T17:29:41.609" v="5497" actId="14100"/>
        <pc:sldMkLst>
          <pc:docMk/>
          <pc:sldMk cId="4005249513" sldId="2147480565"/>
        </pc:sldMkLst>
        <pc:spChg chg="mod">
          <ac:chgData name="Emma Jappe Lange" userId="50167a89-1da6-43cb-b919-73793a3e7cc3" providerId="ADAL" clId="{A72C95B2-B9E6-4ABD-BBAD-56D980520408}" dt="2026-04-29T17:29:22.882" v="5489" actId="14100"/>
          <ac:spMkLst>
            <pc:docMk/>
            <pc:sldMk cId="4005249513" sldId="2147480565"/>
            <ac:spMk id="16" creationId="{DC1DA19B-38CA-3758-685C-2E47A22A9827}"/>
          </ac:spMkLst>
        </pc:spChg>
        <pc:spChg chg="mod">
          <ac:chgData name="Emma Jappe Lange" userId="50167a89-1da6-43cb-b919-73793a3e7cc3" providerId="ADAL" clId="{A72C95B2-B9E6-4ABD-BBAD-56D980520408}" dt="2026-04-29T17:29:41.609" v="5497" actId="14100"/>
          <ac:spMkLst>
            <pc:docMk/>
            <pc:sldMk cId="4005249513" sldId="2147480565"/>
            <ac:spMk id="19" creationId="{6C8B480F-FA46-17B9-1ACB-572FDA39DE6B}"/>
          </ac:spMkLst>
        </pc:spChg>
        <pc:spChg chg="mod">
          <ac:chgData name="Emma Jappe Lange" userId="50167a89-1da6-43cb-b919-73793a3e7cc3" providerId="ADAL" clId="{A72C95B2-B9E6-4ABD-BBAD-56D980520408}" dt="2026-04-29T17:29:22.882" v="5489" actId="14100"/>
          <ac:spMkLst>
            <pc:docMk/>
            <pc:sldMk cId="4005249513" sldId="2147480565"/>
            <ac:spMk id="29" creationId="{2DABBD47-EE90-A8DD-ACAE-C05C545BFE31}"/>
          </ac:spMkLst>
        </pc:spChg>
        <pc:spChg chg="mod">
          <ac:chgData name="Emma Jappe Lange" userId="50167a89-1da6-43cb-b919-73793a3e7cc3" providerId="ADAL" clId="{A72C95B2-B9E6-4ABD-BBAD-56D980520408}" dt="2026-04-27T05:15:09.306" v="846" actId="20577"/>
          <ac:spMkLst>
            <pc:docMk/>
            <pc:sldMk cId="4005249513" sldId="2147480565"/>
            <ac:spMk id="53" creationId="{0FBB3E95-6104-E09F-96EA-C962F982283C}"/>
          </ac:spMkLst>
        </pc:spChg>
        <pc:grpChg chg="mod">
          <ac:chgData name="Emma Jappe Lange" userId="50167a89-1da6-43cb-b919-73793a3e7cc3" providerId="ADAL" clId="{A72C95B2-B9E6-4ABD-BBAD-56D980520408}" dt="2026-04-29T17:29:22.882" v="5489" actId="14100"/>
          <ac:grpSpMkLst>
            <pc:docMk/>
            <pc:sldMk cId="4005249513" sldId="2147480565"/>
            <ac:grpSpMk id="32" creationId="{7DF8D8D5-B5F3-9789-EC44-139112AFCD63}"/>
          </ac:grpSpMkLst>
        </pc:grpChg>
        <pc:grpChg chg="mod">
          <ac:chgData name="Emma Jappe Lange" userId="50167a89-1da6-43cb-b919-73793a3e7cc3" providerId="ADAL" clId="{A72C95B2-B9E6-4ABD-BBAD-56D980520408}" dt="2026-04-29T17:29:37.236" v="5496" actId="1036"/>
          <ac:grpSpMkLst>
            <pc:docMk/>
            <pc:sldMk cId="4005249513" sldId="2147480565"/>
            <ac:grpSpMk id="108" creationId="{13651E0F-E870-A7EC-4448-81735F60F95B}"/>
          </ac:grpSpMkLst>
        </pc:grpChg>
      </pc:sldChg>
      <pc:sldChg chg="addSp delSp modSp mod">
        <pc:chgData name="Emma Jappe Lange" userId="50167a89-1da6-43cb-b919-73793a3e7cc3" providerId="ADAL" clId="{A72C95B2-B9E6-4ABD-BBAD-56D980520408}" dt="2026-04-30T09:05:24.163" v="8791" actId="478"/>
        <pc:sldMkLst>
          <pc:docMk/>
          <pc:sldMk cId="928989583" sldId="2147480566"/>
        </pc:sldMkLst>
      </pc:sldChg>
      <pc:sldChg chg="addSp delSp modSp mod">
        <pc:chgData name="Emma Jappe Lange" userId="50167a89-1da6-43cb-b919-73793a3e7cc3" providerId="ADAL" clId="{A72C95B2-B9E6-4ABD-BBAD-56D980520408}" dt="2026-04-30T09:05:40.884" v="8795" actId="478"/>
        <pc:sldMkLst>
          <pc:docMk/>
          <pc:sldMk cId="2997861162" sldId="2147480568"/>
        </pc:sldMkLst>
      </pc:sldChg>
      <pc:sldChg chg="addSp delSp modSp mod ord">
        <pc:chgData name="Emma Jappe Lange" userId="50167a89-1da6-43cb-b919-73793a3e7cc3" providerId="ADAL" clId="{A72C95B2-B9E6-4ABD-BBAD-56D980520408}" dt="2026-04-30T09:05:21.638" v="8790" actId="478"/>
        <pc:sldMkLst>
          <pc:docMk/>
          <pc:sldMk cId="912637488" sldId="2147480569"/>
        </pc:sldMkLst>
      </pc:sldChg>
      <pc:sldChg chg="modSp mod">
        <pc:chgData name="Emma Jappe Lange" userId="50167a89-1da6-43cb-b919-73793a3e7cc3" providerId="ADAL" clId="{A72C95B2-B9E6-4ABD-BBAD-56D980520408}" dt="2026-04-27T11:50:35.677" v="2860" actId="6549"/>
        <pc:sldMkLst>
          <pc:docMk/>
          <pc:sldMk cId="3692807138" sldId="2147480584"/>
        </pc:sldMkLst>
        <pc:spChg chg="mod">
          <ac:chgData name="Emma Jappe Lange" userId="50167a89-1da6-43cb-b919-73793a3e7cc3" providerId="ADAL" clId="{A72C95B2-B9E6-4ABD-BBAD-56D980520408}" dt="2026-04-27T11:50:18.377" v="2840" actId="20577"/>
          <ac:spMkLst>
            <pc:docMk/>
            <pc:sldMk cId="3692807138" sldId="2147480584"/>
            <ac:spMk id="2" creationId="{E96000C2-A1D4-2B6B-922C-4CE594B018B3}"/>
          </ac:spMkLst>
        </pc:spChg>
        <pc:spChg chg="mod">
          <ac:chgData name="Emma Jappe Lange" userId="50167a89-1da6-43cb-b919-73793a3e7cc3" providerId="ADAL" clId="{A72C95B2-B9E6-4ABD-BBAD-56D980520408}" dt="2026-04-27T11:50:35.677" v="2860" actId="6549"/>
          <ac:spMkLst>
            <pc:docMk/>
            <pc:sldMk cId="3692807138" sldId="2147480584"/>
            <ac:spMk id="11" creationId="{3A05B254-8E05-5CA4-7D0A-1BB8E723538F}"/>
          </ac:spMkLst>
        </pc:spChg>
      </pc:sldChg>
      <pc:sldChg chg="modSp mod modCm">
        <pc:chgData name="Emma Jappe Lange" userId="50167a89-1da6-43cb-b919-73793a3e7cc3" providerId="ADAL" clId="{A72C95B2-B9E6-4ABD-BBAD-56D980520408}" dt="2026-04-29T06:29:37.516" v="4253" actId="20577"/>
        <pc:sldMkLst>
          <pc:docMk/>
          <pc:sldMk cId="2324525722" sldId="2147480607"/>
        </pc:sldMkLst>
        <pc:spChg chg="mod">
          <ac:chgData name="Emma Jappe Lange" userId="50167a89-1da6-43cb-b919-73793a3e7cc3" providerId="ADAL" clId="{A72C95B2-B9E6-4ABD-BBAD-56D980520408}" dt="2026-04-29T06:29:37.516" v="4253" actId="20577"/>
          <ac:spMkLst>
            <pc:docMk/>
            <pc:sldMk cId="2324525722" sldId="2147480607"/>
            <ac:spMk id="12" creationId="{294A3207-C224-0335-1CC7-855446A7EA00}"/>
          </ac:spMkLst>
        </pc:spChg>
        <pc:extLst>
          <p:ext xmlns:p="http://schemas.openxmlformats.org/presentationml/2006/main" uri="{D6D511B9-2390-475A-947B-AFAB55BFBCF1}">
            <pc226:cmChg xmlns:pc226="http://schemas.microsoft.com/office/powerpoint/2022/06/main/command" chg="mod">
              <pc226:chgData name="Emma Jappe Lange" userId="50167a89-1da6-43cb-b919-73793a3e7cc3" providerId="ADAL" clId="{A72C95B2-B9E6-4ABD-BBAD-56D980520408}" dt="2026-04-29T06:29:37.516" v="4253" actId="20577"/>
              <pc2:cmMkLst xmlns:pc2="http://schemas.microsoft.com/office/powerpoint/2019/9/main/command">
                <pc:docMk/>
                <pc:sldMk cId="2324525722" sldId="2147480607"/>
                <pc2:cmMk id="{C9A02B82-AADA-4372-9DF0-677683677559}"/>
              </pc2:cmMkLst>
            </pc226:cmChg>
          </p:ext>
        </pc:extLst>
      </pc:sldChg>
      <pc:sldChg chg="delSp modSp mod ord">
        <pc:chgData name="Emma Jappe Lange" userId="50167a89-1da6-43cb-b919-73793a3e7cc3" providerId="ADAL" clId="{A72C95B2-B9E6-4ABD-BBAD-56D980520408}" dt="2026-04-30T06:46:05.718" v="6146" actId="1035"/>
        <pc:sldMkLst>
          <pc:docMk/>
          <pc:sldMk cId="4021775555" sldId="2147480609"/>
        </pc:sldMkLst>
        <pc:spChg chg="mod">
          <ac:chgData name="Emma Jappe Lange" userId="50167a89-1da6-43cb-b919-73793a3e7cc3" providerId="ADAL" clId="{A72C95B2-B9E6-4ABD-BBAD-56D980520408}" dt="2026-04-30T06:46:05.718" v="6146" actId="1035"/>
          <ac:spMkLst>
            <pc:docMk/>
            <pc:sldMk cId="4021775555" sldId="2147480609"/>
            <ac:spMk id="2" creationId="{1C608CBF-4749-27C9-D714-67BD7CDA57A2}"/>
          </ac:spMkLst>
        </pc:spChg>
        <pc:spChg chg="mod">
          <ac:chgData name="Emma Jappe Lange" userId="50167a89-1da6-43cb-b919-73793a3e7cc3" providerId="ADAL" clId="{A72C95B2-B9E6-4ABD-BBAD-56D980520408}" dt="2026-04-30T06:45:47.890" v="6136" actId="1035"/>
          <ac:spMkLst>
            <pc:docMk/>
            <pc:sldMk cId="4021775555" sldId="2147480609"/>
            <ac:spMk id="8" creationId="{057780F3-C1D0-48AE-6D46-15A0C8171489}"/>
          </ac:spMkLst>
        </pc:spChg>
        <pc:spChg chg="mod">
          <ac:chgData name="Emma Jappe Lange" userId="50167a89-1da6-43cb-b919-73793a3e7cc3" providerId="ADAL" clId="{A72C95B2-B9E6-4ABD-BBAD-56D980520408}" dt="2026-04-30T06:46:05.718" v="6146" actId="1035"/>
          <ac:spMkLst>
            <pc:docMk/>
            <pc:sldMk cId="4021775555" sldId="2147480609"/>
            <ac:spMk id="11" creationId="{894806E4-E6A3-AF03-2A66-24AEE3597346}"/>
          </ac:spMkLst>
        </pc:spChg>
        <pc:spChg chg="mod">
          <ac:chgData name="Emma Jappe Lange" userId="50167a89-1da6-43cb-b919-73793a3e7cc3" providerId="ADAL" clId="{A72C95B2-B9E6-4ABD-BBAD-56D980520408}" dt="2026-04-30T06:46:05.718" v="6146" actId="1035"/>
          <ac:spMkLst>
            <pc:docMk/>
            <pc:sldMk cId="4021775555" sldId="2147480609"/>
            <ac:spMk id="38" creationId="{8D75FBD5-D7A8-8938-D4B2-790332932D97}"/>
          </ac:spMkLst>
        </pc:spChg>
        <pc:spChg chg="mod">
          <ac:chgData name="Emma Jappe Lange" userId="50167a89-1da6-43cb-b919-73793a3e7cc3" providerId="ADAL" clId="{A72C95B2-B9E6-4ABD-BBAD-56D980520408}" dt="2026-04-30T06:46:05.718" v="6146" actId="1035"/>
          <ac:spMkLst>
            <pc:docMk/>
            <pc:sldMk cId="4021775555" sldId="2147480609"/>
            <ac:spMk id="39" creationId="{19F00C81-FDDF-20B0-A17F-FABA084AA269}"/>
          </ac:spMkLst>
        </pc:spChg>
        <pc:spChg chg="mod">
          <ac:chgData name="Emma Jappe Lange" userId="50167a89-1da6-43cb-b919-73793a3e7cc3" providerId="ADAL" clId="{A72C95B2-B9E6-4ABD-BBAD-56D980520408}" dt="2026-04-30T06:45:02.688" v="6122" actId="20577"/>
          <ac:spMkLst>
            <pc:docMk/>
            <pc:sldMk cId="4021775555" sldId="2147480609"/>
            <ac:spMk id="40" creationId="{F9B60C54-DD36-A4DD-FD4F-94A669B0B241}"/>
          </ac:spMkLst>
        </pc:spChg>
        <pc:spChg chg="mod">
          <ac:chgData name="Emma Jappe Lange" userId="50167a89-1da6-43cb-b919-73793a3e7cc3" providerId="ADAL" clId="{A72C95B2-B9E6-4ABD-BBAD-56D980520408}" dt="2026-04-30T06:45:58.676" v="6138"/>
          <ac:spMkLst>
            <pc:docMk/>
            <pc:sldMk cId="4021775555" sldId="2147480609"/>
            <ac:spMk id="177" creationId="{AC114C5D-9331-376D-3F08-55C718F84BDE}"/>
          </ac:spMkLst>
        </pc:spChg>
        <pc:spChg chg="mod">
          <ac:chgData name="Emma Jappe Lange" userId="50167a89-1da6-43cb-b919-73793a3e7cc3" providerId="ADAL" clId="{A72C95B2-B9E6-4ABD-BBAD-56D980520408}" dt="2026-04-30T06:46:05.718" v="6146" actId="1035"/>
          <ac:spMkLst>
            <pc:docMk/>
            <pc:sldMk cId="4021775555" sldId="2147480609"/>
            <ac:spMk id="266" creationId="{9AB0D28E-E9B8-1161-F325-25D5E95DB23B}"/>
          </ac:spMkLst>
        </pc:spChg>
        <pc:spChg chg="mod">
          <ac:chgData name="Emma Jappe Lange" userId="50167a89-1da6-43cb-b919-73793a3e7cc3" providerId="ADAL" clId="{A72C95B2-B9E6-4ABD-BBAD-56D980520408}" dt="2026-04-30T06:46:05.718" v="6146" actId="1035"/>
          <ac:spMkLst>
            <pc:docMk/>
            <pc:sldMk cId="4021775555" sldId="2147480609"/>
            <ac:spMk id="267" creationId="{E87A151A-7C6C-84DD-3F47-CC24C5D4926C}"/>
          </ac:spMkLst>
        </pc:spChg>
        <pc:spChg chg="mod">
          <ac:chgData name="Emma Jappe Lange" userId="50167a89-1da6-43cb-b919-73793a3e7cc3" providerId="ADAL" clId="{A72C95B2-B9E6-4ABD-BBAD-56D980520408}" dt="2026-04-30T06:46:05.718" v="6146" actId="1035"/>
          <ac:spMkLst>
            <pc:docMk/>
            <pc:sldMk cId="4021775555" sldId="2147480609"/>
            <ac:spMk id="269" creationId="{F7A00D5E-9C49-737C-DA56-A9EB85727A17}"/>
          </ac:spMkLst>
        </pc:spChg>
        <pc:spChg chg="mod">
          <ac:chgData name="Emma Jappe Lange" userId="50167a89-1da6-43cb-b919-73793a3e7cc3" providerId="ADAL" clId="{A72C95B2-B9E6-4ABD-BBAD-56D980520408}" dt="2026-04-30T06:46:05.718" v="6146" actId="1035"/>
          <ac:spMkLst>
            <pc:docMk/>
            <pc:sldMk cId="4021775555" sldId="2147480609"/>
            <ac:spMk id="270" creationId="{4B03F610-4D28-53B8-B07E-75BFB24B9A68}"/>
          </ac:spMkLst>
        </pc:spChg>
        <pc:grpChg chg="mod">
          <ac:chgData name="Emma Jappe Lange" userId="50167a89-1da6-43cb-b919-73793a3e7cc3" providerId="ADAL" clId="{A72C95B2-B9E6-4ABD-BBAD-56D980520408}" dt="2026-04-30T06:46:05.718" v="6146" actId="1035"/>
          <ac:grpSpMkLst>
            <pc:docMk/>
            <pc:sldMk cId="4021775555" sldId="2147480609"/>
            <ac:grpSpMk id="9" creationId="{49F3925C-2E6E-7071-E16C-BD9CF89D558F}"/>
          </ac:grpSpMkLst>
        </pc:grpChg>
        <pc:grpChg chg="mod">
          <ac:chgData name="Emma Jappe Lange" userId="50167a89-1da6-43cb-b919-73793a3e7cc3" providerId="ADAL" clId="{A72C95B2-B9E6-4ABD-BBAD-56D980520408}" dt="2026-04-30T06:46:05.718" v="6146" actId="1035"/>
          <ac:grpSpMkLst>
            <pc:docMk/>
            <pc:sldMk cId="4021775555" sldId="2147480609"/>
            <ac:grpSpMk id="10" creationId="{530FE343-6679-2065-7AC1-31A64BD6A832}"/>
          </ac:grpSpMkLst>
        </pc:grpChg>
      </pc:sldChg>
      <pc:sldChg chg="addSp delSp modSp mod modCm">
        <pc:chgData name="Emma Jappe Lange" userId="50167a89-1da6-43cb-b919-73793a3e7cc3" providerId="ADAL" clId="{A72C95B2-B9E6-4ABD-BBAD-56D980520408}" dt="2026-05-05T06:50:19.213" v="11310" actId="20577"/>
        <pc:sldMkLst>
          <pc:docMk/>
          <pc:sldMk cId="3022255394" sldId="2147480610"/>
        </pc:sldMkLst>
        <pc:spChg chg="mod">
          <ac:chgData name="Emma Jappe Lange" userId="50167a89-1da6-43cb-b919-73793a3e7cc3" providerId="ADAL" clId="{A72C95B2-B9E6-4ABD-BBAD-56D980520408}" dt="2026-04-27T08:38:22.950" v="2727" actId="20577"/>
          <ac:spMkLst>
            <pc:docMk/>
            <pc:sldMk cId="3022255394" sldId="2147480610"/>
            <ac:spMk id="2" creationId="{4BB57C90-786B-266A-DD1A-0B551C820AF5}"/>
          </ac:spMkLst>
        </pc:spChg>
        <pc:spChg chg="mod">
          <ac:chgData name="Emma Jappe Lange" userId="50167a89-1da6-43cb-b919-73793a3e7cc3" providerId="ADAL" clId="{A72C95B2-B9E6-4ABD-BBAD-56D980520408}" dt="2026-05-01T08:49:00.575" v="10195" actId="1035"/>
          <ac:spMkLst>
            <pc:docMk/>
            <pc:sldMk cId="3022255394" sldId="2147480610"/>
            <ac:spMk id="3" creationId="{398E4D43-AC26-ADA9-A567-21B5F9003807}"/>
          </ac:spMkLst>
        </pc:spChg>
        <pc:spChg chg="mod">
          <ac:chgData name="Emma Jappe Lange" userId="50167a89-1da6-43cb-b919-73793a3e7cc3" providerId="ADAL" clId="{A72C95B2-B9E6-4ABD-BBAD-56D980520408}" dt="2026-05-01T08:49:00.575" v="10195" actId="1035"/>
          <ac:spMkLst>
            <pc:docMk/>
            <pc:sldMk cId="3022255394" sldId="2147480610"/>
            <ac:spMk id="4" creationId="{84F35FD0-4CF6-1F9F-4A47-7FE46E1DE176}"/>
          </ac:spMkLst>
        </pc:spChg>
        <pc:spChg chg="mod">
          <ac:chgData name="Emma Jappe Lange" userId="50167a89-1da6-43cb-b919-73793a3e7cc3" providerId="ADAL" clId="{A72C95B2-B9E6-4ABD-BBAD-56D980520408}" dt="2026-05-01T08:49:00.575" v="10195" actId="1035"/>
          <ac:spMkLst>
            <pc:docMk/>
            <pc:sldMk cId="3022255394" sldId="2147480610"/>
            <ac:spMk id="5" creationId="{6EC570DC-22CE-1C90-5C84-A80C90A41DE0}"/>
          </ac:spMkLst>
        </pc:spChg>
        <pc:spChg chg="add mod">
          <ac:chgData name="Emma Jappe Lange" userId="50167a89-1da6-43cb-b919-73793a3e7cc3" providerId="ADAL" clId="{A72C95B2-B9E6-4ABD-BBAD-56D980520408}" dt="2026-04-30T09:03:07.795" v="8773"/>
          <ac:spMkLst>
            <pc:docMk/>
            <pc:sldMk cId="3022255394" sldId="2147480610"/>
            <ac:spMk id="7" creationId="{E1362517-9FA8-2F96-CD07-E2B0A9EFDA76}"/>
          </ac:spMkLst>
        </pc:spChg>
        <pc:spChg chg="mod">
          <ac:chgData name="Emma Jappe Lange" userId="50167a89-1da6-43cb-b919-73793a3e7cc3" providerId="ADAL" clId="{A72C95B2-B9E6-4ABD-BBAD-56D980520408}" dt="2026-04-30T09:15:46.407" v="9014" actId="1038"/>
          <ac:spMkLst>
            <pc:docMk/>
            <pc:sldMk cId="3022255394" sldId="2147480610"/>
            <ac:spMk id="9" creationId="{FDD68859-3BCB-30B4-8420-6E95C245947B}"/>
          </ac:spMkLst>
        </pc:spChg>
        <pc:spChg chg="mod">
          <ac:chgData name="Emma Jappe Lange" userId="50167a89-1da6-43cb-b919-73793a3e7cc3" providerId="ADAL" clId="{A72C95B2-B9E6-4ABD-BBAD-56D980520408}" dt="2026-04-30T09:15:45.566" v="9013" actId="14100"/>
          <ac:spMkLst>
            <pc:docMk/>
            <pc:sldMk cId="3022255394" sldId="2147480610"/>
            <ac:spMk id="13" creationId="{340CBF8F-57DF-BC1E-05ED-081A151A02A8}"/>
          </ac:spMkLst>
        </pc:spChg>
        <pc:spChg chg="mod topLvl">
          <ac:chgData name="Emma Jappe Lange" userId="50167a89-1da6-43cb-b919-73793a3e7cc3" providerId="ADAL" clId="{A72C95B2-B9E6-4ABD-BBAD-56D980520408}" dt="2026-04-30T09:15:59.227" v="9018"/>
          <ac:spMkLst>
            <pc:docMk/>
            <pc:sldMk cId="3022255394" sldId="2147480610"/>
            <ac:spMk id="18" creationId="{180F6E5A-54B9-875E-9EE2-104BA1BB1522}"/>
          </ac:spMkLst>
        </pc:spChg>
        <pc:spChg chg="mod topLvl">
          <ac:chgData name="Emma Jappe Lange" userId="50167a89-1da6-43cb-b919-73793a3e7cc3" providerId="ADAL" clId="{A72C95B2-B9E6-4ABD-BBAD-56D980520408}" dt="2026-04-30T09:15:59.227" v="9018"/>
          <ac:spMkLst>
            <pc:docMk/>
            <pc:sldMk cId="3022255394" sldId="2147480610"/>
            <ac:spMk id="19" creationId="{51424425-8C05-5D0B-CDCA-2AE865A4FA28}"/>
          </ac:spMkLst>
        </pc:spChg>
        <pc:spChg chg="mod">
          <ac:chgData name="Emma Jappe Lange" userId="50167a89-1da6-43cb-b919-73793a3e7cc3" providerId="ADAL" clId="{A72C95B2-B9E6-4ABD-BBAD-56D980520408}" dt="2026-05-01T08:49:00.575" v="10195" actId="1035"/>
          <ac:spMkLst>
            <pc:docMk/>
            <pc:sldMk cId="3022255394" sldId="2147480610"/>
            <ac:spMk id="22" creationId="{1406D10C-EC7E-243C-AEF8-50A574E3C2E0}"/>
          </ac:spMkLst>
        </pc:spChg>
        <pc:spChg chg="add mod">
          <ac:chgData name="Emma Jappe Lange" userId="50167a89-1da6-43cb-b919-73793a3e7cc3" providerId="ADAL" clId="{A72C95B2-B9E6-4ABD-BBAD-56D980520408}" dt="2026-05-05T06:50:19.213" v="11310" actId="20577"/>
          <ac:spMkLst>
            <pc:docMk/>
            <pc:sldMk cId="3022255394" sldId="2147480610"/>
            <ac:spMk id="24" creationId="{90559546-17F2-0AAB-D6CE-86A17993190A}"/>
          </ac:spMkLst>
        </pc:spChg>
        <pc:spChg chg="mod">
          <ac:chgData name="Emma Jappe Lange" userId="50167a89-1da6-43cb-b919-73793a3e7cc3" providerId="ADAL" clId="{A72C95B2-B9E6-4ABD-BBAD-56D980520408}" dt="2026-05-01T08:49:00.575" v="10195" actId="1035"/>
          <ac:spMkLst>
            <pc:docMk/>
            <pc:sldMk cId="3022255394" sldId="2147480610"/>
            <ac:spMk id="26" creationId="{91B48486-3A51-30D7-EDAE-5256BC54AC27}"/>
          </ac:spMkLst>
        </pc:spChg>
        <pc:spChg chg="mod topLvl">
          <ac:chgData name="Emma Jappe Lange" userId="50167a89-1da6-43cb-b919-73793a3e7cc3" providerId="ADAL" clId="{A72C95B2-B9E6-4ABD-BBAD-56D980520408}" dt="2026-04-30T09:17:55.551" v="9028" actId="403"/>
          <ac:spMkLst>
            <pc:docMk/>
            <pc:sldMk cId="3022255394" sldId="2147480610"/>
            <ac:spMk id="36" creationId="{78EA2748-F6E8-4FBA-1B15-7669CAB04A87}"/>
          </ac:spMkLst>
        </pc:spChg>
        <pc:spChg chg="mod topLvl">
          <ac:chgData name="Emma Jappe Lange" userId="50167a89-1da6-43cb-b919-73793a3e7cc3" providerId="ADAL" clId="{A72C95B2-B9E6-4ABD-BBAD-56D980520408}" dt="2026-04-30T09:15:59.227" v="9018"/>
          <ac:spMkLst>
            <pc:docMk/>
            <pc:sldMk cId="3022255394" sldId="2147480610"/>
            <ac:spMk id="39" creationId="{E37DB3D8-B5F7-1256-8995-7D02171C16BF}"/>
          </ac:spMkLst>
        </pc:spChg>
        <pc:spChg chg="mod topLvl">
          <ac:chgData name="Emma Jappe Lange" userId="50167a89-1da6-43cb-b919-73793a3e7cc3" providerId="ADAL" clId="{A72C95B2-B9E6-4ABD-BBAD-56D980520408}" dt="2026-04-30T09:15:59.227" v="9018"/>
          <ac:spMkLst>
            <pc:docMk/>
            <pc:sldMk cId="3022255394" sldId="2147480610"/>
            <ac:spMk id="41" creationId="{98409EF9-BF7E-D7E0-56B7-DD90A9E70067}"/>
          </ac:spMkLst>
        </pc:spChg>
        <pc:spChg chg="mod">
          <ac:chgData name="Emma Jappe Lange" userId="50167a89-1da6-43cb-b919-73793a3e7cc3" providerId="ADAL" clId="{A72C95B2-B9E6-4ABD-BBAD-56D980520408}" dt="2026-04-30T09:11:17.622" v="8883" actId="164"/>
          <ac:spMkLst>
            <pc:docMk/>
            <pc:sldMk cId="3022255394" sldId="2147480610"/>
            <ac:spMk id="43" creationId="{225A11AE-1F9D-63B5-8282-2C75D2DE3882}"/>
          </ac:spMkLst>
        </pc:spChg>
        <pc:spChg chg="mod">
          <ac:chgData name="Emma Jappe Lange" userId="50167a89-1da6-43cb-b919-73793a3e7cc3" providerId="ADAL" clId="{A72C95B2-B9E6-4ABD-BBAD-56D980520408}" dt="2026-05-01T08:43:28.163" v="9986" actId="20577"/>
          <ac:spMkLst>
            <pc:docMk/>
            <pc:sldMk cId="3022255394" sldId="2147480610"/>
            <ac:spMk id="73" creationId="{C5A566B6-EA8E-C2EB-8AB4-5D0B021BD3D4}"/>
          </ac:spMkLst>
        </pc:spChg>
        <pc:spChg chg="mod topLvl">
          <ac:chgData name="Emma Jappe Lange" userId="50167a89-1da6-43cb-b919-73793a3e7cc3" providerId="ADAL" clId="{A72C95B2-B9E6-4ABD-BBAD-56D980520408}" dt="2026-04-30T09:15:59.227" v="9018"/>
          <ac:spMkLst>
            <pc:docMk/>
            <pc:sldMk cId="3022255394" sldId="2147480610"/>
            <ac:spMk id="74" creationId="{2EB0F7A5-205D-AEDA-77A3-D4B6BE676FB1}"/>
          </ac:spMkLst>
        </pc:spChg>
        <pc:spChg chg="mod topLvl">
          <ac:chgData name="Emma Jappe Lange" userId="50167a89-1da6-43cb-b919-73793a3e7cc3" providerId="ADAL" clId="{A72C95B2-B9E6-4ABD-BBAD-56D980520408}" dt="2026-04-30T09:15:59.227" v="9018"/>
          <ac:spMkLst>
            <pc:docMk/>
            <pc:sldMk cId="3022255394" sldId="2147480610"/>
            <ac:spMk id="75" creationId="{5321EF58-A01F-3635-93A7-0B3D06C280E9}"/>
          </ac:spMkLst>
        </pc:spChg>
        <pc:spChg chg="mod">
          <ac:chgData name="Emma Jappe Lange" userId="50167a89-1da6-43cb-b919-73793a3e7cc3" providerId="ADAL" clId="{A72C95B2-B9E6-4ABD-BBAD-56D980520408}" dt="2026-04-30T09:11:17.622" v="8883" actId="164"/>
          <ac:spMkLst>
            <pc:docMk/>
            <pc:sldMk cId="3022255394" sldId="2147480610"/>
            <ac:spMk id="76" creationId="{4C660CE4-2C4D-291D-A118-25B8CAD7FB9D}"/>
          </ac:spMkLst>
        </pc:spChg>
        <pc:spChg chg="mod">
          <ac:chgData name="Emma Jappe Lange" userId="50167a89-1da6-43cb-b919-73793a3e7cc3" providerId="ADAL" clId="{A72C95B2-B9E6-4ABD-BBAD-56D980520408}" dt="2026-04-30T09:13:04.849" v="8942" actId="20577"/>
          <ac:spMkLst>
            <pc:docMk/>
            <pc:sldMk cId="3022255394" sldId="2147480610"/>
            <ac:spMk id="77" creationId="{B98ABB89-626E-DF38-583D-39DF20CFD823}"/>
          </ac:spMkLst>
        </pc:spChg>
        <pc:spChg chg="mod">
          <ac:chgData name="Emma Jappe Lange" userId="50167a89-1da6-43cb-b919-73793a3e7cc3" providerId="ADAL" clId="{A72C95B2-B9E6-4ABD-BBAD-56D980520408}" dt="2026-04-30T09:11:17.622" v="8883" actId="164"/>
          <ac:spMkLst>
            <pc:docMk/>
            <pc:sldMk cId="3022255394" sldId="2147480610"/>
            <ac:spMk id="78" creationId="{CD14D3AF-BF61-4502-41DE-B0913A405FAF}"/>
          </ac:spMkLst>
        </pc:spChg>
        <pc:spChg chg="mod topLvl">
          <ac:chgData name="Emma Jappe Lange" userId="50167a89-1da6-43cb-b919-73793a3e7cc3" providerId="ADAL" clId="{A72C95B2-B9E6-4ABD-BBAD-56D980520408}" dt="2026-04-30T09:15:59.227" v="9018"/>
          <ac:spMkLst>
            <pc:docMk/>
            <pc:sldMk cId="3022255394" sldId="2147480610"/>
            <ac:spMk id="79" creationId="{898264C3-53B5-4E21-7FFD-A892E2F4F690}"/>
          </ac:spMkLst>
        </pc:spChg>
        <pc:spChg chg="mod">
          <ac:chgData name="Emma Jappe Lange" userId="50167a89-1da6-43cb-b919-73793a3e7cc3" providerId="ADAL" clId="{A72C95B2-B9E6-4ABD-BBAD-56D980520408}" dt="2026-04-30T09:11:58.807" v="8919" actId="20577"/>
          <ac:spMkLst>
            <pc:docMk/>
            <pc:sldMk cId="3022255394" sldId="2147480610"/>
            <ac:spMk id="80" creationId="{7ADD6489-AF72-0CC0-6A9C-CCA342EE696B}"/>
          </ac:spMkLst>
        </pc:spChg>
        <pc:spChg chg="mod">
          <ac:chgData name="Emma Jappe Lange" userId="50167a89-1da6-43cb-b919-73793a3e7cc3" providerId="ADAL" clId="{A72C95B2-B9E6-4ABD-BBAD-56D980520408}" dt="2026-04-30T09:16:18.717" v="9019" actId="14100"/>
          <ac:spMkLst>
            <pc:docMk/>
            <pc:sldMk cId="3022255394" sldId="2147480610"/>
            <ac:spMk id="81" creationId="{8D056EEA-8F90-27B0-BF38-B04932CD2254}"/>
          </ac:spMkLst>
        </pc:spChg>
        <pc:spChg chg="mod topLvl">
          <ac:chgData name="Emma Jappe Lange" userId="50167a89-1da6-43cb-b919-73793a3e7cc3" providerId="ADAL" clId="{A72C95B2-B9E6-4ABD-BBAD-56D980520408}" dt="2026-04-30T09:16:18.717" v="9019" actId="14100"/>
          <ac:spMkLst>
            <pc:docMk/>
            <pc:sldMk cId="3022255394" sldId="2147480610"/>
            <ac:spMk id="82" creationId="{65841AE0-6E43-8A1C-07FA-22D1E02CE24B}"/>
          </ac:spMkLst>
        </pc:spChg>
        <pc:spChg chg="mod">
          <ac:chgData name="Emma Jappe Lange" userId="50167a89-1da6-43cb-b919-73793a3e7cc3" providerId="ADAL" clId="{A72C95B2-B9E6-4ABD-BBAD-56D980520408}" dt="2026-04-30T09:16:18.717" v="9019" actId="14100"/>
          <ac:spMkLst>
            <pc:docMk/>
            <pc:sldMk cId="3022255394" sldId="2147480610"/>
            <ac:spMk id="83" creationId="{FAC5F546-F029-01E7-9435-41C16D2184F2}"/>
          </ac:spMkLst>
        </pc:spChg>
        <pc:spChg chg="mod">
          <ac:chgData name="Emma Jappe Lange" userId="50167a89-1da6-43cb-b919-73793a3e7cc3" providerId="ADAL" clId="{A72C95B2-B9E6-4ABD-BBAD-56D980520408}" dt="2026-04-30T09:13:07.311" v="8945" actId="20577"/>
          <ac:spMkLst>
            <pc:docMk/>
            <pc:sldMk cId="3022255394" sldId="2147480610"/>
            <ac:spMk id="84" creationId="{CF0B90DE-5549-5572-1B94-7981323BCA3B}"/>
          </ac:spMkLst>
        </pc:spChg>
        <pc:spChg chg="mod">
          <ac:chgData name="Emma Jappe Lange" userId="50167a89-1da6-43cb-b919-73793a3e7cc3" providerId="ADAL" clId="{A72C95B2-B9E6-4ABD-BBAD-56D980520408}" dt="2026-04-30T09:14:50.702" v="8995" actId="3064"/>
          <ac:spMkLst>
            <pc:docMk/>
            <pc:sldMk cId="3022255394" sldId="2147480610"/>
            <ac:spMk id="86" creationId="{A34CA86E-4E38-7BC2-7E67-D02278F1C5FD}"/>
          </ac:spMkLst>
        </pc:spChg>
        <pc:spChg chg="mod topLvl">
          <ac:chgData name="Emma Jappe Lange" userId="50167a89-1da6-43cb-b919-73793a3e7cc3" providerId="ADAL" clId="{A72C95B2-B9E6-4ABD-BBAD-56D980520408}" dt="2026-04-30T09:15:59.227" v="9018"/>
          <ac:spMkLst>
            <pc:docMk/>
            <pc:sldMk cId="3022255394" sldId="2147480610"/>
            <ac:spMk id="87" creationId="{7708FCB5-26A9-4AE5-55E2-4614110EFF8B}"/>
          </ac:spMkLst>
        </pc:spChg>
        <pc:spChg chg="mod">
          <ac:chgData name="Emma Jappe Lange" userId="50167a89-1da6-43cb-b919-73793a3e7cc3" providerId="ADAL" clId="{A72C95B2-B9E6-4ABD-BBAD-56D980520408}" dt="2026-04-30T09:11:17.622" v="8883" actId="164"/>
          <ac:spMkLst>
            <pc:docMk/>
            <pc:sldMk cId="3022255394" sldId="2147480610"/>
            <ac:spMk id="88" creationId="{BBB7831E-7087-CEC1-8433-53F8C565DFB5}"/>
          </ac:spMkLst>
        </pc:spChg>
        <pc:spChg chg="mod">
          <ac:chgData name="Emma Jappe Lange" userId="50167a89-1da6-43cb-b919-73793a3e7cc3" providerId="ADAL" clId="{A72C95B2-B9E6-4ABD-BBAD-56D980520408}" dt="2026-04-30T09:12:04.125" v="8927" actId="20577"/>
          <ac:spMkLst>
            <pc:docMk/>
            <pc:sldMk cId="3022255394" sldId="2147480610"/>
            <ac:spMk id="89" creationId="{48B9A3A6-89C7-826E-D4DB-7D79EFD2832F}"/>
          </ac:spMkLst>
        </pc:spChg>
        <pc:spChg chg="mod">
          <ac:chgData name="Emma Jappe Lange" userId="50167a89-1da6-43cb-b919-73793a3e7cc3" providerId="ADAL" clId="{A72C95B2-B9E6-4ABD-BBAD-56D980520408}" dt="2026-05-05T06:48:19.481" v="11301" actId="20577"/>
          <ac:spMkLst>
            <pc:docMk/>
            <pc:sldMk cId="3022255394" sldId="2147480610"/>
            <ac:spMk id="93" creationId="{D26372EE-30CF-5D73-D44C-47EE8F3E1DF8}"/>
          </ac:spMkLst>
        </pc:spChg>
        <pc:grpChg chg="add mod">
          <ac:chgData name="Emma Jappe Lange" userId="50167a89-1da6-43cb-b919-73793a3e7cc3" providerId="ADAL" clId="{A72C95B2-B9E6-4ABD-BBAD-56D980520408}" dt="2026-04-30T09:10:56.044" v="8870" actId="1076"/>
          <ac:grpSpMkLst>
            <pc:docMk/>
            <pc:sldMk cId="3022255394" sldId="2147480610"/>
            <ac:grpSpMk id="14" creationId="{BC25ED04-8BF8-4195-D1EA-96AD17C632D9}"/>
          </ac:grpSpMkLst>
        </pc:grpChg>
        <pc:picChg chg="mod">
          <ac:chgData name="Emma Jappe Lange" userId="50167a89-1da6-43cb-b919-73793a3e7cc3" providerId="ADAL" clId="{A72C95B2-B9E6-4ABD-BBAD-56D980520408}" dt="2026-04-30T09:10:56.044" v="8870" actId="1076"/>
          <ac:picMkLst>
            <pc:docMk/>
            <pc:sldMk cId="3022255394" sldId="2147480610"/>
            <ac:picMk id="10" creationId="{B436C5B8-4D0C-EF9A-75EB-3F36A311EBC6}"/>
          </ac:picMkLst>
        </pc:picChg>
        <pc:picChg chg="mod">
          <ac:chgData name="Emma Jappe Lange" userId="50167a89-1da6-43cb-b919-73793a3e7cc3" providerId="ADAL" clId="{A72C95B2-B9E6-4ABD-BBAD-56D980520408}" dt="2026-04-30T09:10:56.044" v="8870" actId="1076"/>
          <ac:picMkLst>
            <pc:docMk/>
            <pc:sldMk cId="3022255394" sldId="2147480610"/>
            <ac:picMk id="12" creationId="{C216039A-F599-C4F2-887E-B56A8295BDF4}"/>
          </ac:picMkLst>
        </pc:picChg>
        <pc:extLst>
          <p:ext xmlns:p="http://schemas.openxmlformats.org/presentationml/2006/main" uri="{D6D511B9-2390-475A-947B-AFAB55BFBCF1}">
            <pc226:cmChg xmlns:pc226="http://schemas.microsoft.com/office/powerpoint/2022/06/main/command" chg="mod">
              <pc226:chgData name="Emma Jappe Lange" userId="50167a89-1da6-43cb-b919-73793a3e7cc3" providerId="ADAL" clId="{A72C95B2-B9E6-4ABD-BBAD-56D980520408}" dt="2026-05-05T06:47:56.797" v="11298" actId="20577"/>
              <pc2:cmMkLst xmlns:pc2="http://schemas.microsoft.com/office/powerpoint/2019/9/main/command">
                <pc:docMk/>
                <pc:sldMk cId="3022255394" sldId="2147480610"/>
                <pc2:cmMk id="{23D7F45C-D335-4B7C-A03D-E70DBAC98391}"/>
              </pc2:cmMkLst>
            </pc226:cmChg>
          </p:ext>
        </pc:extLst>
      </pc:sldChg>
      <pc:sldChg chg="add">
        <pc:chgData name="Emma Jappe Lange" userId="50167a89-1da6-43cb-b919-73793a3e7cc3" providerId="ADAL" clId="{A72C95B2-B9E6-4ABD-BBAD-56D980520408}" dt="2026-05-13T06:47:13.385" v="11319"/>
        <pc:sldMkLst>
          <pc:docMk/>
          <pc:sldMk cId="1967224768" sldId="2147480611"/>
        </pc:sldMkLst>
      </pc:sldChg>
      <pc:sldChg chg="addSp modSp">
        <pc:chgData name="Emma Jappe Lange" userId="50167a89-1da6-43cb-b919-73793a3e7cc3" providerId="ADAL" clId="{A72C95B2-B9E6-4ABD-BBAD-56D980520408}" dt="2026-04-29T12:05:40.294" v="4732" actId="207"/>
        <pc:sldMkLst>
          <pc:docMk/>
          <pc:sldMk cId="2271534193" sldId="2147480613"/>
        </pc:sldMkLst>
        <pc:spChg chg="mod">
          <ac:chgData name="Emma Jappe Lange" userId="50167a89-1da6-43cb-b919-73793a3e7cc3" providerId="ADAL" clId="{A72C95B2-B9E6-4ABD-BBAD-56D980520408}" dt="2026-04-29T12:05:29.275" v="4730"/>
          <ac:spMkLst>
            <pc:docMk/>
            <pc:sldMk cId="2271534193" sldId="2147480613"/>
            <ac:spMk id="27" creationId="{15070F6B-A600-C0AA-63CF-8EC6060E698B}"/>
          </ac:spMkLst>
        </pc:spChg>
        <pc:spChg chg="mod">
          <ac:chgData name="Emma Jappe Lange" userId="50167a89-1da6-43cb-b919-73793a3e7cc3" providerId="ADAL" clId="{A72C95B2-B9E6-4ABD-BBAD-56D980520408}" dt="2026-04-29T12:05:29.275" v="4729"/>
          <ac:spMkLst>
            <pc:docMk/>
            <pc:sldMk cId="2271534193" sldId="2147480613"/>
            <ac:spMk id="47" creationId="{72650A60-D32E-E85C-E1DC-DF533092C47F}"/>
          </ac:spMkLst>
        </pc:spChg>
        <pc:spChg chg="mod">
          <ac:chgData name="Emma Jappe Lange" userId="50167a89-1da6-43cb-b919-73793a3e7cc3" providerId="ADAL" clId="{A72C95B2-B9E6-4ABD-BBAD-56D980520408}" dt="2026-04-29T12:05:22.881" v="4725"/>
          <ac:spMkLst>
            <pc:docMk/>
            <pc:sldMk cId="2271534193" sldId="2147480613"/>
            <ac:spMk id="51" creationId="{6CB1BA9D-EF7A-4E1C-2F58-8603864ECF19}"/>
          </ac:spMkLst>
        </pc:spChg>
        <pc:spChg chg="mod">
          <ac:chgData name="Emma Jappe Lange" userId="50167a89-1da6-43cb-b919-73793a3e7cc3" providerId="ADAL" clId="{A72C95B2-B9E6-4ABD-BBAD-56D980520408}" dt="2026-04-29T12:05:22.881" v="4726"/>
          <ac:spMkLst>
            <pc:docMk/>
            <pc:sldMk cId="2271534193" sldId="2147480613"/>
            <ac:spMk id="53" creationId="{E60FE5DC-E927-1EF1-27EA-6E390B472047}"/>
          </ac:spMkLst>
        </pc:spChg>
        <pc:spChg chg="mod">
          <ac:chgData name="Emma Jappe Lange" userId="50167a89-1da6-43cb-b919-73793a3e7cc3" providerId="ADAL" clId="{A72C95B2-B9E6-4ABD-BBAD-56D980520408}" dt="2026-04-29T12:05:22.881" v="4726"/>
          <ac:spMkLst>
            <pc:docMk/>
            <pc:sldMk cId="2271534193" sldId="2147480613"/>
            <ac:spMk id="57" creationId="{F2A7007B-AE4F-F658-77B7-2CAAB5222E76}"/>
          </ac:spMkLst>
        </pc:spChg>
        <pc:spChg chg="mod">
          <ac:chgData name="Emma Jappe Lange" userId="50167a89-1da6-43cb-b919-73793a3e7cc3" providerId="ADAL" clId="{A72C95B2-B9E6-4ABD-BBAD-56D980520408}" dt="2026-04-29T12:05:29.275" v="4730"/>
          <ac:spMkLst>
            <pc:docMk/>
            <pc:sldMk cId="2271534193" sldId="2147480613"/>
            <ac:spMk id="58" creationId="{30996A53-EAD8-8E63-E8CA-55501FB72BAA}"/>
          </ac:spMkLst>
        </pc:spChg>
        <pc:spChg chg="mod">
          <ac:chgData name="Emma Jappe Lange" userId="50167a89-1da6-43cb-b919-73793a3e7cc3" providerId="ADAL" clId="{A72C95B2-B9E6-4ABD-BBAD-56D980520408}" dt="2026-04-29T12:05:22.881" v="4725"/>
          <ac:spMkLst>
            <pc:docMk/>
            <pc:sldMk cId="2271534193" sldId="2147480613"/>
            <ac:spMk id="2048" creationId="{72B85DD7-4397-EAD2-F3A4-E2D2CDBB319A}"/>
          </ac:spMkLst>
        </pc:spChg>
        <pc:spChg chg="mod">
          <ac:chgData name="Emma Jappe Lange" userId="50167a89-1da6-43cb-b919-73793a3e7cc3" providerId="ADAL" clId="{A72C95B2-B9E6-4ABD-BBAD-56D980520408}" dt="2026-04-29T12:05:29.275" v="4729"/>
          <ac:spMkLst>
            <pc:docMk/>
            <pc:sldMk cId="2271534193" sldId="2147480613"/>
            <ac:spMk id="2049" creationId="{0BF1F9E8-48C7-3152-1C6A-97568A693BF9}"/>
          </ac:spMkLst>
        </pc:spChg>
        <pc:grpChg chg="add mod">
          <ac:chgData name="Emma Jappe Lange" userId="50167a89-1da6-43cb-b919-73793a3e7cc3" providerId="ADAL" clId="{A72C95B2-B9E6-4ABD-BBAD-56D980520408}" dt="2026-04-29T12:05:36.803" v="4731" actId="207"/>
          <ac:grpSpMkLst>
            <pc:docMk/>
            <pc:sldMk cId="2271534193" sldId="2147480613"/>
            <ac:grpSpMk id="10" creationId="{51A99478-9CA4-E7FD-EE5F-84500FC346BD}"/>
          </ac:grpSpMkLst>
        </pc:grpChg>
        <pc:grpChg chg="mod">
          <ac:chgData name="Emma Jappe Lange" userId="50167a89-1da6-43cb-b919-73793a3e7cc3" providerId="ADAL" clId="{A72C95B2-B9E6-4ABD-BBAD-56D980520408}" dt="2026-04-29T12:05:36.803" v="4731" actId="207"/>
          <ac:grpSpMkLst>
            <pc:docMk/>
            <pc:sldMk cId="2271534193" sldId="2147480613"/>
            <ac:grpSpMk id="16" creationId="{8FB67B9F-2327-A673-69DE-C9455DD30662}"/>
          </ac:grpSpMkLst>
        </pc:grpChg>
        <pc:grpChg chg="mod">
          <ac:chgData name="Emma Jappe Lange" userId="50167a89-1da6-43cb-b919-73793a3e7cc3" providerId="ADAL" clId="{A72C95B2-B9E6-4ABD-BBAD-56D980520408}" dt="2026-04-29T12:05:22.881" v="4725"/>
          <ac:grpSpMkLst>
            <pc:docMk/>
            <pc:sldMk cId="2271534193" sldId="2147480613"/>
            <ac:grpSpMk id="17" creationId="{F478C327-0E32-A96C-3550-86B4D5632A5C}"/>
          </ac:grpSpMkLst>
        </pc:grpChg>
        <pc:grpChg chg="mod">
          <ac:chgData name="Emma Jappe Lange" userId="50167a89-1da6-43cb-b919-73793a3e7cc3" providerId="ADAL" clId="{A72C95B2-B9E6-4ABD-BBAD-56D980520408}" dt="2026-04-29T12:05:40.294" v="4732" actId="207"/>
          <ac:grpSpMkLst>
            <pc:docMk/>
            <pc:sldMk cId="2271534193" sldId="2147480613"/>
            <ac:grpSpMk id="20" creationId="{47FAAC8D-665C-C8BB-FE1A-6748CAC00245}"/>
          </ac:grpSpMkLst>
        </pc:grpChg>
        <pc:grpChg chg="mod">
          <ac:chgData name="Emma Jappe Lange" userId="50167a89-1da6-43cb-b919-73793a3e7cc3" providerId="ADAL" clId="{A72C95B2-B9E6-4ABD-BBAD-56D980520408}" dt="2026-04-29T12:05:40.294" v="4732" actId="207"/>
          <ac:grpSpMkLst>
            <pc:docMk/>
            <pc:sldMk cId="2271534193" sldId="2147480613"/>
            <ac:grpSpMk id="21" creationId="{E9E17806-CD13-61EE-631A-EB273A0DDB96}"/>
          </ac:grpSpMkLst>
        </pc:grpChg>
        <pc:picChg chg="mod">
          <ac:chgData name="Emma Jappe Lange" userId="50167a89-1da6-43cb-b919-73793a3e7cc3" providerId="ADAL" clId="{A72C95B2-B9E6-4ABD-BBAD-56D980520408}" dt="2026-04-29T12:05:22.881" v="4726"/>
          <ac:picMkLst>
            <pc:docMk/>
            <pc:sldMk cId="2271534193" sldId="2147480613"/>
            <ac:picMk id="2063" creationId="{D3F2A4D1-73A7-2605-B931-E3FE32354074}"/>
          </ac:picMkLst>
        </pc:picChg>
        <pc:picChg chg="mod">
          <ac:chgData name="Emma Jappe Lange" userId="50167a89-1da6-43cb-b919-73793a3e7cc3" providerId="ADAL" clId="{A72C95B2-B9E6-4ABD-BBAD-56D980520408}" dt="2026-04-29T12:05:29.275" v="4729"/>
          <ac:picMkLst>
            <pc:docMk/>
            <pc:sldMk cId="2271534193" sldId="2147480613"/>
            <ac:picMk id="2066" creationId="{03F64B2F-2495-1E63-14F5-6E205EEE7A17}"/>
          </ac:picMkLst>
        </pc:picChg>
        <pc:picChg chg="mod">
          <ac:chgData name="Emma Jappe Lange" userId="50167a89-1da6-43cb-b919-73793a3e7cc3" providerId="ADAL" clId="{A72C95B2-B9E6-4ABD-BBAD-56D980520408}" dt="2026-04-29T12:05:22.881" v="4725"/>
          <ac:picMkLst>
            <pc:docMk/>
            <pc:sldMk cId="2271534193" sldId="2147480613"/>
            <ac:picMk id="2071" creationId="{66A54ADE-F178-B211-AB3F-53882E2824EE}"/>
          </ac:picMkLst>
        </pc:picChg>
        <pc:picChg chg="mod">
          <ac:chgData name="Emma Jappe Lange" userId="50167a89-1da6-43cb-b919-73793a3e7cc3" providerId="ADAL" clId="{A72C95B2-B9E6-4ABD-BBAD-56D980520408}" dt="2026-04-29T12:05:29.275" v="4730"/>
          <ac:picMkLst>
            <pc:docMk/>
            <pc:sldMk cId="2271534193" sldId="2147480613"/>
            <ac:picMk id="2073" creationId="{B63064F1-BE44-7771-F53E-7313A8537E8C}"/>
          </ac:picMkLst>
        </pc:picChg>
        <pc:cxnChg chg="mod">
          <ac:chgData name="Emma Jappe Lange" userId="50167a89-1da6-43cb-b919-73793a3e7cc3" providerId="ADAL" clId="{A72C95B2-B9E6-4ABD-BBAD-56D980520408}" dt="2026-04-29T12:05:22.881" v="4726"/>
          <ac:cxnSpMkLst>
            <pc:docMk/>
            <pc:sldMk cId="2271534193" sldId="2147480613"/>
            <ac:cxnSpMk id="2" creationId="{5323143B-4CEA-424A-3391-F90E4459EBEF}"/>
          </ac:cxnSpMkLst>
        </pc:cxnChg>
        <pc:cxnChg chg="mod">
          <ac:chgData name="Emma Jappe Lange" userId="50167a89-1da6-43cb-b919-73793a3e7cc3" providerId="ADAL" clId="{A72C95B2-B9E6-4ABD-BBAD-56D980520408}" dt="2026-04-29T12:05:29.275" v="4730"/>
          <ac:cxnSpMkLst>
            <pc:docMk/>
            <pc:sldMk cId="2271534193" sldId="2147480613"/>
            <ac:cxnSpMk id="3" creationId="{C2EDECA8-3E89-A643-10CA-857A45FDE699}"/>
          </ac:cxnSpMkLst>
        </pc:cxnChg>
        <pc:cxnChg chg="mod">
          <ac:chgData name="Emma Jappe Lange" userId="50167a89-1da6-43cb-b919-73793a3e7cc3" providerId="ADAL" clId="{A72C95B2-B9E6-4ABD-BBAD-56D980520408}" dt="2026-04-29T12:05:22.881" v="4725"/>
          <ac:cxnSpMkLst>
            <pc:docMk/>
            <pc:sldMk cId="2271534193" sldId="2147480613"/>
            <ac:cxnSpMk id="5" creationId="{D69F6317-A7B3-E379-9437-8EF1C2AC215D}"/>
          </ac:cxnSpMkLst>
        </pc:cxnChg>
        <pc:cxnChg chg="mod">
          <ac:chgData name="Emma Jappe Lange" userId="50167a89-1da6-43cb-b919-73793a3e7cc3" providerId="ADAL" clId="{A72C95B2-B9E6-4ABD-BBAD-56D980520408}" dt="2026-04-29T12:05:29.275" v="4729"/>
          <ac:cxnSpMkLst>
            <pc:docMk/>
            <pc:sldMk cId="2271534193" sldId="2147480613"/>
            <ac:cxnSpMk id="6" creationId="{74ACB2C5-2156-801C-07A4-65C6B15A0C4E}"/>
          </ac:cxnSpMkLst>
        </pc:cxnChg>
      </pc:sldChg>
      <pc:sldChg chg="addSp delSp modSp mod">
        <pc:chgData name="Emma Jappe Lange" userId="50167a89-1da6-43cb-b919-73793a3e7cc3" providerId="ADAL" clId="{A72C95B2-B9E6-4ABD-BBAD-56D980520408}" dt="2026-04-30T09:02:54.120" v="8772"/>
        <pc:sldMkLst>
          <pc:docMk/>
          <pc:sldMk cId="892198963" sldId="2147480623"/>
        </pc:sldMkLst>
        <pc:spChg chg="add mod">
          <ac:chgData name="Emma Jappe Lange" userId="50167a89-1da6-43cb-b919-73793a3e7cc3" providerId="ADAL" clId="{A72C95B2-B9E6-4ABD-BBAD-56D980520408}" dt="2026-04-30T09:02:54.120" v="8772"/>
          <ac:spMkLst>
            <pc:docMk/>
            <pc:sldMk cId="892198963" sldId="2147480623"/>
            <ac:spMk id="3" creationId="{53308BFC-1920-83FE-8DC7-ACFD454C119E}"/>
          </ac:spMkLst>
        </pc:spChg>
        <pc:spChg chg="mod">
          <ac:chgData name="Emma Jappe Lange" userId="50167a89-1da6-43cb-b919-73793a3e7cc3" providerId="ADAL" clId="{A72C95B2-B9E6-4ABD-BBAD-56D980520408}" dt="2026-04-27T06:28:00.582" v="2193" actId="404"/>
          <ac:spMkLst>
            <pc:docMk/>
            <pc:sldMk cId="892198963" sldId="2147480623"/>
            <ac:spMk id="85" creationId="{099475D6-09F4-4DC0-D134-7CE8C89F2546}"/>
          </ac:spMkLst>
        </pc:spChg>
        <pc:spChg chg="mod">
          <ac:chgData name="Emma Jappe Lange" userId="50167a89-1da6-43cb-b919-73793a3e7cc3" providerId="ADAL" clId="{A72C95B2-B9E6-4ABD-BBAD-56D980520408}" dt="2026-04-24T07:12:23.801" v="834"/>
          <ac:spMkLst>
            <pc:docMk/>
            <pc:sldMk cId="892198963" sldId="2147480623"/>
            <ac:spMk id="95" creationId="{CBCF08E1-A907-942D-F075-40841F0912A8}"/>
          </ac:spMkLst>
        </pc:spChg>
        <pc:spChg chg="mod">
          <ac:chgData name="Emma Jappe Lange" userId="50167a89-1da6-43cb-b919-73793a3e7cc3" providerId="ADAL" clId="{A72C95B2-B9E6-4ABD-BBAD-56D980520408}" dt="2026-04-24T07:12:23.801" v="834"/>
          <ac:spMkLst>
            <pc:docMk/>
            <pc:sldMk cId="892198963" sldId="2147480623"/>
            <ac:spMk id="106" creationId="{1C17FAE0-8527-3F3D-546F-3B200FBF87D8}"/>
          </ac:spMkLst>
        </pc:spChg>
        <pc:spChg chg="mod">
          <ac:chgData name="Emma Jappe Lange" userId="50167a89-1da6-43cb-b919-73793a3e7cc3" providerId="ADAL" clId="{A72C95B2-B9E6-4ABD-BBAD-56D980520408}" dt="2026-04-24T07:12:23.801" v="834"/>
          <ac:spMkLst>
            <pc:docMk/>
            <pc:sldMk cId="892198963" sldId="2147480623"/>
            <ac:spMk id="107" creationId="{2B3EE40D-2F4C-FDC7-4A9C-112550FD2BB1}"/>
          </ac:spMkLst>
        </pc:spChg>
        <pc:spChg chg="mod">
          <ac:chgData name="Emma Jappe Lange" userId="50167a89-1da6-43cb-b919-73793a3e7cc3" providerId="ADAL" clId="{A72C95B2-B9E6-4ABD-BBAD-56D980520408}" dt="2026-04-24T07:12:23.801" v="834"/>
          <ac:spMkLst>
            <pc:docMk/>
            <pc:sldMk cId="892198963" sldId="2147480623"/>
            <ac:spMk id="118" creationId="{BC59D42C-F72C-CB2B-43D4-3686DE89B14B}"/>
          </ac:spMkLst>
        </pc:spChg>
        <pc:spChg chg="mod">
          <ac:chgData name="Emma Jappe Lange" userId="50167a89-1da6-43cb-b919-73793a3e7cc3" providerId="ADAL" clId="{A72C95B2-B9E6-4ABD-BBAD-56D980520408}" dt="2026-04-27T06:27:15.702" v="2163" actId="1035"/>
          <ac:spMkLst>
            <pc:docMk/>
            <pc:sldMk cId="892198963" sldId="2147480623"/>
            <ac:spMk id="122" creationId="{EFC4B4B5-92AD-9421-948A-4BFF013685F2}"/>
          </ac:spMkLst>
        </pc:spChg>
        <pc:spChg chg="mod">
          <ac:chgData name="Emma Jappe Lange" userId="50167a89-1da6-43cb-b919-73793a3e7cc3" providerId="ADAL" clId="{A72C95B2-B9E6-4ABD-BBAD-56D980520408}" dt="2026-04-24T07:12:23.801" v="834"/>
          <ac:spMkLst>
            <pc:docMk/>
            <pc:sldMk cId="892198963" sldId="2147480623"/>
            <ac:spMk id="141" creationId="{A4F66200-8E98-1D83-2B0A-3C374A67639C}"/>
          </ac:spMkLst>
        </pc:spChg>
        <pc:spChg chg="mod">
          <ac:chgData name="Emma Jappe Lange" userId="50167a89-1da6-43cb-b919-73793a3e7cc3" providerId="ADAL" clId="{A72C95B2-B9E6-4ABD-BBAD-56D980520408}" dt="2026-04-24T07:12:23.801" v="834"/>
          <ac:spMkLst>
            <pc:docMk/>
            <pc:sldMk cId="892198963" sldId="2147480623"/>
            <ac:spMk id="142" creationId="{7656EE24-470A-AF43-0AF2-696561330FD6}"/>
          </ac:spMkLst>
        </pc:spChg>
        <pc:spChg chg="mod">
          <ac:chgData name="Emma Jappe Lange" userId="50167a89-1da6-43cb-b919-73793a3e7cc3" providerId="ADAL" clId="{A72C95B2-B9E6-4ABD-BBAD-56D980520408}" dt="2026-04-24T07:12:23.801" v="834"/>
          <ac:spMkLst>
            <pc:docMk/>
            <pc:sldMk cId="892198963" sldId="2147480623"/>
            <ac:spMk id="151" creationId="{1D8856FF-1BAE-050C-C923-7F2883DF4D7C}"/>
          </ac:spMkLst>
        </pc:spChg>
        <pc:spChg chg="mod">
          <ac:chgData name="Emma Jappe Lange" userId="50167a89-1da6-43cb-b919-73793a3e7cc3" providerId="ADAL" clId="{A72C95B2-B9E6-4ABD-BBAD-56D980520408}" dt="2026-04-24T07:12:23.801" v="834"/>
          <ac:spMkLst>
            <pc:docMk/>
            <pc:sldMk cId="892198963" sldId="2147480623"/>
            <ac:spMk id="155" creationId="{5F3500BD-6095-F3DE-B8B5-58A03C72E741}"/>
          </ac:spMkLst>
        </pc:spChg>
        <pc:spChg chg="mod">
          <ac:chgData name="Emma Jappe Lange" userId="50167a89-1da6-43cb-b919-73793a3e7cc3" providerId="ADAL" clId="{A72C95B2-B9E6-4ABD-BBAD-56D980520408}" dt="2026-04-24T07:12:23.801" v="834"/>
          <ac:spMkLst>
            <pc:docMk/>
            <pc:sldMk cId="892198963" sldId="2147480623"/>
            <ac:spMk id="172" creationId="{EDCE8E45-FAB3-29AA-F197-899F49A9CB02}"/>
          </ac:spMkLst>
        </pc:spChg>
        <pc:spChg chg="mod">
          <ac:chgData name="Emma Jappe Lange" userId="50167a89-1da6-43cb-b919-73793a3e7cc3" providerId="ADAL" clId="{A72C95B2-B9E6-4ABD-BBAD-56D980520408}" dt="2026-04-27T08:37:53.486" v="2725" actId="1036"/>
          <ac:spMkLst>
            <pc:docMk/>
            <pc:sldMk cId="892198963" sldId="2147480623"/>
            <ac:spMk id="173" creationId="{7A8A4EC7-D3EE-3675-4115-184BBE09DAD2}"/>
          </ac:spMkLst>
        </pc:spChg>
        <pc:spChg chg="mod">
          <ac:chgData name="Emma Jappe Lange" userId="50167a89-1da6-43cb-b919-73793a3e7cc3" providerId="ADAL" clId="{A72C95B2-B9E6-4ABD-BBAD-56D980520408}" dt="2026-04-27T08:37:53.486" v="2725" actId="1036"/>
          <ac:spMkLst>
            <pc:docMk/>
            <pc:sldMk cId="892198963" sldId="2147480623"/>
            <ac:spMk id="174" creationId="{D8381A2C-005A-1A24-C01C-C907474C9078}"/>
          </ac:spMkLst>
        </pc:spChg>
        <pc:spChg chg="mod">
          <ac:chgData name="Emma Jappe Lange" userId="50167a89-1da6-43cb-b919-73793a3e7cc3" providerId="ADAL" clId="{A72C95B2-B9E6-4ABD-BBAD-56D980520408}" dt="2026-04-27T08:37:48.275" v="2721" actId="1036"/>
          <ac:spMkLst>
            <pc:docMk/>
            <pc:sldMk cId="892198963" sldId="2147480623"/>
            <ac:spMk id="175" creationId="{435A096A-0328-4206-82D9-B37EDD8C321F}"/>
          </ac:spMkLst>
        </pc:spChg>
        <pc:spChg chg="mod">
          <ac:chgData name="Emma Jappe Lange" userId="50167a89-1da6-43cb-b919-73793a3e7cc3" providerId="ADAL" clId="{A72C95B2-B9E6-4ABD-BBAD-56D980520408}" dt="2026-04-27T08:37:34.895" v="2689"/>
          <ac:spMkLst>
            <pc:docMk/>
            <pc:sldMk cId="892198963" sldId="2147480623"/>
            <ac:spMk id="176" creationId="{E8A77957-DB4F-F3A7-311B-BA724FD2874E}"/>
          </ac:spMkLst>
        </pc:spChg>
        <pc:spChg chg="mod">
          <ac:chgData name="Emma Jappe Lange" userId="50167a89-1da6-43cb-b919-73793a3e7cc3" providerId="ADAL" clId="{A72C95B2-B9E6-4ABD-BBAD-56D980520408}" dt="2026-04-24T07:12:23.801" v="834"/>
          <ac:spMkLst>
            <pc:docMk/>
            <pc:sldMk cId="892198963" sldId="2147480623"/>
            <ac:spMk id="179" creationId="{D75A37D4-6A79-0101-DA49-08038BFA272E}"/>
          </ac:spMkLst>
        </pc:spChg>
        <pc:spChg chg="mod">
          <ac:chgData name="Emma Jappe Lange" userId="50167a89-1da6-43cb-b919-73793a3e7cc3" providerId="ADAL" clId="{A72C95B2-B9E6-4ABD-BBAD-56D980520408}" dt="2026-04-27T08:37:53.486" v="2725" actId="1036"/>
          <ac:spMkLst>
            <pc:docMk/>
            <pc:sldMk cId="892198963" sldId="2147480623"/>
            <ac:spMk id="183" creationId="{1C390D37-8D65-E520-89CA-610D693DB045}"/>
          </ac:spMkLst>
        </pc:spChg>
        <pc:spChg chg="mod">
          <ac:chgData name="Emma Jappe Lange" userId="50167a89-1da6-43cb-b919-73793a3e7cc3" providerId="ADAL" clId="{A72C95B2-B9E6-4ABD-BBAD-56D980520408}" dt="2026-04-27T08:37:41.974" v="2698" actId="1038"/>
          <ac:spMkLst>
            <pc:docMk/>
            <pc:sldMk cId="892198963" sldId="2147480623"/>
            <ac:spMk id="184" creationId="{C93240D8-F067-0A74-CB3B-1D4A91CBC2EF}"/>
          </ac:spMkLst>
        </pc:spChg>
        <pc:spChg chg="mod">
          <ac:chgData name="Emma Jappe Lange" userId="50167a89-1da6-43cb-b919-73793a3e7cc3" providerId="ADAL" clId="{A72C95B2-B9E6-4ABD-BBAD-56D980520408}" dt="2026-04-27T08:37:20.536" v="2683"/>
          <ac:spMkLst>
            <pc:docMk/>
            <pc:sldMk cId="892198963" sldId="2147480623"/>
            <ac:spMk id="186" creationId="{A3871B91-961D-01E6-E516-77ECC126E7B5}"/>
          </ac:spMkLst>
        </pc:spChg>
        <pc:spChg chg="mod">
          <ac:chgData name="Emma Jappe Lange" userId="50167a89-1da6-43cb-b919-73793a3e7cc3" providerId="ADAL" clId="{A72C95B2-B9E6-4ABD-BBAD-56D980520408}" dt="2026-04-27T08:37:20.505" v="2666"/>
          <ac:spMkLst>
            <pc:docMk/>
            <pc:sldMk cId="892198963" sldId="2147480623"/>
            <ac:spMk id="190" creationId="{1063C6DE-66C0-4878-0F04-5942A6FC6CD9}"/>
          </ac:spMkLst>
        </pc:spChg>
        <pc:spChg chg="mod">
          <ac:chgData name="Emma Jappe Lange" userId="50167a89-1da6-43cb-b919-73793a3e7cc3" providerId="ADAL" clId="{A72C95B2-B9E6-4ABD-BBAD-56D980520408}" dt="2026-04-27T08:37:20.505" v="2666"/>
          <ac:spMkLst>
            <pc:docMk/>
            <pc:sldMk cId="892198963" sldId="2147480623"/>
            <ac:spMk id="191" creationId="{6644A370-431C-6F73-082A-68F4E4B54138}"/>
          </ac:spMkLst>
        </pc:spChg>
        <pc:spChg chg="mod">
          <ac:chgData name="Emma Jappe Lange" userId="50167a89-1da6-43cb-b919-73793a3e7cc3" providerId="ADAL" clId="{A72C95B2-B9E6-4ABD-BBAD-56D980520408}" dt="2026-04-27T08:37:20.505" v="2666"/>
          <ac:spMkLst>
            <pc:docMk/>
            <pc:sldMk cId="892198963" sldId="2147480623"/>
            <ac:spMk id="192" creationId="{3C6FD3B6-4179-044B-D35E-B6416E34DAA3}"/>
          </ac:spMkLst>
        </pc:spChg>
        <pc:spChg chg="mod">
          <ac:chgData name="Emma Jappe Lange" userId="50167a89-1da6-43cb-b919-73793a3e7cc3" providerId="ADAL" clId="{A72C95B2-B9E6-4ABD-BBAD-56D980520408}" dt="2026-04-27T08:37:20.521" v="2677"/>
          <ac:spMkLst>
            <pc:docMk/>
            <pc:sldMk cId="892198963" sldId="2147480623"/>
            <ac:spMk id="197" creationId="{98E8F7E6-4B77-3AA7-0917-E4B2315072FE}"/>
          </ac:spMkLst>
        </pc:spChg>
        <pc:spChg chg="mod">
          <ac:chgData name="Emma Jappe Lange" userId="50167a89-1da6-43cb-b919-73793a3e7cc3" providerId="ADAL" clId="{A72C95B2-B9E6-4ABD-BBAD-56D980520408}" dt="2026-04-27T08:37:20.521" v="2677"/>
          <ac:spMkLst>
            <pc:docMk/>
            <pc:sldMk cId="892198963" sldId="2147480623"/>
            <ac:spMk id="198" creationId="{7CCD4295-86A5-FF6B-8EAD-53B84BB5F8C6}"/>
          </ac:spMkLst>
        </pc:spChg>
        <pc:spChg chg="mod">
          <ac:chgData name="Emma Jappe Lange" userId="50167a89-1da6-43cb-b919-73793a3e7cc3" providerId="ADAL" clId="{A72C95B2-B9E6-4ABD-BBAD-56D980520408}" dt="2026-04-27T08:37:20.505" v="2667"/>
          <ac:spMkLst>
            <pc:docMk/>
            <pc:sldMk cId="892198963" sldId="2147480623"/>
            <ac:spMk id="206" creationId="{C53EDCD7-D20C-258B-8783-D899C21AC4EF}"/>
          </ac:spMkLst>
        </pc:spChg>
        <pc:spChg chg="mod">
          <ac:chgData name="Emma Jappe Lange" userId="50167a89-1da6-43cb-b919-73793a3e7cc3" providerId="ADAL" clId="{A72C95B2-B9E6-4ABD-BBAD-56D980520408}" dt="2026-04-27T08:37:20.521" v="2670"/>
          <ac:spMkLst>
            <pc:docMk/>
            <pc:sldMk cId="892198963" sldId="2147480623"/>
            <ac:spMk id="212" creationId="{EFE9DA87-6EF4-BDC9-0002-18BBF8DE5AC3}"/>
          </ac:spMkLst>
        </pc:spChg>
        <pc:spChg chg="mod">
          <ac:chgData name="Emma Jappe Lange" userId="50167a89-1da6-43cb-b919-73793a3e7cc3" providerId="ADAL" clId="{A72C95B2-B9E6-4ABD-BBAD-56D980520408}" dt="2026-04-27T08:37:20.521" v="2673"/>
          <ac:spMkLst>
            <pc:docMk/>
            <pc:sldMk cId="892198963" sldId="2147480623"/>
            <ac:spMk id="218" creationId="{294B216A-0303-0A82-D8C9-230047114CA9}"/>
          </ac:spMkLst>
        </pc:spChg>
        <pc:spChg chg="mod">
          <ac:chgData name="Emma Jappe Lange" userId="50167a89-1da6-43cb-b919-73793a3e7cc3" providerId="ADAL" clId="{A72C95B2-B9E6-4ABD-BBAD-56D980520408}" dt="2026-04-27T08:37:20.536" v="2681"/>
          <ac:spMkLst>
            <pc:docMk/>
            <pc:sldMk cId="892198963" sldId="2147480623"/>
            <ac:spMk id="225" creationId="{DE792B4A-A6E4-C735-B34F-E95EEF1F020B}"/>
          </ac:spMkLst>
        </pc:spChg>
        <pc:grpChg chg="mod">
          <ac:chgData name="Emma Jappe Lange" userId="50167a89-1da6-43cb-b919-73793a3e7cc3" providerId="ADAL" clId="{A72C95B2-B9E6-4ABD-BBAD-56D980520408}" dt="2026-04-27T08:37:20.505" v="2666"/>
          <ac:grpSpMkLst>
            <pc:docMk/>
            <pc:sldMk cId="892198963" sldId="2147480623"/>
            <ac:grpSpMk id="189" creationId="{B89E8363-49AE-C2AB-F016-490332F6174C}"/>
          </ac:grpSpMkLst>
        </pc:grpChg>
        <pc:grpChg chg="mod">
          <ac:chgData name="Emma Jappe Lange" userId="50167a89-1da6-43cb-b919-73793a3e7cc3" providerId="ADAL" clId="{A72C95B2-B9E6-4ABD-BBAD-56D980520408}" dt="2026-04-27T08:37:20.521" v="2677"/>
          <ac:grpSpMkLst>
            <pc:docMk/>
            <pc:sldMk cId="892198963" sldId="2147480623"/>
            <ac:grpSpMk id="196" creationId="{0A457EA8-CBB2-0B46-065F-77B28E9E80B6}"/>
          </ac:grpSpMkLst>
        </pc:grpChg>
        <pc:picChg chg="mod">
          <ac:chgData name="Emma Jappe Lange" userId="50167a89-1da6-43cb-b919-73793a3e7cc3" providerId="ADAL" clId="{A72C95B2-B9E6-4ABD-BBAD-56D980520408}" dt="2026-04-27T08:37:20.521" v="2679"/>
          <ac:picMkLst>
            <pc:docMk/>
            <pc:sldMk cId="892198963" sldId="2147480623"/>
            <ac:picMk id="137" creationId="{AF343862-B75A-D9C7-567C-4792A5D6F4C3}"/>
          </ac:picMkLst>
        </pc:picChg>
        <pc:picChg chg="mod">
          <ac:chgData name="Emma Jappe Lange" userId="50167a89-1da6-43cb-b919-73793a3e7cc3" providerId="ADAL" clId="{A72C95B2-B9E6-4ABD-BBAD-56D980520408}" dt="2026-04-27T08:37:20.505" v="2664"/>
          <ac:picMkLst>
            <pc:docMk/>
            <pc:sldMk cId="892198963" sldId="2147480623"/>
            <ac:picMk id="188" creationId="{FC128384-E6B3-6ABD-BC16-F8DA1D6CD12F}"/>
          </ac:picMkLst>
        </pc:picChg>
        <pc:picChg chg="mod">
          <ac:chgData name="Emma Jappe Lange" userId="50167a89-1da6-43cb-b919-73793a3e7cc3" providerId="ADAL" clId="{A72C95B2-B9E6-4ABD-BBAD-56D980520408}" dt="2026-04-27T08:37:20.505" v="2669"/>
          <ac:picMkLst>
            <pc:docMk/>
            <pc:sldMk cId="892198963" sldId="2147480623"/>
            <ac:picMk id="207" creationId="{D2DD1534-4BE7-1362-D592-D7824D5A7FBC}"/>
          </ac:picMkLst>
        </pc:picChg>
        <pc:picChg chg="mod">
          <ac:chgData name="Emma Jappe Lange" userId="50167a89-1da6-43cb-b919-73793a3e7cc3" providerId="ADAL" clId="{A72C95B2-B9E6-4ABD-BBAD-56D980520408}" dt="2026-04-27T08:37:20.521" v="2672"/>
          <ac:picMkLst>
            <pc:docMk/>
            <pc:sldMk cId="892198963" sldId="2147480623"/>
            <ac:picMk id="213" creationId="{0E1D5B55-7AA4-94D6-4BB7-790C8D7FBAA8}"/>
          </ac:picMkLst>
        </pc:picChg>
        <pc:picChg chg="mod">
          <ac:chgData name="Emma Jappe Lange" userId="50167a89-1da6-43cb-b919-73793a3e7cc3" providerId="ADAL" clId="{A72C95B2-B9E6-4ABD-BBAD-56D980520408}" dt="2026-04-27T08:37:20.521" v="2675"/>
          <ac:picMkLst>
            <pc:docMk/>
            <pc:sldMk cId="892198963" sldId="2147480623"/>
            <ac:picMk id="219" creationId="{34EF2733-F972-81F4-641B-C46B27B301C0}"/>
          </ac:picMkLst>
        </pc:picChg>
      </pc:sldChg>
      <pc:sldChg chg="addSp delSp modSp mod">
        <pc:chgData name="Emma Jappe Lange" userId="50167a89-1da6-43cb-b919-73793a3e7cc3" providerId="ADAL" clId="{A72C95B2-B9E6-4ABD-BBAD-56D980520408}" dt="2026-05-01T08:58:08.039" v="10555" actId="1037"/>
        <pc:sldMkLst>
          <pc:docMk/>
          <pc:sldMk cId="1420261725" sldId="2147480624"/>
        </pc:sldMkLst>
        <pc:spChg chg="mod">
          <ac:chgData name="Emma Jappe Lange" userId="50167a89-1da6-43cb-b919-73793a3e7cc3" providerId="ADAL" clId="{A72C95B2-B9E6-4ABD-BBAD-56D980520408}" dt="2026-05-01T08:55:21.036" v="10416" actId="20577"/>
          <ac:spMkLst>
            <pc:docMk/>
            <pc:sldMk cId="1420261725" sldId="2147480624"/>
            <ac:spMk id="2" creationId="{AB7F6E22-3C40-42BA-1B8F-5B2CC7C51501}"/>
          </ac:spMkLst>
        </pc:spChg>
        <pc:spChg chg="mod">
          <ac:chgData name="Emma Jappe Lange" userId="50167a89-1da6-43cb-b919-73793a3e7cc3" providerId="ADAL" clId="{A72C95B2-B9E6-4ABD-BBAD-56D980520408}" dt="2026-05-01T08:58:08.039" v="10555" actId="1037"/>
          <ac:spMkLst>
            <pc:docMk/>
            <pc:sldMk cId="1420261725" sldId="2147480624"/>
            <ac:spMk id="4" creationId="{E66CC381-3CA5-4AAC-6C17-FB87559E6E38}"/>
          </ac:spMkLst>
        </pc:spChg>
        <pc:spChg chg="add mod">
          <ac:chgData name="Emma Jappe Lange" userId="50167a89-1da6-43cb-b919-73793a3e7cc3" providerId="ADAL" clId="{A72C95B2-B9E6-4ABD-BBAD-56D980520408}" dt="2026-04-30T09:04:42.626" v="8786"/>
          <ac:spMkLst>
            <pc:docMk/>
            <pc:sldMk cId="1420261725" sldId="2147480624"/>
            <ac:spMk id="5" creationId="{9EDE5EB4-C87F-A6CD-3AC1-58192CBEC3A0}"/>
          </ac:spMkLst>
        </pc:spChg>
        <pc:spChg chg="mod">
          <ac:chgData name="Emma Jappe Lange" userId="50167a89-1da6-43cb-b919-73793a3e7cc3" providerId="ADAL" clId="{A72C95B2-B9E6-4ABD-BBAD-56D980520408}" dt="2026-05-01T08:58:08.039" v="10555" actId="1037"/>
          <ac:spMkLst>
            <pc:docMk/>
            <pc:sldMk cId="1420261725" sldId="2147480624"/>
            <ac:spMk id="14" creationId="{04E4AA90-6C46-B71D-AE1B-8BBBEBA87C99}"/>
          </ac:spMkLst>
        </pc:spChg>
        <pc:spChg chg="mod">
          <ac:chgData name="Emma Jappe Lange" userId="50167a89-1da6-43cb-b919-73793a3e7cc3" providerId="ADAL" clId="{A72C95B2-B9E6-4ABD-BBAD-56D980520408}" dt="2026-05-01T08:58:08.039" v="10555" actId="1037"/>
          <ac:spMkLst>
            <pc:docMk/>
            <pc:sldMk cId="1420261725" sldId="2147480624"/>
            <ac:spMk id="19" creationId="{8A4BDECE-27CF-3292-62A8-8F7F1CE278FF}"/>
          </ac:spMkLst>
        </pc:spChg>
        <pc:spChg chg="mod">
          <ac:chgData name="Emma Jappe Lange" userId="50167a89-1da6-43cb-b919-73793a3e7cc3" providerId="ADAL" clId="{A72C95B2-B9E6-4ABD-BBAD-56D980520408}" dt="2026-05-01T08:58:08.039" v="10555" actId="1037"/>
          <ac:spMkLst>
            <pc:docMk/>
            <pc:sldMk cId="1420261725" sldId="2147480624"/>
            <ac:spMk id="22" creationId="{611CE0C5-DB1C-F5CE-1911-AA1407140AFB}"/>
          </ac:spMkLst>
        </pc:spChg>
        <pc:spChg chg="mod">
          <ac:chgData name="Emma Jappe Lange" userId="50167a89-1da6-43cb-b919-73793a3e7cc3" providerId="ADAL" clId="{A72C95B2-B9E6-4ABD-BBAD-56D980520408}" dt="2026-05-01T08:57:30.063" v="10499" actId="20577"/>
          <ac:spMkLst>
            <pc:docMk/>
            <pc:sldMk cId="1420261725" sldId="2147480624"/>
            <ac:spMk id="24" creationId="{DFF27DD4-6115-7C80-EBF2-D0183B7BA7B8}"/>
          </ac:spMkLst>
        </pc:spChg>
        <pc:spChg chg="mod">
          <ac:chgData name="Emma Jappe Lange" userId="50167a89-1da6-43cb-b919-73793a3e7cc3" providerId="ADAL" clId="{A72C95B2-B9E6-4ABD-BBAD-56D980520408}" dt="2026-05-01T08:58:08.039" v="10555" actId="1037"/>
          <ac:spMkLst>
            <pc:docMk/>
            <pc:sldMk cId="1420261725" sldId="2147480624"/>
            <ac:spMk id="94" creationId="{FB63AD6D-D497-97B2-1F13-E1870066A145}"/>
          </ac:spMkLst>
        </pc:spChg>
      </pc:sldChg>
      <pc:sldChg chg="delSp modSp mod">
        <pc:chgData name="Emma Jappe Lange" userId="50167a89-1da6-43cb-b919-73793a3e7cc3" providerId="ADAL" clId="{A72C95B2-B9E6-4ABD-BBAD-56D980520408}" dt="2026-05-01T09:01:28.858" v="10633"/>
        <pc:sldMkLst>
          <pc:docMk/>
          <pc:sldMk cId="3498047173" sldId="2147480625"/>
        </pc:sldMkLst>
        <pc:spChg chg="mod">
          <ac:chgData name="Emma Jappe Lange" userId="50167a89-1da6-43cb-b919-73793a3e7cc3" providerId="ADAL" clId="{A72C95B2-B9E6-4ABD-BBAD-56D980520408}" dt="2026-05-01T08:59:35.040" v="10598" actId="1037"/>
          <ac:spMkLst>
            <pc:docMk/>
            <pc:sldMk cId="3498047173" sldId="2147480625"/>
            <ac:spMk id="14" creationId="{3EFA59A7-1F0F-A36D-0E95-63E037273E74}"/>
          </ac:spMkLst>
        </pc:spChg>
        <pc:spChg chg="mod">
          <ac:chgData name="Emma Jappe Lange" userId="50167a89-1da6-43cb-b919-73793a3e7cc3" providerId="ADAL" clId="{A72C95B2-B9E6-4ABD-BBAD-56D980520408}" dt="2026-05-01T08:59:20.826" v="10578"/>
          <ac:spMkLst>
            <pc:docMk/>
            <pc:sldMk cId="3498047173" sldId="2147480625"/>
            <ac:spMk id="23" creationId="{0EC4FA4E-F7D1-0616-A060-E23F1D8594EE}"/>
          </ac:spMkLst>
        </pc:spChg>
        <pc:spChg chg="mod">
          <ac:chgData name="Emma Jappe Lange" userId="50167a89-1da6-43cb-b919-73793a3e7cc3" providerId="ADAL" clId="{A72C95B2-B9E6-4ABD-BBAD-56D980520408}" dt="2026-05-01T09:00:44.219" v="10619"/>
          <ac:spMkLst>
            <pc:docMk/>
            <pc:sldMk cId="3498047173" sldId="2147480625"/>
            <ac:spMk id="26" creationId="{B696EE85-40B6-557D-97D1-0F8DC5E827DB}"/>
          </ac:spMkLst>
        </pc:spChg>
        <pc:spChg chg="mod">
          <ac:chgData name="Emma Jappe Lange" userId="50167a89-1da6-43cb-b919-73793a3e7cc3" providerId="ADAL" clId="{A72C95B2-B9E6-4ABD-BBAD-56D980520408}" dt="2026-05-01T09:00:44.209" v="10611"/>
          <ac:spMkLst>
            <pc:docMk/>
            <pc:sldMk cId="3498047173" sldId="2147480625"/>
            <ac:spMk id="56" creationId="{34144DDA-962A-03CB-3ED6-AC63E9FABA8F}"/>
          </ac:spMkLst>
        </pc:spChg>
        <pc:spChg chg="mod">
          <ac:chgData name="Emma Jappe Lange" userId="50167a89-1da6-43cb-b919-73793a3e7cc3" providerId="ADAL" clId="{A72C95B2-B9E6-4ABD-BBAD-56D980520408}" dt="2026-05-01T09:01:19.245" v="10631" actId="1035"/>
          <ac:spMkLst>
            <pc:docMk/>
            <pc:sldMk cId="3498047173" sldId="2147480625"/>
            <ac:spMk id="62" creationId="{03AFFBBE-7859-8BD6-8B22-59B9266175ED}"/>
          </ac:spMkLst>
        </pc:spChg>
        <pc:spChg chg="mod">
          <ac:chgData name="Emma Jappe Lange" userId="50167a89-1da6-43cb-b919-73793a3e7cc3" providerId="ADAL" clId="{A72C95B2-B9E6-4ABD-BBAD-56D980520408}" dt="2026-05-01T09:01:28.858" v="10633"/>
          <ac:spMkLst>
            <pc:docMk/>
            <pc:sldMk cId="3498047173" sldId="2147480625"/>
            <ac:spMk id="65" creationId="{38690A68-0D35-62F2-618F-1C0BE329FE47}"/>
          </ac:spMkLst>
        </pc:spChg>
        <pc:spChg chg="mod">
          <ac:chgData name="Emma Jappe Lange" userId="50167a89-1da6-43cb-b919-73793a3e7cc3" providerId="ADAL" clId="{A72C95B2-B9E6-4ABD-BBAD-56D980520408}" dt="2026-05-01T08:59:35.040" v="10598" actId="1037"/>
          <ac:spMkLst>
            <pc:docMk/>
            <pc:sldMk cId="3498047173" sldId="2147480625"/>
            <ac:spMk id="67" creationId="{88AC2E50-10D8-7F55-6549-2EC52B459F82}"/>
          </ac:spMkLst>
        </pc:spChg>
        <pc:spChg chg="mod">
          <ac:chgData name="Emma Jappe Lange" userId="50167a89-1da6-43cb-b919-73793a3e7cc3" providerId="ADAL" clId="{A72C95B2-B9E6-4ABD-BBAD-56D980520408}" dt="2026-05-01T08:59:41.889" v="10599" actId="14100"/>
          <ac:spMkLst>
            <pc:docMk/>
            <pc:sldMk cId="3498047173" sldId="2147480625"/>
            <ac:spMk id="68" creationId="{FC7D31C6-BEC2-D882-8875-1EFB56E9560F}"/>
          </ac:spMkLst>
        </pc:spChg>
        <pc:spChg chg="mod">
          <ac:chgData name="Emma Jappe Lange" userId="50167a89-1da6-43cb-b919-73793a3e7cc3" providerId="ADAL" clId="{A72C95B2-B9E6-4ABD-BBAD-56D980520408}" dt="2026-05-01T08:58:41.611" v="10568" actId="20577"/>
          <ac:spMkLst>
            <pc:docMk/>
            <pc:sldMk cId="3498047173" sldId="2147480625"/>
            <ac:spMk id="69" creationId="{891A65CF-3ADB-9ECC-C102-E0B326C83ABB}"/>
          </ac:spMkLst>
        </pc:spChg>
        <pc:spChg chg="mod">
          <ac:chgData name="Emma Jappe Lange" userId="50167a89-1da6-43cb-b919-73793a3e7cc3" providerId="ADAL" clId="{A72C95B2-B9E6-4ABD-BBAD-56D980520408}" dt="2026-05-01T09:00:44.219" v="10615"/>
          <ac:spMkLst>
            <pc:docMk/>
            <pc:sldMk cId="3498047173" sldId="2147480625"/>
            <ac:spMk id="86" creationId="{3AAF4756-DA30-3FCC-A52E-5C4C32B82B5D}"/>
          </ac:spMkLst>
        </pc:spChg>
        <pc:spChg chg="mod">
          <ac:chgData name="Emma Jappe Lange" userId="50167a89-1da6-43cb-b919-73793a3e7cc3" providerId="ADAL" clId="{A72C95B2-B9E6-4ABD-BBAD-56D980520408}" dt="2026-05-01T09:00:44.219" v="10615"/>
          <ac:spMkLst>
            <pc:docMk/>
            <pc:sldMk cId="3498047173" sldId="2147480625"/>
            <ac:spMk id="87" creationId="{CDB82623-D332-1E15-19F7-09834E97CC0F}"/>
          </ac:spMkLst>
        </pc:spChg>
        <pc:spChg chg="mod">
          <ac:chgData name="Emma Jappe Lange" userId="50167a89-1da6-43cb-b919-73793a3e7cc3" providerId="ADAL" clId="{A72C95B2-B9E6-4ABD-BBAD-56D980520408}" dt="2026-05-01T09:00:44.219" v="10615"/>
          <ac:spMkLst>
            <pc:docMk/>
            <pc:sldMk cId="3498047173" sldId="2147480625"/>
            <ac:spMk id="88" creationId="{39BA899A-C2AD-9D60-CDD3-0392F22DCABC}"/>
          </ac:spMkLst>
        </pc:spChg>
        <pc:spChg chg="mod">
          <ac:chgData name="Emma Jappe Lange" userId="50167a89-1da6-43cb-b919-73793a3e7cc3" providerId="ADAL" clId="{A72C95B2-B9E6-4ABD-BBAD-56D980520408}" dt="2026-05-01T09:00:44.219" v="10615"/>
          <ac:spMkLst>
            <pc:docMk/>
            <pc:sldMk cId="3498047173" sldId="2147480625"/>
            <ac:spMk id="89" creationId="{A7F5FEEA-BAF5-5B3C-DB40-090EAEA687B8}"/>
          </ac:spMkLst>
        </pc:spChg>
        <pc:grpChg chg="mod">
          <ac:chgData name="Emma Jappe Lange" userId="50167a89-1da6-43cb-b919-73793a3e7cc3" providerId="ADAL" clId="{A72C95B2-B9E6-4ABD-BBAD-56D980520408}" dt="2026-05-01T08:59:35.040" v="10598" actId="1037"/>
          <ac:grpSpMkLst>
            <pc:docMk/>
            <pc:sldMk cId="3498047173" sldId="2147480625"/>
            <ac:grpSpMk id="72" creationId="{F2C3DEA4-B859-1393-7EDD-9561C696314F}"/>
          </ac:grpSpMkLst>
        </pc:grpChg>
        <pc:grpChg chg="mod">
          <ac:chgData name="Emma Jappe Lange" userId="50167a89-1da6-43cb-b919-73793a3e7cc3" providerId="ADAL" clId="{A72C95B2-B9E6-4ABD-BBAD-56D980520408}" dt="2026-05-01T09:01:12.372" v="10626" actId="408"/>
          <ac:grpSpMkLst>
            <pc:docMk/>
            <pc:sldMk cId="3498047173" sldId="2147480625"/>
            <ac:grpSpMk id="85" creationId="{65E35DCD-46D4-3E61-CDA3-0600D78DDB59}"/>
          </ac:grpSpMkLst>
        </pc:grpChg>
        <pc:picChg chg="mod">
          <ac:chgData name="Emma Jappe Lange" userId="50167a89-1da6-43cb-b919-73793a3e7cc3" providerId="ADAL" clId="{A72C95B2-B9E6-4ABD-BBAD-56D980520408}" dt="2026-05-01T08:59:35.040" v="10598" actId="1037"/>
          <ac:picMkLst>
            <pc:docMk/>
            <pc:sldMk cId="3498047173" sldId="2147480625"/>
            <ac:picMk id="15" creationId="{72C4E924-6353-4846-E16B-88835A258DCC}"/>
          </ac:picMkLst>
        </pc:picChg>
        <pc:picChg chg="mod">
          <ac:chgData name="Emma Jappe Lange" userId="50167a89-1da6-43cb-b919-73793a3e7cc3" providerId="ADAL" clId="{A72C95B2-B9E6-4ABD-BBAD-56D980520408}" dt="2026-05-01T09:00:44.219" v="10613"/>
          <ac:picMkLst>
            <pc:docMk/>
            <pc:sldMk cId="3498047173" sldId="2147480625"/>
            <ac:picMk id="58" creationId="{F32A233C-3F50-DC77-AE0F-AE1F9471BEDB}"/>
          </ac:picMkLst>
        </pc:picChg>
        <pc:picChg chg="mod">
          <ac:chgData name="Emma Jappe Lange" userId="50167a89-1da6-43cb-b919-73793a3e7cc3" providerId="ADAL" clId="{A72C95B2-B9E6-4ABD-BBAD-56D980520408}" dt="2026-05-01T09:01:06.495" v="10624" actId="14100"/>
          <ac:picMkLst>
            <pc:docMk/>
            <pc:sldMk cId="3498047173" sldId="2147480625"/>
            <ac:picMk id="187" creationId="{812DF682-7026-C699-4D3A-7CFD2535DC51}"/>
          </ac:picMkLst>
        </pc:picChg>
        <pc:cxnChg chg="mod">
          <ac:chgData name="Emma Jappe Lange" userId="50167a89-1da6-43cb-b919-73793a3e7cc3" providerId="ADAL" clId="{A72C95B2-B9E6-4ABD-BBAD-56D980520408}" dt="2026-05-01T08:59:35.040" v="10598" actId="1037"/>
          <ac:cxnSpMkLst>
            <pc:docMk/>
            <pc:sldMk cId="3498047173" sldId="2147480625"/>
            <ac:cxnSpMk id="12" creationId="{5435038F-7DA7-5C8D-6A01-378DEE874E5C}"/>
          </ac:cxnSpMkLst>
        </pc:cxnChg>
        <pc:cxnChg chg="mod">
          <ac:chgData name="Emma Jappe Lange" userId="50167a89-1da6-43cb-b919-73793a3e7cc3" providerId="ADAL" clId="{A72C95B2-B9E6-4ABD-BBAD-56D980520408}" dt="2026-05-01T08:59:20.836" v="10580"/>
          <ac:cxnSpMkLst>
            <pc:docMk/>
            <pc:sldMk cId="3498047173" sldId="2147480625"/>
            <ac:cxnSpMk id="21" creationId="{3DE8A375-6B0A-39C5-4F89-A97747DE8213}"/>
          </ac:cxnSpMkLst>
        </pc:cxnChg>
        <pc:cxnChg chg="mod">
          <ac:chgData name="Emma Jappe Lange" userId="50167a89-1da6-43cb-b919-73793a3e7cc3" providerId="ADAL" clId="{A72C95B2-B9E6-4ABD-BBAD-56D980520408}" dt="2026-05-01T09:00:44.219" v="10617"/>
          <ac:cxnSpMkLst>
            <pc:docMk/>
            <pc:sldMk cId="3498047173" sldId="2147480625"/>
            <ac:cxnSpMk id="25" creationId="{B27E1FCB-9C61-8AE0-9EC2-4BFF0D98140C}"/>
          </ac:cxnSpMkLst>
        </pc:cxnChg>
      </pc:sldChg>
      <pc:sldChg chg="addSp delSp modSp mod">
        <pc:chgData name="Emma Jappe Lange" userId="50167a89-1da6-43cb-b919-73793a3e7cc3" providerId="ADAL" clId="{A72C95B2-B9E6-4ABD-BBAD-56D980520408}" dt="2026-05-01T09:01:45.971" v="10653" actId="14100"/>
        <pc:sldMkLst>
          <pc:docMk/>
          <pc:sldMk cId="2820396330" sldId="2147480626"/>
        </pc:sldMkLst>
        <pc:spChg chg="mod">
          <ac:chgData name="Emma Jappe Lange" userId="50167a89-1da6-43cb-b919-73793a3e7cc3" providerId="ADAL" clId="{A72C95B2-B9E6-4ABD-BBAD-56D980520408}" dt="2026-04-29T17:46:09.566" v="5782" actId="20577"/>
          <ac:spMkLst>
            <pc:docMk/>
            <pc:sldMk cId="2820396330" sldId="2147480626"/>
            <ac:spMk id="2" creationId="{E110195A-A2FF-2480-F2B3-7C139FC31518}"/>
          </ac:spMkLst>
        </pc:spChg>
        <pc:spChg chg="add mod">
          <ac:chgData name="Emma Jappe Lange" userId="50167a89-1da6-43cb-b919-73793a3e7cc3" providerId="ADAL" clId="{A72C95B2-B9E6-4ABD-BBAD-56D980520408}" dt="2026-04-30T09:04:36.430" v="8784"/>
          <ac:spMkLst>
            <pc:docMk/>
            <pc:sldMk cId="2820396330" sldId="2147480626"/>
            <ac:spMk id="5" creationId="{1B124739-C96D-D09C-7A97-433058B7E835}"/>
          </ac:spMkLst>
        </pc:spChg>
        <pc:spChg chg="mod">
          <ac:chgData name="Emma Jappe Lange" userId="50167a89-1da6-43cb-b919-73793a3e7cc3" providerId="ADAL" clId="{A72C95B2-B9E6-4ABD-BBAD-56D980520408}" dt="2026-05-01T09:01:39.742" v="10651" actId="1037"/>
          <ac:spMkLst>
            <pc:docMk/>
            <pc:sldMk cId="2820396330" sldId="2147480626"/>
            <ac:spMk id="26" creationId="{9C5056FD-A211-E4F9-1FCD-035B26B26D8E}"/>
          </ac:spMkLst>
        </pc:spChg>
        <pc:spChg chg="mod">
          <ac:chgData name="Emma Jappe Lange" userId="50167a89-1da6-43cb-b919-73793a3e7cc3" providerId="ADAL" clId="{A72C95B2-B9E6-4ABD-BBAD-56D980520408}" dt="2026-05-01T09:01:39.742" v="10651" actId="1037"/>
          <ac:spMkLst>
            <pc:docMk/>
            <pc:sldMk cId="2820396330" sldId="2147480626"/>
            <ac:spMk id="28" creationId="{0027488F-FC9C-2B1D-4CA7-2CBB7829BD34}"/>
          </ac:spMkLst>
        </pc:spChg>
        <pc:spChg chg="mod">
          <ac:chgData name="Emma Jappe Lange" userId="50167a89-1da6-43cb-b919-73793a3e7cc3" providerId="ADAL" clId="{A72C95B2-B9E6-4ABD-BBAD-56D980520408}" dt="2026-04-29T17:45:34.650" v="5772" actId="1035"/>
          <ac:spMkLst>
            <pc:docMk/>
            <pc:sldMk cId="2820396330" sldId="2147480626"/>
            <ac:spMk id="30" creationId="{ECEE482E-0809-13B5-F274-8273BA8B1CD5}"/>
          </ac:spMkLst>
        </pc:spChg>
        <pc:spChg chg="mod">
          <ac:chgData name="Emma Jappe Lange" userId="50167a89-1da6-43cb-b919-73793a3e7cc3" providerId="ADAL" clId="{A72C95B2-B9E6-4ABD-BBAD-56D980520408}" dt="2026-04-29T17:45:34.650" v="5772" actId="1035"/>
          <ac:spMkLst>
            <pc:docMk/>
            <pc:sldMk cId="2820396330" sldId="2147480626"/>
            <ac:spMk id="31" creationId="{C3291B92-E893-3F63-6EED-4D94DFEC1528}"/>
          </ac:spMkLst>
        </pc:spChg>
        <pc:spChg chg="mod">
          <ac:chgData name="Emma Jappe Lange" userId="50167a89-1da6-43cb-b919-73793a3e7cc3" providerId="ADAL" clId="{A72C95B2-B9E6-4ABD-BBAD-56D980520408}" dt="2026-04-29T17:45:34.650" v="5772" actId="1035"/>
          <ac:spMkLst>
            <pc:docMk/>
            <pc:sldMk cId="2820396330" sldId="2147480626"/>
            <ac:spMk id="32" creationId="{EFCE6A54-C349-9F52-477C-85825CB2CFCD}"/>
          </ac:spMkLst>
        </pc:spChg>
        <pc:spChg chg="mod">
          <ac:chgData name="Emma Jappe Lange" userId="50167a89-1da6-43cb-b919-73793a3e7cc3" providerId="ADAL" clId="{A72C95B2-B9E6-4ABD-BBAD-56D980520408}" dt="2026-05-01T09:01:39.742" v="10651" actId="1037"/>
          <ac:spMkLst>
            <pc:docMk/>
            <pc:sldMk cId="2820396330" sldId="2147480626"/>
            <ac:spMk id="33" creationId="{683545AD-C91C-41B6-6318-5DECD9B453CC}"/>
          </ac:spMkLst>
        </pc:spChg>
        <pc:spChg chg="mod">
          <ac:chgData name="Emma Jappe Lange" userId="50167a89-1da6-43cb-b919-73793a3e7cc3" providerId="ADAL" clId="{A72C95B2-B9E6-4ABD-BBAD-56D980520408}" dt="2026-05-01T09:01:39.742" v="10651" actId="1037"/>
          <ac:spMkLst>
            <pc:docMk/>
            <pc:sldMk cId="2820396330" sldId="2147480626"/>
            <ac:spMk id="34" creationId="{C68ED1BB-94FC-CFFB-9FD8-0A3B40939904}"/>
          </ac:spMkLst>
        </pc:spChg>
        <pc:spChg chg="mod">
          <ac:chgData name="Emma Jappe Lange" userId="50167a89-1da6-43cb-b919-73793a3e7cc3" providerId="ADAL" clId="{A72C95B2-B9E6-4ABD-BBAD-56D980520408}" dt="2026-04-29T17:45:34.650" v="5772" actId="1035"/>
          <ac:spMkLst>
            <pc:docMk/>
            <pc:sldMk cId="2820396330" sldId="2147480626"/>
            <ac:spMk id="35" creationId="{4DD7F606-CB17-A212-501B-09061C1DDAF5}"/>
          </ac:spMkLst>
        </pc:spChg>
        <pc:spChg chg="mod">
          <ac:chgData name="Emma Jappe Lange" userId="50167a89-1da6-43cb-b919-73793a3e7cc3" providerId="ADAL" clId="{A72C95B2-B9E6-4ABD-BBAD-56D980520408}" dt="2026-05-01T09:01:39.742" v="10651" actId="1037"/>
          <ac:spMkLst>
            <pc:docMk/>
            <pc:sldMk cId="2820396330" sldId="2147480626"/>
            <ac:spMk id="41" creationId="{C86EFE64-5D77-D79D-78C6-3F0278238702}"/>
          </ac:spMkLst>
        </pc:spChg>
        <pc:spChg chg="mod">
          <ac:chgData name="Emma Jappe Lange" userId="50167a89-1da6-43cb-b919-73793a3e7cc3" providerId="ADAL" clId="{A72C95B2-B9E6-4ABD-BBAD-56D980520408}" dt="2026-05-01T09:01:39.742" v="10651" actId="1037"/>
          <ac:spMkLst>
            <pc:docMk/>
            <pc:sldMk cId="2820396330" sldId="2147480626"/>
            <ac:spMk id="42" creationId="{A679BC4E-CAC2-1D70-4A99-A97305F305E9}"/>
          </ac:spMkLst>
        </pc:spChg>
        <pc:spChg chg="mod">
          <ac:chgData name="Emma Jappe Lange" userId="50167a89-1da6-43cb-b919-73793a3e7cc3" providerId="ADAL" clId="{A72C95B2-B9E6-4ABD-BBAD-56D980520408}" dt="2026-05-01T09:01:39.742" v="10651" actId="1037"/>
          <ac:spMkLst>
            <pc:docMk/>
            <pc:sldMk cId="2820396330" sldId="2147480626"/>
            <ac:spMk id="45" creationId="{E8050314-A82E-E151-12D2-D5D00814E4BA}"/>
          </ac:spMkLst>
        </pc:spChg>
        <pc:spChg chg="mod">
          <ac:chgData name="Emma Jappe Lange" userId="50167a89-1da6-43cb-b919-73793a3e7cc3" providerId="ADAL" clId="{A72C95B2-B9E6-4ABD-BBAD-56D980520408}" dt="2026-04-29T17:45:34.650" v="5772" actId="1035"/>
          <ac:spMkLst>
            <pc:docMk/>
            <pc:sldMk cId="2820396330" sldId="2147480626"/>
            <ac:spMk id="46" creationId="{E98BC636-8644-1A16-A615-B842774FE423}"/>
          </ac:spMkLst>
        </pc:spChg>
        <pc:spChg chg="mod">
          <ac:chgData name="Emma Jappe Lange" userId="50167a89-1da6-43cb-b919-73793a3e7cc3" providerId="ADAL" clId="{A72C95B2-B9E6-4ABD-BBAD-56D980520408}" dt="2026-05-01T09:01:39.742" v="10651" actId="1037"/>
          <ac:spMkLst>
            <pc:docMk/>
            <pc:sldMk cId="2820396330" sldId="2147480626"/>
            <ac:spMk id="47" creationId="{E9D08A8B-249C-CAA4-841B-3F6A2C3B056A}"/>
          </ac:spMkLst>
        </pc:spChg>
        <pc:spChg chg="mod">
          <ac:chgData name="Emma Jappe Lange" userId="50167a89-1da6-43cb-b919-73793a3e7cc3" providerId="ADAL" clId="{A72C95B2-B9E6-4ABD-BBAD-56D980520408}" dt="2026-05-01T09:01:39.742" v="10651" actId="1037"/>
          <ac:spMkLst>
            <pc:docMk/>
            <pc:sldMk cId="2820396330" sldId="2147480626"/>
            <ac:spMk id="50" creationId="{760CA175-C2DC-5C97-525F-B93661CE89AB}"/>
          </ac:spMkLst>
        </pc:spChg>
        <pc:spChg chg="mod">
          <ac:chgData name="Emma Jappe Lange" userId="50167a89-1da6-43cb-b919-73793a3e7cc3" providerId="ADAL" clId="{A72C95B2-B9E6-4ABD-BBAD-56D980520408}" dt="2026-05-01T09:01:39.742" v="10651" actId="1037"/>
          <ac:spMkLst>
            <pc:docMk/>
            <pc:sldMk cId="2820396330" sldId="2147480626"/>
            <ac:spMk id="51" creationId="{1F796442-8022-3347-6D43-EA00D75A2AE0}"/>
          </ac:spMkLst>
        </pc:spChg>
        <pc:spChg chg="mod">
          <ac:chgData name="Emma Jappe Lange" userId="50167a89-1da6-43cb-b919-73793a3e7cc3" providerId="ADAL" clId="{A72C95B2-B9E6-4ABD-BBAD-56D980520408}" dt="2026-05-01T09:01:45.971" v="10653" actId="14100"/>
          <ac:spMkLst>
            <pc:docMk/>
            <pc:sldMk cId="2820396330" sldId="2147480626"/>
            <ac:spMk id="129" creationId="{438D1E21-5C9D-0098-78C1-000C4C7B823A}"/>
          </ac:spMkLst>
        </pc:spChg>
        <pc:spChg chg="mod">
          <ac:chgData name="Emma Jappe Lange" userId="50167a89-1da6-43cb-b919-73793a3e7cc3" providerId="ADAL" clId="{A72C95B2-B9E6-4ABD-BBAD-56D980520408}" dt="2026-04-29T17:45:44.986" v="5776"/>
          <ac:spMkLst>
            <pc:docMk/>
            <pc:sldMk cId="2820396330" sldId="2147480626"/>
            <ac:spMk id="130" creationId="{4C77A15E-AD4B-89BB-2D6C-30225690989C}"/>
          </ac:spMkLst>
        </pc:spChg>
      </pc:sldChg>
      <pc:sldChg chg="addSp delSp modSp mod">
        <pc:chgData name="Emma Jappe Lange" userId="50167a89-1da6-43cb-b919-73793a3e7cc3" providerId="ADAL" clId="{A72C95B2-B9E6-4ABD-BBAD-56D980520408}" dt="2026-05-01T09:02:49.321" v="10693" actId="20577"/>
        <pc:sldMkLst>
          <pc:docMk/>
          <pc:sldMk cId="1954223883" sldId="2147480628"/>
        </pc:sldMkLst>
        <pc:spChg chg="mod">
          <ac:chgData name="Emma Jappe Lange" userId="50167a89-1da6-43cb-b919-73793a3e7cc3" providerId="ADAL" clId="{A72C95B2-B9E6-4ABD-BBAD-56D980520408}" dt="2026-04-29T17:48:27.385" v="5911" actId="6549"/>
          <ac:spMkLst>
            <pc:docMk/>
            <pc:sldMk cId="1954223883" sldId="2147480628"/>
            <ac:spMk id="2" creationId="{2F91B5D1-4835-BF40-5651-92E82649BBAD}"/>
          </ac:spMkLst>
        </pc:spChg>
        <pc:spChg chg="add mod">
          <ac:chgData name="Emma Jappe Lange" userId="50167a89-1da6-43cb-b919-73793a3e7cc3" providerId="ADAL" clId="{A72C95B2-B9E6-4ABD-BBAD-56D980520408}" dt="2026-04-29T17:48:40.862" v="5922" actId="1036"/>
          <ac:spMkLst>
            <pc:docMk/>
            <pc:sldMk cId="1954223883" sldId="2147480628"/>
            <ac:spMk id="4" creationId="{964027E7-A062-7358-D89F-D8A2BE7A776F}"/>
          </ac:spMkLst>
        </pc:spChg>
        <pc:spChg chg="add mod">
          <ac:chgData name="Emma Jappe Lange" userId="50167a89-1da6-43cb-b919-73793a3e7cc3" providerId="ADAL" clId="{A72C95B2-B9E6-4ABD-BBAD-56D980520408}" dt="2026-04-30T09:04:30.718" v="8782"/>
          <ac:spMkLst>
            <pc:docMk/>
            <pc:sldMk cId="1954223883" sldId="2147480628"/>
            <ac:spMk id="5" creationId="{2BAFBA9C-AA5F-B5B5-B4B7-A36C35EB5859}"/>
          </ac:spMkLst>
        </pc:spChg>
        <pc:spChg chg="mod">
          <ac:chgData name="Emma Jappe Lange" userId="50167a89-1da6-43cb-b919-73793a3e7cc3" providerId="ADAL" clId="{A72C95B2-B9E6-4ABD-BBAD-56D980520408}" dt="2026-04-27T07:36:39.521" v="2596" actId="404"/>
          <ac:spMkLst>
            <pc:docMk/>
            <pc:sldMk cId="1954223883" sldId="2147480628"/>
            <ac:spMk id="53" creationId="{1E12CB4E-FFD5-36A4-4F70-C850E48B1E82}"/>
          </ac:spMkLst>
        </pc:spChg>
        <pc:spChg chg="add del mod">
          <ac:chgData name="Emma Jappe Lange" userId="50167a89-1da6-43cb-b919-73793a3e7cc3" providerId="ADAL" clId="{A72C95B2-B9E6-4ABD-BBAD-56D980520408}" dt="2026-05-01T09:02:49.321" v="10693" actId="20577"/>
          <ac:spMkLst>
            <pc:docMk/>
            <pc:sldMk cId="1954223883" sldId="2147480628"/>
            <ac:spMk id="154" creationId="{BDACBF56-6F56-91C0-9601-2285FBB60126}"/>
          </ac:spMkLst>
        </pc:spChg>
        <pc:spChg chg="mod">
          <ac:chgData name="Emma Jappe Lange" userId="50167a89-1da6-43cb-b919-73793a3e7cc3" providerId="ADAL" clId="{A72C95B2-B9E6-4ABD-BBAD-56D980520408}" dt="2026-04-29T17:48:40.862" v="5922" actId="1036"/>
          <ac:spMkLst>
            <pc:docMk/>
            <pc:sldMk cId="1954223883" sldId="2147480628"/>
            <ac:spMk id="159" creationId="{7D0C3EA4-501E-16DA-6604-9C6881079767}"/>
          </ac:spMkLst>
        </pc:spChg>
        <pc:spChg chg="mod">
          <ac:chgData name="Emma Jappe Lange" userId="50167a89-1da6-43cb-b919-73793a3e7cc3" providerId="ADAL" clId="{A72C95B2-B9E6-4ABD-BBAD-56D980520408}" dt="2026-04-29T17:48:40.862" v="5922" actId="1036"/>
          <ac:spMkLst>
            <pc:docMk/>
            <pc:sldMk cId="1954223883" sldId="2147480628"/>
            <ac:spMk id="163" creationId="{E1330084-E589-D22A-46A9-8D35D0CA2EF2}"/>
          </ac:spMkLst>
        </pc:spChg>
        <pc:spChg chg="mod">
          <ac:chgData name="Emma Jappe Lange" userId="50167a89-1da6-43cb-b919-73793a3e7cc3" providerId="ADAL" clId="{A72C95B2-B9E6-4ABD-BBAD-56D980520408}" dt="2026-04-29T17:48:40.862" v="5922" actId="1036"/>
          <ac:spMkLst>
            <pc:docMk/>
            <pc:sldMk cId="1954223883" sldId="2147480628"/>
            <ac:spMk id="165" creationId="{3509EA86-2800-B902-9C50-598D4E6E9AA6}"/>
          </ac:spMkLst>
        </pc:spChg>
        <pc:spChg chg="mod">
          <ac:chgData name="Emma Jappe Lange" userId="50167a89-1da6-43cb-b919-73793a3e7cc3" providerId="ADAL" clId="{A72C95B2-B9E6-4ABD-BBAD-56D980520408}" dt="2026-04-29T17:48:40.862" v="5922" actId="1036"/>
          <ac:spMkLst>
            <pc:docMk/>
            <pc:sldMk cId="1954223883" sldId="2147480628"/>
            <ac:spMk id="166" creationId="{FF76693E-D12B-EFC5-1905-63ADC00F9005}"/>
          </ac:spMkLst>
        </pc:spChg>
        <pc:spChg chg="mod">
          <ac:chgData name="Emma Jappe Lange" userId="50167a89-1da6-43cb-b919-73793a3e7cc3" providerId="ADAL" clId="{A72C95B2-B9E6-4ABD-BBAD-56D980520408}" dt="2026-04-29T17:48:40.862" v="5922" actId="1036"/>
          <ac:spMkLst>
            <pc:docMk/>
            <pc:sldMk cId="1954223883" sldId="2147480628"/>
            <ac:spMk id="168" creationId="{9C9F03F2-D261-5EB6-3A1E-71F499909797}"/>
          </ac:spMkLst>
        </pc:spChg>
        <pc:spChg chg="mod">
          <ac:chgData name="Emma Jappe Lange" userId="50167a89-1da6-43cb-b919-73793a3e7cc3" providerId="ADAL" clId="{A72C95B2-B9E6-4ABD-BBAD-56D980520408}" dt="2026-04-29T17:48:40.862" v="5922" actId="1036"/>
          <ac:spMkLst>
            <pc:docMk/>
            <pc:sldMk cId="1954223883" sldId="2147480628"/>
            <ac:spMk id="171" creationId="{579EFB34-8C0E-550B-6723-17A3D507338C}"/>
          </ac:spMkLst>
        </pc:spChg>
        <pc:spChg chg="mod">
          <ac:chgData name="Emma Jappe Lange" userId="50167a89-1da6-43cb-b919-73793a3e7cc3" providerId="ADAL" clId="{A72C95B2-B9E6-4ABD-BBAD-56D980520408}" dt="2026-04-29T17:41:16.970" v="5599" actId="1036"/>
          <ac:spMkLst>
            <pc:docMk/>
            <pc:sldMk cId="1954223883" sldId="2147480628"/>
            <ac:spMk id="174" creationId="{5411CBAD-44D5-2D5E-CE04-BBE353727163}"/>
          </ac:spMkLst>
        </pc:spChg>
        <pc:spChg chg="mod">
          <ac:chgData name="Emma Jappe Lange" userId="50167a89-1da6-43cb-b919-73793a3e7cc3" providerId="ADAL" clId="{A72C95B2-B9E6-4ABD-BBAD-56D980520408}" dt="2026-04-29T17:48:40.862" v="5922" actId="1036"/>
          <ac:spMkLst>
            <pc:docMk/>
            <pc:sldMk cId="1954223883" sldId="2147480628"/>
            <ac:spMk id="177" creationId="{BD3A9039-73EC-3777-21A0-2661283BEC1A}"/>
          </ac:spMkLst>
        </pc:spChg>
        <pc:spChg chg="mod">
          <ac:chgData name="Emma Jappe Lange" userId="50167a89-1da6-43cb-b919-73793a3e7cc3" providerId="ADAL" clId="{A72C95B2-B9E6-4ABD-BBAD-56D980520408}" dt="2026-04-29T17:48:40.862" v="5922" actId="1036"/>
          <ac:spMkLst>
            <pc:docMk/>
            <pc:sldMk cId="1954223883" sldId="2147480628"/>
            <ac:spMk id="178" creationId="{BBA5805D-0350-D026-C967-B520A66B6D07}"/>
          </ac:spMkLst>
        </pc:spChg>
        <pc:spChg chg="mod">
          <ac:chgData name="Emma Jappe Lange" userId="50167a89-1da6-43cb-b919-73793a3e7cc3" providerId="ADAL" clId="{A72C95B2-B9E6-4ABD-BBAD-56D980520408}" dt="2026-04-29T17:48:40.862" v="5922" actId="1036"/>
          <ac:spMkLst>
            <pc:docMk/>
            <pc:sldMk cId="1954223883" sldId="2147480628"/>
            <ac:spMk id="181" creationId="{786A66B4-1E74-93C1-386E-1C33B699228E}"/>
          </ac:spMkLst>
        </pc:spChg>
        <pc:grpChg chg="mod">
          <ac:chgData name="Emma Jappe Lange" userId="50167a89-1da6-43cb-b919-73793a3e7cc3" providerId="ADAL" clId="{A72C95B2-B9E6-4ABD-BBAD-56D980520408}" dt="2026-04-29T17:41:27.090" v="5615" actId="1038"/>
          <ac:grpSpMkLst>
            <pc:docMk/>
            <pc:sldMk cId="1954223883" sldId="2147480628"/>
            <ac:grpSpMk id="162" creationId="{B5F38C65-41EB-660A-FF35-F881D20D00F8}"/>
          </ac:grpSpMkLst>
        </pc:grpChg>
        <pc:grpChg chg="mod">
          <ac:chgData name="Emma Jappe Lange" userId="50167a89-1da6-43cb-b919-73793a3e7cc3" providerId="ADAL" clId="{A72C95B2-B9E6-4ABD-BBAD-56D980520408}" dt="2026-04-29T17:41:33.800" v="5621" actId="1037"/>
          <ac:grpSpMkLst>
            <pc:docMk/>
            <pc:sldMk cId="1954223883" sldId="2147480628"/>
            <ac:grpSpMk id="164" creationId="{6AAC6B68-8C25-8C3F-56F9-032F2A6869A1}"/>
          </ac:grpSpMkLst>
        </pc:grpChg>
        <pc:grpChg chg="mod">
          <ac:chgData name="Emma Jappe Lange" userId="50167a89-1da6-43cb-b919-73793a3e7cc3" providerId="ADAL" clId="{A72C95B2-B9E6-4ABD-BBAD-56D980520408}" dt="2026-04-29T17:41:16.970" v="5599" actId="1036"/>
          <ac:grpSpMkLst>
            <pc:docMk/>
            <pc:sldMk cId="1954223883" sldId="2147480628"/>
            <ac:grpSpMk id="170" creationId="{388116E4-FB3A-5B9D-5F45-306FAFD97903}"/>
          </ac:grpSpMkLst>
        </pc:grpChg>
        <pc:grpChg chg="mod">
          <ac:chgData name="Emma Jappe Lange" userId="50167a89-1da6-43cb-b919-73793a3e7cc3" providerId="ADAL" clId="{A72C95B2-B9E6-4ABD-BBAD-56D980520408}" dt="2026-04-29T17:41:21.285" v="5605" actId="1035"/>
          <ac:grpSpMkLst>
            <pc:docMk/>
            <pc:sldMk cId="1954223883" sldId="2147480628"/>
            <ac:grpSpMk id="175" creationId="{67179B79-81EA-7C43-F721-CD1D7734F20D}"/>
          </ac:grpSpMkLst>
        </pc:grpChg>
      </pc:sldChg>
      <pc:sldChg chg="addSp delSp modSp mod ord">
        <pc:chgData name="Emma Jappe Lange" userId="50167a89-1da6-43cb-b919-73793a3e7cc3" providerId="ADAL" clId="{A72C95B2-B9E6-4ABD-BBAD-56D980520408}" dt="2026-04-30T06:46:25.540" v="6157" actId="6549"/>
        <pc:sldMkLst>
          <pc:docMk/>
          <pc:sldMk cId="528712359" sldId="2147480629"/>
        </pc:sldMkLst>
        <pc:spChg chg="add mod">
          <ac:chgData name="Emma Jappe Lange" userId="50167a89-1da6-43cb-b919-73793a3e7cc3" providerId="ADAL" clId="{A72C95B2-B9E6-4ABD-BBAD-56D980520408}" dt="2026-04-28T10:35:20.887" v="3169" actId="20577"/>
          <ac:spMkLst>
            <pc:docMk/>
            <pc:sldMk cId="528712359" sldId="2147480629"/>
            <ac:spMk id="3" creationId="{3B6F2E86-74B0-04BB-ED31-EB1C86917A8D}"/>
          </ac:spMkLst>
        </pc:spChg>
        <pc:spChg chg="mod">
          <ac:chgData name="Emma Jappe Lange" userId="50167a89-1da6-43cb-b919-73793a3e7cc3" providerId="ADAL" clId="{A72C95B2-B9E6-4ABD-BBAD-56D980520408}" dt="2026-04-30T06:46:25.540" v="6157" actId="6549"/>
          <ac:spMkLst>
            <pc:docMk/>
            <pc:sldMk cId="528712359" sldId="2147480629"/>
            <ac:spMk id="6" creationId="{2B307389-C5A2-5BE2-4175-2A12F9E7A032}"/>
          </ac:spMkLst>
        </pc:spChg>
        <pc:spChg chg="mod">
          <ac:chgData name="Emma Jappe Lange" userId="50167a89-1da6-43cb-b919-73793a3e7cc3" providerId="ADAL" clId="{A72C95B2-B9E6-4ABD-BBAD-56D980520408}" dt="2026-04-28T10:33:35.686" v="3069" actId="1076"/>
          <ac:spMkLst>
            <pc:docMk/>
            <pc:sldMk cId="528712359" sldId="2147480629"/>
            <ac:spMk id="19" creationId="{1CF52C6C-9C3A-61EA-1ED9-D7C9AB9B58DE}"/>
          </ac:spMkLst>
        </pc:spChg>
        <pc:spChg chg="mod">
          <ac:chgData name="Emma Jappe Lange" userId="50167a89-1da6-43cb-b919-73793a3e7cc3" providerId="ADAL" clId="{A72C95B2-B9E6-4ABD-BBAD-56D980520408}" dt="2026-04-28T10:32:26.405" v="2990" actId="1076"/>
          <ac:spMkLst>
            <pc:docMk/>
            <pc:sldMk cId="528712359" sldId="2147480629"/>
            <ac:spMk id="20" creationId="{2C9E5AB8-1E82-6367-9862-588D8A460C1E}"/>
          </ac:spMkLst>
        </pc:spChg>
        <pc:spChg chg="mod">
          <ac:chgData name="Emma Jappe Lange" userId="50167a89-1da6-43cb-b919-73793a3e7cc3" providerId="ADAL" clId="{A72C95B2-B9E6-4ABD-BBAD-56D980520408}" dt="2026-04-28T10:33:35.686" v="3069" actId="1076"/>
          <ac:spMkLst>
            <pc:docMk/>
            <pc:sldMk cId="528712359" sldId="2147480629"/>
            <ac:spMk id="21" creationId="{1B43FF0E-A821-6FF9-6515-023DC0A14233}"/>
          </ac:spMkLst>
        </pc:spChg>
        <pc:spChg chg="mod">
          <ac:chgData name="Emma Jappe Lange" userId="50167a89-1da6-43cb-b919-73793a3e7cc3" providerId="ADAL" clId="{A72C95B2-B9E6-4ABD-BBAD-56D980520408}" dt="2026-04-28T10:33:35.686" v="3069" actId="1076"/>
          <ac:spMkLst>
            <pc:docMk/>
            <pc:sldMk cId="528712359" sldId="2147480629"/>
            <ac:spMk id="22" creationId="{D1063F16-6E01-F5DA-C8D4-B3A6A5FB164B}"/>
          </ac:spMkLst>
        </pc:spChg>
        <pc:grpChg chg="mod">
          <ac:chgData name="Emma Jappe Lange" userId="50167a89-1da6-43cb-b919-73793a3e7cc3" providerId="ADAL" clId="{A72C95B2-B9E6-4ABD-BBAD-56D980520408}" dt="2026-04-28T10:33:35.686" v="3069" actId="1076"/>
          <ac:grpSpMkLst>
            <pc:docMk/>
            <pc:sldMk cId="528712359" sldId="2147480629"/>
            <ac:grpSpMk id="23" creationId="{AAEF58B1-C5B8-5A29-D926-4F5DAB931ABC}"/>
          </ac:grpSpMkLst>
        </pc:grpChg>
        <pc:grpChg chg="mod">
          <ac:chgData name="Emma Jappe Lange" userId="50167a89-1da6-43cb-b919-73793a3e7cc3" providerId="ADAL" clId="{A72C95B2-B9E6-4ABD-BBAD-56D980520408}" dt="2026-04-28T10:33:35.686" v="3069" actId="1076"/>
          <ac:grpSpMkLst>
            <pc:docMk/>
            <pc:sldMk cId="528712359" sldId="2147480629"/>
            <ac:grpSpMk id="29" creationId="{784790DA-BF1E-EF08-B138-EADB485F66AA}"/>
          </ac:grpSpMkLst>
        </pc:grpChg>
        <pc:picChg chg="mod">
          <ac:chgData name="Emma Jappe Lange" userId="50167a89-1da6-43cb-b919-73793a3e7cc3" providerId="ADAL" clId="{A72C95B2-B9E6-4ABD-BBAD-56D980520408}" dt="2026-04-28T13:41:27.822" v="3511" actId="1076"/>
          <ac:picMkLst>
            <pc:docMk/>
            <pc:sldMk cId="528712359" sldId="2147480629"/>
            <ac:picMk id="26" creationId="{38525796-5F01-F9AA-BED1-9C367074DD8A}"/>
          </ac:picMkLst>
        </pc:picChg>
      </pc:sldChg>
      <pc:sldChg chg="addSp delSp modSp mod ord">
        <pc:chgData name="Emma Jappe Lange" userId="50167a89-1da6-43cb-b919-73793a3e7cc3" providerId="ADAL" clId="{A72C95B2-B9E6-4ABD-BBAD-56D980520408}" dt="2026-05-05T06:50:03.009" v="11302" actId="20577"/>
        <pc:sldMkLst>
          <pc:docMk/>
          <pc:sldMk cId="857495108" sldId="2147480633"/>
        </pc:sldMkLst>
        <pc:spChg chg="add mod">
          <ac:chgData name="Emma Jappe Lange" userId="50167a89-1da6-43cb-b919-73793a3e7cc3" providerId="ADAL" clId="{A72C95B2-B9E6-4ABD-BBAD-56D980520408}" dt="2026-05-01T09:18:10.508" v="10967" actId="1076"/>
          <ac:spMkLst>
            <pc:docMk/>
            <pc:sldMk cId="857495108" sldId="2147480633"/>
            <ac:spMk id="4" creationId="{B666D0A6-CA26-0DC2-E522-EF005A057B44}"/>
          </ac:spMkLst>
        </pc:spChg>
        <pc:spChg chg="add mod">
          <ac:chgData name="Emma Jappe Lange" userId="50167a89-1da6-43cb-b919-73793a3e7cc3" providerId="ADAL" clId="{A72C95B2-B9E6-4ABD-BBAD-56D980520408}" dt="2026-05-01T09:18:10.508" v="10967" actId="1076"/>
          <ac:spMkLst>
            <pc:docMk/>
            <pc:sldMk cId="857495108" sldId="2147480633"/>
            <ac:spMk id="6" creationId="{20E4D8C5-5DB0-BD85-2C56-E30ED6C3BDA7}"/>
          </ac:spMkLst>
        </pc:spChg>
        <pc:spChg chg="add mod">
          <ac:chgData name="Emma Jappe Lange" userId="50167a89-1da6-43cb-b919-73793a3e7cc3" providerId="ADAL" clId="{A72C95B2-B9E6-4ABD-BBAD-56D980520408}" dt="2026-05-01T08:39:57.867" v="9972"/>
          <ac:spMkLst>
            <pc:docMk/>
            <pc:sldMk cId="857495108" sldId="2147480633"/>
            <ac:spMk id="7" creationId="{02619955-E032-45DD-BAA0-FD603B3BBE89}"/>
          </ac:spMkLst>
        </pc:spChg>
        <pc:spChg chg="mod ord">
          <ac:chgData name="Emma Jappe Lange" userId="50167a89-1da6-43cb-b919-73793a3e7cc3" providerId="ADAL" clId="{A72C95B2-B9E6-4ABD-BBAD-56D980520408}" dt="2026-04-30T09:02:02.264" v="8766" actId="1035"/>
          <ac:spMkLst>
            <pc:docMk/>
            <pc:sldMk cId="857495108" sldId="2147480633"/>
            <ac:spMk id="15" creationId="{22B55ABF-FE9E-94EE-D663-0E04338DC026}"/>
          </ac:spMkLst>
        </pc:spChg>
        <pc:spChg chg="mod">
          <ac:chgData name="Emma Jappe Lange" userId="50167a89-1da6-43cb-b919-73793a3e7cc3" providerId="ADAL" clId="{A72C95B2-B9E6-4ABD-BBAD-56D980520408}" dt="2026-04-30T09:02:07.252" v="8770" actId="1036"/>
          <ac:spMkLst>
            <pc:docMk/>
            <pc:sldMk cId="857495108" sldId="2147480633"/>
            <ac:spMk id="17" creationId="{FD8DC3FF-C2AC-029B-1F16-B30D04E89B7F}"/>
          </ac:spMkLst>
        </pc:spChg>
        <pc:spChg chg="mod">
          <ac:chgData name="Emma Jappe Lange" userId="50167a89-1da6-43cb-b919-73793a3e7cc3" providerId="ADAL" clId="{A72C95B2-B9E6-4ABD-BBAD-56D980520408}" dt="2026-05-01T08:39:57.867" v="9972"/>
          <ac:spMkLst>
            <pc:docMk/>
            <pc:sldMk cId="857495108" sldId="2147480633"/>
            <ac:spMk id="19" creationId="{B070576E-5F44-5D23-E8AC-45B8110A5430}"/>
          </ac:spMkLst>
        </pc:spChg>
        <pc:spChg chg="mod">
          <ac:chgData name="Emma Jappe Lange" userId="50167a89-1da6-43cb-b919-73793a3e7cc3" providerId="ADAL" clId="{A72C95B2-B9E6-4ABD-BBAD-56D980520408}" dt="2026-04-29T11:54:28.572" v="4546"/>
          <ac:spMkLst>
            <pc:docMk/>
            <pc:sldMk cId="857495108" sldId="2147480633"/>
            <ac:spMk id="557" creationId="{9F66F0A2-1E74-6BD8-AD82-83E82FF91DEC}"/>
          </ac:spMkLst>
        </pc:spChg>
        <pc:spChg chg="mod">
          <ac:chgData name="Emma Jappe Lange" userId="50167a89-1da6-43cb-b919-73793a3e7cc3" providerId="ADAL" clId="{A72C95B2-B9E6-4ABD-BBAD-56D980520408}" dt="2026-04-29T11:55:29.975" v="4579"/>
          <ac:spMkLst>
            <pc:docMk/>
            <pc:sldMk cId="857495108" sldId="2147480633"/>
            <ac:spMk id="558" creationId="{19C39D82-8FA0-517D-D05C-E127C613C2FE}"/>
          </ac:spMkLst>
        </pc:spChg>
        <pc:spChg chg="mod">
          <ac:chgData name="Emma Jappe Lange" userId="50167a89-1da6-43cb-b919-73793a3e7cc3" providerId="ADAL" clId="{A72C95B2-B9E6-4ABD-BBAD-56D980520408}" dt="2026-04-29T11:55:27.021" v="4577"/>
          <ac:spMkLst>
            <pc:docMk/>
            <pc:sldMk cId="857495108" sldId="2147480633"/>
            <ac:spMk id="560" creationId="{5061D979-FE8E-4008-B2E6-6B8C078535D8}"/>
          </ac:spMkLst>
        </pc:spChg>
        <pc:spChg chg="mod">
          <ac:chgData name="Emma Jappe Lange" userId="50167a89-1da6-43cb-b919-73793a3e7cc3" providerId="ADAL" clId="{A72C95B2-B9E6-4ABD-BBAD-56D980520408}" dt="2026-04-29T11:55:04.876" v="4559"/>
          <ac:spMkLst>
            <pc:docMk/>
            <pc:sldMk cId="857495108" sldId="2147480633"/>
            <ac:spMk id="561" creationId="{755D8FBB-C34F-E0A0-63D4-2A92BB3828AD}"/>
          </ac:spMkLst>
        </pc:spChg>
        <pc:spChg chg="mod">
          <ac:chgData name="Emma Jappe Lange" userId="50167a89-1da6-43cb-b919-73793a3e7cc3" providerId="ADAL" clId="{A72C95B2-B9E6-4ABD-BBAD-56D980520408}" dt="2026-04-30T09:01:50.852" v="8760" actId="20577"/>
          <ac:spMkLst>
            <pc:docMk/>
            <pc:sldMk cId="857495108" sldId="2147480633"/>
            <ac:spMk id="1050" creationId="{6E7DCB37-4B55-CCE1-7053-13B984F03756}"/>
          </ac:spMkLst>
        </pc:spChg>
        <pc:spChg chg="mod ord">
          <ac:chgData name="Emma Jappe Lange" userId="50167a89-1da6-43cb-b919-73793a3e7cc3" providerId="ADAL" clId="{A72C95B2-B9E6-4ABD-BBAD-56D980520408}" dt="2026-04-30T09:02:02.264" v="8766" actId="1035"/>
          <ac:spMkLst>
            <pc:docMk/>
            <pc:sldMk cId="857495108" sldId="2147480633"/>
            <ac:spMk id="1051" creationId="{41442BC9-97B9-254E-B68D-C5E06FB9CBA7}"/>
          </ac:spMkLst>
        </pc:spChg>
        <pc:spChg chg="mod">
          <ac:chgData name="Emma Jappe Lange" userId="50167a89-1da6-43cb-b919-73793a3e7cc3" providerId="ADAL" clId="{A72C95B2-B9E6-4ABD-BBAD-56D980520408}" dt="2026-05-05T06:50:03.009" v="11302" actId="20577"/>
          <ac:spMkLst>
            <pc:docMk/>
            <pc:sldMk cId="857495108" sldId="2147480633"/>
            <ac:spMk id="1084" creationId="{F7B2E0A1-6D19-0E25-CFA5-3C0F9623EEF0}"/>
          </ac:spMkLst>
        </pc:spChg>
      </pc:sldChg>
      <pc:sldChg chg="addSp delSp modSp add mod">
        <pc:chgData name="Emma Jappe Lange" userId="50167a89-1da6-43cb-b919-73793a3e7cc3" providerId="ADAL" clId="{A72C95B2-B9E6-4ABD-BBAD-56D980520408}" dt="2026-05-01T07:20:08.304" v="9969" actId="20577"/>
        <pc:sldMkLst>
          <pc:docMk/>
          <pc:sldMk cId="3619368324" sldId="2147483146"/>
        </pc:sldMkLst>
        <pc:spChg chg="mod">
          <ac:chgData name="Emma Jappe Lange" userId="50167a89-1da6-43cb-b919-73793a3e7cc3" providerId="ADAL" clId="{A72C95B2-B9E6-4ABD-BBAD-56D980520408}" dt="2026-04-30T08:31:56.674" v="8147" actId="1076"/>
          <ac:spMkLst>
            <pc:docMk/>
            <pc:sldMk cId="3619368324" sldId="2147483146"/>
            <ac:spMk id="2" creationId="{1B417F89-E31B-0CBE-0330-C328F4764029}"/>
          </ac:spMkLst>
        </pc:spChg>
        <pc:spChg chg="mod">
          <ac:chgData name="Emma Jappe Lange" userId="50167a89-1da6-43cb-b919-73793a3e7cc3" providerId="ADAL" clId="{A72C95B2-B9E6-4ABD-BBAD-56D980520408}" dt="2026-04-30T12:06:39.603" v="9776" actId="20577"/>
          <ac:spMkLst>
            <pc:docMk/>
            <pc:sldMk cId="3619368324" sldId="2147483146"/>
            <ac:spMk id="9" creationId="{218FF9AE-FC39-E20C-A08F-FC436DA99022}"/>
          </ac:spMkLst>
        </pc:spChg>
        <pc:spChg chg="mod topLvl">
          <ac:chgData name="Emma Jappe Lange" userId="50167a89-1da6-43cb-b919-73793a3e7cc3" providerId="ADAL" clId="{A72C95B2-B9E6-4ABD-BBAD-56D980520408}" dt="2026-04-30T12:05:47.545" v="9753" actId="1036"/>
          <ac:spMkLst>
            <pc:docMk/>
            <pc:sldMk cId="3619368324" sldId="2147483146"/>
            <ac:spMk id="12" creationId="{3D8A4094-6486-7B88-F079-04B87AD33835}"/>
          </ac:spMkLst>
        </pc:spChg>
        <pc:spChg chg="add mod">
          <ac:chgData name="Emma Jappe Lange" userId="50167a89-1da6-43cb-b919-73793a3e7cc3" providerId="ADAL" clId="{A72C95B2-B9E6-4ABD-BBAD-56D980520408}" dt="2026-04-30T17:40:38.018" v="9966"/>
          <ac:spMkLst>
            <pc:docMk/>
            <pc:sldMk cId="3619368324" sldId="2147483146"/>
            <ac:spMk id="15" creationId="{E0CCA05E-737D-6C6E-A7F5-8AF3A2569966}"/>
          </ac:spMkLst>
        </pc:spChg>
        <pc:spChg chg="add mod">
          <ac:chgData name="Emma Jappe Lange" userId="50167a89-1da6-43cb-b919-73793a3e7cc3" providerId="ADAL" clId="{A72C95B2-B9E6-4ABD-BBAD-56D980520408}" dt="2026-04-30T12:07:36.923" v="9808" actId="1038"/>
          <ac:spMkLst>
            <pc:docMk/>
            <pc:sldMk cId="3619368324" sldId="2147483146"/>
            <ac:spMk id="16" creationId="{66348E98-94EC-778F-8E97-A0AC2B19F3D8}"/>
          </ac:spMkLst>
        </pc:spChg>
        <pc:spChg chg="mod topLvl">
          <ac:chgData name="Emma Jappe Lange" userId="50167a89-1da6-43cb-b919-73793a3e7cc3" providerId="ADAL" clId="{A72C95B2-B9E6-4ABD-BBAD-56D980520408}" dt="2026-04-30T12:05:47.545" v="9753" actId="1036"/>
          <ac:spMkLst>
            <pc:docMk/>
            <pc:sldMk cId="3619368324" sldId="2147483146"/>
            <ac:spMk id="19" creationId="{FF9C2BC3-EB99-2D77-253D-7AEC7BF77E03}"/>
          </ac:spMkLst>
        </pc:spChg>
        <pc:spChg chg="add mod">
          <ac:chgData name="Emma Jappe Lange" userId="50167a89-1da6-43cb-b919-73793a3e7cc3" providerId="ADAL" clId="{A72C95B2-B9E6-4ABD-BBAD-56D980520408}" dt="2026-04-30T17:40:43.697" v="9967" actId="1036"/>
          <ac:spMkLst>
            <pc:docMk/>
            <pc:sldMk cId="3619368324" sldId="2147483146"/>
            <ac:spMk id="21" creationId="{0B7F161F-D533-AC67-31D0-3DA314BE4851}"/>
          </ac:spMkLst>
        </pc:spChg>
        <pc:spChg chg="mod">
          <ac:chgData name="Emma Jappe Lange" userId="50167a89-1da6-43cb-b919-73793a3e7cc3" providerId="ADAL" clId="{A72C95B2-B9E6-4ABD-BBAD-56D980520408}" dt="2026-04-30T12:06:23.423" v="9773" actId="1035"/>
          <ac:spMkLst>
            <pc:docMk/>
            <pc:sldMk cId="3619368324" sldId="2147483146"/>
            <ac:spMk id="22" creationId="{7BC64D40-F1E5-3576-0F31-76D3835DC6C3}"/>
          </ac:spMkLst>
        </pc:spChg>
        <pc:spChg chg="add mod">
          <ac:chgData name="Emma Jappe Lange" userId="50167a89-1da6-43cb-b919-73793a3e7cc3" providerId="ADAL" clId="{A72C95B2-B9E6-4ABD-BBAD-56D980520408}" dt="2026-04-30T12:07:13.620" v="9791" actId="1037"/>
          <ac:spMkLst>
            <pc:docMk/>
            <pc:sldMk cId="3619368324" sldId="2147483146"/>
            <ac:spMk id="24" creationId="{FCFA8F7F-9C41-58DE-5CB8-6D2EAE8E4860}"/>
          </ac:spMkLst>
        </pc:spChg>
        <pc:spChg chg="add mod">
          <ac:chgData name="Emma Jappe Lange" userId="50167a89-1da6-43cb-b919-73793a3e7cc3" providerId="ADAL" clId="{A72C95B2-B9E6-4ABD-BBAD-56D980520408}" dt="2026-04-30T12:07:19.198" v="9798" actId="1037"/>
          <ac:spMkLst>
            <pc:docMk/>
            <pc:sldMk cId="3619368324" sldId="2147483146"/>
            <ac:spMk id="25" creationId="{F6CA2C35-EB9A-85F7-E9FA-47AF09EB5024}"/>
          </ac:spMkLst>
        </pc:spChg>
        <pc:spChg chg="add mod">
          <ac:chgData name="Emma Jappe Lange" userId="50167a89-1da6-43cb-b919-73793a3e7cc3" providerId="ADAL" clId="{A72C95B2-B9E6-4ABD-BBAD-56D980520408}" dt="2026-04-30T09:04:55.245" v="8788"/>
          <ac:spMkLst>
            <pc:docMk/>
            <pc:sldMk cId="3619368324" sldId="2147483146"/>
            <ac:spMk id="26" creationId="{62658089-1A7E-C03B-C32E-CE2E8C2B5E7A}"/>
          </ac:spMkLst>
        </pc:spChg>
        <pc:spChg chg="mod">
          <ac:chgData name="Emma Jappe Lange" userId="50167a89-1da6-43cb-b919-73793a3e7cc3" providerId="ADAL" clId="{A72C95B2-B9E6-4ABD-BBAD-56D980520408}" dt="2026-04-30T12:04:46.101" v="9747" actId="1076"/>
          <ac:spMkLst>
            <pc:docMk/>
            <pc:sldMk cId="3619368324" sldId="2147483146"/>
            <ac:spMk id="28" creationId="{F3456AFD-2FC9-79DB-8368-EA75871B1AC9}"/>
          </ac:spMkLst>
        </pc:spChg>
        <pc:spChg chg="mod topLvl">
          <ac:chgData name="Emma Jappe Lange" userId="50167a89-1da6-43cb-b919-73793a3e7cc3" providerId="ADAL" clId="{A72C95B2-B9E6-4ABD-BBAD-56D980520408}" dt="2026-05-01T07:20:08.304" v="9969" actId="20577"/>
          <ac:spMkLst>
            <pc:docMk/>
            <pc:sldMk cId="3619368324" sldId="2147483146"/>
            <ac:spMk id="29" creationId="{595E3E87-3E96-0D30-DCBD-972B63153DBC}"/>
          </ac:spMkLst>
        </pc:spChg>
        <pc:spChg chg="mod topLvl">
          <ac:chgData name="Emma Jappe Lange" userId="50167a89-1da6-43cb-b919-73793a3e7cc3" providerId="ADAL" clId="{A72C95B2-B9E6-4ABD-BBAD-56D980520408}" dt="2026-04-30T12:06:09.051" v="9763" actId="1035"/>
          <ac:spMkLst>
            <pc:docMk/>
            <pc:sldMk cId="3619368324" sldId="2147483146"/>
            <ac:spMk id="30" creationId="{D3BCBCFA-78B7-E687-2A6A-985F6F26EF17}"/>
          </ac:spMkLst>
        </pc:spChg>
        <pc:spChg chg="mod">
          <ac:chgData name="Emma Jappe Lange" userId="50167a89-1da6-43cb-b919-73793a3e7cc3" providerId="ADAL" clId="{A72C95B2-B9E6-4ABD-BBAD-56D980520408}" dt="2026-04-30T12:06:23.423" v="9773" actId="1035"/>
          <ac:spMkLst>
            <pc:docMk/>
            <pc:sldMk cId="3619368324" sldId="2147483146"/>
            <ac:spMk id="36" creationId="{81E740A6-82EA-89B7-F15F-7A75BA7C237E}"/>
          </ac:spMkLst>
        </pc:spChg>
        <pc:spChg chg="add del mod">
          <ac:chgData name="Emma Jappe Lange" userId="50167a89-1da6-43cb-b919-73793a3e7cc3" providerId="ADAL" clId="{A72C95B2-B9E6-4ABD-BBAD-56D980520408}" dt="2026-04-30T12:06:23.423" v="9773" actId="1035"/>
          <ac:spMkLst>
            <pc:docMk/>
            <pc:sldMk cId="3619368324" sldId="2147483146"/>
            <ac:spMk id="41" creationId="{1F7462D1-A711-EC2C-EA6D-BF7D2395F8BD}"/>
          </ac:spMkLst>
        </pc:spChg>
        <pc:spChg chg="mod topLvl">
          <ac:chgData name="Emma Jappe Lange" userId="50167a89-1da6-43cb-b919-73793a3e7cc3" providerId="ADAL" clId="{A72C95B2-B9E6-4ABD-BBAD-56D980520408}" dt="2026-04-30T12:06:09.051" v="9763" actId="1035"/>
          <ac:spMkLst>
            <pc:docMk/>
            <pc:sldMk cId="3619368324" sldId="2147483146"/>
            <ac:spMk id="42" creationId="{42B181B6-FA02-648E-2F2F-8B928724D2A7}"/>
          </ac:spMkLst>
        </pc:spChg>
        <pc:spChg chg="mod">
          <ac:chgData name="Emma Jappe Lange" userId="50167a89-1da6-43cb-b919-73793a3e7cc3" providerId="ADAL" clId="{A72C95B2-B9E6-4ABD-BBAD-56D980520408}" dt="2026-04-30T12:06:23.423" v="9773" actId="1035"/>
          <ac:spMkLst>
            <pc:docMk/>
            <pc:sldMk cId="3619368324" sldId="2147483146"/>
            <ac:spMk id="46" creationId="{CF447E0F-55E2-3A75-81D7-8853671E172C}"/>
          </ac:spMkLst>
        </pc:spChg>
        <pc:spChg chg="mod">
          <ac:chgData name="Emma Jappe Lange" userId="50167a89-1da6-43cb-b919-73793a3e7cc3" providerId="ADAL" clId="{A72C95B2-B9E6-4ABD-BBAD-56D980520408}" dt="2026-04-30T12:06:23.423" v="9773" actId="1035"/>
          <ac:spMkLst>
            <pc:docMk/>
            <pc:sldMk cId="3619368324" sldId="2147483146"/>
            <ac:spMk id="47" creationId="{A31EFBB1-C43E-4EB4-0E78-82A4CF5B8123}"/>
          </ac:spMkLst>
        </pc:spChg>
        <pc:spChg chg="add mod ord">
          <ac:chgData name="Emma Jappe Lange" userId="50167a89-1da6-43cb-b919-73793a3e7cc3" providerId="ADAL" clId="{A72C95B2-B9E6-4ABD-BBAD-56D980520408}" dt="2026-04-30T12:01:32.302" v="9554" actId="167"/>
          <ac:spMkLst>
            <pc:docMk/>
            <pc:sldMk cId="3619368324" sldId="2147483146"/>
            <ac:spMk id="53" creationId="{4BC975D5-7855-3A7A-17AC-E694663ACCA8}"/>
          </ac:spMkLst>
        </pc:spChg>
        <pc:spChg chg="add mod ord">
          <ac:chgData name="Emma Jappe Lange" userId="50167a89-1da6-43cb-b919-73793a3e7cc3" providerId="ADAL" clId="{A72C95B2-B9E6-4ABD-BBAD-56D980520408}" dt="2026-04-30T12:06:09.051" v="9763" actId="1035"/>
          <ac:spMkLst>
            <pc:docMk/>
            <pc:sldMk cId="3619368324" sldId="2147483146"/>
            <ac:spMk id="55" creationId="{1E6D608A-4369-A650-3C9A-FD46727E32FE}"/>
          </ac:spMkLst>
        </pc:spChg>
        <pc:spChg chg="add mod ord">
          <ac:chgData name="Emma Jappe Lange" userId="50167a89-1da6-43cb-b919-73793a3e7cc3" providerId="ADAL" clId="{A72C95B2-B9E6-4ABD-BBAD-56D980520408}" dt="2026-04-30T12:01:32.302" v="9554" actId="167"/>
          <ac:spMkLst>
            <pc:docMk/>
            <pc:sldMk cId="3619368324" sldId="2147483146"/>
            <ac:spMk id="56" creationId="{7AFB0A9B-C10E-8880-132B-593D4D9BD944}"/>
          </ac:spMkLst>
        </pc:spChg>
        <pc:spChg chg="mod">
          <ac:chgData name="Emma Jappe Lange" userId="50167a89-1da6-43cb-b919-73793a3e7cc3" providerId="ADAL" clId="{A72C95B2-B9E6-4ABD-BBAD-56D980520408}" dt="2026-04-30T12:05:56.643" v="9756" actId="1035"/>
          <ac:spMkLst>
            <pc:docMk/>
            <pc:sldMk cId="3619368324" sldId="2147483146"/>
            <ac:spMk id="59" creationId="{F6C90337-6E6F-4C1D-991B-6EC23C7921C7}"/>
          </ac:spMkLst>
        </pc:spChg>
        <pc:graphicFrameChg chg="mod">
          <ac:chgData name="Emma Jappe Lange" userId="50167a89-1da6-43cb-b919-73793a3e7cc3" providerId="ADAL" clId="{A72C95B2-B9E6-4ABD-BBAD-56D980520408}" dt="2026-04-30T12:07:32.821" v="9802"/>
          <ac:graphicFrameMkLst>
            <pc:docMk/>
            <pc:sldMk cId="3619368324" sldId="2147483146"/>
            <ac:graphicFrameMk id="107" creationId="{2F1A244C-E668-BB80-5035-AE56210EF29E}"/>
          </ac:graphicFrameMkLst>
        </pc:graphicFrameChg>
        <pc:picChg chg="mod ord topLvl">
          <ac:chgData name="Emma Jappe Lange" userId="50167a89-1da6-43cb-b919-73793a3e7cc3" providerId="ADAL" clId="{A72C95B2-B9E6-4ABD-BBAD-56D980520408}" dt="2026-04-30T12:00:10.814" v="9549" actId="166"/>
          <ac:picMkLst>
            <pc:docMk/>
            <pc:sldMk cId="3619368324" sldId="2147483146"/>
            <ac:picMk id="35" creationId="{C7B53A8C-39FB-B8A1-6F83-B0B8F74FC955}"/>
          </ac:picMkLst>
        </pc:picChg>
        <pc:picChg chg="mod ord topLvl">
          <ac:chgData name="Emma Jappe Lange" userId="50167a89-1da6-43cb-b919-73793a3e7cc3" providerId="ADAL" clId="{A72C95B2-B9E6-4ABD-BBAD-56D980520408}" dt="2026-04-30T12:00:10.814" v="9549" actId="166"/>
          <ac:picMkLst>
            <pc:docMk/>
            <pc:sldMk cId="3619368324" sldId="2147483146"/>
            <ac:picMk id="40" creationId="{13E14469-D91E-18B9-0DF9-7D4492405626}"/>
          </ac:picMkLst>
        </pc:picChg>
        <pc:picChg chg="add mod ord">
          <ac:chgData name="Emma Jappe Lange" userId="50167a89-1da6-43cb-b919-73793a3e7cc3" providerId="ADAL" clId="{A72C95B2-B9E6-4ABD-BBAD-56D980520408}" dt="2026-04-30T12:04:46.101" v="9747" actId="1076"/>
          <ac:picMkLst>
            <pc:docMk/>
            <pc:sldMk cId="3619368324" sldId="2147483146"/>
            <ac:picMk id="48" creationId="{0C937B1E-919D-6E84-8B1A-EF85FB5C323E}"/>
          </ac:picMkLst>
        </pc:picChg>
        <pc:picChg chg="add mod ord">
          <ac:chgData name="Emma Jappe Lange" userId="50167a89-1da6-43cb-b919-73793a3e7cc3" providerId="ADAL" clId="{A72C95B2-B9E6-4ABD-BBAD-56D980520408}" dt="2026-04-30T12:04:46.101" v="9747" actId="1076"/>
          <ac:picMkLst>
            <pc:docMk/>
            <pc:sldMk cId="3619368324" sldId="2147483146"/>
            <ac:picMk id="49" creationId="{73F6561F-3778-3B2D-7168-6D693AD1E96E}"/>
          </ac:picMkLst>
        </pc:picChg>
        <pc:picChg chg="mod ord topLvl">
          <ac:chgData name="Emma Jappe Lange" userId="50167a89-1da6-43cb-b919-73793a3e7cc3" providerId="ADAL" clId="{A72C95B2-B9E6-4ABD-BBAD-56D980520408}" dt="2026-04-30T12:04:46.101" v="9747" actId="1076"/>
          <ac:picMkLst>
            <pc:docMk/>
            <pc:sldMk cId="3619368324" sldId="2147483146"/>
            <ac:picMk id="50" creationId="{371B1274-2BFC-D977-F56B-73769C1C2E10}"/>
          </ac:picMkLst>
        </pc:picChg>
        <pc:picChg chg="add mod ord">
          <ac:chgData name="Emma Jappe Lange" userId="50167a89-1da6-43cb-b919-73793a3e7cc3" providerId="ADAL" clId="{A72C95B2-B9E6-4ABD-BBAD-56D980520408}" dt="2026-04-30T12:04:46.101" v="9747" actId="1076"/>
          <ac:picMkLst>
            <pc:docMk/>
            <pc:sldMk cId="3619368324" sldId="2147483146"/>
            <ac:picMk id="51" creationId="{040FE5B4-5676-910C-C654-7385873AD263}"/>
          </ac:picMkLst>
        </pc:picChg>
        <pc:picChg chg="add mod ord">
          <ac:chgData name="Emma Jappe Lange" userId="50167a89-1da6-43cb-b919-73793a3e7cc3" providerId="ADAL" clId="{A72C95B2-B9E6-4ABD-BBAD-56D980520408}" dt="2026-04-30T12:04:46.101" v="9747" actId="1076"/>
          <ac:picMkLst>
            <pc:docMk/>
            <pc:sldMk cId="3619368324" sldId="2147483146"/>
            <ac:picMk id="52" creationId="{D0370590-1C8E-8C63-1F13-3EB5A0421432}"/>
          </ac:picMkLst>
        </pc:picChg>
        <pc:cxnChg chg="mod">
          <ac:chgData name="Emma Jappe Lange" userId="50167a89-1da6-43cb-b919-73793a3e7cc3" providerId="ADAL" clId="{A72C95B2-B9E6-4ABD-BBAD-56D980520408}" dt="2026-04-30T08:31:43.596" v="8141" actId="1037"/>
          <ac:cxnSpMkLst>
            <pc:docMk/>
            <pc:sldMk cId="3619368324" sldId="2147483146"/>
            <ac:cxnSpMk id="23" creationId="{4F9B0172-3AFD-D45E-4D49-DCC41B751AA1}"/>
          </ac:cxnSpMkLst>
        </pc:cxnChg>
        <pc:cxnChg chg="mod">
          <ac:chgData name="Emma Jappe Lange" userId="50167a89-1da6-43cb-b919-73793a3e7cc3" providerId="ADAL" clId="{A72C95B2-B9E6-4ABD-BBAD-56D980520408}" dt="2026-04-30T08:31:43.596" v="8141" actId="1037"/>
          <ac:cxnSpMkLst>
            <pc:docMk/>
            <pc:sldMk cId="3619368324" sldId="2147483146"/>
            <ac:cxnSpMk id="27" creationId="{1304F5A4-28B0-6293-05BA-B3308AD1DBF4}"/>
          </ac:cxnSpMkLst>
        </pc:cxnChg>
        <pc:cxnChg chg="mod">
          <ac:chgData name="Emma Jappe Lange" userId="50167a89-1da6-43cb-b919-73793a3e7cc3" providerId="ADAL" clId="{A72C95B2-B9E6-4ABD-BBAD-56D980520408}" dt="2026-04-30T08:31:43.596" v="8141" actId="1037"/>
          <ac:cxnSpMkLst>
            <pc:docMk/>
            <pc:sldMk cId="3619368324" sldId="2147483146"/>
            <ac:cxnSpMk id="54" creationId="{DD2FD0E3-B339-5FEA-9EEC-51553A419AFC}"/>
          </ac:cxnSpMkLst>
        </pc:cxnChg>
      </pc:sldChg>
      <pc:sldChg chg="add ord">
        <pc:chgData name="Emma Jappe Lange" userId="50167a89-1da6-43cb-b919-73793a3e7cc3" providerId="ADAL" clId="{A72C95B2-B9E6-4ABD-BBAD-56D980520408}" dt="2026-05-13T06:46:19.606" v="11314"/>
        <pc:sldMkLst>
          <pc:docMk/>
          <pc:sldMk cId="3444173768" sldId="2147483159"/>
        </pc:sldMkLst>
      </pc:sldChg>
      <pc:sldChg chg="addSp delSp modSp add mod">
        <pc:chgData name="Emma Jappe Lange" userId="50167a89-1da6-43cb-b919-73793a3e7cc3" providerId="ADAL" clId="{A72C95B2-B9E6-4ABD-BBAD-56D980520408}" dt="2026-05-01T08:54:22.481" v="10376" actId="20577"/>
        <pc:sldMkLst>
          <pc:docMk/>
          <pc:sldMk cId="4131079704" sldId="2147483160"/>
        </pc:sldMkLst>
        <pc:spChg chg="add mod">
          <ac:chgData name="Emma Jappe Lange" userId="50167a89-1da6-43cb-b919-73793a3e7cc3" providerId="ADAL" clId="{A72C95B2-B9E6-4ABD-BBAD-56D980520408}" dt="2026-05-01T08:54:22.481" v="10376" actId="20577"/>
          <ac:spMkLst>
            <pc:docMk/>
            <pc:sldMk cId="4131079704" sldId="2147483160"/>
            <ac:spMk id="2" creationId="{8BA42E7C-E637-B4B0-35AC-B59429B846CF}"/>
          </ac:spMkLst>
        </pc:spChg>
        <pc:spChg chg="add mod">
          <ac:chgData name="Emma Jappe Lange" userId="50167a89-1da6-43cb-b919-73793a3e7cc3" providerId="ADAL" clId="{A72C95B2-B9E6-4ABD-BBAD-56D980520408}" dt="2026-05-01T08:54:06.372" v="10365" actId="208"/>
          <ac:spMkLst>
            <pc:docMk/>
            <pc:sldMk cId="4131079704" sldId="2147483160"/>
            <ac:spMk id="3" creationId="{BD2B4C48-EEFF-BB43-3331-D75F78936829}"/>
          </ac:spMkLst>
        </pc:spChg>
        <pc:spChg chg="add mod">
          <ac:chgData name="Emma Jappe Lange" userId="50167a89-1da6-43cb-b919-73793a3e7cc3" providerId="ADAL" clId="{A72C95B2-B9E6-4ABD-BBAD-56D980520408}" dt="2026-05-01T08:54:06.372" v="10365" actId="208"/>
          <ac:spMkLst>
            <pc:docMk/>
            <pc:sldMk cId="4131079704" sldId="2147483160"/>
            <ac:spMk id="5" creationId="{69D73688-D037-3D9E-C2FD-3B50F65B000E}"/>
          </ac:spMkLst>
        </pc:spChg>
        <pc:spChg chg="mod">
          <ac:chgData name="Emma Jappe Lange" userId="50167a89-1da6-43cb-b919-73793a3e7cc3" providerId="ADAL" clId="{A72C95B2-B9E6-4ABD-BBAD-56D980520408}" dt="2026-05-01T08:53:03.840" v="10349" actId="1035"/>
          <ac:spMkLst>
            <pc:docMk/>
            <pc:sldMk cId="4131079704" sldId="2147483160"/>
            <ac:spMk id="21" creationId="{A8C68FBF-6222-F8A7-F843-ABB8C0F01847}"/>
          </ac:spMkLst>
        </pc:spChg>
        <pc:spChg chg="mod">
          <ac:chgData name="Emma Jappe Lange" userId="50167a89-1da6-43cb-b919-73793a3e7cc3" providerId="ADAL" clId="{A72C95B2-B9E6-4ABD-BBAD-56D980520408}" dt="2026-05-01T08:53:03.840" v="10349" actId="1035"/>
          <ac:spMkLst>
            <pc:docMk/>
            <pc:sldMk cId="4131079704" sldId="2147483160"/>
            <ac:spMk id="54" creationId="{019873DD-2145-B9F8-6F71-166112D090EE}"/>
          </ac:spMkLst>
        </pc:spChg>
        <pc:spChg chg="mod">
          <ac:chgData name="Emma Jappe Lange" userId="50167a89-1da6-43cb-b919-73793a3e7cc3" providerId="ADAL" clId="{A72C95B2-B9E6-4ABD-BBAD-56D980520408}" dt="2026-05-01T08:53:03.840" v="10349" actId="1035"/>
          <ac:spMkLst>
            <pc:docMk/>
            <pc:sldMk cId="4131079704" sldId="2147483160"/>
            <ac:spMk id="8066" creationId="{26859256-077E-67BE-57C2-07869D7B64B6}"/>
          </ac:spMkLst>
        </pc:spChg>
        <pc:spChg chg="mod">
          <ac:chgData name="Emma Jappe Lange" userId="50167a89-1da6-43cb-b919-73793a3e7cc3" providerId="ADAL" clId="{A72C95B2-B9E6-4ABD-BBAD-56D980520408}" dt="2026-05-01T08:53:03.840" v="10349" actId="1035"/>
          <ac:spMkLst>
            <pc:docMk/>
            <pc:sldMk cId="4131079704" sldId="2147483160"/>
            <ac:spMk id="8068" creationId="{96D79A62-1AA1-9CF7-B455-695B3767F686}"/>
          </ac:spMkLst>
        </pc:spChg>
        <pc:spChg chg="mod">
          <ac:chgData name="Emma Jappe Lange" userId="50167a89-1da6-43cb-b919-73793a3e7cc3" providerId="ADAL" clId="{A72C95B2-B9E6-4ABD-BBAD-56D980520408}" dt="2026-05-01T08:53:03.840" v="10349" actId="1035"/>
          <ac:spMkLst>
            <pc:docMk/>
            <pc:sldMk cId="4131079704" sldId="2147483160"/>
            <ac:spMk id="9776" creationId="{E5740AED-70C6-1E05-238F-1B5D8BAAFFCD}"/>
          </ac:spMkLst>
        </pc:spChg>
        <pc:spChg chg="mod">
          <ac:chgData name="Emma Jappe Lange" userId="50167a89-1da6-43cb-b919-73793a3e7cc3" providerId="ADAL" clId="{A72C95B2-B9E6-4ABD-BBAD-56D980520408}" dt="2026-05-01T08:53:03.840" v="10349" actId="1035"/>
          <ac:spMkLst>
            <pc:docMk/>
            <pc:sldMk cId="4131079704" sldId="2147483160"/>
            <ac:spMk id="9777" creationId="{E55936C4-BAB7-DF42-C445-AC49FE4EF0E0}"/>
          </ac:spMkLst>
        </pc:spChg>
        <pc:spChg chg="mod">
          <ac:chgData name="Emma Jappe Lange" userId="50167a89-1da6-43cb-b919-73793a3e7cc3" providerId="ADAL" clId="{A72C95B2-B9E6-4ABD-BBAD-56D980520408}" dt="2026-05-01T08:53:03.840" v="10349" actId="1035"/>
          <ac:spMkLst>
            <pc:docMk/>
            <pc:sldMk cId="4131079704" sldId="2147483160"/>
            <ac:spMk id="10849" creationId="{2E6D0AF7-FEE1-120E-8BF5-302AE873B229}"/>
          </ac:spMkLst>
        </pc:spChg>
        <pc:grpChg chg="mod">
          <ac:chgData name="Emma Jappe Lange" userId="50167a89-1da6-43cb-b919-73793a3e7cc3" providerId="ADAL" clId="{A72C95B2-B9E6-4ABD-BBAD-56D980520408}" dt="2026-05-01T08:53:03.840" v="10349" actId="1035"/>
          <ac:grpSpMkLst>
            <pc:docMk/>
            <pc:sldMk cId="4131079704" sldId="2147483160"/>
            <ac:grpSpMk id="8127" creationId="{3271FA81-2C8A-7379-EF86-96140CFD4A0B}"/>
          </ac:grpSpMkLst>
        </pc:grpChg>
        <pc:graphicFrameChg chg="mod">
          <ac:chgData name="Emma Jappe Lange" userId="50167a89-1da6-43cb-b919-73793a3e7cc3" providerId="ADAL" clId="{A72C95B2-B9E6-4ABD-BBAD-56D980520408}" dt="2026-05-01T08:53:03.840" v="10349" actId="1035"/>
          <ac:graphicFrameMkLst>
            <pc:docMk/>
            <pc:sldMk cId="4131079704" sldId="2147483160"/>
            <ac:graphicFrameMk id="10847" creationId="{8B22461F-C43D-B366-D1C7-D59555880288}"/>
          </ac:graphicFrameMkLst>
        </pc:graphicFrameChg>
      </pc:sldChg>
      <pc:sldChg chg="addSp modSp mod modCm">
        <pc:chgData name="Emma Jappe Lange" userId="50167a89-1da6-43cb-b919-73793a3e7cc3" providerId="ADAL" clId="{A72C95B2-B9E6-4ABD-BBAD-56D980520408}" dt="2026-05-05T06:50:10.427" v="11306" actId="6549"/>
        <pc:sldMkLst>
          <pc:docMk/>
          <pc:sldMk cId="3761536524" sldId="2147483162"/>
        </pc:sldMkLst>
        <pc:spChg chg="mod">
          <ac:chgData name="Emma Jappe Lange" userId="50167a89-1da6-43cb-b919-73793a3e7cc3" providerId="ADAL" clId="{A72C95B2-B9E6-4ABD-BBAD-56D980520408}" dt="2026-05-01T12:07:09.819" v="10968" actId="20577"/>
          <ac:spMkLst>
            <pc:docMk/>
            <pc:sldMk cId="3761536524" sldId="2147483162"/>
            <ac:spMk id="2" creationId="{3FF57575-5D14-F523-0311-71B892F2B51D}"/>
          </ac:spMkLst>
        </pc:spChg>
        <pc:spChg chg="mod">
          <ac:chgData name="Emma Jappe Lange" userId="50167a89-1da6-43cb-b919-73793a3e7cc3" providerId="ADAL" clId="{A72C95B2-B9E6-4ABD-BBAD-56D980520408}" dt="2026-05-01T09:08:01.105" v="10843"/>
          <ac:spMkLst>
            <pc:docMk/>
            <pc:sldMk cId="3761536524" sldId="2147483162"/>
            <ac:spMk id="7" creationId="{A89A9A95-E915-683D-EEE4-EFEA2BC6EB61}"/>
          </ac:spMkLst>
        </pc:spChg>
        <pc:spChg chg="mod">
          <ac:chgData name="Emma Jappe Lange" userId="50167a89-1da6-43cb-b919-73793a3e7cc3" providerId="ADAL" clId="{A72C95B2-B9E6-4ABD-BBAD-56D980520408}" dt="2026-05-05T06:41:32.943" v="11252" actId="14100"/>
          <ac:spMkLst>
            <pc:docMk/>
            <pc:sldMk cId="3761536524" sldId="2147483162"/>
            <ac:spMk id="8" creationId="{FA0B3E93-3AC6-5315-1E72-E655423393A6}"/>
          </ac:spMkLst>
        </pc:spChg>
        <pc:spChg chg="mod">
          <ac:chgData name="Emma Jappe Lange" userId="50167a89-1da6-43cb-b919-73793a3e7cc3" providerId="ADAL" clId="{A72C95B2-B9E6-4ABD-BBAD-56D980520408}" dt="2026-05-05T06:41:37.188" v="11253" actId="14100"/>
          <ac:spMkLst>
            <pc:docMk/>
            <pc:sldMk cId="3761536524" sldId="2147483162"/>
            <ac:spMk id="9" creationId="{D745D441-71B6-4FA0-98D2-AB178BDAA683}"/>
          </ac:spMkLst>
        </pc:spChg>
        <pc:spChg chg="mod">
          <ac:chgData name="Emma Jappe Lange" userId="50167a89-1da6-43cb-b919-73793a3e7cc3" providerId="ADAL" clId="{A72C95B2-B9E6-4ABD-BBAD-56D980520408}" dt="2026-05-05T06:42:21.306" v="11289" actId="1035"/>
          <ac:spMkLst>
            <pc:docMk/>
            <pc:sldMk cId="3761536524" sldId="2147483162"/>
            <ac:spMk id="10" creationId="{2BFF56D0-C490-41DB-8900-8C70B28FDCFF}"/>
          </ac:spMkLst>
        </pc:spChg>
        <pc:spChg chg="mod">
          <ac:chgData name="Emma Jappe Lange" userId="50167a89-1da6-43cb-b919-73793a3e7cc3" providerId="ADAL" clId="{A72C95B2-B9E6-4ABD-BBAD-56D980520408}" dt="2026-05-05T06:50:10.427" v="11306" actId="6549"/>
          <ac:spMkLst>
            <pc:docMk/>
            <pc:sldMk cId="3761536524" sldId="2147483162"/>
            <ac:spMk id="12" creationId="{9EB87BA9-B6D2-CD18-21C9-2879BE2AC68D}"/>
          </ac:spMkLst>
        </pc:spChg>
        <pc:picChg chg="mod">
          <ac:chgData name="Emma Jappe Lange" userId="50167a89-1da6-43cb-b919-73793a3e7cc3" providerId="ADAL" clId="{A72C95B2-B9E6-4ABD-BBAD-56D980520408}" dt="2026-05-01T09:15:55.936" v="10937" actId="14100"/>
          <ac:picMkLst>
            <pc:docMk/>
            <pc:sldMk cId="3761536524" sldId="2147483162"/>
            <ac:picMk id="5" creationId="{24214022-9F5B-BEF5-AC90-BAAC8F5D9A41}"/>
          </ac:picMkLst>
        </pc:picChg>
        <pc:extLst>
          <p:ext xmlns:p="http://schemas.openxmlformats.org/presentationml/2006/main" uri="{D6D511B9-2390-475A-947B-AFAB55BFBCF1}">
            <pc226:cmChg xmlns:pc226="http://schemas.microsoft.com/office/powerpoint/2022/06/main/command" chg="mod">
              <pc226:chgData name="Emma Jappe Lange" userId="50167a89-1da6-43cb-b919-73793a3e7cc3" providerId="ADAL" clId="{A72C95B2-B9E6-4ABD-BBAD-56D980520408}" dt="2026-05-05T06:41:47.317" v="11276" actId="20577"/>
              <pc2:cmMkLst xmlns:pc2="http://schemas.microsoft.com/office/powerpoint/2019/9/main/command">
                <pc:docMk/>
                <pc:sldMk cId="3761536524" sldId="2147483162"/>
                <pc2:cmMk id="{FE78E9E9-75A1-4088-8AF7-02744273B1F3}"/>
              </pc2:cmMkLst>
            </pc226:cmChg>
          </p:ext>
        </pc:extLst>
      </pc:sldChg>
      <pc:sldMasterChg chg="delSldLayout">
        <pc:chgData name="Emma Jappe Lange" userId="50167a89-1da6-43cb-b919-73793a3e7cc3" providerId="ADAL" clId="{A72C95B2-B9E6-4ABD-BBAD-56D980520408}" dt="2026-04-20T12:13:38.247" v="131" actId="47"/>
        <pc:sldMasterMkLst>
          <pc:docMk/>
          <pc:sldMasterMk cId="4060266613" sldId="2147484177"/>
        </pc:sldMasterMkLst>
      </pc:sldMasterChg>
      <pc:sldMasterChg chg="addSp delSp modSp mod">
        <pc:chgData name="Emma Jappe Lange" userId="50167a89-1da6-43cb-b919-73793a3e7cc3" providerId="ADAL" clId="{A72C95B2-B9E6-4ABD-BBAD-56D980520408}" dt="2026-04-20T12:10:02.585" v="74"/>
        <pc:sldMasterMkLst>
          <pc:docMk/>
          <pc:sldMasterMk cId="1128662493" sldId="2147484453"/>
        </pc:sldMasterMkLst>
        <pc:spChg chg="mod">
          <ac:chgData name="Emma Jappe Lange" userId="50167a89-1da6-43cb-b919-73793a3e7cc3" providerId="ADAL" clId="{A72C95B2-B9E6-4ABD-BBAD-56D980520408}" dt="2026-04-20T12:10:02.532" v="46" actId="948"/>
          <ac:spMkLst>
            <pc:docMk/>
            <pc:sldMasterMk cId="1128662493" sldId="2147484453"/>
            <ac:spMk id="2" creationId="{0C0D1B7B-516E-B6E8-05B3-C54D5C0F3838}"/>
          </ac:spMkLst>
        </pc:spChg>
        <pc:graphicFrameChg chg="mod">
          <ac:chgData name="Emma Jappe Lange" userId="50167a89-1da6-43cb-b919-73793a3e7cc3" providerId="ADAL" clId="{A72C95B2-B9E6-4ABD-BBAD-56D980520408}" dt="2026-04-20T12:10:02.585" v="74"/>
          <ac:graphicFrameMkLst>
            <pc:docMk/>
            <pc:sldMasterMk cId="1128662493" sldId="2147484453"/>
            <ac:graphicFrameMk id="8" creationId="{2849004B-1738-AD0E-2F08-9710882D1545}"/>
          </ac:graphicFrameMkLst>
        </pc:graphicFrameChg>
      </pc:sldMasterChg>
      <pc:sldMasterChg chg="addSp delSp modSp mod">
        <pc:chgData name="Emma Jappe Lange" userId="50167a89-1da6-43cb-b919-73793a3e7cc3" providerId="ADAL" clId="{A72C95B2-B9E6-4ABD-BBAD-56D980520408}" dt="2026-04-20T12:13:36.453" v="130"/>
        <pc:sldMasterMkLst>
          <pc:docMk/>
          <pc:sldMasterMk cId="3476055019" sldId="2147484465"/>
        </pc:sldMasterMkLst>
        <pc:spChg chg="mod">
          <ac:chgData name="Emma Jappe Lange" userId="50167a89-1da6-43cb-b919-73793a3e7cc3" providerId="ADAL" clId="{A72C95B2-B9E6-4ABD-BBAD-56D980520408}" dt="2026-04-20T12:13:36.386" v="102" actId="948"/>
          <ac:spMkLst>
            <pc:docMk/>
            <pc:sldMasterMk cId="3476055019" sldId="2147484465"/>
            <ac:spMk id="2" creationId="{0C0D1B7B-516E-B6E8-05B3-C54D5C0F3838}"/>
          </ac:spMkLst>
        </pc:spChg>
        <pc:graphicFrameChg chg="mod">
          <ac:chgData name="Emma Jappe Lange" userId="50167a89-1da6-43cb-b919-73793a3e7cc3" providerId="ADAL" clId="{A72C95B2-B9E6-4ABD-BBAD-56D980520408}" dt="2026-04-20T12:13:36.453" v="130"/>
          <ac:graphicFrameMkLst>
            <pc:docMk/>
            <pc:sldMasterMk cId="3476055019" sldId="2147484465"/>
            <ac:graphicFrameMk id="10" creationId="{D01EF5DC-5C59-407A-F58B-83BA00EF085C}"/>
          </ac:graphicFrameMkLst>
        </pc:graphicFrameChg>
      </pc:sldMasterChg>
    </pc:docChg>
  </pc:docChgLst>
  <pc:docChgLst>
    <pc:chgData name="Oliver Lindkvist" userId="7800d9a7-1791-49bb-8b17-924ddc66d5b9" providerId="ADAL" clId="{85246F10-EEFE-4C8A-A2D1-025DB9AD2313}"/>
    <pc:docChg chg="undo custSel addSld delSld modSld modMainMaster modSection">
      <pc:chgData name="Oliver Lindkvist" userId="7800d9a7-1791-49bb-8b17-924ddc66d5b9" providerId="ADAL" clId="{85246F10-EEFE-4C8A-A2D1-025DB9AD2313}" dt="2026-04-29T12:31:57.107" v="7473" actId="20577"/>
      <pc:docMkLst>
        <pc:docMk/>
      </pc:docMkLst>
      <pc:sldChg chg="modSp mod">
        <pc:chgData name="Oliver Lindkvist" userId="7800d9a7-1791-49bb-8b17-924ddc66d5b9" providerId="ADAL" clId="{85246F10-EEFE-4C8A-A2D1-025DB9AD2313}" dt="2026-04-29T11:59:51.618" v="245"/>
        <pc:sldMkLst>
          <pc:docMk/>
          <pc:sldMk cId="928989583" sldId="2147480566"/>
        </pc:sldMkLst>
        <pc:graphicFrameChg chg="mod">
          <ac:chgData name="Oliver Lindkvist" userId="7800d9a7-1791-49bb-8b17-924ddc66d5b9" providerId="ADAL" clId="{85246F10-EEFE-4C8A-A2D1-025DB9AD2313}" dt="2026-04-29T11:59:51.618" v="245"/>
          <ac:graphicFrameMkLst>
            <pc:docMk/>
            <pc:sldMk cId="928989583" sldId="2147480566"/>
            <ac:graphicFrameMk id="4" creationId="{375E844B-B9AF-10DE-99DA-8FF87A728BA1}"/>
          </ac:graphicFrameMkLst>
        </pc:graphicFrameChg>
      </pc:sldChg>
      <pc:sldChg chg="addSp delSp modSp mod">
        <pc:chgData name="Oliver Lindkvist" userId="7800d9a7-1791-49bb-8b17-924ddc66d5b9" providerId="ADAL" clId="{85246F10-EEFE-4C8A-A2D1-025DB9AD2313}" dt="2026-04-29T12:26:16.886" v="7364" actId="478"/>
        <pc:sldMkLst>
          <pc:docMk/>
          <pc:sldMk cId="897948195" sldId="2147480603"/>
        </pc:sldMkLst>
        <pc:spChg chg="mod ord">
          <ac:chgData name="Oliver Lindkvist" userId="7800d9a7-1791-49bb-8b17-924ddc66d5b9" providerId="ADAL" clId="{85246F10-EEFE-4C8A-A2D1-025DB9AD2313}" dt="2026-04-29T12:24:36.234" v="7347"/>
          <ac:spMkLst>
            <pc:docMk/>
            <pc:sldMk cId="897948195" sldId="2147480603"/>
            <ac:spMk id="3" creationId="{8F8208C6-CC8E-0B0A-B949-1B5F7C8D8C8F}"/>
          </ac:spMkLst>
        </pc:spChg>
        <pc:spChg chg="mod ord">
          <ac:chgData name="Oliver Lindkvist" userId="7800d9a7-1791-49bb-8b17-924ddc66d5b9" providerId="ADAL" clId="{85246F10-EEFE-4C8A-A2D1-025DB9AD2313}" dt="2026-04-29T12:24:36.234" v="7349"/>
          <ac:spMkLst>
            <pc:docMk/>
            <pc:sldMk cId="897948195" sldId="2147480603"/>
            <ac:spMk id="5" creationId="{1394017C-430B-9A8C-98F0-4AC713EFEAAB}"/>
          </ac:spMkLst>
        </pc:spChg>
        <pc:spChg chg="mod ord">
          <ac:chgData name="Oliver Lindkvist" userId="7800d9a7-1791-49bb-8b17-924ddc66d5b9" providerId="ADAL" clId="{85246F10-EEFE-4C8A-A2D1-025DB9AD2313}" dt="2026-04-29T12:24:36.234" v="7345"/>
          <ac:spMkLst>
            <pc:docMk/>
            <pc:sldMk cId="897948195" sldId="2147480603"/>
            <ac:spMk id="33" creationId="{2B0FF6F6-5962-72F8-E93C-C60E3B8E0245}"/>
          </ac:spMkLst>
        </pc:spChg>
        <pc:spChg chg="mod ord">
          <ac:chgData name="Oliver Lindkvist" userId="7800d9a7-1791-49bb-8b17-924ddc66d5b9" providerId="ADAL" clId="{85246F10-EEFE-4C8A-A2D1-025DB9AD2313}" dt="2026-04-29T12:24:36.227" v="7339"/>
          <ac:spMkLst>
            <pc:docMk/>
            <pc:sldMk cId="897948195" sldId="2147480603"/>
            <ac:spMk id="44" creationId="{29095EDB-D4D5-9855-8705-80DB151F9B20}"/>
          </ac:spMkLst>
        </pc:spChg>
        <pc:spChg chg="add mod">
          <ac:chgData name="Oliver Lindkvist" userId="7800d9a7-1791-49bb-8b17-924ddc66d5b9" providerId="ADAL" clId="{85246F10-EEFE-4C8A-A2D1-025DB9AD2313}" dt="2026-04-29T12:24:36.235" v="7355"/>
          <ac:spMkLst>
            <pc:docMk/>
            <pc:sldMk cId="897948195" sldId="2147480603"/>
            <ac:spMk id="69" creationId="{D584FDD3-7FD9-F842-B3E0-D699893DCE15}"/>
          </ac:spMkLst>
        </pc:spChg>
        <pc:spChg chg="add mod">
          <ac:chgData name="Oliver Lindkvist" userId="7800d9a7-1791-49bb-8b17-924ddc66d5b9" providerId="ADAL" clId="{85246F10-EEFE-4C8A-A2D1-025DB9AD2313}" dt="2026-04-29T12:24:36.237" v="7356"/>
          <ac:spMkLst>
            <pc:docMk/>
            <pc:sldMk cId="897948195" sldId="2147480603"/>
            <ac:spMk id="71" creationId="{6DCAC414-1E84-C679-FB60-03E9AF903AFA}"/>
          </ac:spMkLst>
        </pc:spChg>
        <pc:spChg chg="add mod">
          <ac:chgData name="Oliver Lindkvist" userId="7800d9a7-1791-49bb-8b17-924ddc66d5b9" providerId="ADAL" clId="{85246F10-EEFE-4C8A-A2D1-025DB9AD2313}" dt="2026-04-29T12:24:36.235" v="7354"/>
          <ac:spMkLst>
            <pc:docMk/>
            <pc:sldMk cId="897948195" sldId="2147480603"/>
            <ac:spMk id="80" creationId="{7A53166E-8443-D792-7A9B-DD42528D40FB}"/>
          </ac:spMkLst>
        </pc:spChg>
        <pc:spChg chg="add mod">
          <ac:chgData name="Oliver Lindkvist" userId="7800d9a7-1791-49bb-8b17-924ddc66d5b9" providerId="ADAL" clId="{85246F10-EEFE-4C8A-A2D1-025DB9AD2313}" dt="2026-04-29T12:24:36.237" v="7359"/>
          <ac:spMkLst>
            <pc:docMk/>
            <pc:sldMk cId="897948195" sldId="2147480603"/>
            <ac:spMk id="100" creationId="{B356AD94-BFA6-A41C-DE16-38E63C79E847}"/>
          </ac:spMkLst>
        </pc:spChg>
        <pc:spChg chg="add mod">
          <ac:chgData name="Oliver Lindkvist" userId="7800d9a7-1791-49bb-8b17-924ddc66d5b9" providerId="ADAL" clId="{85246F10-EEFE-4C8A-A2D1-025DB9AD2313}" dt="2026-04-29T12:24:36.238" v="7360"/>
          <ac:spMkLst>
            <pc:docMk/>
            <pc:sldMk cId="897948195" sldId="2147480603"/>
            <ac:spMk id="101" creationId="{152BAE0A-8C47-1F82-E7C7-805BE08F2530}"/>
          </ac:spMkLst>
        </pc:spChg>
        <pc:spChg chg="add mod">
          <ac:chgData name="Oliver Lindkvist" userId="7800d9a7-1791-49bb-8b17-924ddc66d5b9" providerId="ADAL" clId="{85246F10-EEFE-4C8A-A2D1-025DB9AD2313}" dt="2026-04-29T12:24:36.238" v="7361"/>
          <ac:spMkLst>
            <pc:docMk/>
            <pc:sldMk cId="897948195" sldId="2147480603"/>
            <ac:spMk id="102" creationId="{31EBB166-38C4-57E1-EDD7-42B6082BCC5A}"/>
          </ac:spMkLst>
        </pc:spChg>
        <pc:spChg chg="mod ord">
          <ac:chgData name="Oliver Lindkvist" userId="7800d9a7-1791-49bb-8b17-924ddc66d5b9" providerId="ADAL" clId="{85246F10-EEFE-4C8A-A2D1-025DB9AD2313}" dt="2026-04-29T12:24:36.227" v="7341"/>
          <ac:spMkLst>
            <pc:docMk/>
            <pc:sldMk cId="897948195" sldId="2147480603"/>
            <ac:spMk id="113" creationId="{C653BA74-88BD-3E81-AC53-2FA291E043AA}"/>
          </ac:spMkLst>
        </pc:spChg>
        <pc:graphicFrameChg chg="mod">
          <ac:chgData name="Oliver Lindkvist" userId="7800d9a7-1791-49bb-8b17-924ddc66d5b9" providerId="ADAL" clId="{85246F10-EEFE-4C8A-A2D1-025DB9AD2313}" dt="2026-04-29T12:24:36.238" v="7363"/>
          <ac:graphicFrameMkLst>
            <pc:docMk/>
            <pc:sldMk cId="897948195" sldId="2147480603"/>
            <ac:graphicFrameMk id="6" creationId="{39677B80-83CB-34D1-83D1-56BC1A9B61F1}"/>
          </ac:graphicFrameMkLst>
        </pc:graphicFrameChg>
        <pc:cxnChg chg="mod ord">
          <ac:chgData name="Oliver Lindkvist" userId="7800d9a7-1791-49bb-8b17-924ddc66d5b9" providerId="ADAL" clId="{85246F10-EEFE-4C8A-A2D1-025DB9AD2313}" dt="2026-04-29T12:24:36.227" v="7343"/>
          <ac:cxnSpMkLst>
            <pc:docMk/>
            <pc:sldMk cId="897948195" sldId="2147480603"/>
            <ac:cxnSpMk id="32" creationId="{6E32BC96-7BE6-BC1E-F86A-690C884AE2B8}"/>
          </ac:cxnSpMkLst>
        </pc:cxnChg>
      </pc:sldChg>
      <pc:sldChg chg="addSp delSp modSp add mod">
        <pc:chgData name="Oliver Lindkvist" userId="7800d9a7-1791-49bb-8b17-924ddc66d5b9" providerId="ADAL" clId="{85246F10-EEFE-4C8A-A2D1-025DB9AD2313}" dt="2026-04-29T12:31:57.107" v="7473" actId="20577"/>
        <pc:sldMkLst>
          <pc:docMk/>
          <pc:sldMk cId="1638789848" sldId="2147480634"/>
        </pc:sldMkLst>
        <pc:spChg chg="mod ord">
          <ac:chgData name="Oliver Lindkvist" userId="7800d9a7-1791-49bb-8b17-924ddc66d5b9" providerId="ADAL" clId="{85246F10-EEFE-4C8A-A2D1-025DB9AD2313}" dt="2026-04-29T12:31:57.107" v="7473" actId="20577"/>
          <ac:spMkLst>
            <pc:docMk/>
            <pc:sldMk cId="1638789848" sldId="2147480634"/>
            <ac:spMk id="2" creationId="{6275D87A-AA13-EC49-86D4-D3A5F40381C7}"/>
          </ac:spMkLst>
        </pc:spChg>
        <pc:spChg chg="mod ord">
          <ac:chgData name="Oliver Lindkvist" userId="7800d9a7-1791-49bb-8b17-924ddc66d5b9" providerId="ADAL" clId="{85246F10-EEFE-4C8A-A2D1-025DB9AD2313}" dt="2026-04-29T12:24:31.462" v="7075"/>
          <ac:spMkLst>
            <pc:docMk/>
            <pc:sldMk cId="1638789848" sldId="2147480634"/>
            <ac:spMk id="22" creationId="{0E2BEF77-B25A-CCC0-9653-227F9C19D3B3}"/>
          </ac:spMkLst>
        </pc:spChg>
        <pc:spChg chg="mod ord">
          <ac:chgData name="Oliver Lindkvist" userId="7800d9a7-1791-49bb-8b17-924ddc66d5b9" providerId="ADAL" clId="{85246F10-EEFE-4C8A-A2D1-025DB9AD2313}" dt="2026-04-29T12:24:31.463" v="7081"/>
          <ac:spMkLst>
            <pc:docMk/>
            <pc:sldMk cId="1638789848" sldId="2147480634"/>
            <ac:spMk id="33" creationId="{6F3EC2FF-6062-214B-CB3F-3985DE26EF04}"/>
          </ac:spMkLst>
        </pc:spChg>
        <pc:spChg chg="mod ord">
          <ac:chgData name="Oliver Lindkvist" userId="7800d9a7-1791-49bb-8b17-924ddc66d5b9" providerId="ADAL" clId="{85246F10-EEFE-4C8A-A2D1-025DB9AD2313}" dt="2026-04-29T12:24:31.463" v="7083"/>
          <ac:spMkLst>
            <pc:docMk/>
            <pc:sldMk cId="1638789848" sldId="2147480634"/>
            <ac:spMk id="36" creationId="{724FF736-F10F-44CA-1214-CDB2A926741C}"/>
          </ac:spMkLst>
        </pc:spChg>
        <pc:spChg chg="add mod">
          <ac:chgData name="Oliver Lindkvist" userId="7800d9a7-1791-49bb-8b17-924ddc66d5b9" providerId="ADAL" clId="{85246F10-EEFE-4C8A-A2D1-025DB9AD2313}" dt="2026-04-29T12:24:31.463" v="7086"/>
          <ac:spMkLst>
            <pc:docMk/>
            <pc:sldMk cId="1638789848" sldId="2147480634"/>
            <ac:spMk id="40" creationId="{E0D83910-A99B-21FC-1FB0-67E4E98BFA7E}"/>
          </ac:spMkLst>
        </pc:spChg>
        <pc:spChg chg="add mod">
          <ac:chgData name="Oliver Lindkvist" userId="7800d9a7-1791-49bb-8b17-924ddc66d5b9" providerId="ADAL" clId="{85246F10-EEFE-4C8A-A2D1-025DB9AD2313}" dt="2026-04-29T12:24:31.463" v="7087"/>
          <ac:spMkLst>
            <pc:docMk/>
            <pc:sldMk cId="1638789848" sldId="2147480634"/>
            <ac:spMk id="42" creationId="{F9EF8F43-A6E9-4ACE-9061-BB51EA828F63}"/>
          </ac:spMkLst>
        </pc:spChg>
        <pc:spChg chg="add mod">
          <ac:chgData name="Oliver Lindkvist" userId="7800d9a7-1791-49bb-8b17-924ddc66d5b9" providerId="ADAL" clId="{85246F10-EEFE-4C8A-A2D1-025DB9AD2313}" dt="2026-04-29T12:24:31.465" v="7088"/>
          <ac:spMkLst>
            <pc:docMk/>
            <pc:sldMk cId="1638789848" sldId="2147480634"/>
            <ac:spMk id="43" creationId="{9CF9108B-B639-1DFE-A33A-8D4732384B9B}"/>
          </ac:spMkLst>
        </pc:spChg>
        <pc:spChg chg="mod ord">
          <ac:chgData name="Oliver Lindkvist" userId="7800d9a7-1791-49bb-8b17-924ddc66d5b9" providerId="ADAL" clId="{85246F10-EEFE-4C8A-A2D1-025DB9AD2313}" dt="2026-04-29T12:24:31.456" v="7069"/>
          <ac:spMkLst>
            <pc:docMk/>
            <pc:sldMk cId="1638789848" sldId="2147480634"/>
            <ac:spMk id="44" creationId="{28CD0050-DD6E-7095-6479-DC14491FEB02}"/>
          </ac:spMkLst>
        </pc:spChg>
        <pc:spChg chg="add mod">
          <ac:chgData name="Oliver Lindkvist" userId="7800d9a7-1791-49bb-8b17-924ddc66d5b9" providerId="ADAL" clId="{85246F10-EEFE-4C8A-A2D1-025DB9AD2313}" dt="2026-04-29T12:24:31.465" v="7091"/>
          <ac:spMkLst>
            <pc:docMk/>
            <pc:sldMk cId="1638789848" sldId="2147480634"/>
            <ac:spMk id="81" creationId="{6B73E345-7B0A-B542-9596-CB67CDB8AD4E}"/>
          </ac:spMkLst>
        </pc:spChg>
        <pc:spChg chg="add mod">
          <ac:chgData name="Oliver Lindkvist" userId="7800d9a7-1791-49bb-8b17-924ddc66d5b9" providerId="ADAL" clId="{85246F10-EEFE-4C8A-A2D1-025DB9AD2313}" dt="2026-04-29T12:24:31.465" v="7092"/>
          <ac:spMkLst>
            <pc:docMk/>
            <pc:sldMk cId="1638789848" sldId="2147480634"/>
            <ac:spMk id="83" creationId="{EA75E77E-105E-F26A-3C43-54B42FFCC2C9}"/>
          </ac:spMkLst>
        </pc:spChg>
        <pc:spChg chg="add mod">
          <ac:chgData name="Oliver Lindkvist" userId="7800d9a7-1791-49bb-8b17-924ddc66d5b9" providerId="ADAL" clId="{85246F10-EEFE-4C8A-A2D1-025DB9AD2313}" dt="2026-04-29T12:24:31.465" v="7093"/>
          <ac:spMkLst>
            <pc:docMk/>
            <pc:sldMk cId="1638789848" sldId="2147480634"/>
            <ac:spMk id="84" creationId="{1FAC780E-49B0-356D-8CAE-5631E5FFC85B}"/>
          </ac:spMkLst>
        </pc:spChg>
        <pc:spChg chg="mod ord">
          <ac:chgData name="Oliver Lindkvist" userId="7800d9a7-1791-49bb-8b17-924ddc66d5b9" providerId="ADAL" clId="{85246F10-EEFE-4C8A-A2D1-025DB9AD2313}" dt="2026-04-29T12:24:31.458" v="7071"/>
          <ac:spMkLst>
            <pc:docMk/>
            <pc:sldMk cId="1638789848" sldId="2147480634"/>
            <ac:spMk id="113" creationId="{C53B6E4B-89D2-EE0B-7630-9764467C8B5E}"/>
          </ac:spMkLst>
        </pc:spChg>
        <pc:spChg chg="add mod">
          <ac:chgData name="Oliver Lindkvist" userId="7800d9a7-1791-49bb-8b17-924ddc66d5b9" providerId="ADAL" clId="{85246F10-EEFE-4C8A-A2D1-025DB9AD2313}" dt="2026-04-29T12:27:57.473" v="7433"/>
          <ac:spMkLst>
            <pc:docMk/>
            <pc:sldMk cId="1638789848" sldId="2147480634"/>
            <ac:spMk id="122" creationId="{26125044-6D04-91CB-CCF1-35A428E7768B}"/>
          </ac:spMkLst>
        </pc:spChg>
        <pc:spChg chg="add mod">
          <ac:chgData name="Oliver Lindkvist" userId="7800d9a7-1791-49bb-8b17-924ddc66d5b9" providerId="ADAL" clId="{85246F10-EEFE-4C8A-A2D1-025DB9AD2313}" dt="2026-04-29T12:27:57.474" v="7435"/>
          <ac:spMkLst>
            <pc:docMk/>
            <pc:sldMk cId="1638789848" sldId="2147480634"/>
            <ac:spMk id="123" creationId="{9C1D0601-AD3F-04CE-E80F-A6EA2184F576}"/>
          </ac:spMkLst>
        </pc:spChg>
        <pc:spChg chg="add mod">
          <ac:chgData name="Oliver Lindkvist" userId="7800d9a7-1791-49bb-8b17-924ddc66d5b9" providerId="ADAL" clId="{85246F10-EEFE-4C8A-A2D1-025DB9AD2313}" dt="2026-04-29T12:27:57.474" v="7437"/>
          <ac:spMkLst>
            <pc:docMk/>
            <pc:sldMk cId="1638789848" sldId="2147480634"/>
            <ac:spMk id="124" creationId="{1BE3C585-6898-2EE5-8B0F-739BDA24EFDE}"/>
          </ac:spMkLst>
        </pc:spChg>
        <pc:spChg chg="mod ord">
          <ac:chgData name="Oliver Lindkvist" userId="7800d9a7-1791-49bb-8b17-924ddc66d5b9" providerId="ADAL" clId="{85246F10-EEFE-4C8A-A2D1-025DB9AD2313}" dt="2026-04-29T12:24:31.460" v="7073"/>
          <ac:spMkLst>
            <pc:docMk/>
            <pc:sldMk cId="1638789848" sldId="2147480634"/>
            <ac:spMk id="131" creationId="{7BCBA4E9-B0B2-4A73-103B-32580FBF1102}"/>
          </ac:spMkLst>
        </pc:spChg>
        <pc:spChg chg="add mod">
          <ac:chgData name="Oliver Lindkvist" userId="7800d9a7-1791-49bb-8b17-924ddc66d5b9" providerId="ADAL" clId="{85246F10-EEFE-4C8A-A2D1-025DB9AD2313}" dt="2026-04-29T12:24:31.465" v="7099"/>
          <ac:spMkLst>
            <pc:docMk/>
            <pc:sldMk cId="1638789848" sldId="2147480634"/>
            <ac:spMk id="134" creationId="{69BB2267-7E7B-613A-2C15-DA0ADF24FA44}"/>
          </ac:spMkLst>
        </pc:spChg>
        <pc:spChg chg="add mod">
          <ac:chgData name="Oliver Lindkvist" userId="7800d9a7-1791-49bb-8b17-924ddc66d5b9" providerId="ADAL" clId="{85246F10-EEFE-4C8A-A2D1-025DB9AD2313}" dt="2026-04-29T12:24:31.465" v="7100"/>
          <ac:spMkLst>
            <pc:docMk/>
            <pc:sldMk cId="1638789848" sldId="2147480634"/>
            <ac:spMk id="135" creationId="{4E12ADD1-D6B3-5174-A55B-22E0703A18FE}"/>
          </ac:spMkLst>
        </pc:spChg>
        <pc:spChg chg="add mod">
          <ac:chgData name="Oliver Lindkvist" userId="7800d9a7-1791-49bb-8b17-924ddc66d5b9" providerId="ADAL" clId="{85246F10-EEFE-4C8A-A2D1-025DB9AD2313}" dt="2026-04-29T12:24:31.468" v="7101"/>
          <ac:spMkLst>
            <pc:docMk/>
            <pc:sldMk cId="1638789848" sldId="2147480634"/>
            <ac:spMk id="143" creationId="{2956E057-C3B4-2774-884B-80DAA815B0E4}"/>
          </ac:spMkLst>
        </pc:spChg>
        <pc:graphicFrameChg chg="mod">
          <ac:chgData name="Oliver Lindkvist" userId="7800d9a7-1791-49bb-8b17-924ddc66d5b9" providerId="ADAL" clId="{85246F10-EEFE-4C8A-A2D1-025DB9AD2313}" dt="2026-04-29T12:27:57.474" v="7441"/>
          <ac:graphicFrameMkLst>
            <pc:docMk/>
            <pc:sldMk cId="1638789848" sldId="2147480634"/>
            <ac:graphicFrameMk id="6" creationId="{DF6AA500-4EBC-79E6-918E-71E250BB32CD}"/>
          </ac:graphicFrameMkLst>
        </pc:graphicFrameChg>
        <pc:cxnChg chg="mod ord">
          <ac:chgData name="Oliver Lindkvist" userId="7800d9a7-1791-49bb-8b17-924ddc66d5b9" providerId="ADAL" clId="{85246F10-EEFE-4C8A-A2D1-025DB9AD2313}" dt="2026-04-29T12:24:31.463" v="7079"/>
          <ac:cxnSpMkLst>
            <pc:docMk/>
            <pc:sldMk cId="1638789848" sldId="2147480634"/>
            <ac:cxnSpMk id="32" creationId="{0A15E45D-12EE-2F5C-AB84-A9CB8ADE2896}"/>
          </ac:cxnSpMkLst>
        </pc:cxnChg>
      </pc:sldChg>
      <pc:sldMasterChg chg="modSp mod">
        <pc:chgData name="Oliver Lindkvist" userId="7800d9a7-1791-49bb-8b17-924ddc66d5b9" providerId="ADAL" clId="{85246F10-EEFE-4C8A-A2D1-025DB9AD2313}" dt="2026-04-29T11:59:50.721" v="243"/>
        <pc:sldMasterMkLst>
          <pc:docMk/>
          <pc:sldMasterMk cId="168009213" sldId="2147483729"/>
        </pc:sldMasterMkLst>
        <pc:graphicFrameChg chg="mod">
          <ac:chgData name="Oliver Lindkvist" userId="7800d9a7-1791-49bb-8b17-924ddc66d5b9" providerId="ADAL" clId="{85246F10-EEFE-4C8A-A2D1-025DB9AD2313}" dt="2026-04-29T11:59:50.721" v="243"/>
          <ac:graphicFrameMkLst>
            <pc:docMk/>
            <pc:sldMasterMk cId="168009213" sldId="2147483729"/>
            <ac:graphicFrameMk id="3" creationId="{A3DD4C7F-381E-3A18-9BAD-A1D8DC01ACBF}"/>
          </ac:graphicFrameMkLst>
        </pc:graphicFrameChg>
      </pc:sldMasterChg>
    </pc:docChg>
  </pc:docChgLst>
  <pc:docChgLst>
    <pc:chgData name="Louise S. Dalbøge" userId="1eabbbc4-95fd-4f0f-bf60-1e590ce9b5af" providerId="ADAL" clId="{E48DE16F-8BC5-4EB6-ADCB-DD6E426F87E8}"/>
    <pc:docChg chg="custSel modSld sldOrd modMainMaster">
      <pc:chgData name="Louise S. Dalbøge" userId="1eabbbc4-95fd-4f0f-bf60-1e590ce9b5af" providerId="ADAL" clId="{E48DE16F-8BC5-4EB6-ADCB-DD6E426F87E8}" dt="2026-04-30T18:25:02.023" v="13"/>
      <pc:docMkLst>
        <pc:docMk/>
      </pc:docMkLst>
      <pc:sldChg chg="ord">
        <pc:chgData name="Louise S. Dalbøge" userId="1eabbbc4-95fd-4f0f-bf60-1e590ce9b5af" providerId="ADAL" clId="{E48DE16F-8BC5-4EB6-ADCB-DD6E426F87E8}" dt="2026-04-28T17:10:35.203" v="1"/>
        <pc:sldMkLst>
          <pc:docMk/>
          <pc:sldMk cId="3022255394" sldId="2147480610"/>
        </pc:sldMkLst>
      </pc:sldChg>
      <pc:sldChg chg="modSp mod">
        <pc:chgData name="Louise S. Dalbøge" userId="1eabbbc4-95fd-4f0f-bf60-1e590ce9b5af" providerId="ADAL" clId="{E48DE16F-8BC5-4EB6-ADCB-DD6E426F87E8}" dt="2026-04-30T18:25:02.023" v="13"/>
        <pc:sldMkLst>
          <pc:docMk/>
          <pc:sldMk cId="3619368324" sldId="2147483146"/>
        </pc:sldMkLst>
        <pc:spChg chg="mod">
          <ac:chgData name="Louise S. Dalbøge" userId="1eabbbc4-95fd-4f0f-bf60-1e590ce9b5af" providerId="ADAL" clId="{E48DE16F-8BC5-4EB6-ADCB-DD6E426F87E8}" dt="2026-04-30T18:25:01.995" v="6" actId="139"/>
          <ac:spMkLst>
            <pc:docMk/>
            <pc:sldMk cId="3619368324" sldId="2147483146"/>
            <ac:spMk id="2" creationId="{1B417F89-E31B-0CBE-0330-C328F4764029}"/>
          </ac:spMkLst>
        </pc:spChg>
        <pc:graphicFrameChg chg="mod">
          <ac:chgData name="Louise S. Dalbøge" userId="1eabbbc4-95fd-4f0f-bf60-1e590ce9b5af" providerId="ADAL" clId="{E48DE16F-8BC5-4EB6-ADCB-DD6E426F87E8}" dt="2026-04-30T18:25:02.023" v="13"/>
          <ac:graphicFrameMkLst>
            <pc:docMk/>
            <pc:sldMk cId="3619368324" sldId="2147483146"/>
            <ac:graphicFrameMk id="7" creationId="{57AC608C-32D8-7B9D-D135-2073D7A8D52B}"/>
          </ac:graphicFrameMkLst>
        </pc:graphicFrameChg>
      </pc:sldChg>
      <pc:sldMasterChg chg="modSp mod">
        <pc:chgData name="Louise S. Dalbøge" userId="1eabbbc4-95fd-4f0f-bf60-1e590ce9b5af" providerId="ADAL" clId="{E48DE16F-8BC5-4EB6-ADCB-DD6E426F87E8}" dt="2026-04-30T18:25:02.016" v="11"/>
        <pc:sldMasterMkLst>
          <pc:docMk/>
          <pc:sldMasterMk cId="3625401588" sldId="2147484573"/>
        </pc:sldMasterMkLst>
        <pc:spChg chg="mod">
          <ac:chgData name="Louise S. Dalbøge" userId="1eabbbc4-95fd-4f0f-bf60-1e590ce9b5af" providerId="ADAL" clId="{E48DE16F-8BC5-4EB6-ADCB-DD6E426F87E8}" dt="2026-04-30T18:25:02.012" v="9" actId="299"/>
          <ac:spMkLst>
            <pc:docMk/>
            <pc:sldMasterMk cId="3625401588" sldId="2147484573"/>
            <ac:spMk id="2" creationId="{0C0D1B7B-516E-B6E8-05B3-C54D5C0F3838}"/>
          </ac:spMkLst>
        </pc:spChg>
        <pc:graphicFrameChg chg="mod">
          <ac:chgData name="Louise S. Dalbøge" userId="1eabbbc4-95fd-4f0f-bf60-1e590ce9b5af" providerId="ADAL" clId="{E48DE16F-8BC5-4EB6-ADCB-DD6E426F87E8}" dt="2026-04-30T18:25:02.016" v="11"/>
          <ac:graphicFrameMkLst>
            <pc:docMk/>
            <pc:sldMasterMk cId="3625401588" sldId="2147484573"/>
            <ac:graphicFrameMk id="8" creationId="{4E6554F5-D785-F55E-A665-F2112AC34E2F}"/>
          </ac:graphicFrameMkLst>
        </pc:graphicFrame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635193133047209E-2"/>
          <c:y val="6.3157894736842107E-2"/>
          <c:w val="0.80858369098712446"/>
          <c:h val="0.87368421052631584"/>
        </c:manualLayout>
      </c:layout>
      <c:barChart>
        <c:barDir val="bar"/>
        <c:grouping val="stacked"/>
        <c:varyColors val="0"/>
        <c:ser>
          <c:idx val="0"/>
          <c:order val="0"/>
          <c:spPr>
            <a:solidFill>
              <a:schemeClr val="accent5"/>
            </a:solidFill>
            <a:ln>
              <a:noFill/>
            </a:ln>
          </c:spPr>
          <c:invertIfNegative val="0"/>
          <c:dLbls>
            <c:dLbl>
              <c:idx val="0"/>
              <c:layout>
                <c:manualLayout>
                  <c:x val="0.4781115879828326"/>
                  <c:y val="1.1278195488721805E-3"/>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512-42B0-B355-2C49515563EA}"/>
                </c:ext>
              </c:extLst>
            </c:dLbl>
            <c:dLbl>
              <c:idx val="1"/>
              <c:layout>
                <c:manualLayout>
                  <c:x val="0.34763966134577101"/>
                  <c:y val="1.1279379551240305E-3"/>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512-42B0-B355-2C49515563EA}"/>
                </c:ext>
              </c:extLst>
            </c:dLbl>
            <c:dLbl>
              <c:idx val="2"/>
              <c:layout>
                <c:manualLayout>
                  <c:x val="0.23862660944206007"/>
                  <c:y val="1.1278195488721805E-3"/>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512-42B0-B355-2C49515563EA}"/>
                </c:ext>
              </c:extLst>
            </c:dLbl>
            <c:dLbl>
              <c:idx val="3"/>
              <c:layout>
                <c:manualLayout>
                  <c:x val="0.22489270386266094"/>
                  <c:y val="1.1278195488721805E-3"/>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512-42B0-B355-2C49515563EA}"/>
                </c:ext>
              </c:extLst>
            </c:dLbl>
            <c:dLbl>
              <c:idx val="4"/>
              <c:layout>
                <c:manualLayout>
                  <c:x val="0.12618025751072962"/>
                  <c:y val="1.1278195488721805E-3"/>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512-42B0-B355-2C49515563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4.782608695652172</c:v>
                </c:pt>
                <c:pt idx="1">
                  <c:v>21.739130434782609</c:v>
                </c:pt>
                <c:pt idx="2">
                  <c:v>14.130434782608695</c:v>
                </c:pt>
                <c:pt idx="3">
                  <c:v>13.043478260869565</c:v>
                </c:pt>
                <c:pt idx="4">
                  <c:v>6.5217391304347823</c:v>
                </c:pt>
              </c:numCache>
            </c:numRef>
          </c:val>
          <c:extLst>
            <c:ext xmlns:c16="http://schemas.microsoft.com/office/drawing/2014/chart" uri="{C3380CC4-5D6E-409C-BE32-E72D297353CC}">
              <c16:uniqueId val="{00000005-7512-42B0-B355-2C49515563EA}"/>
            </c:ext>
          </c:extLst>
        </c:ser>
        <c:dLbls>
          <c:showLegendKey val="0"/>
          <c:showVal val="0"/>
          <c:showCatName val="0"/>
          <c:showSerName val="0"/>
          <c:showPercent val="0"/>
          <c:showBubbleSize val="0"/>
        </c:dLbls>
        <c:gapWidth val="80"/>
        <c:overlap val="100"/>
        <c:axId val="349513471"/>
        <c:axId val="1"/>
      </c:barChart>
      <c:catAx>
        <c:axId val="349513471"/>
        <c:scaling>
          <c:orientation val="maxMin"/>
        </c:scaling>
        <c:delete val="0"/>
        <c:axPos val="l"/>
        <c:majorGridlines>
          <c:spPr>
            <a:ln>
              <a:noFill/>
            </a:ln>
          </c:spPr>
        </c:majorGridlines>
        <c:majorTickMark val="none"/>
        <c:minorTickMark val="none"/>
        <c:tickLblPos val="none"/>
        <c:spPr>
          <a:ln w="12700" cmpd="sng" algn="ctr">
            <a:solidFill>
              <a:schemeClr val="tx1"/>
            </a:solidFill>
            <a:prstDash val="solid"/>
          </a:ln>
        </c:spPr>
        <c:crossAx val="1"/>
        <c:crosses val="min"/>
        <c:auto val="0"/>
        <c:lblAlgn val="ctr"/>
        <c:lblOffset val="100"/>
        <c:noMultiLvlLbl val="0"/>
      </c:catAx>
      <c:valAx>
        <c:axId val="1"/>
        <c:scaling>
          <c:orientation val="minMax"/>
          <c:max val="32"/>
          <c:min val="0"/>
        </c:scaling>
        <c:delete val="0"/>
        <c:axPos val="t"/>
        <c:majorGridlines>
          <c:spPr>
            <a:ln>
              <a:noFill/>
            </a:ln>
          </c:spPr>
        </c:majorGridlines>
        <c:numFmt formatCode="General" sourceLinked="1"/>
        <c:majorTickMark val="none"/>
        <c:minorTickMark val="none"/>
        <c:tickLblPos val="none"/>
        <c:spPr>
          <a:ln>
            <a:noFill/>
          </a:ln>
        </c:spPr>
        <c:crossAx val="349513471"/>
        <c:crosses val="min"/>
        <c:crossBetween val="between"/>
      </c:valAx>
    </c:plotArea>
    <c:plotVisOnly val="0"/>
    <c:dispBlanksAs val="gap"/>
    <c:showDLblsOverMax val="1"/>
  </c:chart>
  <c:txPr>
    <a:bodyPr/>
    <a:lstStyle/>
    <a:p>
      <a:pPr>
        <a:defRPr sz="1200">
          <a:solidFill>
            <a:schemeClr val="tx1"/>
          </a:solidFill>
        </a:defRPr>
      </a:pPr>
      <a:endParaRPr lang="en-DK"/>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059866962305987E-2"/>
          <c:y val="0.17556270096463023"/>
          <c:w val="0.95388026607538801"/>
          <c:h val="0.70032154340836017"/>
        </c:manualLayout>
      </c:layout>
      <c:barChart>
        <c:barDir val="col"/>
        <c:grouping val="stacked"/>
        <c:varyColors val="0"/>
        <c:ser>
          <c:idx val="0"/>
          <c:order val="0"/>
          <c:spPr>
            <a:solidFill>
              <a:schemeClr val="accent1">
                <a:alpha val="49876"/>
              </a:schemeClr>
            </a:solidFill>
            <a:ln w="12700">
              <a:solidFill>
                <a:schemeClr val="accent1"/>
              </a:solidFill>
            </a:ln>
          </c:spPr>
          <c:invertIfNegative val="0"/>
          <c:dLbls>
            <c:dLbl>
              <c:idx val="0"/>
              <c:layout>
                <c:manualLayout>
                  <c:x val="0"/>
                  <c:y val="-0.13762057877813505"/>
                </c:manualLayout>
              </c:layout>
              <c:numFmt formatCode="#,##0;&quot;-&quot;#,##0" sourceLinked="0"/>
              <c:spPr>
                <a:noFill/>
                <a:ln>
                  <a:noFill/>
                </a:ln>
              </c:spPr>
              <c:txPr>
                <a:bodyPr wrap="none"/>
                <a:lstStyle/>
                <a:p>
                  <a:pPr>
                    <a:defRPr sz="1400" kern="1200">
                      <a:solidFill>
                        <a:schemeClr val="bg1"/>
                      </a:solidFill>
                      <a:latin typeface="Avenir Next LT Pro"/>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021-49AA-A735-32E6A70391AB}"/>
                </c:ext>
              </c:extLst>
            </c:dLbl>
            <c:dLbl>
              <c:idx val="1"/>
              <c:layout>
                <c:manualLayout>
                  <c:x val="0"/>
                  <c:y val="-0.14790996784565916"/>
                </c:manualLayout>
              </c:layout>
              <c:numFmt formatCode="#,##0;&quot;-&quot;#,##0" sourceLinked="0"/>
              <c:spPr>
                <a:noFill/>
                <a:ln>
                  <a:noFill/>
                </a:ln>
              </c:spPr>
              <c:txPr>
                <a:bodyPr wrap="none"/>
                <a:lstStyle/>
                <a:p>
                  <a:pPr>
                    <a:defRPr sz="1400" kern="1200">
                      <a:solidFill>
                        <a:schemeClr val="bg1"/>
                      </a:solidFill>
                      <a:latin typeface="Avenir Next LT Pro"/>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021-49AA-A735-32E6A70391AB}"/>
                </c:ext>
              </c:extLst>
            </c:dLbl>
            <c:dLbl>
              <c:idx val="2"/>
              <c:layout>
                <c:manualLayout>
                  <c:x val="0"/>
                  <c:y val="-0.40192926045016075"/>
                </c:manualLayout>
              </c:layout>
              <c:numFmt formatCode="#,##0;&quot;-&quot;#,##0" sourceLinked="0"/>
              <c:spPr>
                <a:noFill/>
                <a:ln>
                  <a:noFill/>
                </a:ln>
              </c:spPr>
              <c:txPr>
                <a:bodyPr wrap="none"/>
                <a:lstStyle/>
                <a:p>
                  <a:pPr>
                    <a:defRPr sz="1400" kern="1200">
                      <a:solidFill>
                        <a:schemeClr val="bg1"/>
                      </a:solidFill>
                      <a:latin typeface="Avenir Next LT Pro"/>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021-49AA-A735-32E6A70391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6.8651577699999997</c:v>
                </c:pt>
                <c:pt idx="1">
                  <c:v>7.6567448100000002</c:v>
                </c:pt>
                <c:pt idx="2">
                  <c:v>27.76401984</c:v>
                </c:pt>
              </c:numCache>
            </c:numRef>
          </c:val>
          <c:extLst>
            <c:ext xmlns:c16="http://schemas.microsoft.com/office/drawing/2014/chart" uri="{C3380CC4-5D6E-409C-BE32-E72D297353CC}">
              <c16:uniqueId val="{00000003-D021-49AA-A735-32E6A70391AB}"/>
            </c:ext>
          </c:extLst>
        </c:ser>
        <c:dLbls>
          <c:showLegendKey val="0"/>
          <c:showVal val="0"/>
          <c:showCatName val="0"/>
          <c:showSerName val="0"/>
          <c:showPercent val="0"/>
          <c:showBubbleSize val="0"/>
        </c:dLbls>
        <c:gapWidth val="80"/>
        <c:overlap val="100"/>
        <c:axId val="2072611120"/>
        <c:axId val="1"/>
      </c:barChart>
      <c:catAx>
        <c:axId val="2072611120"/>
        <c:scaling>
          <c:orientation val="minMax"/>
        </c:scaling>
        <c:delete val="0"/>
        <c:axPos val="b"/>
        <c:majorGridlines>
          <c:spPr>
            <a:ln>
              <a:noFill/>
            </a:ln>
          </c:spPr>
        </c:majorGridlines>
        <c:majorTickMark val="none"/>
        <c:minorTickMark val="none"/>
        <c:tickLblPos val="none"/>
        <c:spPr>
          <a:ln w="6350" cmpd="sng" algn="ctr">
            <a:solidFill>
              <a:schemeClr val="tx2"/>
            </a:solidFill>
            <a:prstDash val="solid"/>
          </a:ln>
        </c:spPr>
        <c:crossAx val="1"/>
        <c:crosses val="min"/>
        <c:auto val="0"/>
        <c:lblAlgn val="ctr"/>
        <c:lblOffset val="100"/>
        <c:noMultiLvlLbl val="0"/>
      </c:catAx>
      <c:valAx>
        <c:axId val="1"/>
        <c:scaling>
          <c:orientation val="minMax"/>
          <c:max val="27.76401984"/>
          <c:min val="0"/>
        </c:scaling>
        <c:delete val="0"/>
        <c:axPos val="l"/>
        <c:majorGridlines>
          <c:spPr>
            <a:ln>
              <a:noFill/>
            </a:ln>
          </c:spPr>
        </c:majorGridlines>
        <c:numFmt formatCode="General" sourceLinked="1"/>
        <c:majorTickMark val="none"/>
        <c:minorTickMark val="none"/>
        <c:tickLblPos val="none"/>
        <c:spPr>
          <a:ln>
            <a:noFill/>
          </a:ln>
        </c:spPr>
        <c:crossAx val="207261112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059866962305987E-2"/>
          <c:y val="0.13458856345885634"/>
          <c:w val="0.95388026607538801"/>
          <c:h val="0.67991631799163177"/>
        </c:manualLayout>
      </c:layout>
      <c:barChart>
        <c:barDir val="col"/>
        <c:grouping val="stacked"/>
        <c:varyColors val="0"/>
        <c:ser>
          <c:idx val="0"/>
          <c:order val="0"/>
          <c:spPr>
            <a:solidFill>
              <a:schemeClr val="accent1">
                <a:alpha val="49928"/>
              </a:schemeClr>
            </a:solidFill>
            <a:ln w="12700">
              <a:solidFill>
                <a:schemeClr val="accent1"/>
              </a:solidFill>
            </a:ln>
          </c:spPr>
          <c:invertIfNegative val="0"/>
          <c:dLbls>
            <c:dLbl>
              <c:idx val="0"/>
              <c:layout>
                <c:manualLayout>
                  <c:x val="0"/>
                  <c:y val="-0.34170153417015342"/>
                </c:manualLayout>
              </c:layout>
              <c:numFmt formatCode="#,##0;&quot;-&quot;#,##0" sourceLinked="0"/>
              <c:spPr>
                <a:noFill/>
                <a:ln>
                  <a:noFill/>
                </a:ln>
              </c:spPr>
              <c:txPr>
                <a:bodyPr wrap="none"/>
                <a:lstStyle/>
                <a:p>
                  <a:pPr>
                    <a:defRPr sz="1400" kern="1200">
                      <a:solidFill>
                        <a:schemeClr val="bg1"/>
                      </a:solidFill>
                      <a:latin typeface="Avenir Next LT Pro"/>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21C-47D7-8BEA-60CD6E839525}"/>
                </c:ext>
              </c:extLst>
            </c:dLbl>
            <c:dLbl>
              <c:idx val="1"/>
              <c:layout>
                <c:manualLayout>
                  <c:x val="0"/>
                  <c:y val="-0.39051603905160392"/>
                </c:manualLayout>
              </c:layout>
              <c:numFmt formatCode="#,##0;&quot;-&quot;#,##0" sourceLinked="0"/>
              <c:spPr>
                <a:noFill/>
                <a:ln>
                  <a:noFill/>
                </a:ln>
              </c:spPr>
              <c:txPr>
                <a:bodyPr wrap="none"/>
                <a:lstStyle/>
                <a:p>
                  <a:pPr>
                    <a:defRPr sz="1400" kern="1200">
                      <a:solidFill>
                        <a:schemeClr val="bg1"/>
                      </a:solidFill>
                      <a:latin typeface="Avenir Next LT Pro"/>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21C-47D7-8BEA-60CD6E839525}"/>
                </c:ext>
              </c:extLst>
            </c:dLbl>
            <c:dLbl>
              <c:idx val="2"/>
              <c:layout>
                <c:manualLayout>
                  <c:x val="0"/>
                  <c:y val="-0.2594142259414226"/>
                </c:manualLayout>
              </c:layout>
              <c:numFmt formatCode="#,##0;&quot;-&quot;#,##0" sourceLinked="0"/>
              <c:spPr>
                <a:noFill/>
                <a:ln>
                  <a:noFill/>
                </a:ln>
              </c:spPr>
              <c:txPr>
                <a:bodyPr wrap="none"/>
                <a:lstStyle/>
                <a:p>
                  <a:pPr>
                    <a:defRPr sz="1400" kern="1200">
                      <a:solidFill>
                        <a:schemeClr val="bg1"/>
                      </a:solidFill>
                      <a:latin typeface="Avenir Next LT Pro"/>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21C-47D7-8BEA-60CD6E83952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4.201346303488307</c:v>
                </c:pt>
                <c:pt idx="1">
                  <c:v>-63.45672540553516</c:v>
                </c:pt>
                <c:pt idx="2">
                  <c:v>-39.011270413680002</c:v>
                </c:pt>
              </c:numCache>
            </c:numRef>
          </c:val>
          <c:extLst>
            <c:ext xmlns:c16="http://schemas.microsoft.com/office/drawing/2014/chart" uri="{C3380CC4-5D6E-409C-BE32-E72D297353CC}">
              <c16:uniqueId val="{00000003-421C-47D7-8BEA-60CD6E839525}"/>
            </c:ext>
          </c:extLst>
        </c:ser>
        <c:dLbls>
          <c:showLegendKey val="0"/>
          <c:showVal val="0"/>
          <c:showCatName val="0"/>
          <c:showSerName val="0"/>
          <c:showPercent val="0"/>
          <c:showBubbleSize val="0"/>
        </c:dLbls>
        <c:gapWidth val="80"/>
        <c:overlap val="100"/>
        <c:axId val="2072599120"/>
        <c:axId val="1"/>
      </c:barChart>
      <c:catAx>
        <c:axId val="2072599120"/>
        <c:scaling>
          <c:orientation val="minMax"/>
        </c:scaling>
        <c:delete val="0"/>
        <c:axPos val="t"/>
        <c:majorGridlines>
          <c:spPr>
            <a:ln>
              <a:noFill/>
            </a:ln>
          </c:spPr>
        </c:majorGridlines>
        <c:majorTickMark val="none"/>
        <c:minorTickMark val="none"/>
        <c:tickLblPos val="none"/>
        <c:spPr>
          <a:ln w="6350" cmpd="sng" algn="ctr">
            <a:solidFill>
              <a:schemeClr val="tx2"/>
            </a:solidFill>
            <a:prstDash val="solid"/>
          </a:ln>
        </c:spPr>
        <c:crossAx val="1"/>
        <c:crosses val="max"/>
        <c:auto val="0"/>
        <c:lblAlgn val="ctr"/>
        <c:lblOffset val="100"/>
        <c:noMultiLvlLbl val="0"/>
      </c:catAx>
      <c:valAx>
        <c:axId val="1"/>
        <c:scaling>
          <c:orientation val="minMax"/>
          <c:max val="0"/>
          <c:min val="-63.45672540553516"/>
        </c:scaling>
        <c:delete val="0"/>
        <c:axPos val="l"/>
        <c:majorGridlines>
          <c:spPr>
            <a:ln>
              <a:noFill/>
            </a:ln>
          </c:spPr>
        </c:majorGridlines>
        <c:numFmt formatCode="General" sourceLinked="1"/>
        <c:majorTickMark val="none"/>
        <c:minorTickMark val="none"/>
        <c:tickLblPos val="none"/>
        <c:spPr>
          <a:ln>
            <a:noFill/>
          </a:ln>
        </c:spPr>
        <c:crossAx val="207259912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912667191188044E-2"/>
          <c:y val="0.20804195804195805"/>
          <c:w val="0.91817466561762395"/>
          <c:h val="0.58828671328671334"/>
        </c:manualLayout>
      </c:layout>
      <c:barChart>
        <c:barDir val="col"/>
        <c:grouping val="stacked"/>
        <c:varyColors val="0"/>
        <c:ser>
          <c:idx val="0"/>
          <c:order val="0"/>
          <c:spPr>
            <a:solidFill>
              <a:schemeClr val="accent1">
                <a:alpha val="50000"/>
              </a:schemeClr>
            </a:solidFill>
            <a:ln w="12700">
              <a:solidFill>
                <a:schemeClr val="accent1"/>
              </a:solidFill>
            </a:ln>
          </c:spPr>
          <c:invertIfNegative val="0"/>
          <c:dLbls>
            <c:dLbl>
              <c:idx val="0"/>
              <c:layout>
                <c:manualLayout>
                  <c:x val="0"/>
                  <c:y val="-0.25874125874125875"/>
                </c:manualLayout>
              </c:layout>
              <c:numFmt formatCode="#,##0;&quot;-&quot;#,##0" sourceLinked="0"/>
              <c:spPr>
                <a:noFill/>
                <a:ln>
                  <a:noFill/>
                </a:ln>
              </c:spPr>
              <c:txPr>
                <a:bodyPr wrap="none"/>
                <a:lstStyle/>
                <a:p>
                  <a:pPr>
                    <a:defRPr sz="1200" kern="1200">
                      <a:solidFill>
                        <a:schemeClr val="bg1"/>
                      </a:solidFill>
                      <a:latin typeface="Avenir Next LT Pro"/>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2CB-4743-AAB4-F04C49C5A670}"/>
                </c:ext>
              </c:extLst>
            </c:dLbl>
            <c:dLbl>
              <c:idx val="1"/>
              <c:layout>
                <c:manualLayout>
                  <c:x val="0"/>
                  <c:y val="-0.15472027972027971"/>
                </c:manualLayout>
              </c:layout>
              <c:numFmt formatCode="#,##0;&quot;-&quot;#,##0" sourceLinked="0"/>
              <c:spPr>
                <a:noFill/>
                <a:ln>
                  <a:noFill/>
                </a:ln>
              </c:spPr>
              <c:txPr>
                <a:bodyPr wrap="none"/>
                <a:lstStyle/>
                <a:p>
                  <a:pPr>
                    <a:defRPr sz="1200" kern="1200">
                      <a:solidFill>
                        <a:schemeClr val="bg1"/>
                      </a:solidFill>
                      <a:latin typeface="Avenir Next LT Pro"/>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2CB-4743-AAB4-F04C49C5A670}"/>
                </c:ext>
              </c:extLst>
            </c:dLbl>
            <c:dLbl>
              <c:idx val="2"/>
              <c:layout>
                <c:manualLayout>
                  <c:x val="0"/>
                  <c:y val="-6.555944055944056E-2"/>
                </c:manualLayout>
              </c:layout>
              <c:numFmt formatCode="#,##0;&quot;-&quot;#,##0" sourceLinked="0"/>
              <c:spPr>
                <a:noFill/>
                <a:ln>
                  <a:noFill/>
                </a:ln>
              </c:spPr>
              <c:txPr>
                <a:bodyPr wrap="none"/>
                <a:lstStyle/>
                <a:p>
                  <a:pPr>
                    <a:defRPr sz="1200" kern="1200">
                      <a:solidFill>
                        <a:schemeClr val="bg1"/>
                      </a:solidFill>
                      <a:latin typeface="Avenir Next LT Pro"/>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2CB-4743-AAB4-F04C49C5A67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0.839581623488314</c:v>
                </c:pt>
                <c:pt idx="1">
                  <c:v>-5.389320864464838</c:v>
                </c:pt>
                <c:pt idx="2">
                  <c:v>0.20873103000000001</c:v>
                </c:pt>
              </c:numCache>
            </c:numRef>
          </c:val>
          <c:extLst>
            <c:ext xmlns:c16="http://schemas.microsoft.com/office/drawing/2014/chart" uri="{C3380CC4-5D6E-409C-BE32-E72D297353CC}">
              <c16:uniqueId val="{00000003-32CB-4743-AAB4-F04C49C5A670}"/>
            </c:ext>
          </c:extLst>
        </c:ser>
        <c:dLbls>
          <c:showLegendKey val="0"/>
          <c:showVal val="0"/>
          <c:showCatName val="0"/>
          <c:showSerName val="0"/>
          <c:showPercent val="0"/>
          <c:showBubbleSize val="0"/>
        </c:dLbls>
        <c:gapWidth val="80"/>
        <c:overlap val="100"/>
        <c:axId val="1517230544"/>
        <c:axId val="1"/>
      </c:barChart>
      <c:catAx>
        <c:axId val="1517230544"/>
        <c:scaling>
          <c:orientation val="minMax"/>
        </c:scaling>
        <c:delete val="0"/>
        <c:axPos val="b"/>
        <c:majorGridlines>
          <c:spPr>
            <a:ln>
              <a:noFill/>
            </a:ln>
          </c:spPr>
        </c:majorGridlines>
        <c:majorTickMark val="none"/>
        <c:minorTickMark val="none"/>
        <c:tickLblPos val="none"/>
        <c:spPr>
          <a:ln w="12700" cmpd="sng" algn="ctr">
            <a:solidFill>
              <a:schemeClr val="tx2"/>
            </a:solidFill>
            <a:prstDash val="solid"/>
          </a:ln>
        </c:spPr>
        <c:crossAx val="1"/>
        <c:crossesAt val="0"/>
        <c:auto val="0"/>
        <c:lblAlgn val="ctr"/>
        <c:lblOffset val="100"/>
        <c:noMultiLvlLbl val="0"/>
      </c:catAx>
      <c:valAx>
        <c:axId val="1"/>
        <c:scaling>
          <c:orientation val="minMax"/>
          <c:max val="10.839581623488314"/>
          <c:min val="-5.389320864464838"/>
        </c:scaling>
        <c:delete val="0"/>
        <c:axPos val="l"/>
        <c:majorGridlines>
          <c:spPr>
            <a:ln>
              <a:noFill/>
            </a:ln>
          </c:spPr>
        </c:majorGridlines>
        <c:numFmt formatCode="General" sourceLinked="1"/>
        <c:majorTickMark val="none"/>
        <c:minorTickMark val="none"/>
        <c:tickLblPos val="none"/>
        <c:spPr>
          <a:ln>
            <a:noFill/>
          </a:ln>
        </c:spPr>
        <c:crossAx val="151723054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853295535081501E-2"/>
          <c:y val="5.9023836549375708E-2"/>
          <c:w val="0.92629340892983703"/>
          <c:h val="0.88195232690124858"/>
        </c:manualLayout>
      </c:layout>
      <c:barChart>
        <c:barDir val="col"/>
        <c:grouping val="stacked"/>
        <c:varyColors val="0"/>
        <c:ser>
          <c:idx val="0"/>
          <c:order val="0"/>
          <c:spPr>
            <a:solidFill>
              <a:schemeClr val="accent1">
                <a:alpha val="50000"/>
              </a:schemeClr>
            </a:solidFill>
            <a:ln>
              <a:solidFill>
                <a:schemeClr val="accent1"/>
              </a:solidFill>
            </a:ln>
          </c:spPr>
          <c:invertIfNegative val="0"/>
          <c:val>
            <c:numRef>
              <c:f>Sheet1!$A$1:$C$1</c:f>
              <c:numCache>
                <c:formatCode>General</c:formatCode>
                <c:ptCount val="3"/>
                <c:pt idx="0">
                  <c:v>21.401553623356925</c:v>
                </c:pt>
                <c:pt idx="1">
                  <c:v>-14.225810169250863</c:v>
                </c:pt>
                <c:pt idx="2">
                  <c:v>0.37868485965440052</c:v>
                </c:pt>
              </c:numCache>
            </c:numRef>
          </c:val>
          <c:extLst>
            <c:ext xmlns:c16="http://schemas.microsoft.com/office/drawing/2014/chart" uri="{C3380CC4-5D6E-409C-BE32-E72D297353CC}">
              <c16:uniqueId val="{00000000-28D4-4000-929B-6BFA96BECEB1}"/>
            </c:ext>
          </c:extLst>
        </c:ser>
        <c:dLbls>
          <c:showLegendKey val="0"/>
          <c:showVal val="0"/>
          <c:showCatName val="0"/>
          <c:showSerName val="0"/>
          <c:showPercent val="0"/>
          <c:showBubbleSize val="0"/>
        </c:dLbls>
        <c:gapWidth val="80"/>
        <c:overlap val="100"/>
        <c:axId val="152343312"/>
        <c:axId val="1"/>
      </c:barChart>
      <c:catAx>
        <c:axId val="152343312"/>
        <c:scaling>
          <c:orientation val="minMax"/>
        </c:scaling>
        <c:delete val="0"/>
        <c:axPos val="b"/>
        <c:majorGridlines>
          <c:spPr>
            <a:ln>
              <a:noFill/>
            </a:ln>
          </c:spPr>
        </c:majorGridlines>
        <c:majorTickMark val="none"/>
        <c:minorTickMark val="none"/>
        <c:tickLblPos val="none"/>
        <c:spPr>
          <a:ln w="12700" cmpd="sng" algn="ctr">
            <a:solidFill>
              <a:schemeClr val="tx2"/>
            </a:solidFill>
            <a:prstDash val="solid"/>
          </a:ln>
        </c:spPr>
        <c:crossAx val="1"/>
        <c:crossesAt val="0"/>
        <c:auto val="0"/>
        <c:lblAlgn val="ctr"/>
        <c:lblOffset val="100"/>
        <c:noMultiLvlLbl val="0"/>
      </c:catAx>
      <c:valAx>
        <c:axId val="1"/>
        <c:scaling>
          <c:orientation val="minMax"/>
          <c:max val="21.401553623356925"/>
          <c:min val="-14.225810169250863"/>
        </c:scaling>
        <c:delete val="0"/>
        <c:axPos val="l"/>
        <c:majorGridlines>
          <c:spPr>
            <a:ln>
              <a:noFill/>
            </a:ln>
          </c:spPr>
        </c:majorGridlines>
        <c:numFmt formatCode="General" sourceLinked="1"/>
        <c:majorTickMark val="none"/>
        <c:minorTickMark val="none"/>
        <c:tickLblPos val="none"/>
        <c:spPr>
          <a:ln>
            <a:noFill/>
          </a:ln>
        </c:spPr>
        <c:crossAx val="152343312"/>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110017371163866E-2"/>
          <c:y val="0.1803030303030303"/>
          <c:w val="0.93977996525767227"/>
          <c:h val="0.69242424242424239"/>
        </c:manualLayout>
      </c:layout>
      <c:barChart>
        <c:barDir val="col"/>
        <c:grouping val="stacked"/>
        <c:varyColors val="0"/>
        <c:ser>
          <c:idx val="0"/>
          <c:order val="0"/>
          <c:spPr>
            <a:solidFill>
              <a:schemeClr val="accent1">
                <a:alpha val="50000"/>
              </a:schemeClr>
            </a:solidFill>
            <a:ln w="12700">
              <a:solidFill>
                <a:schemeClr val="accent1"/>
              </a:solidFill>
            </a:ln>
          </c:spPr>
          <c:invertIfNegative val="0"/>
          <c:dLbls>
            <c:dLbl>
              <c:idx val="0"/>
              <c:layout>
                <c:manualLayout>
                  <c:x val="0"/>
                  <c:y val="-0.4"/>
                </c:manualLayout>
              </c:layout>
              <c:numFmt formatCode="#,##0;&quot;-&quot;#,##0" sourceLinked="0"/>
              <c:spPr>
                <a:noFill/>
                <a:ln>
                  <a:noFill/>
                </a:ln>
              </c:spPr>
              <c:txPr>
                <a:bodyPr wrap="none"/>
                <a:lstStyle/>
                <a:p>
                  <a:pPr>
                    <a:defRPr sz="1200" kern="1200">
                      <a:solidFill>
                        <a:schemeClr val="bg1"/>
                      </a:solidFill>
                      <a:latin typeface="Avenir Next LT Pro"/>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46D-4CCB-8BD9-BEF95BF834B3}"/>
                </c:ext>
              </c:extLst>
            </c:dLbl>
            <c:dLbl>
              <c:idx val="1"/>
              <c:layout>
                <c:manualLayout>
                  <c:x val="0"/>
                  <c:y val="-0.31287878787878787"/>
                </c:manualLayout>
              </c:layout>
              <c:numFmt formatCode="#,##0;&quot;-&quot;#,##0" sourceLinked="0"/>
              <c:spPr>
                <a:noFill/>
                <a:ln>
                  <a:noFill/>
                </a:ln>
              </c:spPr>
              <c:txPr>
                <a:bodyPr wrap="none"/>
                <a:lstStyle/>
                <a:p>
                  <a:pPr>
                    <a:defRPr sz="1200" kern="1200">
                      <a:solidFill>
                        <a:schemeClr val="bg1"/>
                      </a:solidFill>
                      <a:latin typeface="Avenir Next LT Pro"/>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46D-4CCB-8BD9-BEF95BF834B3}"/>
                </c:ext>
              </c:extLst>
            </c:dLbl>
            <c:dLbl>
              <c:idx val="2"/>
              <c:layout>
                <c:manualLayout>
                  <c:x val="0"/>
                  <c:y val="-0.37954545454545452"/>
                </c:manualLayout>
              </c:layout>
              <c:numFmt formatCode="#,##0;&quot;-&quot;#,##0" sourceLinked="0"/>
              <c:spPr>
                <a:noFill/>
                <a:ln>
                  <a:noFill/>
                </a:ln>
              </c:spPr>
              <c:txPr>
                <a:bodyPr wrap="none"/>
                <a:lstStyle/>
                <a:p>
                  <a:pPr>
                    <a:defRPr sz="1200" kern="1200">
                      <a:solidFill>
                        <a:schemeClr val="bg1"/>
                      </a:solidFill>
                      <a:latin typeface="Avenir Next LT Pro"/>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46D-4CCB-8BD9-BEF95BF834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0.64857353</c:v>
                </c:pt>
                <c:pt idx="1">
                  <c:v>37.884105020000007</c:v>
                </c:pt>
                <c:pt idx="2">
                  <c:v>47.737848089999986</c:v>
                </c:pt>
              </c:numCache>
            </c:numRef>
          </c:val>
          <c:extLst>
            <c:ext xmlns:c16="http://schemas.microsoft.com/office/drawing/2014/chart" uri="{C3380CC4-5D6E-409C-BE32-E72D297353CC}">
              <c16:uniqueId val="{00000003-846D-4CCB-8BD9-BEF95BF834B3}"/>
            </c:ext>
          </c:extLst>
        </c:ser>
        <c:dLbls>
          <c:showLegendKey val="0"/>
          <c:showVal val="0"/>
          <c:showCatName val="0"/>
          <c:showSerName val="0"/>
          <c:showPercent val="0"/>
          <c:showBubbleSize val="0"/>
        </c:dLbls>
        <c:gapWidth val="80"/>
        <c:overlap val="100"/>
        <c:axId val="152325552"/>
        <c:axId val="1"/>
      </c:barChart>
      <c:catAx>
        <c:axId val="152325552"/>
        <c:scaling>
          <c:orientation val="minMax"/>
        </c:scaling>
        <c:delete val="0"/>
        <c:axPos val="b"/>
        <c:majorGridlines>
          <c:spPr>
            <a:ln>
              <a:noFill/>
            </a:ln>
          </c:spPr>
        </c:majorGridlines>
        <c:majorTickMark val="none"/>
        <c:minorTickMark val="none"/>
        <c:tickLblPos val="none"/>
        <c:spPr>
          <a:ln w="12700" cmpd="sng" algn="ctr">
            <a:solidFill>
              <a:schemeClr val="tx2"/>
            </a:solidFill>
            <a:prstDash val="solid"/>
          </a:ln>
        </c:spPr>
        <c:crossAx val="1"/>
        <c:crosses val="min"/>
        <c:auto val="0"/>
        <c:lblAlgn val="ctr"/>
        <c:lblOffset val="100"/>
        <c:noMultiLvlLbl val="0"/>
      </c:catAx>
      <c:valAx>
        <c:axId val="1"/>
        <c:scaling>
          <c:orientation val="minMax"/>
          <c:max val="50.64857353"/>
          <c:min val="0"/>
        </c:scaling>
        <c:delete val="0"/>
        <c:axPos val="l"/>
        <c:majorGridlines>
          <c:spPr>
            <a:ln>
              <a:noFill/>
            </a:ln>
          </c:spPr>
        </c:majorGridlines>
        <c:numFmt formatCode="General" sourceLinked="1"/>
        <c:majorTickMark val="none"/>
        <c:minorTickMark val="none"/>
        <c:tickLblPos val="none"/>
        <c:spPr>
          <a:ln>
            <a:noFill/>
          </a:ln>
        </c:spPr>
        <c:crossAx val="152325552"/>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US">
              <a:latin typeface="Avenir Next LT Pro" panose="020B0504020202020204" pitchFamily="34" charset="77"/>
            </a:endParaRPr>
          </a:p>
        </p:txBody>
      </p:sp>
      <p:sp>
        <p:nvSpPr>
          <p:cNvPr id="3" name="Date Placeholder 2"/>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6CF01BD6-766B-4D19-B75E-7E6A037A6BFB}" type="datetimeFigureOut">
              <a:rPr lang="en-US" smtClean="0">
                <a:latin typeface="Avenir Next LT Pro" panose="020B0504020202020204" pitchFamily="34" charset="77"/>
              </a:rPr>
              <a:t>5/13/2026</a:t>
            </a:fld>
            <a:endParaRPr lang="en-US">
              <a:latin typeface="Avenir Next LT Pro" panose="020B0504020202020204" pitchFamily="34" charset="77"/>
            </a:endParaRPr>
          </a:p>
        </p:txBody>
      </p:sp>
      <p:sp>
        <p:nvSpPr>
          <p:cNvPr id="4" name="Footer Placeholder 3"/>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endParaRPr lang="en-US">
              <a:latin typeface="Avenir Next LT Pro" panose="020B0504020202020204" pitchFamily="34" charset="77"/>
            </a:endParaRPr>
          </a:p>
        </p:txBody>
      </p:sp>
      <p:sp>
        <p:nvSpPr>
          <p:cNvPr id="5" name="Slide Number Placeholder 4"/>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F31302AA-81B1-4225-BC36-6DD3E8E98722}" type="slidenum">
              <a:rPr lang="en-US" smtClean="0">
                <a:latin typeface="Avenir Next LT Pro" panose="020B0504020202020204" pitchFamily="34" charset="77"/>
              </a:rPr>
              <a:t>‹#›</a:t>
            </a:fld>
            <a:endParaRPr lang="en-US">
              <a:latin typeface="Avenir Next LT Pro" panose="020B0504020202020204" pitchFamily="34" charset="77"/>
            </a:endParaRPr>
          </a:p>
        </p:txBody>
      </p:sp>
    </p:spTree>
    <p:extLst>
      <p:ext uri="{BB962C8B-B14F-4D97-AF65-F5344CB8AC3E}">
        <p14:creationId xmlns:p14="http://schemas.microsoft.com/office/powerpoint/2010/main" val="38888448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b="0" i="0">
                <a:latin typeface="Avenir Next LT Pro" panose="020B0504020202020204" pitchFamily="34" charset="77"/>
              </a:defRPr>
            </a:lvl1pPr>
          </a:lstStyle>
          <a:p>
            <a:endParaRPr lang="en-US"/>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b="0" i="0">
                <a:latin typeface="Avenir Next LT Pro" panose="020B0504020202020204" pitchFamily="34" charset="77"/>
              </a:defRPr>
            </a:lvl1pPr>
          </a:lstStyle>
          <a:p>
            <a:fld id="{E98D3C34-4FAE-4634-9621-7C1A1531823B}" type="datetimeFigureOut">
              <a:rPr lang="en-US" smtClean="0"/>
              <a:pPr/>
              <a:t>5/13/2026</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b="0" i="0">
                <a:latin typeface="Avenir Next LT Pro" panose="020B0504020202020204" pitchFamily="34" charset="77"/>
              </a:defRPr>
            </a:lvl1pPr>
          </a:lstStyle>
          <a:p>
            <a:endParaRPr lang="en-US"/>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b="0" i="0">
                <a:latin typeface="Avenir Next LT Pro" panose="020B0504020202020204" pitchFamily="34" charset="77"/>
              </a:defRPr>
            </a:lvl1pPr>
          </a:lstStyle>
          <a:p>
            <a:fld id="{FA5D1758-ED3D-4611-B861-63A1DF032208}" type="slidenum">
              <a:rPr lang="en-US" smtClean="0"/>
              <a:pPr/>
              <a:t>‹#›</a:t>
            </a:fld>
            <a:endParaRPr lang="en-US"/>
          </a:p>
        </p:txBody>
      </p:sp>
    </p:spTree>
    <p:extLst>
      <p:ext uri="{BB962C8B-B14F-4D97-AF65-F5344CB8AC3E}">
        <p14:creationId xmlns:p14="http://schemas.microsoft.com/office/powerpoint/2010/main" val="1990456771"/>
      </p:ext>
    </p:extLst>
  </p:cSld>
  <p:clrMap bg1="lt1" tx1="dk1" bg2="lt2" tx2="dk2" accent1="accent1" accent2="accent2" accent3="accent3" accent4="accent4" accent5="accent5" accent6="accent6" hlink="hlink" folHlink="folHlink"/>
  <p:notesStyle>
    <a:lvl1pPr marL="0" algn="l" defTabSz="1219261" rtl="0" eaLnBrk="1" latinLnBrk="0" hangingPunct="1">
      <a:defRPr sz="1600" b="0" i="0" kern="1200">
        <a:solidFill>
          <a:schemeClr val="tx1"/>
        </a:solidFill>
        <a:latin typeface="Avenir Next LT Pro" panose="020B0504020202020204" pitchFamily="34" charset="77"/>
        <a:ea typeface="+mn-ea"/>
        <a:cs typeface="+mn-cs"/>
      </a:defRPr>
    </a:lvl1pPr>
    <a:lvl2pPr marL="609630" algn="l" defTabSz="1219261" rtl="0" eaLnBrk="1" latinLnBrk="0" hangingPunct="1">
      <a:defRPr sz="1600" b="0" i="0" kern="1200">
        <a:solidFill>
          <a:schemeClr val="tx1"/>
        </a:solidFill>
        <a:latin typeface="Avenir Next LT Pro" panose="020B0504020202020204" pitchFamily="34" charset="77"/>
        <a:ea typeface="+mn-ea"/>
        <a:cs typeface="+mn-cs"/>
      </a:defRPr>
    </a:lvl2pPr>
    <a:lvl3pPr marL="1219261" algn="l" defTabSz="1219261" rtl="0" eaLnBrk="1" latinLnBrk="0" hangingPunct="1">
      <a:defRPr sz="1600" b="0" i="0" kern="1200">
        <a:solidFill>
          <a:schemeClr val="tx1"/>
        </a:solidFill>
        <a:latin typeface="Avenir Next LT Pro" panose="020B0504020202020204" pitchFamily="34" charset="77"/>
        <a:ea typeface="+mn-ea"/>
        <a:cs typeface="+mn-cs"/>
      </a:defRPr>
    </a:lvl3pPr>
    <a:lvl4pPr marL="1828891" algn="l" defTabSz="1219261" rtl="0" eaLnBrk="1" latinLnBrk="0" hangingPunct="1">
      <a:defRPr sz="1600" b="0" i="0" kern="1200">
        <a:solidFill>
          <a:schemeClr val="tx1"/>
        </a:solidFill>
        <a:latin typeface="Avenir Next LT Pro" panose="020B0504020202020204" pitchFamily="34" charset="77"/>
        <a:ea typeface="+mn-ea"/>
        <a:cs typeface="+mn-cs"/>
      </a:defRPr>
    </a:lvl4pPr>
    <a:lvl5pPr marL="2438522" algn="l" defTabSz="1219261" rtl="0" eaLnBrk="1" latinLnBrk="0" hangingPunct="1">
      <a:defRPr sz="1600" b="0" i="0" kern="1200">
        <a:solidFill>
          <a:schemeClr val="tx1"/>
        </a:solidFill>
        <a:latin typeface="Avenir Next LT Pro" panose="020B0504020202020204" pitchFamily="34" charset="77"/>
        <a:ea typeface="+mn-ea"/>
        <a:cs typeface="+mn-cs"/>
      </a:defRPr>
    </a:lvl5pPr>
    <a:lvl6pPr marL="3048152" algn="l" defTabSz="1219261" rtl="0" eaLnBrk="1" latinLnBrk="0" hangingPunct="1">
      <a:defRPr sz="1600" kern="1200">
        <a:solidFill>
          <a:schemeClr val="tx1"/>
        </a:solidFill>
        <a:latin typeface="+mn-lt"/>
        <a:ea typeface="+mn-ea"/>
        <a:cs typeface="+mn-cs"/>
      </a:defRPr>
    </a:lvl6pPr>
    <a:lvl7pPr marL="3657783" algn="l" defTabSz="1219261" rtl="0" eaLnBrk="1" latinLnBrk="0" hangingPunct="1">
      <a:defRPr sz="1600" kern="1200">
        <a:solidFill>
          <a:schemeClr val="tx1"/>
        </a:solidFill>
        <a:latin typeface="+mn-lt"/>
        <a:ea typeface="+mn-ea"/>
        <a:cs typeface="+mn-cs"/>
      </a:defRPr>
    </a:lvl7pPr>
    <a:lvl8pPr marL="4267413" algn="l" defTabSz="1219261" rtl="0" eaLnBrk="1" latinLnBrk="0" hangingPunct="1">
      <a:defRPr sz="1600" kern="1200">
        <a:solidFill>
          <a:schemeClr val="tx1"/>
        </a:solidFill>
        <a:latin typeface="+mn-lt"/>
        <a:ea typeface="+mn-ea"/>
        <a:cs typeface="+mn-cs"/>
      </a:defRPr>
    </a:lvl8pPr>
    <a:lvl9pPr marL="4877044" algn="l" defTabSz="1219261"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46" rtl="0" eaLnBrk="1" fontAlgn="auto" latinLnBrk="0" hangingPunct="1">
              <a:lnSpc>
                <a:spcPct val="100000"/>
              </a:lnSpc>
              <a:spcBef>
                <a:spcPts val="0"/>
              </a:spcBef>
              <a:spcAft>
                <a:spcPts val="0"/>
              </a:spcAft>
              <a:buClrTx/>
              <a:buSzTx/>
              <a:buFontTx/>
              <a:buNone/>
              <a:tabLst/>
              <a:defRPr/>
            </a:pPr>
            <a:fld id="{FA5D1758-ED3D-4611-B861-63A1DF032208}" type="slidenum">
              <a:rPr kumimoji="0" lang="en-US" sz="1200" b="0" i="0" u="none" strike="noStrike" kern="1200" cap="none" spc="0" normalizeH="0" baseline="0" noProof="0" smtClean="0">
                <a:ln>
                  <a:noFill/>
                </a:ln>
                <a:solidFill>
                  <a:prstClr val="black"/>
                </a:solidFill>
                <a:effectLst/>
                <a:uLnTx/>
                <a:uFillTx/>
                <a:latin typeface="Avenir Next LT Pro" panose="020B0504020202020204" pitchFamily="34" charset="77"/>
                <a:ea typeface="+mn-ea"/>
                <a:cs typeface="+mn-cs"/>
              </a:rPr>
              <a:pPr marL="0" marR="0" lvl="0" indent="0" algn="r" defTabSz="914446"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27689973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46" rtl="0" eaLnBrk="1" fontAlgn="auto" latinLnBrk="0" hangingPunct="1">
              <a:lnSpc>
                <a:spcPct val="100000"/>
              </a:lnSpc>
              <a:spcBef>
                <a:spcPts val="0"/>
              </a:spcBef>
              <a:spcAft>
                <a:spcPts val="0"/>
              </a:spcAft>
              <a:buClrTx/>
              <a:buSzTx/>
              <a:buFontTx/>
              <a:buNone/>
              <a:tabLst/>
              <a:defRPr/>
            </a:pPr>
            <a:fld id="{FA5D1758-ED3D-4611-B861-63A1DF032208}" type="slidenum">
              <a:rPr kumimoji="0" lang="en-US" sz="1200" b="0" i="0" u="none" strike="noStrike" kern="1200" cap="none" spc="0" normalizeH="0" baseline="0" noProof="0" smtClean="0">
                <a:ln>
                  <a:noFill/>
                </a:ln>
                <a:solidFill>
                  <a:prstClr val="black"/>
                </a:solidFill>
                <a:effectLst/>
                <a:uLnTx/>
                <a:uFillTx/>
                <a:latin typeface="Avenir Next LT Pro" panose="020B0504020202020204" pitchFamily="34" charset="77"/>
                <a:ea typeface="+mn-ea"/>
                <a:cs typeface="+mn-cs"/>
              </a:rPr>
              <a:pPr marL="0" marR="0" lvl="0" indent="0" algn="r" defTabSz="914446"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22715202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46" rtl="0" eaLnBrk="1" fontAlgn="auto" latinLnBrk="0" hangingPunct="1">
              <a:lnSpc>
                <a:spcPct val="100000"/>
              </a:lnSpc>
              <a:spcBef>
                <a:spcPts val="0"/>
              </a:spcBef>
              <a:spcAft>
                <a:spcPts val="0"/>
              </a:spcAft>
              <a:buClrTx/>
              <a:buSzTx/>
              <a:buFontTx/>
              <a:buNone/>
              <a:tabLst/>
              <a:defRPr/>
            </a:pPr>
            <a:fld id="{FA5D1758-ED3D-4611-B861-63A1DF032208}" type="slidenum">
              <a:rPr kumimoji="0" lang="en-US" sz="1200" b="0" i="0" u="none" strike="noStrike" kern="1200" cap="none" spc="0" normalizeH="0" baseline="0" noProof="0" smtClean="0">
                <a:ln>
                  <a:noFill/>
                </a:ln>
                <a:solidFill>
                  <a:prstClr val="black"/>
                </a:solidFill>
                <a:effectLst/>
                <a:uLnTx/>
                <a:uFillTx/>
                <a:latin typeface="Avenir Next LT Pro" panose="020B0504020202020204" pitchFamily="34" charset="77"/>
                <a:ea typeface="+mn-ea"/>
                <a:cs typeface="+mn-cs"/>
              </a:rPr>
              <a:pPr marL="0" marR="0" lvl="0" indent="0" algn="r" defTabSz="914446"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28591378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46" rtl="0" eaLnBrk="1" fontAlgn="auto" latinLnBrk="0" hangingPunct="1">
              <a:lnSpc>
                <a:spcPct val="100000"/>
              </a:lnSpc>
              <a:spcBef>
                <a:spcPts val="0"/>
              </a:spcBef>
              <a:spcAft>
                <a:spcPts val="0"/>
              </a:spcAft>
              <a:buClrTx/>
              <a:buSzTx/>
              <a:buFontTx/>
              <a:buNone/>
              <a:tabLst/>
              <a:defRPr/>
            </a:pPr>
            <a:fld id="{FA5D1758-ED3D-4611-B861-63A1DF032208}" type="slidenum">
              <a:rPr kumimoji="0" lang="en-US" sz="1200" b="0" i="0" u="none" strike="noStrike" kern="1200" cap="none" spc="0" normalizeH="0" baseline="0" noProof="0" smtClean="0">
                <a:ln>
                  <a:noFill/>
                </a:ln>
                <a:solidFill>
                  <a:prstClr val="black"/>
                </a:solidFill>
                <a:effectLst/>
                <a:uLnTx/>
                <a:uFillTx/>
                <a:latin typeface="Avenir Next LT Pro" panose="020B0504020202020204" pitchFamily="34" charset="77"/>
                <a:ea typeface="+mn-ea"/>
                <a:cs typeface="+mn-cs"/>
              </a:rPr>
              <a:pPr marL="0" marR="0" lvl="0" indent="0" algn="r" defTabSz="914446"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17924744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FA5D1758-ED3D-4611-B861-63A1DF032208}" type="slidenum">
              <a:rPr lang="en-US" smtClean="0"/>
              <a:pPr/>
              <a:t>19</a:t>
            </a:fld>
            <a:endParaRPr lang="en-US"/>
          </a:p>
        </p:txBody>
      </p:sp>
    </p:spTree>
    <p:extLst>
      <p:ext uri="{BB962C8B-B14F-4D97-AF65-F5344CB8AC3E}">
        <p14:creationId xmlns:p14="http://schemas.microsoft.com/office/powerpoint/2010/main" val="13528389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81AC80-5DD9-3C51-609F-741E450073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37AF37-6AE1-1914-50F1-1E80742D2F9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F5FAA14-FB81-05DB-1243-E8F67349835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8431C63-7C07-35A3-054D-D156B84DB281}"/>
              </a:ext>
            </a:extLst>
          </p:cNvPr>
          <p:cNvSpPr>
            <a:spLocks noGrp="1"/>
          </p:cNvSpPr>
          <p:nvPr>
            <p:ph type="sldNum" sz="quarter" idx="5"/>
          </p:nvPr>
        </p:nvSpPr>
        <p:spPr/>
        <p:txBody>
          <a:bodyPr/>
          <a:lstStyle/>
          <a:p>
            <a:pPr marL="0" marR="0" lvl="0" indent="0" algn="r" defTabSz="914446" rtl="0" eaLnBrk="1" fontAlgn="auto" latinLnBrk="0" hangingPunct="1">
              <a:lnSpc>
                <a:spcPct val="100000"/>
              </a:lnSpc>
              <a:spcBef>
                <a:spcPts val="0"/>
              </a:spcBef>
              <a:spcAft>
                <a:spcPts val="0"/>
              </a:spcAft>
              <a:buClrTx/>
              <a:buSzTx/>
              <a:buFontTx/>
              <a:buNone/>
              <a:tabLst/>
              <a:defRPr/>
            </a:pPr>
            <a:fld id="{FA5D1758-ED3D-4611-B861-63A1DF032208}" type="slidenum">
              <a:rPr kumimoji="0" lang="en-US" sz="1200" b="0" i="0" u="none" strike="noStrike" kern="1200" cap="none" spc="0" normalizeH="0" baseline="0" noProof="0" smtClean="0">
                <a:ln>
                  <a:noFill/>
                </a:ln>
                <a:solidFill>
                  <a:prstClr val="black"/>
                </a:solidFill>
                <a:effectLst/>
                <a:uLnTx/>
                <a:uFillTx/>
                <a:latin typeface="Avenir Next LT Pro" panose="020B0504020202020204" pitchFamily="34" charset="77"/>
                <a:ea typeface="+mn-ea"/>
                <a:cs typeface="+mn-cs"/>
              </a:rPr>
              <a:pPr marL="0" marR="0" lvl="0" indent="0" algn="r" defTabSz="914446"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15302229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7E75BB-6FF8-2DB2-D7D8-922B2B63CE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0DCCA4-DDD4-183F-0637-465F1B794BDE}"/>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FD58311-A16F-AF0E-0EBD-B974366C31C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C0DAF9B-08AC-E418-868D-DA3E9EC90CA8}"/>
              </a:ext>
            </a:extLst>
          </p:cNvPr>
          <p:cNvSpPr>
            <a:spLocks noGrp="1"/>
          </p:cNvSpPr>
          <p:nvPr>
            <p:ph type="sldNum" sz="quarter" idx="5"/>
          </p:nvPr>
        </p:nvSpPr>
        <p:spPr/>
        <p:txBody>
          <a:bodyPr/>
          <a:lstStyle/>
          <a:p>
            <a:pPr marL="0" marR="0" lvl="0" indent="0" algn="r" defTabSz="914446" rtl="0" eaLnBrk="1" fontAlgn="auto" latinLnBrk="0" hangingPunct="1">
              <a:lnSpc>
                <a:spcPct val="100000"/>
              </a:lnSpc>
              <a:spcBef>
                <a:spcPts val="0"/>
              </a:spcBef>
              <a:spcAft>
                <a:spcPts val="0"/>
              </a:spcAft>
              <a:buClrTx/>
              <a:buSzTx/>
              <a:buFontTx/>
              <a:buNone/>
              <a:tabLst/>
              <a:defRPr/>
            </a:pPr>
            <a:fld id="{FA5D1758-ED3D-4611-B861-63A1DF032208}" type="slidenum">
              <a:rPr kumimoji="0" lang="en-US" sz="1200" b="0" i="0" u="none" strike="noStrike" kern="1200" cap="none" spc="0" normalizeH="0" baseline="0" noProof="0" smtClean="0">
                <a:ln>
                  <a:noFill/>
                </a:ln>
                <a:solidFill>
                  <a:prstClr val="black"/>
                </a:solidFill>
                <a:effectLst/>
                <a:uLnTx/>
                <a:uFillTx/>
                <a:latin typeface="Avenir Next LT Pro" panose="020B0504020202020204" pitchFamily="34" charset="77"/>
                <a:ea typeface="+mn-ea"/>
                <a:cs typeface="+mn-cs"/>
              </a:rPr>
              <a:pPr marL="0" marR="0" lvl="0" indent="0" algn="r" defTabSz="914446"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6018854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00084D-56E4-9C7A-E49A-F71FD8DA96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27A0D9-5419-DE28-CAF4-BABCDC044F3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C5E84C8-29DA-2170-B957-2981FAABF6F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8D8812B-5B07-8D27-1C95-9C824E0038A4}"/>
              </a:ext>
            </a:extLst>
          </p:cNvPr>
          <p:cNvSpPr>
            <a:spLocks noGrp="1"/>
          </p:cNvSpPr>
          <p:nvPr>
            <p:ph type="sldNum" sz="quarter" idx="5"/>
          </p:nvPr>
        </p:nvSpPr>
        <p:spPr/>
        <p:txBody>
          <a:bodyPr/>
          <a:lstStyle/>
          <a:p>
            <a:pPr marL="0" marR="0" lvl="0" indent="0" algn="r" defTabSz="914446" rtl="0" eaLnBrk="1" fontAlgn="auto" latinLnBrk="0" hangingPunct="1">
              <a:lnSpc>
                <a:spcPct val="100000"/>
              </a:lnSpc>
              <a:spcBef>
                <a:spcPts val="0"/>
              </a:spcBef>
              <a:spcAft>
                <a:spcPts val="0"/>
              </a:spcAft>
              <a:buClrTx/>
              <a:buSzTx/>
              <a:buFontTx/>
              <a:buNone/>
              <a:tabLst/>
              <a:defRPr/>
            </a:pPr>
            <a:fld id="{FA5D1758-ED3D-4611-B861-63A1DF032208}" type="slidenum">
              <a:rPr kumimoji="0" lang="en-US" sz="1200" b="0" i="0" u="none" strike="noStrike" kern="1200" cap="none" spc="0" normalizeH="0" baseline="0" noProof="0" smtClean="0">
                <a:ln>
                  <a:noFill/>
                </a:ln>
                <a:solidFill>
                  <a:prstClr val="black"/>
                </a:solidFill>
                <a:effectLst/>
                <a:uLnTx/>
                <a:uFillTx/>
                <a:latin typeface="Avenir Next LT Pro" panose="020B0504020202020204" pitchFamily="34" charset="77"/>
                <a:ea typeface="+mn-ea"/>
                <a:cs typeface="+mn-cs"/>
              </a:rPr>
              <a:pPr marL="0" marR="0" lvl="0" indent="0" algn="r" defTabSz="914446"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18003131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BF3B7A-0F1E-576A-57F1-D7CFCA9B23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518693-3EC8-6FB9-414E-608201CF5E3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1015DA2-B08A-C467-2317-9781DC5B99C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4C1D36B-A61A-BFBC-A9F8-5A957C2D6298}"/>
              </a:ext>
            </a:extLst>
          </p:cNvPr>
          <p:cNvSpPr>
            <a:spLocks noGrp="1"/>
          </p:cNvSpPr>
          <p:nvPr>
            <p:ph type="sldNum" sz="quarter" idx="5"/>
          </p:nvPr>
        </p:nvSpPr>
        <p:spPr/>
        <p:txBody>
          <a:bodyPr/>
          <a:lstStyle/>
          <a:p>
            <a:pPr marL="0" marR="0" lvl="0" indent="0" algn="r" defTabSz="914446" rtl="0" eaLnBrk="1" fontAlgn="auto" latinLnBrk="0" hangingPunct="1">
              <a:lnSpc>
                <a:spcPct val="100000"/>
              </a:lnSpc>
              <a:spcBef>
                <a:spcPts val="0"/>
              </a:spcBef>
              <a:spcAft>
                <a:spcPts val="0"/>
              </a:spcAft>
              <a:buClrTx/>
              <a:buSzTx/>
              <a:buFontTx/>
              <a:buNone/>
              <a:tabLst/>
              <a:defRPr/>
            </a:pPr>
            <a:fld id="{FA5D1758-ED3D-4611-B861-63A1DF032208}" type="slidenum">
              <a:rPr kumimoji="0" lang="en-US" sz="1200" b="0" i="0" u="none" strike="noStrike" kern="1200" cap="none" spc="0" normalizeH="0" baseline="0" noProof="0" smtClean="0">
                <a:ln>
                  <a:noFill/>
                </a:ln>
                <a:solidFill>
                  <a:prstClr val="black"/>
                </a:solidFill>
                <a:effectLst/>
                <a:uLnTx/>
                <a:uFillTx/>
                <a:latin typeface="Avenir Next LT Pro" panose="020B0504020202020204" pitchFamily="34" charset="77"/>
                <a:ea typeface="+mn-ea"/>
                <a:cs typeface="+mn-cs"/>
              </a:rPr>
              <a:pPr marL="0" marR="0" lvl="0" indent="0" algn="r" defTabSz="914446"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22755240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0ECE1F-83CA-4F0E-8605-198867DD3657}"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1495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pPr marL="0" marR="0" lvl="0" indent="0" algn="r" defTabSz="914446" rtl="0" eaLnBrk="1" fontAlgn="auto" latinLnBrk="0" hangingPunct="1">
              <a:lnSpc>
                <a:spcPct val="100000"/>
              </a:lnSpc>
              <a:spcBef>
                <a:spcPts val="0"/>
              </a:spcBef>
              <a:spcAft>
                <a:spcPts val="0"/>
              </a:spcAft>
              <a:buClrTx/>
              <a:buSzTx/>
              <a:buFontTx/>
              <a:buNone/>
              <a:tabLst/>
              <a:defRPr/>
            </a:pPr>
            <a:fld id="{FA5D1758-ED3D-4611-B861-63A1DF032208}" type="slidenum">
              <a:rPr kumimoji="0" lang="en-US" sz="1200" b="0" i="0" u="none" strike="noStrike" kern="1200" cap="none" spc="0" normalizeH="0" baseline="0" noProof="0" smtClean="0">
                <a:ln>
                  <a:noFill/>
                </a:ln>
                <a:solidFill>
                  <a:prstClr val="black"/>
                </a:solidFill>
                <a:effectLst/>
                <a:uLnTx/>
                <a:uFillTx/>
                <a:latin typeface="Avenir Next LT Pro" panose="020B0504020202020204" pitchFamily="34" charset="77"/>
                <a:ea typeface="+mn-ea"/>
                <a:cs typeface="+mn-cs"/>
              </a:rPr>
              <a:pPr marL="0" marR="0" lvl="0" indent="0" algn="r" defTabSz="914446"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9695718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0ECE1F-83CA-4F0E-8605-198867DD3657}"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64979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DK"/>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0ECE1F-83CA-4F0E-8605-198867DD3657}"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180046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FA5D1758-ED3D-4611-B861-63A1DF032208}" type="slidenum">
              <a:rPr lang="en-US" smtClean="0"/>
              <a:pPr/>
              <a:t>28</a:t>
            </a:fld>
            <a:endParaRPr lang="en-US"/>
          </a:p>
        </p:txBody>
      </p:sp>
    </p:spTree>
    <p:extLst>
      <p:ext uri="{BB962C8B-B14F-4D97-AF65-F5344CB8AC3E}">
        <p14:creationId xmlns:p14="http://schemas.microsoft.com/office/powerpoint/2010/main" val="17097880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FA5D1758-ED3D-4611-B861-63A1DF032208}" type="slidenum">
              <a:rPr lang="en-US" smtClean="0"/>
              <a:pPr/>
              <a:t>29</a:t>
            </a:fld>
            <a:endParaRPr lang="en-US"/>
          </a:p>
        </p:txBody>
      </p:sp>
    </p:spTree>
    <p:extLst>
      <p:ext uri="{BB962C8B-B14F-4D97-AF65-F5344CB8AC3E}">
        <p14:creationId xmlns:p14="http://schemas.microsoft.com/office/powerpoint/2010/main" val="19326297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FA5D1758-ED3D-4611-B861-63A1DF032208}" type="slidenum">
              <a:rPr lang="en-US" smtClean="0"/>
              <a:pPr/>
              <a:t>30</a:t>
            </a:fld>
            <a:endParaRPr lang="en-US"/>
          </a:p>
        </p:txBody>
      </p:sp>
    </p:spTree>
    <p:extLst>
      <p:ext uri="{BB962C8B-B14F-4D97-AF65-F5344CB8AC3E}">
        <p14:creationId xmlns:p14="http://schemas.microsoft.com/office/powerpoint/2010/main" val="16549986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FA5D1758-ED3D-4611-B861-63A1DF032208}" type="slidenum">
              <a:rPr lang="en-US" smtClean="0"/>
              <a:pPr/>
              <a:t>32</a:t>
            </a:fld>
            <a:endParaRPr lang="en-US"/>
          </a:p>
        </p:txBody>
      </p:sp>
    </p:spTree>
    <p:extLst>
      <p:ext uri="{BB962C8B-B14F-4D97-AF65-F5344CB8AC3E}">
        <p14:creationId xmlns:p14="http://schemas.microsoft.com/office/powerpoint/2010/main" val="18271012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pPr marL="0" marR="0" lvl="0" indent="0" algn="r" defTabSz="914446" rtl="0" eaLnBrk="1" fontAlgn="auto" latinLnBrk="0" hangingPunct="1">
              <a:lnSpc>
                <a:spcPct val="100000"/>
              </a:lnSpc>
              <a:spcBef>
                <a:spcPts val="0"/>
              </a:spcBef>
              <a:spcAft>
                <a:spcPts val="0"/>
              </a:spcAft>
              <a:buClrTx/>
              <a:buSzTx/>
              <a:buFontTx/>
              <a:buNone/>
              <a:tabLst/>
              <a:defRPr/>
            </a:pPr>
            <a:fld id="{FA5D1758-ED3D-4611-B861-63A1DF032208}" type="slidenum">
              <a:rPr kumimoji="0" lang="en-US" sz="1200" b="0" i="0" u="none" strike="noStrike" kern="1200" cap="none" spc="0" normalizeH="0" baseline="0" noProof="0" smtClean="0">
                <a:ln>
                  <a:noFill/>
                </a:ln>
                <a:solidFill>
                  <a:prstClr val="black"/>
                </a:solidFill>
                <a:effectLst/>
                <a:uLnTx/>
                <a:uFillTx/>
                <a:latin typeface="Avenir Next LT Pro" panose="020B0504020202020204" pitchFamily="34" charset="77"/>
                <a:ea typeface="+mn-ea"/>
                <a:cs typeface="+mn-cs"/>
              </a:rPr>
              <a:pPr marL="0" marR="0" lvl="0" indent="0" algn="r" defTabSz="914446"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5619864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390184-533E-4FF8-7BE4-644CD04F38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5E6236-C688-E146-F51C-4324BFDD26ED}"/>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019EB02-8F90-250F-49DC-9A905C1F36A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B3E52EF-A57F-23AC-EDFB-46AB52B6A19C}"/>
              </a:ext>
            </a:extLst>
          </p:cNvPr>
          <p:cNvSpPr>
            <a:spLocks noGrp="1"/>
          </p:cNvSpPr>
          <p:nvPr>
            <p:ph type="sldNum" sz="quarter" idx="5"/>
          </p:nvPr>
        </p:nvSpPr>
        <p:spPr/>
        <p:txBody>
          <a:bodyPr/>
          <a:lstStyle/>
          <a:p>
            <a:pPr marL="0" marR="0" lvl="0" indent="0" algn="r" defTabSz="914446" rtl="0" eaLnBrk="1" fontAlgn="auto" latinLnBrk="0" hangingPunct="1">
              <a:lnSpc>
                <a:spcPct val="100000"/>
              </a:lnSpc>
              <a:spcBef>
                <a:spcPts val="0"/>
              </a:spcBef>
              <a:spcAft>
                <a:spcPts val="0"/>
              </a:spcAft>
              <a:buClrTx/>
              <a:buSzTx/>
              <a:buFontTx/>
              <a:buNone/>
              <a:tabLst/>
              <a:defRPr/>
            </a:pPr>
            <a:fld id="{FA5D1758-ED3D-4611-B861-63A1DF032208}" type="slidenum">
              <a:rPr kumimoji="0" lang="en-US" sz="1200" b="0" i="0" u="none" strike="noStrike" kern="1200" cap="none" spc="0" normalizeH="0" baseline="0" noProof="0" smtClean="0">
                <a:ln>
                  <a:noFill/>
                </a:ln>
                <a:solidFill>
                  <a:prstClr val="black"/>
                </a:solidFill>
                <a:effectLst/>
                <a:uLnTx/>
                <a:uFillTx/>
                <a:latin typeface="Avenir Next LT Pro" panose="020B0504020202020204" pitchFamily="34" charset="77"/>
                <a:ea typeface="+mn-ea"/>
                <a:cs typeface="+mn-cs"/>
              </a:rPr>
              <a:pPr marL="0" marR="0" lvl="0" indent="0" algn="r" defTabSz="914446"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32668660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46" rtl="0" eaLnBrk="1" fontAlgn="auto" latinLnBrk="0" hangingPunct="1">
              <a:lnSpc>
                <a:spcPct val="100000"/>
              </a:lnSpc>
              <a:spcBef>
                <a:spcPts val="0"/>
              </a:spcBef>
              <a:spcAft>
                <a:spcPts val="0"/>
              </a:spcAft>
              <a:buClrTx/>
              <a:buSzTx/>
              <a:buFontTx/>
              <a:buNone/>
              <a:tabLst/>
              <a:defRPr/>
            </a:pPr>
            <a:fld id="{FA5D1758-ED3D-4611-B861-63A1DF032208}" type="slidenum">
              <a:rPr kumimoji="0" lang="en-US" sz="1200" b="0" i="0" u="none" strike="noStrike" kern="1200" cap="none" spc="0" normalizeH="0" baseline="0" noProof="0" smtClean="0">
                <a:ln>
                  <a:noFill/>
                </a:ln>
                <a:solidFill>
                  <a:prstClr val="black"/>
                </a:solidFill>
                <a:effectLst/>
                <a:uLnTx/>
                <a:uFillTx/>
                <a:latin typeface="Avenir Next LT Pro" panose="020B0504020202020204" pitchFamily="34" charset="77"/>
                <a:ea typeface="+mn-ea"/>
                <a:cs typeface="+mn-cs"/>
              </a:rPr>
              <a:pPr marL="0" marR="0" lvl="0" indent="0" algn="r" defTabSz="914446"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36007196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a:lnSpc>
                <a:spcPct val="107000"/>
              </a:lnSpc>
              <a:spcAft>
                <a:spcPts val="800"/>
              </a:spcAft>
            </a:pPr>
            <a:endParaRPr lang="en-US"/>
          </a:p>
        </p:txBody>
      </p:sp>
      <p:sp>
        <p:nvSpPr>
          <p:cNvPr id="4" name="Slide Number Placeholder 3"/>
          <p:cNvSpPr>
            <a:spLocks noGrp="1"/>
          </p:cNvSpPr>
          <p:nvPr>
            <p:ph type="sldNum" sz="quarter" idx="5"/>
          </p:nvPr>
        </p:nvSpPr>
        <p:spPr/>
        <p:txBody>
          <a:bodyPr/>
          <a:lstStyle/>
          <a:p>
            <a:pPr marL="0" marR="0" lvl="0" indent="0" algn="r" defTabSz="914446" rtl="0" eaLnBrk="1" fontAlgn="auto" latinLnBrk="0" hangingPunct="1">
              <a:lnSpc>
                <a:spcPct val="100000"/>
              </a:lnSpc>
              <a:spcBef>
                <a:spcPts val="0"/>
              </a:spcBef>
              <a:spcAft>
                <a:spcPts val="0"/>
              </a:spcAft>
              <a:buClrTx/>
              <a:buSzTx/>
              <a:buFontTx/>
              <a:buNone/>
              <a:tabLst/>
              <a:defRPr/>
            </a:pPr>
            <a:fld id="{FA5D1758-ED3D-4611-B861-63A1DF032208}" type="slidenum">
              <a:rPr kumimoji="0" lang="en-US" sz="1200" b="0" i="0" u="none" strike="noStrike" kern="1200" cap="none" spc="0" normalizeH="0" baseline="0" noProof="0" smtClean="0">
                <a:ln>
                  <a:noFill/>
                </a:ln>
                <a:solidFill>
                  <a:prstClr val="black"/>
                </a:solidFill>
                <a:effectLst/>
                <a:uLnTx/>
                <a:uFillTx/>
                <a:latin typeface="Avenir Next LT Pro" panose="020B0504020202020204" pitchFamily="34" charset="77"/>
                <a:ea typeface="+mn-ea"/>
                <a:cs typeface="+mn-cs"/>
              </a:rPr>
              <a:pPr marL="0" marR="0" lvl="0" indent="0" algn="r" defTabSz="914446"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13432551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1FFD9E-892C-05D3-50CC-E192C6B4CA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3F7237-0D40-6177-48E3-B04AFB37145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4D1F6285-E7A7-B82A-48C0-2FFEB4005B0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C3C69F5-226B-9916-D591-4C51ECE95857}"/>
              </a:ext>
            </a:extLst>
          </p:cNvPr>
          <p:cNvSpPr>
            <a:spLocks noGrp="1"/>
          </p:cNvSpPr>
          <p:nvPr>
            <p:ph type="sldNum" sz="quarter" idx="5"/>
          </p:nvPr>
        </p:nvSpPr>
        <p:spPr/>
        <p:txBody>
          <a:bodyPr/>
          <a:lstStyle/>
          <a:p>
            <a:pPr marL="0" marR="0" lvl="0" indent="0" algn="r" defTabSz="914446" rtl="0" eaLnBrk="1" fontAlgn="auto" latinLnBrk="0" hangingPunct="1">
              <a:lnSpc>
                <a:spcPct val="100000"/>
              </a:lnSpc>
              <a:spcBef>
                <a:spcPts val="0"/>
              </a:spcBef>
              <a:spcAft>
                <a:spcPts val="0"/>
              </a:spcAft>
              <a:buClrTx/>
              <a:buSzTx/>
              <a:buFontTx/>
              <a:buNone/>
              <a:tabLst/>
              <a:defRPr/>
            </a:pPr>
            <a:fld id="{FA5D1758-ED3D-4611-B861-63A1DF032208}" type="slidenum">
              <a:rPr kumimoji="0" lang="en-US" sz="1200" b="0" i="0" u="none" strike="noStrike" kern="1200" cap="none" spc="0" normalizeH="0" baseline="0" noProof="0" smtClean="0">
                <a:ln>
                  <a:noFill/>
                </a:ln>
                <a:solidFill>
                  <a:prstClr val="black"/>
                </a:solidFill>
                <a:effectLst/>
                <a:uLnTx/>
                <a:uFillTx/>
                <a:latin typeface="Avenir Next LT Pro" panose="020B0504020202020204" pitchFamily="34" charset="77"/>
                <a:ea typeface="+mn-ea"/>
                <a:cs typeface="+mn-cs"/>
              </a:rPr>
              <a:pPr marL="0" marR="0" lvl="0" indent="0" algn="r" defTabSz="914446"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15870497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DD9586-2957-DE3A-1CDD-75B0FE9B42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79B407-DF91-0E4B-0EF9-4DBE3E9EDCA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A04EEBD-792B-18B8-3719-07BCF641E91E}"/>
              </a:ext>
            </a:extLst>
          </p:cNvPr>
          <p:cNvSpPr>
            <a:spLocks noGrp="1"/>
          </p:cNvSpPr>
          <p:nvPr>
            <p:ph type="body" idx="1"/>
          </p:nvPr>
        </p:nvSpPr>
        <p:spPr/>
        <p:txBody>
          <a:bodyPr/>
          <a:lstStyle/>
          <a:p>
            <a:endParaRPr lang="en-DK"/>
          </a:p>
        </p:txBody>
      </p:sp>
      <p:sp>
        <p:nvSpPr>
          <p:cNvPr id="4" name="Slide Number Placeholder 3">
            <a:extLst>
              <a:ext uri="{FF2B5EF4-FFF2-40B4-BE49-F238E27FC236}">
                <a16:creationId xmlns:a16="http://schemas.microsoft.com/office/drawing/2014/main" id="{E17B1E22-9133-9237-9828-A2013FD9345A}"/>
              </a:ext>
            </a:extLst>
          </p:cNvPr>
          <p:cNvSpPr>
            <a:spLocks noGrp="1"/>
          </p:cNvSpPr>
          <p:nvPr>
            <p:ph type="sldNum" sz="quarter" idx="5"/>
          </p:nvPr>
        </p:nvSpPr>
        <p:spPr/>
        <p:txBody>
          <a:bodyPr/>
          <a:lstStyle/>
          <a:p>
            <a:pPr marL="0" marR="0" lvl="0" indent="0" algn="r" defTabSz="914446" rtl="0" eaLnBrk="1" fontAlgn="auto" latinLnBrk="0" hangingPunct="1">
              <a:lnSpc>
                <a:spcPct val="100000"/>
              </a:lnSpc>
              <a:spcBef>
                <a:spcPts val="0"/>
              </a:spcBef>
              <a:spcAft>
                <a:spcPts val="0"/>
              </a:spcAft>
              <a:buClrTx/>
              <a:buSzTx/>
              <a:buFontTx/>
              <a:buNone/>
              <a:tabLst/>
              <a:defRPr/>
            </a:pPr>
            <a:fld id="{FA5D1758-ED3D-4611-B861-63A1DF032208}" type="slidenum">
              <a:rPr kumimoji="0" lang="en-US" sz="1200" b="0" i="0" u="none" strike="noStrike" kern="1200" cap="none" spc="0" normalizeH="0" baseline="0" noProof="0" smtClean="0">
                <a:ln>
                  <a:noFill/>
                </a:ln>
                <a:solidFill>
                  <a:prstClr val="black"/>
                </a:solidFill>
                <a:effectLst/>
                <a:uLnTx/>
                <a:uFillTx/>
                <a:latin typeface="Avenir Next LT Pro" panose="020B0504020202020204" pitchFamily="34" charset="77"/>
                <a:ea typeface="+mn-ea"/>
                <a:cs typeface="+mn-cs"/>
              </a:rPr>
              <a:pPr marL="0" marR="0" lvl="0" indent="0" algn="r" defTabSz="914446"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9176946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A5D1758-ED3D-4611-B861-63A1DF032208}" type="slidenum">
              <a:rPr lang="en-US" smtClean="0"/>
              <a:pPr/>
              <a:t>5</a:t>
            </a:fld>
            <a:endParaRPr lang="en-US"/>
          </a:p>
        </p:txBody>
      </p:sp>
    </p:spTree>
    <p:extLst>
      <p:ext uri="{BB962C8B-B14F-4D97-AF65-F5344CB8AC3E}">
        <p14:creationId xmlns:p14="http://schemas.microsoft.com/office/powerpoint/2010/main" val="31844880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2A0E4B-465B-87D8-32D3-A44E9D8D73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EC5A0-8E65-2FC7-94D9-9991BFFA1051}"/>
              </a:ext>
            </a:extLst>
          </p:cNvPr>
          <p:cNvSpPr>
            <a:spLocks noGrp="1" noRot="1" noChangeAspect="1"/>
          </p:cNvSpPr>
          <p:nvPr>
            <p:ph type="sldImg"/>
          </p:nvPr>
        </p:nvSpPr>
        <p:spPr/>
        <p:txBody>
          <a:bodyPr/>
          <a:lstStyle/>
          <a:p>
            <a:endParaRPr lang="LID4096"/>
          </a:p>
        </p:txBody>
      </p:sp>
      <p:sp>
        <p:nvSpPr>
          <p:cNvPr id="3" name="Notes Placeholder 2">
            <a:extLst>
              <a:ext uri="{FF2B5EF4-FFF2-40B4-BE49-F238E27FC236}">
                <a16:creationId xmlns:a16="http://schemas.microsoft.com/office/drawing/2014/main" id="{082DF5A6-0456-0A3A-B2EC-7C05ED9C99E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6840EDF-555D-DAAA-5C30-DAC63766F32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A7A41-F78B-4819-AB5B-0183722B61B7}" type="slidenum">
              <a:rPr kumimoji="0" lang="en-US" sz="25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25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36627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FA5D1758-ED3D-4611-B861-63A1DF032208}" type="slidenum">
              <a:rPr lang="en-US" smtClean="0"/>
              <a:pPr/>
              <a:t>7</a:t>
            </a:fld>
            <a:endParaRPr lang="en-US"/>
          </a:p>
        </p:txBody>
      </p:sp>
    </p:spTree>
    <p:extLst>
      <p:ext uri="{BB962C8B-B14F-4D97-AF65-F5344CB8AC3E}">
        <p14:creationId xmlns:p14="http://schemas.microsoft.com/office/powerpoint/2010/main" val="41787770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0ECE1F-83CA-4F0E-8605-198867DD3657}"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536428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pPr marL="0" marR="0" lvl="0" indent="0" algn="r" defTabSz="914446" rtl="0" eaLnBrk="1" fontAlgn="auto" latinLnBrk="0" hangingPunct="1">
              <a:lnSpc>
                <a:spcPct val="100000"/>
              </a:lnSpc>
              <a:spcBef>
                <a:spcPts val="0"/>
              </a:spcBef>
              <a:spcAft>
                <a:spcPts val="0"/>
              </a:spcAft>
              <a:buClrTx/>
              <a:buSzTx/>
              <a:buFontTx/>
              <a:buNone/>
              <a:tabLst/>
              <a:defRPr/>
            </a:pPr>
            <a:fld id="{FA5D1758-ED3D-4611-B861-63A1DF032208}" type="slidenum">
              <a:rPr kumimoji="0" lang="en-US" sz="1200" b="0" i="0" u="none" strike="noStrike" kern="1200" cap="none" spc="0" normalizeH="0" baseline="0" noProof="0" smtClean="0">
                <a:ln>
                  <a:noFill/>
                </a:ln>
                <a:solidFill>
                  <a:prstClr val="black"/>
                </a:solidFill>
                <a:effectLst/>
                <a:uLnTx/>
                <a:uFillTx/>
                <a:latin typeface="Avenir Next LT Pro" panose="020B0504020202020204" pitchFamily="34" charset="77"/>
                <a:ea typeface="+mn-ea"/>
                <a:cs typeface="+mn-cs"/>
              </a:rPr>
              <a:pPr marL="0" marR="0" lvl="0" indent="0" algn="r" defTabSz="914446"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1269021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FA5D1758-ED3D-4611-B861-63A1DF032208}" type="slidenum">
              <a:rPr lang="en-US" smtClean="0"/>
              <a:pPr/>
              <a:t>11</a:t>
            </a:fld>
            <a:endParaRPr lang="en-US"/>
          </a:p>
        </p:txBody>
      </p:sp>
    </p:spTree>
    <p:extLst>
      <p:ext uri="{BB962C8B-B14F-4D97-AF65-F5344CB8AC3E}">
        <p14:creationId xmlns:p14="http://schemas.microsoft.com/office/powerpoint/2010/main" val="1834120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8.png"/><Relationship Id="rId5" Type="http://schemas.openxmlformats.org/officeDocument/2006/relationships/image" Target="../media/image11.jpeg"/><Relationship Id="rId4" Type="http://schemas.openxmlformats.org/officeDocument/2006/relationships/image" Target="../media/image10.emf"/></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0.emf"/></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sv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sv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sv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6" Type="http://schemas.openxmlformats.org/officeDocument/2006/relationships/image" Target="../media/image19.png"/><Relationship Id="rId5" Type="http://schemas.openxmlformats.org/officeDocument/2006/relationships/image" Target="../media/image23.png"/><Relationship Id="rId4" Type="http://schemas.openxmlformats.org/officeDocument/2006/relationships/image" Target="../media/image22.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6" Type="http://schemas.openxmlformats.org/officeDocument/2006/relationships/image" Target="../media/image19.png"/><Relationship Id="rId5" Type="http://schemas.openxmlformats.org/officeDocument/2006/relationships/image" Target="../media/image23.png"/><Relationship Id="rId4" Type="http://schemas.openxmlformats.org/officeDocument/2006/relationships/image" Target="../media/image22.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6.xml"/><Relationship Id="rId6" Type="http://schemas.openxmlformats.org/officeDocument/2006/relationships/image" Target="../media/image29.svg"/><Relationship Id="rId5" Type="http://schemas.openxmlformats.org/officeDocument/2006/relationships/image" Target="../media/image28.svg"/><Relationship Id="rId4" Type="http://schemas.openxmlformats.org/officeDocument/2006/relationships/image" Target="../media/image27.svg"/></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svg"/><Relationship Id="rId1" Type="http://schemas.openxmlformats.org/officeDocument/2006/relationships/slideMaster" Target="../slideMasters/slideMaster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svg"/><Relationship Id="rId1" Type="http://schemas.openxmlformats.org/officeDocument/2006/relationships/slideMaster" Target="../slideMasters/slideMaster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svg"/><Relationship Id="rId1" Type="http://schemas.openxmlformats.org/officeDocument/2006/relationships/slideMaster" Target="../slideMasters/slideMaster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svg"/><Relationship Id="rId1" Type="http://schemas.openxmlformats.org/officeDocument/2006/relationships/slideMaster" Target="../slideMasters/slideMaster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7.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7.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7.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7.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7.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7.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7.xml"/><Relationship Id="rId4" Type="http://schemas.openxmlformats.org/officeDocument/2006/relationships/image" Target="../media/image9.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8.xml"/><Relationship Id="rId5" Type="http://schemas.openxmlformats.org/officeDocument/2006/relationships/image" Target="../media/image20.png"/><Relationship Id="rId4" Type="http://schemas.openxmlformats.org/officeDocument/2006/relationships/image" Target="../media/image29.sv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9.sv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sv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0.png"/><Relationship Id="rId1" Type="http://schemas.openxmlformats.org/officeDocument/2006/relationships/slideMaster" Target="../slideMasters/slideMaster8.xml"/><Relationship Id="rId4" Type="http://schemas.openxmlformats.org/officeDocument/2006/relationships/image" Target="../media/image32.pn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0.png"/><Relationship Id="rId1" Type="http://schemas.openxmlformats.org/officeDocument/2006/relationships/slideMaster" Target="../slideMasters/slideMaster8.xml"/><Relationship Id="rId4" Type="http://schemas.openxmlformats.org/officeDocument/2006/relationships/image" Target="../media/image32.pn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svg"/><Relationship Id="rId1" Type="http://schemas.openxmlformats.org/officeDocument/2006/relationships/slideMaster" Target="../slideMasters/slideMaster8.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svg"/><Relationship Id="rId1" Type="http://schemas.openxmlformats.org/officeDocument/2006/relationships/slideMaster" Target="../slideMasters/slideMaster8.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svg"/><Relationship Id="rId1" Type="http://schemas.openxmlformats.org/officeDocument/2006/relationships/slideMaster" Target="../slideMasters/slideMaster8.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svg"/><Relationship Id="rId1" Type="http://schemas.openxmlformats.org/officeDocument/2006/relationships/slideMaster" Target="../slideMasters/slideMaster8.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4.sv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svg"/><Relationship Id="rId1" Type="http://schemas.openxmlformats.org/officeDocument/2006/relationships/slideMaster" Target="../slideMasters/slideMaster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sv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svg"/><Relationship Id="rId1" Type="http://schemas.openxmlformats.org/officeDocument/2006/relationships/slideMaster" Target="../slideMasters/slideMaster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svg"/><Relationship Id="rId1" Type="http://schemas.openxmlformats.org/officeDocument/2006/relationships/slideMaster" Target="../slideMasters/slideMaster10.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svg"/><Relationship Id="rId1" Type="http://schemas.openxmlformats.org/officeDocument/2006/relationships/slideMaster" Target="../slideMasters/slideMaster10.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svg"/><Relationship Id="rId1" Type="http://schemas.openxmlformats.org/officeDocument/2006/relationships/slideMaster" Target="../slideMasters/slideMaster10.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svg"/><Relationship Id="rId1" Type="http://schemas.openxmlformats.org/officeDocument/2006/relationships/slideMaster" Target="../slideMasters/slideMaster10.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svg"/><Relationship Id="rId1" Type="http://schemas.openxmlformats.org/officeDocument/2006/relationships/slideMaster" Target="../slideMasters/slideMaster10.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0.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0.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0.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0.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0.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0.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svg"/><Relationship Id="rId1" Type="http://schemas.openxmlformats.org/officeDocument/2006/relationships/slideMaster" Target="../slideMasters/slideMaster1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svg"/><Relationship Id="rId1" Type="http://schemas.openxmlformats.org/officeDocument/2006/relationships/slideMaster" Target="../slideMasters/slideMaster1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svg"/><Relationship Id="rId1" Type="http://schemas.openxmlformats.org/officeDocument/2006/relationships/slideMaster" Target="../slideMasters/slideMaster1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svg"/><Relationship Id="rId1" Type="http://schemas.openxmlformats.org/officeDocument/2006/relationships/slideMaster" Target="../slideMasters/slideMaster1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svg"/><Relationship Id="rId1" Type="http://schemas.openxmlformats.org/officeDocument/2006/relationships/slideMaster" Target="../slideMasters/slideMaster1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1.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1.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1.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1.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1.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1.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svg"/><Relationship Id="rId1" Type="http://schemas.openxmlformats.org/officeDocument/2006/relationships/slideMaster" Target="../slideMasters/slideMaster1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svg"/><Relationship Id="rId1" Type="http://schemas.openxmlformats.org/officeDocument/2006/relationships/slideMaster" Target="../slideMasters/slideMaster1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svg"/><Relationship Id="rId1" Type="http://schemas.openxmlformats.org/officeDocument/2006/relationships/slideMaster" Target="../slideMasters/slideMaster1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svg"/><Relationship Id="rId1" Type="http://schemas.openxmlformats.org/officeDocument/2006/relationships/slideMaster" Target="../slideMasters/slideMaster1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svg"/><Relationship Id="rId1" Type="http://schemas.openxmlformats.org/officeDocument/2006/relationships/slideMaster" Target="../slideMasters/slideMaster1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2.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2.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2.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2.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2.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2.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svg"/><Relationship Id="rId1" Type="http://schemas.openxmlformats.org/officeDocument/2006/relationships/slideMaster" Target="../slideMasters/slideMaster1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88.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6.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svg"/><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svg"/><Relationship Id="rId2" Type="http://schemas.openxmlformats.org/officeDocument/2006/relationships/image" Target="../media/image6.svg"/><Relationship Id="rId1" Type="http://schemas.openxmlformats.org/officeDocument/2006/relationships/slideMaster" Target="../slideMasters/slideMaster13.xml"/><Relationship Id="rId6" Type="http://schemas.openxmlformats.org/officeDocument/2006/relationships/image" Target="../media/image42.svg"/><Relationship Id="rId5" Type="http://schemas.openxmlformats.org/officeDocument/2006/relationships/image" Target="../media/image41.svg"/><Relationship Id="rId4" Type="http://schemas.openxmlformats.org/officeDocument/2006/relationships/image" Target="../media/image40.svg"/><Relationship Id="rId9" Type="http://schemas.openxmlformats.org/officeDocument/2006/relationships/image" Target="../media/image20.pn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sv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svg"/><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page V1">
    <p:bg>
      <p:bgPr>
        <a:solidFill>
          <a:schemeClr val="bg1"/>
        </a:solidFill>
        <a:effectLst/>
      </p:bgPr>
    </p:bg>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F743A93A-5C12-3CB4-C00E-E7C2F7B03A02}"/>
              </a:ext>
            </a:extLst>
          </p:cNvPr>
          <p:cNvSpPr>
            <a:spLocks noGrp="1"/>
          </p:cNvSpPr>
          <p:nvPr>
            <p:ph sz="half" idx="1" hasCustomPrompt="1"/>
          </p:nvPr>
        </p:nvSpPr>
        <p:spPr>
          <a:xfrm>
            <a:off x="565459" y="1520707"/>
            <a:ext cx="4084600" cy="3816585"/>
          </a:xfrm>
        </p:spPr>
        <p:txBody>
          <a:bodyPr>
            <a:normAutofit fontScale="92500" lnSpcReduction="20000"/>
          </a:bodyPr>
          <a:lstStyle>
            <a:lvl1pPr>
              <a:defRPr>
                <a:solidFill>
                  <a:schemeClr val="tx1"/>
                </a:solidFill>
              </a:defRPr>
            </a:lvl1pPr>
            <a:lvl2pPr>
              <a:defRPr>
                <a:solidFill>
                  <a:schemeClr val="tx1"/>
                </a:solidFill>
              </a:defRPr>
            </a:lvl2pPr>
          </a:lstStyle>
          <a:p>
            <a:pPr marL="0" indent="0" defTabSz="889000">
              <a:buNone/>
            </a:pPr>
            <a:r>
              <a:rPr lang="en-GB" b="1"/>
              <a:t>01  </a:t>
            </a:r>
            <a:r>
              <a:rPr lang="en-GB"/>
              <a:t>xxx</a:t>
            </a:r>
          </a:p>
          <a:p>
            <a:pPr marL="0" indent="0" defTabSz="889000">
              <a:buNone/>
            </a:pPr>
            <a:r>
              <a:rPr lang="en-GB" b="1"/>
              <a:t>02</a:t>
            </a:r>
            <a:r>
              <a:rPr lang="en-GB"/>
              <a:t>  xxx</a:t>
            </a:r>
          </a:p>
          <a:p>
            <a:pPr lvl="1" defTabSz="889000"/>
            <a:r>
              <a:rPr lang="en-GB" err="1"/>
              <a:t>xxxx</a:t>
            </a:r>
            <a:endParaRPr lang="en-GB"/>
          </a:p>
          <a:p>
            <a:pPr lvl="1" defTabSz="889000"/>
            <a:r>
              <a:rPr lang="en-GB"/>
              <a:t>xxx</a:t>
            </a:r>
          </a:p>
          <a:p>
            <a:pPr lvl="1" defTabSz="889000"/>
            <a:r>
              <a:rPr lang="en-GB"/>
              <a:t>xxx</a:t>
            </a:r>
          </a:p>
          <a:p>
            <a:pPr marL="0" indent="0" defTabSz="898525">
              <a:buNone/>
            </a:pPr>
            <a:r>
              <a:rPr lang="en-GB" b="1"/>
              <a:t>03</a:t>
            </a:r>
            <a:r>
              <a:rPr lang="en-GB"/>
              <a:t>  xxx</a:t>
            </a:r>
          </a:p>
          <a:p>
            <a:pPr marL="0" indent="0" defTabSz="898525">
              <a:buNone/>
            </a:pPr>
            <a:r>
              <a:rPr lang="en-GB" b="1"/>
              <a:t>04</a:t>
            </a:r>
            <a:r>
              <a:rPr lang="en-GB"/>
              <a:t>  xxx</a:t>
            </a:r>
          </a:p>
        </p:txBody>
      </p:sp>
      <p:sp>
        <p:nvSpPr>
          <p:cNvPr id="6" name="Title 1">
            <a:extLst>
              <a:ext uri="{FF2B5EF4-FFF2-40B4-BE49-F238E27FC236}">
                <a16:creationId xmlns:a16="http://schemas.microsoft.com/office/drawing/2014/main" id="{49FB2BD3-6474-3179-E074-EAF6DC6C38EE}"/>
              </a:ext>
            </a:extLst>
          </p:cNvPr>
          <p:cNvSpPr>
            <a:spLocks noGrp="1"/>
          </p:cNvSpPr>
          <p:nvPr>
            <p:ph type="title" hasCustomPrompt="1"/>
          </p:nvPr>
        </p:nvSpPr>
        <p:spPr>
          <a:xfrm>
            <a:off x="565460" y="552715"/>
            <a:ext cx="4084600" cy="430112"/>
          </a:xfrm>
        </p:spPr>
        <p:txBody>
          <a:bodyPr/>
          <a:lstStyle>
            <a:lvl1pPr>
              <a:defRPr>
                <a:solidFill>
                  <a:schemeClr val="tx1"/>
                </a:solidFill>
              </a:defRPr>
            </a:lvl1pPr>
          </a:lstStyle>
          <a:p>
            <a:r>
              <a:rPr lang="en-US"/>
              <a:t>Agenda for today</a:t>
            </a:r>
          </a:p>
        </p:txBody>
      </p:sp>
      <p:sp>
        <p:nvSpPr>
          <p:cNvPr id="2" name="TextBox 1">
            <a:extLst>
              <a:ext uri="{FF2B5EF4-FFF2-40B4-BE49-F238E27FC236}">
                <a16:creationId xmlns:a16="http://schemas.microsoft.com/office/drawing/2014/main" id="{D7B4C8E3-589E-BAF7-1374-B6C0353999D7}"/>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4" name="TextBox 3">
            <a:extLst>
              <a:ext uri="{FF2B5EF4-FFF2-40B4-BE49-F238E27FC236}">
                <a16:creationId xmlns:a16="http://schemas.microsoft.com/office/drawing/2014/main" id="{1FFBDFB2-7277-B7A3-4EB9-52A2334C44FC}"/>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images + description">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5" name="Text Placeholder 4"/>
          <p:cNvSpPr>
            <a:spLocks noGrp="1"/>
          </p:cNvSpPr>
          <p:nvPr>
            <p:ph type="body" sz="quarter" idx="15"/>
          </p:nvPr>
        </p:nvSpPr>
        <p:spPr>
          <a:xfrm>
            <a:off x="565458" y="5689756"/>
            <a:ext cx="5342777"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7" name="Content Placeholder 6"/>
          <p:cNvSpPr>
            <a:spLocks noGrp="1"/>
          </p:cNvSpPr>
          <p:nvPr>
            <p:ph sz="quarter" idx="18" hasCustomPrompt="1"/>
          </p:nvPr>
        </p:nvSpPr>
        <p:spPr>
          <a:xfrm>
            <a:off x="565459" y="1614955"/>
            <a:ext cx="5342776" cy="3864451"/>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2" name="Text Placeholder 4"/>
          <p:cNvSpPr>
            <a:spLocks noGrp="1"/>
          </p:cNvSpPr>
          <p:nvPr>
            <p:ph type="body" sz="quarter" idx="19"/>
          </p:nvPr>
        </p:nvSpPr>
        <p:spPr>
          <a:xfrm>
            <a:off x="6251604" y="5689756"/>
            <a:ext cx="5342777"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33" name="Content Placeholder 6"/>
          <p:cNvSpPr>
            <a:spLocks noGrp="1"/>
          </p:cNvSpPr>
          <p:nvPr>
            <p:ph sz="quarter" idx="20" hasCustomPrompt="1"/>
          </p:nvPr>
        </p:nvSpPr>
        <p:spPr>
          <a:xfrm>
            <a:off x="6251605" y="1614955"/>
            <a:ext cx="5342776" cy="3864451"/>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 name="Title 1">
            <a:extLst>
              <a:ext uri="{FF2B5EF4-FFF2-40B4-BE49-F238E27FC236}">
                <a16:creationId xmlns:a16="http://schemas.microsoft.com/office/drawing/2014/main" id="{90E6320A-1F87-8EA3-F808-3E4EC991B123}"/>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9A5852C2-3026-2B9A-A292-E9D26B2874D0}"/>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C6B656C-52BA-08CB-942C-1AAFEA03D6B7}"/>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8" name="TextBox 7">
            <a:extLst>
              <a:ext uri="{FF2B5EF4-FFF2-40B4-BE49-F238E27FC236}">
                <a16:creationId xmlns:a16="http://schemas.microsoft.com/office/drawing/2014/main" id="{5406B0B8-DE6A-5EA0-6734-73B95E9FB636}"/>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6" name="Graphic 5">
            <a:extLst>
              <a:ext uri="{FF2B5EF4-FFF2-40B4-BE49-F238E27FC236}">
                <a16:creationId xmlns:a16="http://schemas.microsoft.com/office/drawing/2014/main" id="{076DF998-1E4A-0786-1EDD-A6651065F27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_4 images + 2 descriptions">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3F2B81F-6CDB-F24D-8286-75432400221E}"/>
              </a:ext>
            </a:extLst>
          </p:cNvPr>
          <p:cNvSpPr/>
          <p:nvPr userDrawn="1"/>
        </p:nvSpPr>
        <p:spPr>
          <a:xfrm>
            <a:off x="0" y="1378193"/>
            <a:ext cx="12193588" cy="554256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14" name="Content Placeholder 3">
            <a:extLst>
              <a:ext uri="{FF2B5EF4-FFF2-40B4-BE49-F238E27FC236}">
                <a16:creationId xmlns:a16="http://schemas.microsoft.com/office/drawing/2014/main" id="{78184602-ED9E-A547-B64C-B428E9D1E2BA}"/>
              </a:ext>
            </a:extLst>
          </p:cNvPr>
          <p:cNvSpPr>
            <a:spLocks noGrp="1"/>
          </p:cNvSpPr>
          <p:nvPr>
            <p:ph sz="quarter" idx="18" hasCustomPrompt="1"/>
          </p:nvPr>
        </p:nvSpPr>
        <p:spPr>
          <a:xfrm>
            <a:off x="553155" y="157268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3" name="Text Placeholder 4">
            <a:extLst>
              <a:ext uri="{FF2B5EF4-FFF2-40B4-BE49-F238E27FC236}">
                <a16:creationId xmlns:a16="http://schemas.microsoft.com/office/drawing/2014/main" id="{6D9F47C3-F248-E446-A670-634F129672B4}"/>
              </a:ext>
            </a:extLst>
          </p:cNvPr>
          <p:cNvSpPr>
            <a:spLocks noGrp="1"/>
          </p:cNvSpPr>
          <p:nvPr>
            <p:ph type="body" sz="quarter" idx="15"/>
          </p:nvPr>
        </p:nvSpPr>
        <p:spPr>
          <a:xfrm>
            <a:off x="553156" y="6170725"/>
            <a:ext cx="5388150"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29" name="Content Placeholder 3">
            <a:extLst>
              <a:ext uri="{FF2B5EF4-FFF2-40B4-BE49-F238E27FC236}">
                <a16:creationId xmlns:a16="http://schemas.microsoft.com/office/drawing/2014/main" id="{DBFE4DB6-4FEC-C543-9EB1-5F14AB473EFC}"/>
              </a:ext>
            </a:extLst>
          </p:cNvPr>
          <p:cNvSpPr>
            <a:spLocks noGrp="1"/>
          </p:cNvSpPr>
          <p:nvPr>
            <p:ph sz="quarter" idx="19" hasCustomPrompt="1"/>
          </p:nvPr>
        </p:nvSpPr>
        <p:spPr>
          <a:xfrm>
            <a:off x="553155" y="386957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0" name="Content Placeholder 3">
            <a:extLst>
              <a:ext uri="{FF2B5EF4-FFF2-40B4-BE49-F238E27FC236}">
                <a16:creationId xmlns:a16="http://schemas.microsoft.com/office/drawing/2014/main" id="{6990879E-A79F-3046-820F-0ED3521D3FBF}"/>
              </a:ext>
            </a:extLst>
          </p:cNvPr>
          <p:cNvSpPr>
            <a:spLocks noGrp="1"/>
          </p:cNvSpPr>
          <p:nvPr>
            <p:ph sz="quarter" idx="20" hasCustomPrompt="1"/>
          </p:nvPr>
        </p:nvSpPr>
        <p:spPr>
          <a:xfrm>
            <a:off x="6224614" y="157268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1" name="Text Placeholder 4">
            <a:extLst>
              <a:ext uri="{FF2B5EF4-FFF2-40B4-BE49-F238E27FC236}">
                <a16:creationId xmlns:a16="http://schemas.microsoft.com/office/drawing/2014/main" id="{D0AD178D-3412-A242-9FCD-611D216F2C6A}"/>
              </a:ext>
            </a:extLst>
          </p:cNvPr>
          <p:cNvSpPr>
            <a:spLocks noGrp="1"/>
          </p:cNvSpPr>
          <p:nvPr>
            <p:ph type="body" sz="quarter" idx="21"/>
          </p:nvPr>
        </p:nvSpPr>
        <p:spPr>
          <a:xfrm>
            <a:off x="6224614" y="6170725"/>
            <a:ext cx="5388150"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32" name="Content Placeholder 3">
            <a:extLst>
              <a:ext uri="{FF2B5EF4-FFF2-40B4-BE49-F238E27FC236}">
                <a16:creationId xmlns:a16="http://schemas.microsoft.com/office/drawing/2014/main" id="{F102D9E7-8CD9-FF47-BD72-00062EAA2C8C}"/>
              </a:ext>
            </a:extLst>
          </p:cNvPr>
          <p:cNvSpPr>
            <a:spLocks noGrp="1"/>
          </p:cNvSpPr>
          <p:nvPr>
            <p:ph sz="quarter" idx="22" hasCustomPrompt="1"/>
          </p:nvPr>
        </p:nvSpPr>
        <p:spPr>
          <a:xfrm>
            <a:off x="6224614" y="386957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 name="Title 1">
            <a:extLst>
              <a:ext uri="{FF2B5EF4-FFF2-40B4-BE49-F238E27FC236}">
                <a16:creationId xmlns:a16="http://schemas.microsoft.com/office/drawing/2014/main" id="{2F104133-4D7E-D456-337C-AAD749B9AF56}"/>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482525F2-8639-91D5-5A92-E03A1FA83782}"/>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1649404D-A47B-3834-7A04-D3603B3FE1B2}"/>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968A5D60-F214-33D8-BE42-D68156BF52C8}"/>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Graphic 3">
            <a:extLst>
              <a:ext uri="{FF2B5EF4-FFF2-40B4-BE49-F238E27FC236}">
                <a16:creationId xmlns:a16="http://schemas.microsoft.com/office/drawing/2014/main" id="{3009C1D2-0BEB-0F6C-E429-D71B2C3F285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1902745780"/>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6 images + 3 descriptions">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033F5C5-16D7-5349-8E7D-96E1C3D759DD}"/>
              </a:ext>
            </a:extLst>
          </p:cNvPr>
          <p:cNvSpPr/>
          <p:nvPr userDrawn="1"/>
        </p:nvSpPr>
        <p:spPr>
          <a:xfrm>
            <a:off x="0" y="1378193"/>
            <a:ext cx="12193588" cy="554256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14" name="Content Placeholder 3">
            <a:extLst>
              <a:ext uri="{FF2B5EF4-FFF2-40B4-BE49-F238E27FC236}">
                <a16:creationId xmlns:a16="http://schemas.microsoft.com/office/drawing/2014/main" id="{48548963-850E-7645-960B-31854F07CC34}"/>
              </a:ext>
            </a:extLst>
          </p:cNvPr>
          <p:cNvSpPr>
            <a:spLocks noGrp="1"/>
          </p:cNvSpPr>
          <p:nvPr>
            <p:ph sz="quarter" idx="18" hasCustomPrompt="1"/>
          </p:nvPr>
        </p:nvSpPr>
        <p:spPr>
          <a:xfrm>
            <a:off x="553156" y="157268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3" name="Text Placeholder 4">
            <a:extLst>
              <a:ext uri="{FF2B5EF4-FFF2-40B4-BE49-F238E27FC236}">
                <a16:creationId xmlns:a16="http://schemas.microsoft.com/office/drawing/2014/main" id="{0C8C808D-06BD-6347-9DEF-E094B0E9857F}"/>
              </a:ext>
            </a:extLst>
          </p:cNvPr>
          <p:cNvSpPr>
            <a:spLocks noGrp="1"/>
          </p:cNvSpPr>
          <p:nvPr>
            <p:ph type="body" sz="quarter" idx="15"/>
          </p:nvPr>
        </p:nvSpPr>
        <p:spPr>
          <a:xfrm>
            <a:off x="553156" y="6170725"/>
            <a:ext cx="3403643"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25" name="Text Placeholder 4">
            <a:extLst>
              <a:ext uri="{FF2B5EF4-FFF2-40B4-BE49-F238E27FC236}">
                <a16:creationId xmlns:a16="http://schemas.microsoft.com/office/drawing/2014/main" id="{204D55EA-A258-1E4C-A2FC-05363299092D}"/>
              </a:ext>
            </a:extLst>
          </p:cNvPr>
          <p:cNvSpPr>
            <a:spLocks noGrp="1"/>
          </p:cNvSpPr>
          <p:nvPr>
            <p:ph type="body" sz="quarter" idx="16"/>
          </p:nvPr>
        </p:nvSpPr>
        <p:spPr>
          <a:xfrm>
            <a:off x="4363864" y="6170725"/>
            <a:ext cx="3403643"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26" name="Text Placeholder 4">
            <a:extLst>
              <a:ext uri="{FF2B5EF4-FFF2-40B4-BE49-F238E27FC236}">
                <a16:creationId xmlns:a16="http://schemas.microsoft.com/office/drawing/2014/main" id="{71EFA00C-64E9-F849-BD3C-AACA0E678F63}"/>
              </a:ext>
            </a:extLst>
          </p:cNvPr>
          <p:cNvSpPr>
            <a:spLocks noGrp="1"/>
          </p:cNvSpPr>
          <p:nvPr>
            <p:ph type="body" sz="quarter" idx="17"/>
          </p:nvPr>
        </p:nvSpPr>
        <p:spPr>
          <a:xfrm>
            <a:off x="8174574" y="6170725"/>
            <a:ext cx="3403643"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31" name="Content Placeholder 3">
            <a:extLst>
              <a:ext uri="{FF2B5EF4-FFF2-40B4-BE49-F238E27FC236}">
                <a16:creationId xmlns:a16="http://schemas.microsoft.com/office/drawing/2014/main" id="{4CCC79FF-C617-C74F-BF72-F5C76E459D28}"/>
              </a:ext>
            </a:extLst>
          </p:cNvPr>
          <p:cNvSpPr>
            <a:spLocks noGrp="1"/>
          </p:cNvSpPr>
          <p:nvPr>
            <p:ph sz="quarter" idx="19" hasCustomPrompt="1"/>
          </p:nvPr>
        </p:nvSpPr>
        <p:spPr>
          <a:xfrm>
            <a:off x="553156" y="386957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2" name="Content Placeholder 3">
            <a:extLst>
              <a:ext uri="{FF2B5EF4-FFF2-40B4-BE49-F238E27FC236}">
                <a16:creationId xmlns:a16="http://schemas.microsoft.com/office/drawing/2014/main" id="{C862AF82-E3E8-4149-8264-3D55C0745FF3}"/>
              </a:ext>
            </a:extLst>
          </p:cNvPr>
          <p:cNvSpPr>
            <a:spLocks noGrp="1"/>
          </p:cNvSpPr>
          <p:nvPr>
            <p:ph sz="quarter" idx="20" hasCustomPrompt="1"/>
          </p:nvPr>
        </p:nvSpPr>
        <p:spPr>
          <a:xfrm>
            <a:off x="4363864" y="157268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3" name="Content Placeholder 3">
            <a:extLst>
              <a:ext uri="{FF2B5EF4-FFF2-40B4-BE49-F238E27FC236}">
                <a16:creationId xmlns:a16="http://schemas.microsoft.com/office/drawing/2014/main" id="{89C9B33E-10C8-3E4B-B48E-B7D88ED06055}"/>
              </a:ext>
            </a:extLst>
          </p:cNvPr>
          <p:cNvSpPr>
            <a:spLocks noGrp="1"/>
          </p:cNvSpPr>
          <p:nvPr>
            <p:ph sz="quarter" idx="21" hasCustomPrompt="1"/>
          </p:nvPr>
        </p:nvSpPr>
        <p:spPr>
          <a:xfrm>
            <a:off x="4363864" y="386957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4" name="Content Placeholder 3">
            <a:extLst>
              <a:ext uri="{FF2B5EF4-FFF2-40B4-BE49-F238E27FC236}">
                <a16:creationId xmlns:a16="http://schemas.microsoft.com/office/drawing/2014/main" id="{5635AEBB-B1FB-6840-ADCC-1597D1AF3F91}"/>
              </a:ext>
            </a:extLst>
          </p:cNvPr>
          <p:cNvSpPr>
            <a:spLocks noGrp="1"/>
          </p:cNvSpPr>
          <p:nvPr>
            <p:ph sz="quarter" idx="22" hasCustomPrompt="1"/>
          </p:nvPr>
        </p:nvSpPr>
        <p:spPr>
          <a:xfrm>
            <a:off x="8174573" y="157268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5" name="Content Placeholder 3">
            <a:extLst>
              <a:ext uri="{FF2B5EF4-FFF2-40B4-BE49-F238E27FC236}">
                <a16:creationId xmlns:a16="http://schemas.microsoft.com/office/drawing/2014/main" id="{9E3CF042-61F1-6B48-A9AB-9D779D5930C7}"/>
              </a:ext>
            </a:extLst>
          </p:cNvPr>
          <p:cNvSpPr>
            <a:spLocks noGrp="1"/>
          </p:cNvSpPr>
          <p:nvPr>
            <p:ph sz="quarter" idx="23" hasCustomPrompt="1"/>
          </p:nvPr>
        </p:nvSpPr>
        <p:spPr>
          <a:xfrm>
            <a:off x="8174573" y="386957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 name="Title 1">
            <a:extLst>
              <a:ext uri="{FF2B5EF4-FFF2-40B4-BE49-F238E27FC236}">
                <a16:creationId xmlns:a16="http://schemas.microsoft.com/office/drawing/2014/main" id="{112FB729-071E-1871-BA5E-79483A528C42}"/>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500D1A7D-D4EF-9BAB-1744-2BE5E43E5FFA}"/>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6D13B62E-1EE5-3622-9E0A-519228BE4E07}"/>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B61B4EC2-6396-6CE8-6AB5-5F7C04DA813A}"/>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Graphic 3">
            <a:extLst>
              <a:ext uri="{FF2B5EF4-FFF2-40B4-BE49-F238E27FC236}">
                <a16:creationId xmlns:a16="http://schemas.microsoft.com/office/drawing/2014/main" id="{A64E7DB5-958D-28FD-E473-884F4E60CAB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4249089051"/>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_image left + text right">
    <p:spTree>
      <p:nvGrpSpPr>
        <p:cNvPr id="1" name=""/>
        <p:cNvGrpSpPr/>
        <p:nvPr/>
      </p:nvGrpSpPr>
      <p:grpSpPr>
        <a:xfrm>
          <a:off x="0" y="0"/>
          <a:ext cx="0" cy="0"/>
          <a:chOff x="0" y="0"/>
          <a:chExt cx="0" cy="0"/>
        </a:xfrm>
      </p:grpSpPr>
      <p:sp>
        <p:nvSpPr>
          <p:cNvPr id="17" name="TextBox 16"/>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1" name="Content Placeholder 6"/>
          <p:cNvSpPr>
            <a:spLocks noGrp="1"/>
          </p:cNvSpPr>
          <p:nvPr>
            <p:ph sz="quarter" idx="18" hasCustomPrompt="1"/>
          </p:nvPr>
        </p:nvSpPr>
        <p:spPr>
          <a:xfrm>
            <a:off x="565458" y="1676608"/>
            <a:ext cx="5719896" cy="4519943"/>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15" name="Text Placeholder 2"/>
          <p:cNvSpPr>
            <a:spLocks noGrp="1"/>
          </p:cNvSpPr>
          <p:nvPr>
            <p:ph type="body" sz="quarter" idx="12"/>
          </p:nvPr>
        </p:nvSpPr>
        <p:spPr>
          <a:xfrm>
            <a:off x="6631291" y="1676609"/>
            <a:ext cx="4963090" cy="84843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80CD31E6-457F-345A-584B-4FD13F51130D}"/>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4376E91E-6700-6F11-61ED-B6004D3C6C8D}"/>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FDDA0F93-8A90-0112-0786-678344CFE135}"/>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FA7DFE73-B464-BFF4-B6FB-7DBE2B3902B4}"/>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Graphic 3">
            <a:extLst>
              <a:ext uri="{FF2B5EF4-FFF2-40B4-BE49-F238E27FC236}">
                <a16:creationId xmlns:a16="http://schemas.microsoft.com/office/drawing/2014/main" id="{6CF7BFFB-B205-8AA5-E179-ABCCFAD4319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2782434357"/>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_image right + text left">
    <p:spTree>
      <p:nvGrpSpPr>
        <p:cNvPr id="1" name=""/>
        <p:cNvGrpSpPr/>
        <p:nvPr/>
      </p:nvGrpSpPr>
      <p:grpSpPr>
        <a:xfrm>
          <a:off x="0" y="0"/>
          <a:ext cx="0" cy="0"/>
          <a:chOff x="0" y="0"/>
          <a:chExt cx="0" cy="0"/>
        </a:xfrm>
      </p:grpSpPr>
      <p:sp>
        <p:nvSpPr>
          <p:cNvPr id="17" name="TextBox 16"/>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3" name="Content Placeholder 6"/>
          <p:cNvSpPr>
            <a:spLocks noGrp="1"/>
          </p:cNvSpPr>
          <p:nvPr>
            <p:ph sz="quarter" idx="18" hasCustomPrompt="1"/>
          </p:nvPr>
        </p:nvSpPr>
        <p:spPr>
          <a:xfrm>
            <a:off x="5868400" y="1676608"/>
            <a:ext cx="5719896" cy="4519943"/>
          </a:xfrm>
          <a:prstGeom prst="rect">
            <a:avLst/>
          </a:prstGeom>
        </p:spPr>
        <p:txBody>
          <a:bodyPr>
            <a:normAutofit/>
          </a:bodyPr>
          <a:lstStyle>
            <a:lvl1pPr marL="0" indent="0">
              <a:buFont typeface="Arial" charset="0"/>
              <a:buNone/>
              <a:defRPr sz="2000"/>
            </a:lvl1pPr>
          </a:lstStyle>
          <a:p>
            <a:r>
              <a:rPr lang="en-US"/>
              <a:t>Insert graph </a:t>
            </a:r>
            <a:r>
              <a:rPr lang="mr-IN"/>
              <a:t>–</a:t>
            </a:r>
            <a:r>
              <a:rPr lang="en-US"/>
              <a:t> Drag picture to placeholder or click on icon </a:t>
            </a:r>
          </a:p>
        </p:txBody>
      </p:sp>
      <p:sp>
        <p:nvSpPr>
          <p:cNvPr id="16" name="Text Placeholder 2"/>
          <p:cNvSpPr>
            <a:spLocks noGrp="1"/>
          </p:cNvSpPr>
          <p:nvPr>
            <p:ph type="body" sz="quarter" idx="12"/>
          </p:nvPr>
        </p:nvSpPr>
        <p:spPr>
          <a:xfrm>
            <a:off x="565460" y="1676609"/>
            <a:ext cx="4963090" cy="84843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C20DAD90-B4BF-1D5F-D032-10D4F3E8D123}"/>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4D63374E-93AD-26A8-FE04-9A6DBDFE1C4D}"/>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1B07A46E-BDD6-9B21-DCA5-8D8A02B85D1F}"/>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3FE8C249-9948-5463-D195-11DD65F4A81D}"/>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Graphic 3">
            <a:extLst>
              <a:ext uri="{FF2B5EF4-FFF2-40B4-BE49-F238E27FC236}">
                <a16:creationId xmlns:a16="http://schemas.microsoft.com/office/drawing/2014/main" id="{62CA3BCD-9BC9-80EA-67D7-9A5A597CF70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428440678"/>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3_Page break V1">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AD348AC-6CB6-9787-9690-FCC0ED20C326}"/>
              </a:ext>
            </a:extLst>
          </p:cNvPr>
          <p:cNvSpPr/>
          <p:nvPr userDrawn="1"/>
        </p:nvSpPr>
        <p:spPr>
          <a:xfrm>
            <a:off x="-10240" y="0"/>
            <a:ext cx="12203829" cy="6889150"/>
          </a:xfrm>
          <a:prstGeom prst="rect">
            <a:avLst/>
          </a:prstGeom>
          <a:solidFill>
            <a:srgbClr val="0019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1800" b="0" i="0">
              <a:latin typeface="Avenir Next LT Pro" panose="020B0504020202020204" pitchFamily="34" charset="77"/>
            </a:endParaRPr>
          </a:p>
        </p:txBody>
      </p:sp>
      <p:sp>
        <p:nvSpPr>
          <p:cNvPr id="5" name="Title 1">
            <a:extLst>
              <a:ext uri="{FF2B5EF4-FFF2-40B4-BE49-F238E27FC236}">
                <a16:creationId xmlns:a16="http://schemas.microsoft.com/office/drawing/2014/main" id="{32815878-B5E4-F12D-4AED-850BCEA8F7CB}"/>
              </a:ext>
            </a:extLst>
          </p:cNvPr>
          <p:cNvSpPr>
            <a:spLocks noGrp="1"/>
          </p:cNvSpPr>
          <p:nvPr>
            <p:ph type="title"/>
          </p:nvPr>
        </p:nvSpPr>
        <p:spPr>
          <a:xfrm>
            <a:off x="565459" y="552715"/>
            <a:ext cx="10017711" cy="415498"/>
          </a:xfrm>
        </p:spPr>
        <p:txBody>
          <a:bodyPr/>
          <a:lstStyle>
            <a:lvl1pPr>
              <a:defRPr>
                <a:solidFill>
                  <a:schemeClr val="bg1"/>
                </a:solidFill>
              </a:defRPr>
            </a:lvl1pPr>
          </a:lstStyle>
          <a:p>
            <a:r>
              <a:rPr lang="en-US"/>
              <a:t>Click to edit Master title style</a:t>
            </a:r>
          </a:p>
        </p:txBody>
      </p:sp>
      <p:sp>
        <p:nvSpPr>
          <p:cNvPr id="6" name="Text Placeholder 9">
            <a:extLst>
              <a:ext uri="{FF2B5EF4-FFF2-40B4-BE49-F238E27FC236}">
                <a16:creationId xmlns:a16="http://schemas.microsoft.com/office/drawing/2014/main" id="{2DCEFB29-3102-A477-5698-738DA1D8AC21}"/>
              </a:ext>
            </a:extLst>
          </p:cNvPr>
          <p:cNvSpPr>
            <a:spLocks noGrp="1"/>
          </p:cNvSpPr>
          <p:nvPr>
            <p:ph type="body" sz="quarter" idx="11"/>
          </p:nvPr>
        </p:nvSpPr>
        <p:spPr>
          <a:xfrm>
            <a:off x="565460"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3" name="TextBox 2">
            <a:extLst>
              <a:ext uri="{FF2B5EF4-FFF2-40B4-BE49-F238E27FC236}">
                <a16:creationId xmlns:a16="http://schemas.microsoft.com/office/drawing/2014/main" id="{784D6875-EC0A-AA0E-48FF-39AF8972079A}"/>
              </a:ext>
            </a:extLst>
          </p:cNvPr>
          <p:cNvSpPr txBox="1"/>
          <p:nvPr userDrawn="1"/>
        </p:nvSpPr>
        <p:spPr>
          <a:xfrm>
            <a:off x="11692356" y="645400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bg1"/>
                </a:solidFill>
                <a:latin typeface="Avenir Next LT Pro" panose="020B0504020202020204" pitchFamily="34" charset="77"/>
              </a:rPr>
              <a:pPr algn="r"/>
              <a:t>‹#›</a:t>
            </a:fld>
            <a:endParaRPr lang="en-US" sz="1000" b="0" i="0" spc="40" baseline="0">
              <a:solidFill>
                <a:schemeClr val="bg1"/>
              </a:solidFill>
              <a:latin typeface="Avenir Next LT Pro" panose="020B0504020202020204" pitchFamily="34" charset="77"/>
            </a:endParaRPr>
          </a:p>
        </p:txBody>
      </p:sp>
      <p:pic>
        <p:nvPicPr>
          <p:cNvPr id="7" name="Graphic 6">
            <a:extLst>
              <a:ext uri="{FF2B5EF4-FFF2-40B4-BE49-F238E27FC236}">
                <a16:creationId xmlns:a16="http://schemas.microsoft.com/office/drawing/2014/main" id="{905445ED-B296-F934-3B9F-BBEA0D91643B}"/>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Tree>
    <p:extLst>
      <p:ext uri="{BB962C8B-B14F-4D97-AF65-F5344CB8AC3E}">
        <p14:creationId xmlns:p14="http://schemas.microsoft.com/office/powerpoint/2010/main" val="2039357756"/>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2_Titles only">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2" name="Title 1">
            <a:extLst>
              <a:ext uri="{FF2B5EF4-FFF2-40B4-BE49-F238E27FC236}">
                <a16:creationId xmlns:a16="http://schemas.microsoft.com/office/drawing/2014/main" id="{083E5FDF-E153-FB83-59F8-C3342050DE2D}"/>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9DD7CAFE-A12E-5475-CF59-1899CB4CCFB7}"/>
              </a:ext>
            </a:extLst>
          </p:cNvPr>
          <p:cNvSpPr>
            <a:spLocks noGrp="1"/>
          </p:cNvSpPr>
          <p:nvPr>
            <p:ph type="body" sz="quarter" idx="11"/>
          </p:nvPr>
        </p:nvSpPr>
        <p:spPr>
          <a:xfrm>
            <a:off x="565460"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F2A6583E-996E-9E75-7882-FF852DCA2D48}"/>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0AD12B55-5B5E-CC98-9236-6E85084425FA}"/>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Graphic 3">
            <a:extLst>
              <a:ext uri="{FF2B5EF4-FFF2-40B4-BE49-F238E27FC236}">
                <a16:creationId xmlns:a16="http://schemas.microsoft.com/office/drawing/2014/main" id="{84957A4D-3E80-E357-012D-C6E8A29FE702}"/>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964254679"/>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1_Titles only">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7" name="Rectangle 6">
            <a:extLst>
              <a:ext uri="{FF2B5EF4-FFF2-40B4-BE49-F238E27FC236}">
                <a16:creationId xmlns:a16="http://schemas.microsoft.com/office/drawing/2014/main" id="{9DB270F1-B40D-2246-A956-F1D47E227370}"/>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2" name="Title 1">
            <a:extLst>
              <a:ext uri="{FF2B5EF4-FFF2-40B4-BE49-F238E27FC236}">
                <a16:creationId xmlns:a16="http://schemas.microsoft.com/office/drawing/2014/main" id="{C48E50A3-CD8F-C800-8D64-A2446E516B96}"/>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BEEB4D7A-3FF8-2422-96A4-39526DE5BA7E}"/>
              </a:ext>
            </a:extLst>
          </p:cNvPr>
          <p:cNvSpPr>
            <a:spLocks noGrp="1"/>
          </p:cNvSpPr>
          <p:nvPr>
            <p:ph type="body" sz="quarter" idx="11"/>
          </p:nvPr>
        </p:nvSpPr>
        <p:spPr>
          <a:xfrm>
            <a:off x="565460"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CC426A7C-39F7-A545-D883-51CB79E99304}"/>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4" name="Graphic 3">
            <a:extLst>
              <a:ext uri="{FF2B5EF4-FFF2-40B4-BE49-F238E27FC236}">
                <a16:creationId xmlns:a16="http://schemas.microsoft.com/office/drawing/2014/main" id="{806DCF1F-63D0-CD24-0431-98FC7C66A0AF}"/>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2122963213"/>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7_Titles +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5DCBE4-2474-E18F-D85B-AD8A02BDAB2C}"/>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3" name="Title 1">
            <a:extLst>
              <a:ext uri="{FF2B5EF4-FFF2-40B4-BE49-F238E27FC236}">
                <a16:creationId xmlns:a16="http://schemas.microsoft.com/office/drawing/2014/main" id="{E0A6DB9D-E6AB-6967-43E9-EE1FC0BE859A}"/>
              </a:ext>
            </a:extLst>
          </p:cNvPr>
          <p:cNvSpPr>
            <a:spLocks noGrp="1"/>
          </p:cNvSpPr>
          <p:nvPr>
            <p:ph type="title"/>
          </p:nvPr>
        </p:nvSpPr>
        <p:spPr>
          <a:xfrm>
            <a:off x="565460" y="552715"/>
            <a:ext cx="10098869"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286C8244-E396-CD67-B252-189D777C81BE}"/>
              </a:ext>
            </a:extLst>
          </p:cNvPr>
          <p:cNvSpPr>
            <a:spLocks noGrp="1"/>
          </p:cNvSpPr>
          <p:nvPr>
            <p:ph type="body" sz="quarter" idx="11"/>
          </p:nvPr>
        </p:nvSpPr>
        <p:spPr>
          <a:xfrm>
            <a:off x="565460"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12" name="Text Placeholder 5"/>
          <p:cNvSpPr>
            <a:spLocks noGrp="1"/>
          </p:cNvSpPr>
          <p:nvPr>
            <p:ph type="body" sz="quarter" idx="12"/>
          </p:nvPr>
        </p:nvSpPr>
        <p:spPr>
          <a:xfrm>
            <a:off x="565459" y="1634068"/>
            <a:ext cx="11029035" cy="84843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5" name="TextBox 4">
            <a:extLst>
              <a:ext uri="{FF2B5EF4-FFF2-40B4-BE49-F238E27FC236}">
                <a16:creationId xmlns:a16="http://schemas.microsoft.com/office/drawing/2014/main" id="{9AE4B553-B7AB-8210-F80F-5BEF4CCCCF0C}"/>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Graphic 5">
            <a:extLst>
              <a:ext uri="{FF2B5EF4-FFF2-40B4-BE49-F238E27FC236}">
                <a16:creationId xmlns:a16="http://schemas.microsoft.com/office/drawing/2014/main" id="{90494AFA-ADD4-C7D0-AD8D-E2B7F0DBB8FA}"/>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3369544104"/>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8_3 images + descri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887A79-7AC5-5C4A-503C-92DC098B758E}"/>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4" name="Content Placeholder 3"/>
          <p:cNvSpPr>
            <a:spLocks noGrp="1"/>
          </p:cNvSpPr>
          <p:nvPr>
            <p:ph sz="quarter" idx="18" hasCustomPrompt="1"/>
          </p:nvPr>
        </p:nvSpPr>
        <p:spPr>
          <a:xfrm>
            <a:off x="565460"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5" name="Text Placeholder 4"/>
          <p:cNvSpPr>
            <a:spLocks noGrp="1"/>
          </p:cNvSpPr>
          <p:nvPr>
            <p:ph type="body" sz="quarter" idx="15"/>
          </p:nvPr>
        </p:nvSpPr>
        <p:spPr>
          <a:xfrm>
            <a:off x="551938" y="5098408"/>
            <a:ext cx="3529869"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26" name="Content Placeholder 3">
            <a:extLst>
              <a:ext uri="{FF2B5EF4-FFF2-40B4-BE49-F238E27FC236}">
                <a16:creationId xmlns:a16="http://schemas.microsoft.com/office/drawing/2014/main" id="{9E472C2D-B119-1348-ABB7-4B27DBE81FC4}"/>
              </a:ext>
            </a:extLst>
          </p:cNvPr>
          <p:cNvSpPr>
            <a:spLocks noGrp="1"/>
          </p:cNvSpPr>
          <p:nvPr>
            <p:ph sz="quarter" idx="19" hasCustomPrompt="1"/>
          </p:nvPr>
        </p:nvSpPr>
        <p:spPr>
          <a:xfrm>
            <a:off x="4315588"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7" name="Text Placeholder 4">
            <a:extLst>
              <a:ext uri="{FF2B5EF4-FFF2-40B4-BE49-F238E27FC236}">
                <a16:creationId xmlns:a16="http://schemas.microsoft.com/office/drawing/2014/main" id="{6B86DBF1-6757-494E-BB09-B02F75D7942F}"/>
              </a:ext>
            </a:extLst>
          </p:cNvPr>
          <p:cNvSpPr>
            <a:spLocks noGrp="1"/>
          </p:cNvSpPr>
          <p:nvPr>
            <p:ph type="body" sz="quarter" idx="20"/>
          </p:nvPr>
        </p:nvSpPr>
        <p:spPr>
          <a:xfrm>
            <a:off x="4315589" y="5098408"/>
            <a:ext cx="3529869"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28" name="Content Placeholder 3">
            <a:extLst>
              <a:ext uri="{FF2B5EF4-FFF2-40B4-BE49-F238E27FC236}">
                <a16:creationId xmlns:a16="http://schemas.microsoft.com/office/drawing/2014/main" id="{9D47F0CA-7587-3F49-929E-E48CC948FFEF}"/>
              </a:ext>
            </a:extLst>
          </p:cNvPr>
          <p:cNvSpPr>
            <a:spLocks noGrp="1"/>
          </p:cNvSpPr>
          <p:nvPr>
            <p:ph sz="quarter" idx="21" hasCustomPrompt="1"/>
          </p:nvPr>
        </p:nvSpPr>
        <p:spPr>
          <a:xfrm>
            <a:off x="8065717"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9" name="Text Placeholder 4">
            <a:extLst>
              <a:ext uri="{FF2B5EF4-FFF2-40B4-BE49-F238E27FC236}">
                <a16:creationId xmlns:a16="http://schemas.microsoft.com/office/drawing/2014/main" id="{C231C06B-3EE2-A348-A91C-CAFBBAF74FA0}"/>
              </a:ext>
            </a:extLst>
          </p:cNvPr>
          <p:cNvSpPr>
            <a:spLocks noGrp="1"/>
          </p:cNvSpPr>
          <p:nvPr>
            <p:ph type="body" sz="quarter" idx="22"/>
          </p:nvPr>
        </p:nvSpPr>
        <p:spPr>
          <a:xfrm>
            <a:off x="8065718" y="5098408"/>
            <a:ext cx="3529869"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3" name="Title 1">
            <a:extLst>
              <a:ext uri="{FF2B5EF4-FFF2-40B4-BE49-F238E27FC236}">
                <a16:creationId xmlns:a16="http://schemas.microsoft.com/office/drawing/2014/main" id="{DBF411DD-945C-4A72-1FBB-BC99017FA8F9}"/>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6" name="Text Placeholder 9">
            <a:extLst>
              <a:ext uri="{FF2B5EF4-FFF2-40B4-BE49-F238E27FC236}">
                <a16:creationId xmlns:a16="http://schemas.microsoft.com/office/drawing/2014/main" id="{7945EEC3-B051-A336-D42E-3BB3BFCED291}"/>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8" name="TextBox 7">
            <a:extLst>
              <a:ext uri="{FF2B5EF4-FFF2-40B4-BE49-F238E27FC236}">
                <a16:creationId xmlns:a16="http://schemas.microsoft.com/office/drawing/2014/main" id="{18E0ADA8-4CE7-A0B6-7DF3-AD8AA6E44AE0}"/>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9" name="TextBox 8">
            <a:extLst>
              <a:ext uri="{FF2B5EF4-FFF2-40B4-BE49-F238E27FC236}">
                <a16:creationId xmlns:a16="http://schemas.microsoft.com/office/drawing/2014/main" id="{97EFE607-1873-412D-8757-FB24DA34D8B2}"/>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7" name="Graphic 6">
            <a:extLst>
              <a:ext uri="{FF2B5EF4-FFF2-40B4-BE49-F238E27FC236}">
                <a16:creationId xmlns:a16="http://schemas.microsoft.com/office/drawing/2014/main" id="{7F07F3D6-FC60-A100-C4E1-FB7E149CA1F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2262937287"/>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21_Page break V1">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AD348AC-6CB6-9787-9690-FCC0ED20C326}"/>
              </a:ext>
            </a:extLst>
          </p:cNvPr>
          <p:cNvSpPr/>
          <p:nvPr userDrawn="1"/>
        </p:nvSpPr>
        <p:spPr>
          <a:xfrm>
            <a:off x="-10240" y="0"/>
            <a:ext cx="12203829" cy="6889150"/>
          </a:xfrm>
          <a:prstGeom prst="rect">
            <a:avLst/>
          </a:prstGeom>
          <a:solidFill>
            <a:srgbClr val="0019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1800" b="0" i="0">
              <a:latin typeface="Avenir Next LT Pro" panose="020B0504020202020204" pitchFamily="34" charset="77"/>
            </a:endParaRPr>
          </a:p>
        </p:txBody>
      </p:sp>
      <p:sp>
        <p:nvSpPr>
          <p:cNvPr id="5" name="Title 1">
            <a:extLst>
              <a:ext uri="{FF2B5EF4-FFF2-40B4-BE49-F238E27FC236}">
                <a16:creationId xmlns:a16="http://schemas.microsoft.com/office/drawing/2014/main" id="{32815878-B5E4-F12D-4AED-850BCEA8F7CB}"/>
              </a:ext>
            </a:extLst>
          </p:cNvPr>
          <p:cNvSpPr>
            <a:spLocks noGrp="1"/>
          </p:cNvSpPr>
          <p:nvPr>
            <p:ph type="title"/>
          </p:nvPr>
        </p:nvSpPr>
        <p:spPr>
          <a:xfrm>
            <a:off x="565459" y="552715"/>
            <a:ext cx="10017711" cy="415498"/>
          </a:xfrm>
        </p:spPr>
        <p:txBody>
          <a:bodyPr/>
          <a:lstStyle>
            <a:lvl1pPr>
              <a:defRPr>
                <a:solidFill>
                  <a:schemeClr val="bg1"/>
                </a:solidFill>
              </a:defRPr>
            </a:lvl1pPr>
          </a:lstStyle>
          <a:p>
            <a:r>
              <a:rPr lang="en-US"/>
              <a:t>Click to edit Master title style</a:t>
            </a:r>
          </a:p>
        </p:txBody>
      </p:sp>
      <p:sp>
        <p:nvSpPr>
          <p:cNvPr id="6" name="Text Placeholder 9">
            <a:extLst>
              <a:ext uri="{FF2B5EF4-FFF2-40B4-BE49-F238E27FC236}">
                <a16:creationId xmlns:a16="http://schemas.microsoft.com/office/drawing/2014/main" id="{2DCEFB29-3102-A477-5698-738DA1D8AC21}"/>
              </a:ext>
            </a:extLst>
          </p:cNvPr>
          <p:cNvSpPr>
            <a:spLocks noGrp="1"/>
          </p:cNvSpPr>
          <p:nvPr>
            <p:ph type="body" sz="quarter" idx="11"/>
          </p:nvPr>
        </p:nvSpPr>
        <p:spPr>
          <a:xfrm>
            <a:off x="565460"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7" name="Graphic 6">
            <a:extLst>
              <a:ext uri="{FF2B5EF4-FFF2-40B4-BE49-F238E27FC236}">
                <a16:creationId xmlns:a16="http://schemas.microsoft.com/office/drawing/2014/main" id="{FA6A3B94-A2A9-777E-A238-432302A1AF2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2" name="TextBox 1">
            <a:extLst>
              <a:ext uri="{FF2B5EF4-FFF2-40B4-BE49-F238E27FC236}">
                <a16:creationId xmlns:a16="http://schemas.microsoft.com/office/drawing/2014/main" id="{8EB46EBF-3FCE-A237-3B82-9BAD268E72A0}"/>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Tree>
    <p:extLst>
      <p:ext uri="{BB962C8B-B14F-4D97-AF65-F5344CB8AC3E}">
        <p14:creationId xmlns:p14="http://schemas.microsoft.com/office/powerpoint/2010/main" val="1318199456"/>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images + descri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887A79-7AC5-5C4A-503C-92DC098B758E}"/>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4" name="Content Placeholder 3"/>
          <p:cNvSpPr>
            <a:spLocks noGrp="1"/>
          </p:cNvSpPr>
          <p:nvPr>
            <p:ph sz="quarter" idx="18" hasCustomPrompt="1"/>
          </p:nvPr>
        </p:nvSpPr>
        <p:spPr>
          <a:xfrm>
            <a:off x="565460"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5" name="Text Placeholder 4"/>
          <p:cNvSpPr>
            <a:spLocks noGrp="1"/>
          </p:cNvSpPr>
          <p:nvPr>
            <p:ph type="body" sz="quarter" idx="15"/>
          </p:nvPr>
        </p:nvSpPr>
        <p:spPr>
          <a:xfrm>
            <a:off x="551937" y="5098406"/>
            <a:ext cx="3529869"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6" name="Content Placeholder 3">
            <a:extLst>
              <a:ext uri="{FF2B5EF4-FFF2-40B4-BE49-F238E27FC236}">
                <a16:creationId xmlns:a16="http://schemas.microsoft.com/office/drawing/2014/main" id="{9E472C2D-B119-1348-ABB7-4B27DBE81FC4}"/>
              </a:ext>
            </a:extLst>
          </p:cNvPr>
          <p:cNvSpPr>
            <a:spLocks noGrp="1"/>
          </p:cNvSpPr>
          <p:nvPr>
            <p:ph sz="quarter" idx="19" hasCustomPrompt="1"/>
          </p:nvPr>
        </p:nvSpPr>
        <p:spPr>
          <a:xfrm>
            <a:off x="4315588"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7" name="Text Placeholder 4">
            <a:extLst>
              <a:ext uri="{FF2B5EF4-FFF2-40B4-BE49-F238E27FC236}">
                <a16:creationId xmlns:a16="http://schemas.microsoft.com/office/drawing/2014/main" id="{6B86DBF1-6757-494E-BB09-B02F75D7942F}"/>
              </a:ext>
            </a:extLst>
          </p:cNvPr>
          <p:cNvSpPr>
            <a:spLocks noGrp="1"/>
          </p:cNvSpPr>
          <p:nvPr>
            <p:ph type="body" sz="quarter" idx="20"/>
          </p:nvPr>
        </p:nvSpPr>
        <p:spPr>
          <a:xfrm>
            <a:off x="4315588" y="5098406"/>
            <a:ext cx="3529869"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8" name="Content Placeholder 3">
            <a:extLst>
              <a:ext uri="{FF2B5EF4-FFF2-40B4-BE49-F238E27FC236}">
                <a16:creationId xmlns:a16="http://schemas.microsoft.com/office/drawing/2014/main" id="{9D47F0CA-7587-3F49-929E-E48CC948FFEF}"/>
              </a:ext>
            </a:extLst>
          </p:cNvPr>
          <p:cNvSpPr>
            <a:spLocks noGrp="1"/>
          </p:cNvSpPr>
          <p:nvPr>
            <p:ph sz="quarter" idx="21" hasCustomPrompt="1"/>
          </p:nvPr>
        </p:nvSpPr>
        <p:spPr>
          <a:xfrm>
            <a:off x="8065717"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9" name="Text Placeholder 4">
            <a:extLst>
              <a:ext uri="{FF2B5EF4-FFF2-40B4-BE49-F238E27FC236}">
                <a16:creationId xmlns:a16="http://schemas.microsoft.com/office/drawing/2014/main" id="{C231C06B-3EE2-A348-A91C-CAFBBAF74FA0}"/>
              </a:ext>
            </a:extLst>
          </p:cNvPr>
          <p:cNvSpPr>
            <a:spLocks noGrp="1"/>
          </p:cNvSpPr>
          <p:nvPr>
            <p:ph type="body" sz="quarter" idx="22"/>
          </p:nvPr>
        </p:nvSpPr>
        <p:spPr>
          <a:xfrm>
            <a:off x="8065717" y="5098406"/>
            <a:ext cx="3529869"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3" name="Title 1">
            <a:extLst>
              <a:ext uri="{FF2B5EF4-FFF2-40B4-BE49-F238E27FC236}">
                <a16:creationId xmlns:a16="http://schemas.microsoft.com/office/drawing/2014/main" id="{DBF411DD-945C-4A72-1FBB-BC99017FA8F9}"/>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6" name="Text Placeholder 9">
            <a:extLst>
              <a:ext uri="{FF2B5EF4-FFF2-40B4-BE49-F238E27FC236}">
                <a16:creationId xmlns:a16="http://schemas.microsoft.com/office/drawing/2014/main" id="{7945EEC3-B051-A336-D42E-3BB3BFCED291}"/>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8" name="TextBox 7">
            <a:extLst>
              <a:ext uri="{FF2B5EF4-FFF2-40B4-BE49-F238E27FC236}">
                <a16:creationId xmlns:a16="http://schemas.microsoft.com/office/drawing/2014/main" id="{18E0ADA8-4CE7-A0B6-7DF3-AD8AA6E44AE0}"/>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7" name="Graphic 6">
            <a:extLst>
              <a:ext uri="{FF2B5EF4-FFF2-40B4-BE49-F238E27FC236}">
                <a16:creationId xmlns:a16="http://schemas.microsoft.com/office/drawing/2014/main" id="{C4CE9B8D-5E01-4FE9-63F1-6E41BA92980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20_Page break V1">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BEBDAF5-8848-D89E-558B-E4CA4D265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 t="1730" r="1736"/>
          <a:stretch/>
        </p:blipFill>
        <p:spPr>
          <a:xfrm>
            <a:off x="6085761" y="0"/>
            <a:ext cx="6107826" cy="6858000"/>
          </a:xfrm>
          <a:prstGeom prst="rect">
            <a:avLst/>
          </a:prstGeom>
        </p:spPr>
      </p:pic>
      <p:sp>
        <p:nvSpPr>
          <p:cNvPr id="3" name="Rectangle 2">
            <a:extLst>
              <a:ext uri="{FF2B5EF4-FFF2-40B4-BE49-F238E27FC236}">
                <a16:creationId xmlns:a16="http://schemas.microsoft.com/office/drawing/2014/main" id="{94620260-3DA9-5AE3-1C8A-4CDFA2FD8360}"/>
              </a:ext>
            </a:extLst>
          </p:cNvPr>
          <p:cNvSpPr/>
          <p:nvPr userDrawn="1"/>
        </p:nvSpPr>
        <p:spPr>
          <a:xfrm>
            <a:off x="-10240" y="0"/>
            <a:ext cx="6096003" cy="6889150"/>
          </a:xfrm>
          <a:prstGeom prst="rect">
            <a:avLst/>
          </a:prstGeom>
          <a:solidFill>
            <a:srgbClr val="0019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1800" b="0" i="0">
              <a:latin typeface="Avenir Next LT Pro" panose="020B0504020202020204" pitchFamily="34" charset="77"/>
            </a:endParaRPr>
          </a:p>
        </p:txBody>
      </p:sp>
      <p:sp>
        <p:nvSpPr>
          <p:cNvPr id="11" name="Title 1">
            <a:extLst>
              <a:ext uri="{FF2B5EF4-FFF2-40B4-BE49-F238E27FC236}">
                <a16:creationId xmlns:a16="http://schemas.microsoft.com/office/drawing/2014/main" id="{217B33A1-77D1-BA89-A17B-305986D5621F}"/>
              </a:ext>
            </a:extLst>
          </p:cNvPr>
          <p:cNvSpPr>
            <a:spLocks noGrp="1"/>
          </p:cNvSpPr>
          <p:nvPr>
            <p:ph type="title"/>
          </p:nvPr>
        </p:nvSpPr>
        <p:spPr>
          <a:xfrm>
            <a:off x="565460" y="2260114"/>
            <a:ext cx="5046447" cy="941796"/>
          </a:xfrm>
          <a:prstGeom prst="rect">
            <a:avLst/>
          </a:prstGeom>
        </p:spPr>
        <p:txBody>
          <a:bodyPr lIns="0" tIns="0" rIns="0" bIns="0"/>
          <a:lstStyle>
            <a:lvl1pPr>
              <a:defRPr sz="3400" b="1" i="0">
                <a:solidFill>
                  <a:schemeClr val="accent2"/>
                </a:solidFill>
                <a:latin typeface="Avenir Next LT Pro" panose="020B0504020202020204" pitchFamily="34" charset="77"/>
              </a:defRPr>
            </a:lvl1pPr>
          </a:lstStyle>
          <a:p>
            <a:r>
              <a:rPr lang="en-US"/>
              <a:t>Click to edit Master title style</a:t>
            </a:r>
          </a:p>
        </p:txBody>
      </p:sp>
      <p:sp>
        <p:nvSpPr>
          <p:cNvPr id="13" name="Text Placeholder 9">
            <a:extLst>
              <a:ext uri="{FF2B5EF4-FFF2-40B4-BE49-F238E27FC236}">
                <a16:creationId xmlns:a16="http://schemas.microsoft.com/office/drawing/2014/main" id="{9BF14781-F7C5-28CD-EA36-2EA983C7DA17}"/>
              </a:ext>
            </a:extLst>
          </p:cNvPr>
          <p:cNvSpPr>
            <a:spLocks noGrp="1"/>
          </p:cNvSpPr>
          <p:nvPr>
            <p:ph type="body" sz="quarter" idx="12" hasCustomPrompt="1"/>
          </p:nvPr>
        </p:nvSpPr>
        <p:spPr>
          <a:xfrm>
            <a:off x="549243" y="4040923"/>
            <a:ext cx="4897401"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Insert location, place, date, time etc.)</a:t>
            </a:r>
          </a:p>
        </p:txBody>
      </p:sp>
    </p:spTree>
    <p:extLst>
      <p:ext uri="{BB962C8B-B14F-4D97-AF65-F5344CB8AC3E}">
        <p14:creationId xmlns:p14="http://schemas.microsoft.com/office/powerpoint/2010/main" val="2796167095"/>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7_Page break V1">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BEBDAF5-8848-D89E-558B-E4CA4D2658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6085761" y="0"/>
            <a:ext cx="6107826" cy="6858000"/>
          </a:xfrm>
          <a:prstGeom prst="rect">
            <a:avLst/>
          </a:prstGeom>
        </p:spPr>
      </p:pic>
      <p:sp>
        <p:nvSpPr>
          <p:cNvPr id="11" name="Title 1">
            <a:extLst>
              <a:ext uri="{FF2B5EF4-FFF2-40B4-BE49-F238E27FC236}">
                <a16:creationId xmlns:a16="http://schemas.microsoft.com/office/drawing/2014/main" id="{217B33A1-77D1-BA89-A17B-305986D5621F}"/>
              </a:ext>
            </a:extLst>
          </p:cNvPr>
          <p:cNvSpPr>
            <a:spLocks noGrp="1"/>
          </p:cNvSpPr>
          <p:nvPr>
            <p:ph type="title"/>
          </p:nvPr>
        </p:nvSpPr>
        <p:spPr>
          <a:xfrm>
            <a:off x="565459" y="2260113"/>
            <a:ext cx="5046447" cy="1155783"/>
          </a:xfrm>
          <a:prstGeom prst="rect">
            <a:avLst/>
          </a:prstGeom>
        </p:spPr>
        <p:txBody>
          <a:bodyPr lIns="0" tIns="0" rIns="0" bIns="0"/>
          <a:lstStyle>
            <a:lvl1pPr>
              <a:defRPr sz="4000" b="1" i="0">
                <a:solidFill>
                  <a:schemeClr val="accent2"/>
                </a:solidFill>
                <a:latin typeface="Avenir Next LT Pro" panose="020B0504020202020204" pitchFamily="34" charset="77"/>
              </a:defRPr>
            </a:lvl1pPr>
          </a:lstStyle>
          <a:p>
            <a:r>
              <a:rPr lang="en-US"/>
              <a:t>Click to edit Master title style</a:t>
            </a:r>
          </a:p>
        </p:txBody>
      </p:sp>
      <p:sp>
        <p:nvSpPr>
          <p:cNvPr id="13" name="Text Placeholder 9">
            <a:extLst>
              <a:ext uri="{FF2B5EF4-FFF2-40B4-BE49-F238E27FC236}">
                <a16:creationId xmlns:a16="http://schemas.microsoft.com/office/drawing/2014/main" id="{9BF14781-F7C5-28CD-EA36-2EA983C7DA17}"/>
              </a:ext>
            </a:extLst>
          </p:cNvPr>
          <p:cNvSpPr>
            <a:spLocks noGrp="1"/>
          </p:cNvSpPr>
          <p:nvPr>
            <p:ph type="body" sz="quarter" idx="12" hasCustomPrompt="1"/>
          </p:nvPr>
        </p:nvSpPr>
        <p:spPr>
          <a:xfrm>
            <a:off x="549242" y="4040923"/>
            <a:ext cx="4897401"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Insert location, place, date, time etc.)</a:t>
            </a:r>
          </a:p>
        </p:txBody>
      </p:sp>
      <p:sp>
        <p:nvSpPr>
          <p:cNvPr id="18" name="Rectangle 17">
            <a:extLst>
              <a:ext uri="{FF2B5EF4-FFF2-40B4-BE49-F238E27FC236}">
                <a16:creationId xmlns:a16="http://schemas.microsoft.com/office/drawing/2014/main" id="{ECDB2EB1-C3BB-2F7C-9A24-B3829A176F0B}"/>
              </a:ext>
            </a:extLst>
          </p:cNvPr>
          <p:cNvSpPr/>
          <p:nvPr userDrawn="1"/>
        </p:nvSpPr>
        <p:spPr>
          <a:xfrm>
            <a:off x="6085761" y="3713356"/>
            <a:ext cx="6107828" cy="3144644"/>
          </a:xfrm>
          <a:prstGeom prst="rect">
            <a:avLst/>
          </a:prstGeom>
          <a:gradFill>
            <a:gsLst>
              <a:gs pos="0">
                <a:schemeClr val="accent1">
                  <a:lumMod val="0"/>
                  <a:lumOff val="100000"/>
                  <a:alpha val="0"/>
                </a:schemeClr>
              </a:gs>
              <a:gs pos="100000">
                <a:schemeClr val="bg1">
                  <a:alpha val="8524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pic>
        <p:nvPicPr>
          <p:cNvPr id="28" name="Picture 27">
            <a:extLst>
              <a:ext uri="{FF2B5EF4-FFF2-40B4-BE49-F238E27FC236}">
                <a16:creationId xmlns:a16="http://schemas.microsoft.com/office/drawing/2014/main" id="{2E7FE98F-7AA5-3C6B-A5B9-FCB7C5CFC0E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085945" y="5645576"/>
            <a:ext cx="1211894" cy="577092"/>
          </a:xfrm>
          <a:prstGeom prst="rect">
            <a:avLst/>
          </a:prstGeom>
        </p:spPr>
      </p:pic>
      <p:pic>
        <p:nvPicPr>
          <p:cNvPr id="29" name="Picture 28">
            <a:extLst>
              <a:ext uri="{FF2B5EF4-FFF2-40B4-BE49-F238E27FC236}">
                <a16:creationId xmlns:a16="http://schemas.microsoft.com/office/drawing/2014/main" id="{9B718493-A516-7E41-5052-AA02E978188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9770609" y="6347075"/>
            <a:ext cx="1842566" cy="116656"/>
          </a:xfrm>
          <a:prstGeom prst="rect">
            <a:avLst/>
          </a:prstGeom>
        </p:spPr>
      </p:pic>
    </p:spTree>
    <p:extLst>
      <p:ext uri="{BB962C8B-B14F-4D97-AF65-F5344CB8AC3E}">
        <p14:creationId xmlns:p14="http://schemas.microsoft.com/office/powerpoint/2010/main" val="380932794"/>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1_Page break V1">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BEBDAF5-8848-D89E-558B-E4CA4D2658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6085761" y="0"/>
            <a:ext cx="6107826" cy="6858000"/>
          </a:xfrm>
          <a:prstGeom prst="rect">
            <a:avLst/>
          </a:prstGeom>
        </p:spPr>
      </p:pic>
      <p:sp>
        <p:nvSpPr>
          <p:cNvPr id="3" name="Rectangle 2">
            <a:extLst>
              <a:ext uri="{FF2B5EF4-FFF2-40B4-BE49-F238E27FC236}">
                <a16:creationId xmlns:a16="http://schemas.microsoft.com/office/drawing/2014/main" id="{94620260-3DA9-5AE3-1C8A-4CDFA2FD8360}"/>
              </a:ext>
            </a:extLst>
          </p:cNvPr>
          <p:cNvSpPr/>
          <p:nvPr userDrawn="1"/>
        </p:nvSpPr>
        <p:spPr>
          <a:xfrm>
            <a:off x="-10241" y="0"/>
            <a:ext cx="6096003" cy="6889150"/>
          </a:xfrm>
          <a:prstGeom prst="rect">
            <a:avLst/>
          </a:prstGeom>
          <a:solidFill>
            <a:srgbClr val="0019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11" name="Title 1">
            <a:extLst>
              <a:ext uri="{FF2B5EF4-FFF2-40B4-BE49-F238E27FC236}">
                <a16:creationId xmlns:a16="http://schemas.microsoft.com/office/drawing/2014/main" id="{217B33A1-77D1-BA89-A17B-305986D5621F}"/>
              </a:ext>
            </a:extLst>
          </p:cNvPr>
          <p:cNvSpPr>
            <a:spLocks noGrp="1"/>
          </p:cNvSpPr>
          <p:nvPr>
            <p:ph type="title"/>
          </p:nvPr>
        </p:nvSpPr>
        <p:spPr>
          <a:xfrm>
            <a:off x="565459" y="2260113"/>
            <a:ext cx="5046447" cy="1155783"/>
          </a:xfrm>
          <a:prstGeom prst="rect">
            <a:avLst/>
          </a:prstGeom>
        </p:spPr>
        <p:txBody>
          <a:bodyPr lIns="0" tIns="0" rIns="0" bIns="0"/>
          <a:lstStyle>
            <a:lvl1pPr>
              <a:defRPr sz="4000" b="1" i="0">
                <a:solidFill>
                  <a:schemeClr val="accent2"/>
                </a:solidFill>
                <a:latin typeface="Avenir Next LT Pro" panose="020B0504020202020204" pitchFamily="34" charset="77"/>
              </a:defRPr>
            </a:lvl1pPr>
          </a:lstStyle>
          <a:p>
            <a:r>
              <a:rPr lang="en-US"/>
              <a:t>Click to edit Master title style</a:t>
            </a:r>
          </a:p>
        </p:txBody>
      </p:sp>
      <p:sp>
        <p:nvSpPr>
          <p:cNvPr id="13" name="Text Placeholder 9">
            <a:extLst>
              <a:ext uri="{FF2B5EF4-FFF2-40B4-BE49-F238E27FC236}">
                <a16:creationId xmlns:a16="http://schemas.microsoft.com/office/drawing/2014/main" id="{9BF14781-F7C5-28CD-EA36-2EA983C7DA17}"/>
              </a:ext>
            </a:extLst>
          </p:cNvPr>
          <p:cNvSpPr>
            <a:spLocks noGrp="1"/>
          </p:cNvSpPr>
          <p:nvPr>
            <p:ph type="body" sz="quarter" idx="12" hasCustomPrompt="1"/>
          </p:nvPr>
        </p:nvSpPr>
        <p:spPr>
          <a:xfrm>
            <a:off x="549242" y="4040923"/>
            <a:ext cx="4897401"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Insert location, place, date, time etc.)</a:t>
            </a:r>
          </a:p>
        </p:txBody>
      </p:sp>
      <p:sp>
        <p:nvSpPr>
          <p:cNvPr id="18" name="Rectangle 17">
            <a:extLst>
              <a:ext uri="{FF2B5EF4-FFF2-40B4-BE49-F238E27FC236}">
                <a16:creationId xmlns:a16="http://schemas.microsoft.com/office/drawing/2014/main" id="{ECDB2EB1-C3BB-2F7C-9A24-B3829A176F0B}"/>
              </a:ext>
            </a:extLst>
          </p:cNvPr>
          <p:cNvSpPr/>
          <p:nvPr userDrawn="1"/>
        </p:nvSpPr>
        <p:spPr>
          <a:xfrm>
            <a:off x="6085761" y="3713356"/>
            <a:ext cx="6107828" cy="3144644"/>
          </a:xfrm>
          <a:prstGeom prst="rect">
            <a:avLst/>
          </a:prstGeom>
          <a:gradFill>
            <a:gsLst>
              <a:gs pos="0">
                <a:schemeClr val="accent1">
                  <a:lumMod val="0"/>
                  <a:lumOff val="100000"/>
                  <a:alpha val="0"/>
                </a:schemeClr>
              </a:gs>
              <a:gs pos="100000">
                <a:schemeClr val="bg1">
                  <a:alpha val="8524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pic>
        <p:nvPicPr>
          <p:cNvPr id="28" name="Picture 27">
            <a:extLst>
              <a:ext uri="{FF2B5EF4-FFF2-40B4-BE49-F238E27FC236}">
                <a16:creationId xmlns:a16="http://schemas.microsoft.com/office/drawing/2014/main" id="{2E7FE98F-7AA5-3C6B-A5B9-FCB7C5CFC0E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085945" y="5645576"/>
            <a:ext cx="1211894" cy="577092"/>
          </a:xfrm>
          <a:prstGeom prst="rect">
            <a:avLst/>
          </a:prstGeom>
        </p:spPr>
      </p:pic>
      <p:pic>
        <p:nvPicPr>
          <p:cNvPr id="29" name="Picture 28">
            <a:extLst>
              <a:ext uri="{FF2B5EF4-FFF2-40B4-BE49-F238E27FC236}">
                <a16:creationId xmlns:a16="http://schemas.microsoft.com/office/drawing/2014/main" id="{9B718493-A516-7E41-5052-AA02E978188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9770609" y="6347075"/>
            <a:ext cx="1842566" cy="116656"/>
          </a:xfrm>
          <a:prstGeom prst="rect">
            <a:avLst/>
          </a:prstGeom>
        </p:spPr>
      </p:pic>
    </p:spTree>
    <p:extLst>
      <p:ext uri="{BB962C8B-B14F-4D97-AF65-F5344CB8AC3E}">
        <p14:creationId xmlns:p14="http://schemas.microsoft.com/office/powerpoint/2010/main" val="3487585694"/>
      </p:ext>
    </p:extLst>
  </p:cSld>
  <p:clrMapOvr>
    <a:overrideClrMapping bg1="lt1" tx1="dk1" bg2="lt2" tx2="dk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_Page break V1">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6A6A994-B316-DFDC-8754-01C796B44652}"/>
              </a:ext>
            </a:extLst>
          </p:cNvPr>
          <p:cNvGraphicFramePr>
            <a:graphicFrameLocks noChangeAspect="1"/>
          </p:cNvGraphicFramePr>
          <p:nvPr userDrawn="1">
            <p:custDataLst>
              <p:tags r:id="rId1"/>
            </p:custDataLst>
            <p:extLst>
              <p:ext uri="{D42A27DB-BD31-4B8C-83A1-F6EECF244321}">
                <p14:modId xmlns:p14="http://schemas.microsoft.com/office/powerpoint/2010/main" val="328669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86A6A994-B316-DFDC-8754-01C796B446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Placeholder 6">
            <a:extLst>
              <a:ext uri="{FF2B5EF4-FFF2-40B4-BE49-F238E27FC236}">
                <a16:creationId xmlns:a16="http://schemas.microsoft.com/office/drawing/2014/main" id="{5DFC0DF4-7EC9-381C-EE22-F5978083648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096794" y="0"/>
            <a:ext cx="6110241" cy="6858000"/>
          </a:xfrm>
          <a:prstGeom prst="rect">
            <a:avLst/>
          </a:prstGeom>
        </p:spPr>
      </p:pic>
      <p:sp>
        <p:nvSpPr>
          <p:cNvPr id="3" name="Rectangle 2">
            <a:extLst>
              <a:ext uri="{FF2B5EF4-FFF2-40B4-BE49-F238E27FC236}">
                <a16:creationId xmlns:a16="http://schemas.microsoft.com/office/drawing/2014/main" id="{94620260-3DA9-5AE3-1C8A-4CDFA2FD8360}"/>
              </a:ext>
            </a:extLst>
          </p:cNvPr>
          <p:cNvSpPr/>
          <p:nvPr userDrawn="1"/>
        </p:nvSpPr>
        <p:spPr>
          <a:xfrm>
            <a:off x="-10241" y="0"/>
            <a:ext cx="6096003" cy="6889150"/>
          </a:xfrm>
          <a:prstGeom prst="rect">
            <a:avLst/>
          </a:prstGeom>
          <a:solidFill>
            <a:srgbClr val="0019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11" name="Title 1">
            <a:extLst>
              <a:ext uri="{FF2B5EF4-FFF2-40B4-BE49-F238E27FC236}">
                <a16:creationId xmlns:a16="http://schemas.microsoft.com/office/drawing/2014/main" id="{217B33A1-77D1-BA89-A17B-305986D5621F}"/>
              </a:ext>
            </a:extLst>
          </p:cNvPr>
          <p:cNvSpPr>
            <a:spLocks noGrp="1"/>
          </p:cNvSpPr>
          <p:nvPr>
            <p:ph type="title"/>
          </p:nvPr>
        </p:nvSpPr>
        <p:spPr>
          <a:xfrm>
            <a:off x="565459" y="2260113"/>
            <a:ext cx="5046447" cy="1155783"/>
          </a:xfrm>
          <a:prstGeom prst="rect">
            <a:avLst/>
          </a:prstGeom>
        </p:spPr>
        <p:txBody>
          <a:bodyPr vert="horz" lIns="0" tIns="0" rIns="0" bIns="0"/>
          <a:lstStyle>
            <a:lvl1pPr>
              <a:defRPr sz="4000" b="1" i="0">
                <a:solidFill>
                  <a:schemeClr val="accent2"/>
                </a:solidFill>
                <a:latin typeface="Avenir Next LT Pro" panose="020B0504020202020204" pitchFamily="34" charset="77"/>
              </a:defRPr>
            </a:lvl1pPr>
          </a:lstStyle>
          <a:p>
            <a:r>
              <a:rPr lang="en-US"/>
              <a:t>Click to edit Master title style</a:t>
            </a:r>
          </a:p>
        </p:txBody>
      </p:sp>
      <p:sp>
        <p:nvSpPr>
          <p:cNvPr id="13" name="Text Placeholder 9">
            <a:extLst>
              <a:ext uri="{FF2B5EF4-FFF2-40B4-BE49-F238E27FC236}">
                <a16:creationId xmlns:a16="http://schemas.microsoft.com/office/drawing/2014/main" id="{9BF14781-F7C5-28CD-EA36-2EA983C7DA17}"/>
              </a:ext>
            </a:extLst>
          </p:cNvPr>
          <p:cNvSpPr>
            <a:spLocks noGrp="1"/>
          </p:cNvSpPr>
          <p:nvPr>
            <p:ph type="body" sz="quarter" idx="12" hasCustomPrompt="1"/>
          </p:nvPr>
        </p:nvSpPr>
        <p:spPr>
          <a:xfrm>
            <a:off x="549242" y="4040923"/>
            <a:ext cx="4897401"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Insert location, place, date, time etc.)</a:t>
            </a:r>
          </a:p>
        </p:txBody>
      </p:sp>
      <p:pic>
        <p:nvPicPr>
          <p:cNvPr id="4" name="Picture 3">
            <a:extLst>
              <a:ext uri="{FF2B5EF4-FFF2-40B4-BE49-F238E27FC236}">
                <a16:creationId xmlns:a16="http://schemas.microsoft.com/office/drawing/2014/main" id="{D5B146EF-9281-3DD6-C799-8201A6DE4948}"/>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0085945" y="5645576"/>
            <a:ext cx="1211894" cy="577092"/>
          </a:xfrm>
          <a:prstGeom prst="rect">
            <a:avLst/>
          </a:prstGeom>
        </p:spPr>
      </p:pic>
      <p:pic>
        <p:nvPicPr>
          <p:cNvPr id="5" name="Picture 4">
            <a:extLst>
              <a:ext uri="{FF2B5EF4-FFF2-40B4-BE49-F238E27FC236}">
                <a16:creationId xmlns:a16="http://schemas.microsoft.com/office/drawing/2014/main" id="{22A9769A-802D-217C-EAD5-99A330B4F3E3}"/>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770609" y="6347075"/>
            <a:ext cx="1842566" cy="116656"/>
          </a:xfrm>
          <a:prstGeom prst="rect">
            <a:avLst/>
          </a:prstGeom>
        </p:spPr>
      </p:pic>
    </p:spTree>
    <p:extLst>
      <p:ext uri="{BB962C8B-B14F-4D97-AF65-F5344CB8AC3E}">
        <p14:creationId xmlns:p14="http://schemas.microsoft.com/office/powerpoint/2010/main" val="1041483931"/>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8_Page break V1">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52894DE-2554-5975-C9F3-F47EB08634D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85761" y="0"/>
            <a:ext cx="6107826" cy="6858000"/>
          </a:xfrm>
          <a:prstGeom prst="rect">
            <a:avLst/>
          </a:prstGeom>
        </p:spPr>
      </p:pic>
      <p:sp>
        <p:nvSpPr>
          <p:cNvPr id="10" name="Rectangle 9">
            <a:extLst>
              <a:ext uri="{FF2B5EF4-FFF2-40B4-BE49-F238E27FC236}">
                <a16:creationId xmlns:a16="http://schemas.microsoft.com/office/drawing/2014/main" id="{ADB9E133-FF6F-5BE7-7D68-D085457F5BDE}"/>
              </a:ext>
            </a:extLst>
          </p:cNvPr>
          <p:cNvSpPr/>
          <p:nvPr userDrawn="1"/>
        </p:nvSpPr>
        <p:spPr>
          <a:xfrm>
            <a:off x="-10241" y="0"/>
            <a:ext cx="6096003" cy="68891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16" name="Title 1">
            <a:extLst>
              <a:ext uri="{FF2B5EF4-FFF2-40B4-BE49-F238E27FC236}">
                <a16:creationId xmlns:a16="http://schemas.microsoft.com/office/drawing/2014/main" id="{A4B98DED-4CE6-5BBB-848B-BE1D0B11BD33}"/>
              </a:ext>
            </a:extLst>
          </p:cNvPr>
          <p:cNvSpPr>
            <a:spLocks noGrp="1"/>
          </p:cNvSpPr>
          <p:nvPr>
            <p:ph type="title"/>
          </p:nvPr>
        </p:nvSpPr>
        <p:spPr>
          <a:xfrm>
            <a:off x="565459" y="2260113"/>
            <a:ext cx="5046447" cy="1155783"/>
          </a:xfrm>
          <a:prstGeom prst="rect">
            <a:avLst/>
          </a:prstGeom>
        </p:spPr>
        <p:txBody>
          <a:bodyPr lIns="0" tIns="0" rIns="0" bIns="0"/>
          <a:lstStyle>
            <a:lvl1pPr>
              <a:defRPr sz="4000" b="1" i="0">
                <a:solidFill>
                  <a:schemeClr val="tx1"/>
                </a:solidFill>
                <a:latin typeface="Avenir Next LT Pro" panose="020B0504020202020204" pitchFamily="34" charset="77"/>
              </a:defRPr>
            </a:lvl1pPr>
          </a:lstStyle>
          <a:p>
            <a:r>
              <a:rPr lang="en-US"/>
              <a:t>Click to edit Master title style</a:t>
            </a:r>
          </a:p>
        </p:txBody>
      </p:sp>
      <p:sp>
        <p:nvSpPr>
          <p:cNvPr id="28" name="Text Placeholder 9">
            <a:extLst>
              <a:ext uri="{FF2B5EF4-FFF2-40B4-BE49-F238E27FC236}">
                <a16:creationId xmlns:a16="http://schemas.microsoft.com/office/drawing/2014/main" id="{EC4FCA95-3FA1-C6AA-832A-47310E2D7B0E}"/>
              </a:ext>
            </a:extLst>
          </p:cNvPr>
          <p:cNvSpPr>
            <a:spLocks noGrp="1"/>
          </p:cNvSpPr>
          <p:nvPr>
            <p:ph type="body" sz="quarter" idx="12" hasCustomPrompt="1"/>
          </p:nvPr>
        </p:nvSpPr>
        <p:spPr>
          <a:xfrm>
            <a:off x="549242" y="4040923"/>
            <a:ext cx="4897401"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Insert location, place, date, time etc.)</a:t>
            </a:r>
          </a:p>
        </p:txBody>
      </p:sp>
      <p:sp>
        <p:nvSpPr>
          <p:cNvPr id="35" name="Rectangle 34">
            <a:extLst>
              <a:ext uri="{FF2B5EF4-FFF2-40B4-BE49-F238E27FC236}">
                <a16:creationId xmlns:a16="http://schemas.microsoft.com/office/drawing/2014/main" id="{9E041DD7-0DDB-92F5-5EC9-B46669B9016C}"/>
              </a:ext>
            </a:extLst>
          </p:cNvPr>
          <p:cNvSpPr/>
          <p:nvPr userDrawn="1"/>
        </p:nvSpPr>
        <p:spPr>
          <a:xfrm>
            <a:off x="6085761" y="3713356"/>
            <a:ext cx="6107828" cy="3144644"/>
          </a:xfrm>
          <a:prstGeom prst="rect">
            <a:avLst/>
          </a:prstGeom>
          <a:gradFill>
            <a:gsLst>
              <a:gs pos="0">
                <a:schemeClr val="accent1">
                  <a:lumMod val="0"/>
                  <a:lumOff val="100000"/>
                  <a:alpha val="0"/>
                </a:schemeClr>
              </a:gs>
              <a:gs pos="100000">
                <a:schemeClr val="bg1">
                  <a:alpha val="8524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pic>
        <p:nvPicPr>
          <p:cNvPr id="2" name="Picture 1">
            <a:extLst>
              <a:ext uri="{FF2B5EF4-FFF2-40B4-BE49-F238E27FC236}">
                <a16:creationId xmlns:a16="http://schemas.microsoft.com/office/drawing/2014/main" id="{AE2D228C-F158-275B-B62B-184B0D7B278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085945" y="5645576"/>
            <a:ext cx="1211894" cy="577092"/>
          </a:xfrm>
          <a:prstGeom prst="rect">
            <a:avLst/>
          </a:prstGeom>
        </p:spPr>
      </p:pic>
      <p:pic>
        <p:nvPicPr>
          <p:cNvPr id="3" name="Picture 2">
            <a:extLst>
              <a:ext uri="{FF2B5EF4-FFF2-40B4-BE49-F238E27FC236}">
                <a16:creationId xmlns:a16="http://schemas.microsoft.com/office/drawing/2014/main" id="{5E2C4DFA-1B06-7B8A-A2C3-282A317C1CEA}"/>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9770609" y="6347075"/>
            <a:ext cx="1842566" cy="116656"/>
          </a:xfrm>
          <a:prstGeom prst="rect">
            <a:avLst/>
          </a:prstGeom>
        </p:spPr>
      </p:pic>
    </p:spTree>
    <p:extLst>
      <p:ext uri="{BB962C8B-B14F-4D97-AF65-F5344CB8AC3E}">
        <p14:creationId xmlns:p14="http://schemas.microsoft.com/office/powerpoint/2010/main" val="3922131905"/>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_Page break V1">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52894DE-2554-5975-C9F3-F47EB08634D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85761" y="0"/>
            <a:ext cx="6107826" cy="6858000"/>
          </a:xfrm>
          <a:prstGeom prst="rect">
            <a:avLst/>
          </a:prstGeom>
        </p:spPr>
      </p:pic>
      <p:sp>
        <p:nvSpPr>
          <p:cNvPr id="10" name="Rectangle 9">
            <a:extLst>
              <a:ext uri="{FF2B5EF4-FFF2-40B4-BE49-F238E27FC236}">
                <a16:creationId xmlns:a16="http://schemas.microsoft.com/office/drawing/2014/main" id="{ADB9E133-FF6F-5BE7-7D68-D085457F5BDE}"/>
              </a:ext>
            </a:extLst>
          </p:cNvPr>
          <p:cNvSpPr/>
          <p:nvPr userDrawn="1"/>
        </p:nvSpPr>
        <p:spPr>
          <a:xfrm>
            <a:off x="-10241" y="0"/>
            <a:ext cx="6096003" cy="68891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16" name="Title 1">
            <a:extLst>
              <a:ext uri="{FF2B5EF4-FFF2-40B4-BE49-F238E27FC236}">
                <a16:creationId xmlns:a16="http://schemas.microsoft.com/office/drawing/2014/main" id="{A4B98DED-4CE6-5BBB-848B-BE1D0B11BD33}"/>
              </a:ext>
            </a:extLst>
          </p:cNvPr>
          <p:cNvSpPr>
            <a:spLocks noGrp="1"/>
          </p:cNvSpPr>
          <p:nvPr>
            <p:ph type="title"/>
          </p:nvPr>
        </p:nvSpPr>
        <p:spPr>
          <a:xfrm>
            <a:off x="565459" y="2260113"/>
            <a:ext cx="5046447" cy="1155783"/>
          </a:xfrm>
          <a:prstGeom prst="rect">
            <a:avLst/>
          </a:prstGeom>
        </p:spPr>
        <p:txBody>
          <a:bodyPr lIns="0" tIns="0" rIns="0" bIns="0"/>
          <a:lstStyle>
            <a:lvl1pPr>
              <a:defRPr sz="4000" b="1" i="0">
                <a:solidFill>
                  <a:schemeClr val="tx1"/>
                </a:solidFill>
                <a:latin typeface="Avenir Next LT Pro" panose="020B0504020202020204" pitchFamily="34" charset="77"/>
              </a:defRPr>
            </a:lvl1pPr>
          </a:lstStyle>
          <a:p>
            <a:r>
              <a:rPr lang="en-US"/>
              <a:t>Click to edit Master title style</a:t>
            </a:r>
          </a:p>
        </p:txBody>
      </p:sp>
      <p:sp>
        <p:nvSpPr>
          <p:cNvPr id="28" name="Text Placeholder 9">
            <a:extLst>
              <a:ext uri="{FF2B5EF4-FFF2-40B4-BE49-F238E27FC236}">
                <a16:creationId xmlns:a16="http://schemas.microsoft.com/office/drawing/2014/main" id="{EC4FCA95-3FA1-C6AA-832A-47310E2D7B0E}"/>
              </a:ext>
            </a:extLst>
          </p:cNvPr>
          <p:cNvSpPr>
            <a:spLocks noGrp="1"/>
          </p:cNvSpPr>
          <p:nvPr>
            <p:ph type="body" sz="quarter" idx="12" hasCustomPrompt="1"/>
          </p:nvPr>
        </p:nvSpPr>
        <p:spPr>
          <a:xfrm>
            <a:off x="549242" y="4040923"/>
            <a:ext cx="4897401"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Insert location, place, date, time etc.)</a:t>
            </a:r>
          </a:p>
        </p:txBody>
      </p:sp>
      <p:sp>
        <p:nvSpPr>
          <p:cNvPr id="35" name="Rectangle 34">
            <a:extLst>
              <a:ext uri="{FF2B5EF4-FFF2-40B4-BE49-F238E27FC236}">
                <a16:creationId xmlns:a16="http://schemas.microsoft.com/office/drawing/2014/main" id="{9E041DD7-0DDB-92F5-5EC9-B46669B9016C}"/>
              </a:ext>
            </a:extLst>
          </p:cNvPr>
          <p:cNvSpPr/>
          <p:nvPr userDrawn="1"/>
        </p:nvSpPr>
        <p:spPr>
          <a:xfrm>
            <a:off x="6085761" y="3713356"/>
            <a:ext cx="6107828" cy="3144644"/>
          </a:xfrm>
          <a:prstGeom prst="rect">
            <a:avLst/>
          </a:prstGeom>
          <a:gradFill>
            <a:gsLst>
              <a:gs pos="0">
                <a:schemeClr val="accent1">
                  <a:lumMod val="0"/>
                  <a:lumOff val="100000"/>
                  <a:alpha val="0"/>
                </a:schemeClr>
              </a:gs>
              <a:gs pos="100000">
                <a:schemeClr val="bg1">
                  <a:alpha val="8524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pic>
        <p:nvPicPr>
          <p:cNvPr id="2" name="Picture 1">
            <a:extLst>
              <a:ext uri="{FF2B5EF4-FFF2-40B4-BE49-F238E27FC236}">
                <a16:creationId xmlns:a16="http://schemas.microsoft.com/office/drawing/2014/main" id="{1A4AD881-F59E-4C8E-C0CD-25DA1360F84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085945" y="5645576"/>
            <a:ext cx="1211894" cy="577092"/>
          </a:xfrm>
          <a:prstGeom prst="rect">
            <a:avLst/>
          </a:prstGeom>
        </p:spPr>
      </p:pic>
      <p:pic>
        <p:nvPicPr>
          <p:cNvPr id="3" name="Picture 2">
            <a:extLst>
              <a:ext uri="{FF2B5EF4-FFF2-40B4-BE49-F238E27FC236}">
                <a16:creationId xmlns:a16="http://schemas.microsoft.com/office/drawing/2014/main" id="{CE95AF85-B887-6055-FA5C-560C6E37D0F5}"/>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9770609" y="6347075"/>
            <a:ext cx="1842566" cy="116656"/>
          </a:xfrm>
          <a:prstGeom prst="rect">
            <a:avLst/>
          </a:prstGeom>
        </p:spPr>
      </p:pic>
    </p:spTree>
    <p:extLst>
      <p:ext uri="{BB962C8B-B14F-4D97-AF65-F5344CB8AC3E}">
        <p14:creationId xmlns:p14="http://schemas.microsoft.com/office/powerpoint/2010/main" val="1663918593"/>
      </p:ext>
    </p:extLst>
  </p:cSld>
  <p:clrMapOvr>
    <a:overrideClrMapping bg1="lt1" tx1="dk1" bg2="lt2" tx2="dk2" accent1="accent1" accent2="accent2" accent3="accent3" accent4="accent4" accent5="accent5" accent6="accent6" hlink="hlink" folHlink="folHlink"/>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9_Page break V1">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16CC8C9-DD30-841F-DC58-D81CC24A49C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85761" y="0"/>
            <a:ext cx="6107826" cy="6858000"/>
          </a:xfrm>
          <a:prstGeom prst="rect">
            <a:avLst/>
          </a:prstGeom>
        </p:spPr>
      </p:pic>
      <p:sp>
        <p:nvSpPr>
          <p:cNvPr id="18" name="Rectangle 17">
            <a:extLst>
              <a:ext uri="{FF2B5EF4-FFF2-40B4-BE49-F238E27FC236}">
                <a16:creationId xmlns:a16="http://schemas.microsoft.com/office/drawing/2014/main" id="{E40D5317-E65A-4F79-F4C2-8D8B06290DC6}"/>
              </a:ext>
            </a:extLst>
          </p:cNvPr>
          <p:cNvSpPr/>
          <p:nvPr userDrawn="1"/>
        </p:nvSpPr>
        <p:spPr>
          <a:xfrm>
            <a:off x="6085761" y="3713356"/>
            <a:ext cx="6107828" cy="3144644"/>
          </a:xfrm>
          <a:prstGeom prst="rect">
            <a:avLst/>
          </a:prstGeom>
          <a:gradFill>
            <a:gsLst>
              <a:gs pos="0">
                <a:schemeClr val="accent1">
                  <a:lumMod val="0"/>
                  <a:lumOff val="100000"/>
                  <a:alpha val="0"/>
                </a:schemeClr>
              </a:gs>
              <a:gs pos="100000">
                <a:schemeClr val="bg1">
                  <a:alpha val="8524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3" name="Rectangle 2">
            <a:extLst>
              <a:ext uri="{FF2B5EF4-FFF2-40B4-BE49-F238E27FC236}">
                <a16:creationId xmlns:a16="http://schemas.microsoft.com/office/drawing/2014/main" id="{492562D4-F891-F9B3-9788-67182AD0D261}"/>
              </a:ext>
            </a:extLst>
          </p:cNvPr>
          <p:cNvSpPr/>
          <p:nvPr userDrawn="1"/>
        </p:nvSpPr>
        <p:spPr>
          <a:xfrm>
            <a:off x="-10241" y="0"/>
            <a:ext cx="6096003" cy="688915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7" name="Title 1">
            <a:extLst>
              <a:ext uri="{FF2B5EF4-FFF2-40B4-BE49-F238E27FC236}">
                <a16:creationId xmlns:a16="http://schemas.microsoft.com/office/drawing/2014/main" id="{EA4F68A5-DF04-91DA-0055-7ED762696F8A}"/>
              </a:ext>
            </a:extLst>
          </p:cNvPr>
          <p:cNvSpPr>
            <a:spLocks noGrp="1"/>
          </p:cNvSpPr>
          <p:nvPr>
            <p:ph type="title"/>
          </p:nvPr>
        </p:nvSpPr>
        <p:spPr>
          <a:xfrm>
            <a:off x="565459" y="2260113"/>
            <a:ext cx="5046447" cy="1155783"/>
          </a:xfrm>
          <a:prstGeom prst="rect">
            <a:avLst/>
          </a:prstGeom>
        </p:spPr>
        <p:txBody>
          <a:bodyPr lIns="0" tIns="0" rIns="0" bIns="0"/>
          <a:lstStyle>
            <a:lvl1pPr>
              <a:defRPr sz="4000" b="1" i="0">
                <a:solidFill>
                  <a:schemeClr val="bg1"/>
                </a:solidFill>
                <a:latin typeface="Avenir Next LT Pro" panose="020B0504020202020204" pitchFamily="34" charset="77"/>
              </a:defRPr>
            </a:lvl1pPr>
          </a:lstStyle>
          <a:p>
            <a:r>
              <a:rPr lang="en-US"/>
              <a:t>Click to edit Master title style</a:t>
            </a:r>
          </a:p>
        </p:txBody>
      </p:sp>
      <p:sp>
        <p:nvSpPr>
          <p:cNvPr id="9" name="Text Placeholder 9">
            <a:extLst>
              <a:ext uri="{FF2B5EF4-FFF2-40B4-BE49-F238E27FC236}">
                <a16:creationId xmlns:a16="http://schemas.microsoft.com/office/drawing/2014/main" id="{6A53B07D-6224-E7EC-3DE6-1F2F27446F9E}"/>
              </a:ext>
            </a:extLst>
          </p:cNvPr>
          <p:cNvSpPr>
            <a:spLocks noGrp="1"/>
          </p:cNvSpPr>
          <p:nvPr>
            <p:ph type="body" sz="quarter" idx="12" hasCustomPrompt="1"/>
          </p:nvPr>
        </p:nvSpPr>
        <p:spPr>
          <a:xfrm>
            <a:off x="549242" y="4040923"/>
            <a:ext cx="4897401"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Insert location, place, date, time etc.)</a:t>
            </a:r>
          </a:p>
        </p:txBody>
      </p:sp>
      <p:pic>
        <p:nvPicPr>
          <p:cNvPr id="4" name="Picture 3">
            <a:extLst>
              <a:ext uri="{FF2B5EF4-FFF2-40B4-BE49-F238E27FC236}">
                <a16:creationId xmlns:a16="http://schemas.microsoft.com/office/drawing/2014/main" id="{37F95E9E-E1A8-6830-536F-75C9D52EBEB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085945" y="5645576"/>
            <a:ext cx="1211894" cy="577092"/>
          </a:xfrm>
          <a:prstGeom prst="rect">
            <a:avLst/>
          </a:prstGeom>
        </p:spPr>
      </p:pic>
      <p:pic>
        <p:nvPicPr>
          <p:cNvPr id="5" name="Picture 4">
            <a:extLst>
              <a:ext uri="{FF2B5EF4-FFF2-40B4-BE49-F238E27FC236}">
                <a16:creationId xmlns:a16="http://schemas.microsoft.com/office/drawing/2014/main" id="{B952DE7A-4B7A-AD56-3A85-06885C7A2C4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9770609" y="6347075"/>
            <a:ext cx="1842566" cy="116656"/>
          </a:xfrm>
          <a:prstGeom prst="rect">
            <a:avLst/>
          </a:prstGeom>
        </p:spPr>
      </p:pic>
    </p:spTree>
    <p:extLst>
      <p:ext uri="{BB962C8B-B14F-4D97-AF65-F5344CB8AC3E}">
        <p14:creationId xmlns:p14="http://schemas.microsoft.com/office/powerpoint/2010/main" val="2230189040"/>
      </p:ext>
    </p:extLst>
  </p:cSld>
  <p:clrMapOvr>
    <a:overrideClrMapping bg1="lt1" tx1="dk1" bg2="lt2" tx2="dk2" accent1="accent1" accent2="accent2" accent3="accent3" accent4="accent4" accent5="accent5" accent6="accent6" hlink="hlink" folHlink="folHlink"/>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6_Page break V1">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16CC8C9-DD30-841F-DC58-D81CC24A49C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85761" y="0"/>
            <a:ext cx="6107826" cy="6858000"/>
          </a:xfrm>
          <a:prstGeom prst="rect">
            <a:avLst/>
          </a:prstGeom>
        </p:spPr>
      </p:pic>
      <p:sp>
        <p:nvSpPr>
          <p:cNvPr id="18" name="Rectangle 17">
            <a:extLst>
              <a:ext uri="{FF2B5EF4-FFF2-40B4-BE49-F238E27FC236}">
                <a16:creationId xmlns:a16="http://schemas.microsoft.com/office/drawing/2014/main" id="{E40D5317-E65A-4F79-F4C2-8D8B06290DC6}"/>
              </a:ext>
            </a:extLst>
          </p:cNvPr>
          <p:cNvSpPr/>
          <p:nvPr userDrawn="1"/>
        </p:nvSpPr>
        <p:spPr>
          <a:xfrm>
            <a:off x="6085761" y="3713356"/>
            <a:ext cx="6107828" cy="3144644"/>
          </a:xfrm>
          <a:prstGeom prst="rect">
            <a:avLst/>
          </a:prstGeom>
          <a:gradFill>
            <a:gsLst>
              <a:gs pos="0">
                <a:schemeClr val="accent1">
                  <a:lumMod val="0"/>
                  <a:lumOff val="100000"/>
                  <a:alpha val="0"/>
                </a:schemeClr>
              </a:gs>
              <a:gs pos="100000">
                <a:schemeClr val="bg1">
                  <a:alpha val="8524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3" name="Rectangle 2">
            <a:extLst>
              <a:ext uri="{FF2B5EF4-FFF2-40B4-BE49-F238E27FC236}">
                <a16:creationId xmlns:a16="http://schemas.microsoft.com/office/drawing/2014/main" id="{492562D4-F891-F9B3-9788-67182AD0D261}"/>
              </a:ext>
            </a:extLst>
          </p:cNvPr>
          <p:cNvSpPr/>
          <p:nvPr userDrawn="1"/>
        </p:nvSpPr>
        <p:spPr>
          <a:xfrm>
            <a:off x="-10241" y="0"/>
            <a:ext cx="6096003" cy="688915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7" name="Title 1">
            <a:extLst>
              <a:ext uri="{FF2B5EF4-FFF2-40B4-BE49-F238E27FC236}">
                <a16:creationId xmlns:a16="http://schemas.microsoft.com/office/drawing/2014/main" id="{EA4F68A5-DF04-91DA-0055-7ED762696F8A}"/>
              </a:ext>
            </a:extLst>
          </p:cNvPr>
          <p:cNvSpPr>
            <a:spLocks noGrp="1"/>
          </p:cNvSpPr>
          <p:nvPr>
            <p:ph type="title"/>
          </p:nvPr>
        </p:nvSpPr>
        <p:spPr>
          <a:xfrm>
            <a:off x="565459" y="2260113"/>
            <a:ext cx="5046447" cy="1155783"/>
          </a:xfrm>
          <a:prstGeom prst="rect">
            <a:avLst/>
          </a:prstGeom>
        </p:spPr>
        <p:txBody>
          <a:bodyPr lIns="0" tIns="0" rIns="0" bIns="0"/>
          <a:lstStyle>
            <a:lvl1pPr>
              <a:defRPr sz="4000" b="1" i="0">
                <a:solidFill>
                  <a:schemeClr val="bg1"/>
                </a:solidFill>
                <a:latin typeface="Avenir Next LT Pro" panose="020B0504020202020204" pitchFamily="34" charset="77"/>
              </a:defRPr>
            </a:lvl1pPr>
          </a:lstStyle>
          <a:p>
            <a:r>
              <a:rPr lang="en-US"/>
              <a:t>Click to edit Master title style</a:t>
            </a:r>
          </a:p>
        </p:txBody>
      </p:sp>
      <p:sp>
        <p:nvSpPr>
          <p:cNvPr id="9" name="Text Placeholder 9">
            <a:extLst>
              <a:ext uri="{FF2B5EF4-FFF2-40B4-BE49-F238E27FC236}">
                <a16:creationId xmlns:a16="http://schemas.microsoft.com/office/drawing/2014/main" id="{6A53B07D-6224-E7EC-3DE6-1F2F27446F9E}"/>
              </a:ext>
            </a:extLst>
          </p:cNvPr>
          <p:cNvSpPr>
            <a:spLocks noGrp="1"/>
          </p:cNvSpPr>
          <p:nvPr>
            <p:ph type="body" sz="quarter" idx="12" hasCustomPrompt="1"/>
          </p:nvPr>
        </p:nvSpPr>
        <p:spPr>
          <a:xfrm>
            <a:off x="549242" y="4040923"/>
            <a:ext cx="4897401"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Insert location, place, date, time etc.)</a:t>
            </a:r>
          </a:p>
        </p:txBody>
      </p:sp>
      <p:pic>
        <p:nvPicPr>
          <p:cNvPr id="4" name="Picture 3">
            <a:extLst>
              <a:ext uri="{FF2B5EF4-FFF2-40B4-BE49-F238E27FC236}">
                <a16:creationId xmlns:a16="http://schemas.microsoft.com/office/drawing/2014/main" id="{A3C12F29-3F55-A63B-60AA-CA53BD9AFFA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085945" y="5645576"/>
            <a:ext cx="1211894" cy="577092"/>
          </a:xfrm>
          <a:prstGeom prst="rect">
            <a:avLst/>
          </a:prstGeom>
        </p:spPr>
      </p:pic>
      <p:pic>
        <p:nvPicPr>
          <p:cNvPr id="5" name="Picture 4">
            <a:extLst>
              <a:ext uri="{FF2B5EF4-FFF2-40B4-BE49-F238E27FC236}">
                <a16:creationId xmlns:a16="http://schemas.microsoft.com/office/drawing/2014/main" id="{E6295BF2-2F90-E72C-DD85-ED6F04E1262A}"/>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9770609" y="6347075"/>
            <a:ext cx="1842566" cy="116656"/>
          </a:xfrm>
          <a:prstGeom prst="rect">
            <a:avLst/>
          </a:prstGeom>
        </p:spPr>
      </p:pic>
    </p:spTree>
    <p:extLst>
      <p:ext uri="{BB962C8B-B14F-4D97-AF65-F5344CB8AC3E}">
        <p14:creationId xmlns:p14="http://schemas.microsoft.com/office/powerpoint/2010/main" val="247016227"/>
      </p:ext>
    </p:extLst>
  </p:cSld>
  <p:clrMapOvr>
    <a:overrideClrMapping bg1="lt1" tx1="dk1" bg2="lt2" tx2="dk2" accent1="accent1" accent2="accent2" accent3="accent3" accent4="accent4" accent5="accent5" accent6="accent6" hlink="hlink" folHlink="folHlink"/>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0_Page break V1">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2AE8FC-6456-61B8-BCCB-BFE57938E32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85761" y="0"/>
            <a:ext cx="6107826" cy="6858000"/>
          </a:xfrm>
          <a:prstGeom prst="rect">
            <a:avLst/>
          </a:prstGeom>
        </p:spPr>
      </p:pic>
      <p:sp>
        <p:nvSpPr>
          <p:cNvPr id="3" name="Rectangle 2">
            <a:extLst>
              <a:ext uri="{FF2B5EF4-FFF2-40B4-BE49-F238E27FC236}">
                <a16:creationId xmlns:a16="http://schemas.microsoft.com/office/drawing/2014/main" id="{22072A0B-6CEB-8372-0E4B-C50E805F639C}"/>
              </a:ext>
            </a:extLst>
          </p:cNvPr>
          <p:cNvSpPr/>
          <p:nvPr userDrawn="1"/>
        </p:nvSpPr>
        <p:spPr>
          <a:xfrm>
            <a:off x="-10241" y="0"/>
            <a:ext cx="6096003" cy="68891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7" name="Title 1">
            <a:extLst>
              <a:ext uri="{FF2B5EF4-FFF2-40B4-BE49-F238E27FC236}">
                <a16:creationId xmlns:a16="http://schemas.microsoft.com/office/drawing/2014/main" id="{9D4739E0-E6E1-6140-F3C4-BEA8E8F41085}"/>
              </a:ext>
            </a:extLst>
          </p:cNvPr>
          <p:cNvSpPr>
            <a:spLocks noGrp="1"/>
          </p:cNvSpPr>
          <p:nvPr>
            <p:ph type="title"/>
          </p:nvPr>
        </p:nvSpPr>
        <p:spPr>
          <a:xfrm>
            <a:off x="565459" y="2260113"/>
            <a:ext cx="5046447" cy="1155783"/>
          </a:xfrm>
          <a:prstGeom prst="rect">
            <a:avLst/>
          </a:prstGeom>
        </p:spPr>
        <p:txBody>
          <a:bodyPr lIns="0" tIns="0" rIns="0" bIns="0"/>
          <a:lstStyle>
            <a:lvl1pPr>
              <a:defRPr sz="4000" b="1" i="0">
                <a:solidFill>
                  <a:schemeClr val="bg1"/>
                </a:solidFill>
                <a:latin typeface="Avenir Next LT Pro" panose="020B0504020202020204" pitchFamily="34" charset="77"/>
              </a:defRPr>
            </a:lvl1pPr>
          </a:lstStyle>
          <a:p>
            <a:r>
              <a:rPr lang="en-US"/>
              <a:t>Click to edit Master title style</a:t>
            </a:r>
          </a:p>
        </p:txBody>
      </p:sp>
      <p:sp>
        <p:nvSpPr>
          <p:cNvPr id="9" name="Text Placeholder 9">
            <a:extLst>
              <a:ext uri="{FF2B5EF4-FFF2-40B4-BE49-F238E27FC236}">
                <a16:creationId xmlns:a16="http://schemas.microsoft.com/office/drawing/2014/main" id="{EE8102FD-A9B1-BC43-6055-625B881F036F}"/>
              </a:ext>
            </a:extLst>
          </p:cNvPr>
          <p:cNvSpPr>
            <a:spLocks noGrp="1"/>
          </p:cNvSpPr>
          <p:nvPr>
            <p:ph type="body" sz="quarter" idx="12" hasCustomPrompt="1"/>
          </p:nvPr>
        </p:nvSpPr>
        <p:spPr>
          <a:xfrm>
            <a:off x="549242" y="4040923"/>
            <a:ext cx="4897401"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Insert location, place, date, time etc.)</a:t>
            </a:r>
          </a:p>
        </p:txBody>
      </p:sp>
      <p:sp>
        <p:nvSpPr>
          <p:cNvPr id="15" name="Rectangle 14">
            <a:extLst>
              <a:ext uri="{FF2B5EF4-FFF2-40B4-BE49-F238E27FC236}">
                <a16:creationId xmlns:a16="http://schemas.microsoft.com/office/drawing/2014/main" id="{12088FC0-82B3-5503-0177-90A6E55A3CB5}"/>
              </a:ext>
            </a:extLst>
          </p:cNvPr>
          <p:cNvSpPr/>
          <p:nvPr userDrawn="1"/>
        </p:nvSpPr>
        <p:spPr>
          <a:xfrm>
            <a:off x="6085761" y="3713356"/>
            <a:ext cx="6107828" cy="3144644"/>
          </a:xfrm>
          <a:prstGeom prst="rect">
            <a:avLst/>
          </a:prstGeom>
          <a:gradFill>
            <a:gsLst>
              <a:gs pos="0">
                <a:schemeClr val="accent1">
                  <a:lumMod val="0"/>
                  <a:lumOff val="100000"/>
                  <a:alpha val="0"/>
                </a:schemeClr>
              </a:gs>
              <a:gs pos="100000">
                <a:schemeClr val="bg1">
                  <a:alpha val="8524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pic>
        <p:nvPicPr>
          <p:cNvPr id="4" name="Picture 3">
            <a:extLst>
              <a:ext uri="{FF2B5EF4-FFF2-40B4-BE49-F238E27FC236}">
                <a16:creationId xmlns:a16="http://schemas.microsoft.com/office/drawing/2014/main" id="{3196FC57-C737-9147-0AB4-4BC5440C61E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085945" y="5645576"/>
            <a:ext cx="1211894" cy="577092"/>
          </a:xfrm>
          <a:prstGeom prst="rect">
            <a:avLst/>
          </a:prstGeom>
        </p:spPr>
      </p:pic>
      <p:pic>
        <p:nvPicPr>
          <p:cNvPr id="5" name="Picture 4">
            <a:extLst>
              <a:ext uri="{FF2B5EF4-FFF2-40B4-BE49-F238E27FC236}">
                <a16:creationId xmlns:a16="http://schemas.microsoft.com/office/drawing/2014/main" id="{AD15D1BB-A2AF-39A3-4214-B48B97EE15E1}"/>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9770609" y="6347075"/>
            <a:ext cx="1842566" cy="116656"/>
          </a:xfrm>
          <a:prstGeom prst="rect">
            <a:avLst/>
          </a:prstGeom>
        </p:spPr>
      </p:pic>
    </p:spTree>
    <p:extLst>
      <p:ext uri="{BB962C8B-B14F-4D97-AF65-F5344CB8AC3E}">
        <p14:creationId xmlns:p14="http://schemas.microsoft.com/office/powerpoint/2010/main" val="205744295"/>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_Page break V1">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2AE8FC-6456-61B8-BCCB-BFE57938E32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85761" y="0"/>
            <a:ext cx="6107826" cy="6858000"/>
          </a:xfrm>
          <a:prstGeom prst="rect">
            <a:avLst/>
          </a:prstGeom>
        </p:spPr>
      </p:pic>
      <p:sp>
        <p:nvSpPr>
          <p:cNvPr id="3" name="Rectangle 2">
            <a:extLst>
              <a:ext uri="{FF2B5EF4-FFF2-40B4-BE49-F238E27FC236}">
                <a16:creationId xmlns:a16="http://schemas.microsoft.com/office/drawing/2014/main" id="{22072A0B-6CEB-8372-0E4B-C50E805F639C}"/>
              </a:ext>
            </a:extLst>
          </p:cNvPr>
          <p:cNvSpPr/>
          <p:nvPr userDrawn="1"/>
        </p:nvSpPr>
        <p:spPr>
          <a:xfrm>
            <a:off x="-10241" y="0"/>
            <a:ext cx="6096003" cy="68891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7" name="Title 1">
            <a:extLst>
              <a:ext uri="{FF2B5EF4-FFF2-40B4-BE49-F238E27FC236}">
                <a16:creationId xmlns:a16="http://schemas.microsoft.com/office/drawing/2014/main" id="{9D4739E0-E6E1-6140-F3C4-BEA8E8F41085}"/>
              </a:ext>
            </a:extLst>
          </p:cNvPr>
          <p:cNvSpPr>
            <a:spLocks noGrp="1"/>
          </p:cNvSpPr>
          <p:nvPr>
            <p:ph type="title"/>
          </p:nvPr>
        </p:nvSpPr>
        <p:spPr>
          <a:xfrm>
            <a:off x="565459" y="2260113"/>
            <a:ext cx="5046447" cy="1155783"/>
          </a:xfrm>
          <a:prstGeom prst="rect">
            <a:avLst/>
          </a:prstGeom>
        </p:spPr>
        <p:txBody>
          <a:bodyPr lIns="0" tIns="0" rIns="0" bIns="0"/>
          <a:lstStyle>
            <a:lvl1pPr>
              <a:defRPr sz="4000" b="1" i="0">
                <a:solidFill>
                  <a:schemeClr val="bg1"/>
                </a:solidFill>
                <a:latin typeface="Avenir Next LT Pro" panose="020B0504020202020204" pitchFamily="34" charset="77"/>
              </a:defRPr>
            </a:lvl1pPr>
          </a:lstStyle>
          <a:p>
            <a:r>
              <a:rPr lang="en-US"/>
              <a:t>Click to edit Master title style</a:t>
            </a:r>
          </a:p>
        </p:txBody>
      </p:sp>
      <p:sp>
        <p:nvSpPr>
          <p:cNvPr id="9" name="Text Placeholder 9">
            <a:extLst>
              <a:ext uri="{FF2B5EF4-FFF2-40B4-BE49-F238E27FC236}">
                <a16:creationId xmlns:a16="http://schemas.microsoft.com/office/drawing/2014/main" id="{EE8102FD-A9B1-BC43-6055-625B881F036F}"/>
              </a:ext>
            </a:extLst>
          </p:cNvPr>
          <p:cNvSpPr>
            <a:spLocks noGrp="1"/>
          </p:cNvSpPr>
          <p:nvPr>
            <p:ph type="body" sz="quarter" idx="12" hasCustomPrompt="1"/>
          </p:nvPr>
        </p:nvSpPr>
        <p:spPr>
          <a:xfrm>
            <a:off x="549242" y="4040923"/>
            <a:ext cx="4897401"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Insert location, place, date, time etc.)</a:t>
            </a:r>
          </a:p>
        </p:txBody>
      </p:sp>
      <p:sp>
        <p:nvSpPr>
          <p:cNvPr id="15" name="Rectangle 14">
            <a:extLst>
              <a:ext uri="{FF2B5EF4-FFF2-40B4-BE49-F238E27FC236}">
                <a16:creationId xmlns:a16="http://schemas.microsoft.com/office/drawing/2014/main" id="{12088FC0-82B3-5503-0177-90A6E55A3CB5}"/>
              </a:ext>
            </a:extLst>
          </p:cNvPr>
          <p:cNvSpPr/>
          <p:nvPr userDrawn="1"/>
        </p:nvSpPr>
        <p:spPr>
          <a:xfrm>
            <a:off x="6085761" y="3713356"/>
            <a:ext cx="6107828" cy="3144644"/>
          </a:xfrm>
          <a:prstGeom prst="rect">
            <a:avLst/>
          </a:prstGeom>
          <a:gradFill>
            <a:gsLst>
              <a:gs pos="0">
                <a:schemeClr val="accent1">
                  <a:lumMod val="0"/>
                  <a:lumOff val="100000"/>
                  <a:alpha val="0"/>
                </a:schemeClr>
              </a:gs>
              <a:gs pos="100000">
                <a:schemeClr val="bg1">
                  <a:alpha val="8524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pic>
        <p:nvPicPr>
          <p:cNvPr id="4" name="Picture 3">
            <a:extLst>
              <a:ext uri="{FF2B5EF4-FFF2-40B4-BE49-F238E27FC236}">
                <a16:creationId xmlns:a16="http://schemas.microsoft.com/office/drawing/2014/main" id="{8C39E435-EDF4-B694-9D32-7FB3650FF54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085945" y="5645576"/>
            <a:ext cx="1211894" cy="577092"/>
          </a:xfrm>
          <a:prstGeom prst="rect">
            <a:avLst/>
          </a:prstGeom>
        </p:spPr>
      </p:pic>
      <p:pic>
        <p:nvPicPr>
          <p:cNvPr id="5" name="Picture 4">
            <a:extLst>
              <a:ext uri="{FF2B5EF4-FFF2-40B4-BE49-F238E27FC236}">
                <a16:creationId xmlns:a16="http://schemas.microsoft.com/office/drawing/2014/main" id="{0ED24243-0A4E-31BA-258C-B06A62849CF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9770609" y="6347075"/>
            <a:ext cx="1842566" cy="116656"/>
          </a:xfrm>
          <a:prstGeom prst="rect">
            <a:avLst/>
          </a:prstGeom>
        </p:spPr>
      </p:pic>
    </p:spTree>
    <p:extLst>
      <p:ext uri="{BB962C8B-B14F-4D97-AF65-F5344CB8AC3E}">
        <p14:creationId xmlns:p14="http://schemas.microsoft.com/office/powerpoint/2010/main" val="30435453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image + description">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5" name="Text Placeholder 4"/>
          <p:cNvSpPr>
            <a:spLocks noGrp="1"/>
          </p:cNvSpPr>
          <p:nvPr>
            <p:ph type="body" sz="quarter" idx="15"/>
          </p:nvPr>
        </p:nvSpPr>
        <p:spPr>
          <a:xfrm>
            <a:off x="2600683" y="5753950"/>
            <a:ext cx="6992222"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7" name="Content Placeholder 6"/>
          <p:cNvSpPr>
            <a:spLocks noGrp="1"/>
          </p:cNvSpPr>
          <p:nvPr>
            <p:ph sz="quarter" idx="18" hasCustomPrompt="1"/>
          </p:nvPr>
        </p:nvSpPr>
        <p:spPr>
          <a:xfrm>
            <a:off x="2600683" y="1614956"/>
            <a:ext cx="6992223" cy="3904102"/>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 name="Title 1">
            <a:extLst>
              <a:ext uri="{FF2B5EF4-FFF2-40B4-BE49-F238E27FC236}">
                <a16:creationId xmlns:a16="http://schemas.microsoft.com/office/drawing/2014/main" id="{9E7E88F5-D369-B5E8-346F-19CD58348CD4}"/>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C1A5512B-5BEA-917E-32FE-EA67BB6D091E}"/>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675A382E-848B-532C-6EE1-4DAC99A77161}"/>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8" name="TextBox 7">
            <a:extLst>
              <a:ext uri="{FF2B5EF4-FFF2-40B4-BE49-F238E27FC236}">
                <a16:creationId xmlns:a16="http://schemas.microsoft.com/office/drawing/2014/main" id="{56325CAD-D2AD-A4CC-7581-280CBE85E670}"/>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6" name="Graphic 5">
            <a:extLst>
              <a:ext uri="{FF2B5EF4-FFF2-40B4-BE49-F238E27FC236}">
                <a16:creationId xmlns:a16="http://schemas.microsoft.com/office/drawing/2014/main" id="{06DC2D56-067F-EC34-488A-1D702D2651AB}"/>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657297988"/>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3_Page break V1">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6F4FB24-B868-2FEC-E51E-47DCE4673EEA}"/>
              </a:ext>
            </a:extLst>
          </p:cNvPr>
          <p:cNvGraphicFramePr>
            <a:graphicFrameLocks noChangeAspect="1"/>
          </p:cNvGraphicFramePr>
          <p:nvPr userDrawn="1">
            <p:custDataLst>
              <p:tags r:id="rId1"/>
            </p:custDataLst>
            <p:extLst>
              <p:ext uri="{D42A27DB-BD31-4B8C-83A1-F6EECF244321}">
                <p14:modId xmlns:p14="http://schemas.microsoft.com/office/powerpoint/2010/main" val="3849007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10" name="Object 9" hidden="1">
                        <a:extLst>
                          <a:ext uri="{FF2B5EF4-FFF2-40B4-BE49-F238E27FC236}">
                            <a16:creationId xmlns:a16="http://schemas.microsoft.com/office/drawing/2014/main" id="{B6F4FB24-B868-2FEC-E51E-47DCE4673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2B44DE1-5B88-1E28-48C4-76BD52AC793D}"/>
              </a:ext>
            </a:extLst>
          </p:cNvPr>
          <p:cNvSpPr/>
          <p:nvPr userDrawn="1"/>
        </p:nvSpPr>
        <p:spPr>
          <a:xfrm>
            <a:off x="6085761" y="0"/>
            <a:ext cx="6096003" cy="6858000"/>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E40D5317-E65A-4F79-F4C2-8D8B06290DC6}"/>
              </a:ext>
            </a:extLst>
          </p:cNvPr>
          <p:cNvSpPr/>
          <p:nvPr userDrawn="1"/>
        </p:nvSpPr>
        <p:spPr>
          <a:xfrm>
            <a:off x="6085761" y="3713356"/>
            <a:ext cx="6107828" cy="3144644"/>
          </a:xfrm>
          <a:prstGeom prst="rect">
            <a:avLst/>
          </a:prstGeom>
          <a:gradFill>
            <a:gsLst>
              <a:gs pos="0">
                <a:schemeClr val="accent1">
                  <a:lumMod val="0"/>
                  <a:lumOff val="100000"/>
                  <a:alpha val="0"/>
                </a:schemeClr>
              </a:gs>
              <a:gs pos="100000">
                <a:schemeClr val="bg1">
                  <a:alpha val="8524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3" name="Rectangle 2">
            <a:extLst>
              <a:ext uri="{FF2B5EF4-FFF2-40B4-BE49-F238E27FC236}">
                <a16:creationId xmlns:a16="http://schemas.microsoft.com/office/drawing/2014/main" id="{492562D4-F891-F9B3-9788-67182AD0D261}"/>
              </a:ext>
            </a:extLst>
          </p:cNvPr>
          <p:cNvSpPr/>
          <p:nvPr userDrawn="1"/>
        </p:nvSpPr>
        <p:spPr>
          <a:xfrm>
            <a:off x="-10241" y="0"/>
            <a:ext cx="6096003" cy="688915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7" name="Title 1">
            <a:extLst>
              <a:ext uri="{FF2B5EF4-FFF2-40B4-BE49-F238E27FC236}">
                <a16:creationId xmlns:a16="http://schemas.microsoft.com/office/drawing/2014/main" id="{EA4F68A5-DF04-91DA-0055-7ED762696F8A}"/>
              </a:ext>
            </a:extLst>
          </p:cNvPr>
          <p:cNvSpPr>
            <a:spLocks noGrp="1"/>
          </p:cNvSpPr>
          <p:nvPr>
            <p:ph type="title"/>
          </p:nvPr>
        </p:nvSpPr>
        <p:spPr>
          <a:xfrm>
            <a:off x="565459" y="2260113"/>
            <a:ext cx="5046447" cy="1155783"/>
          </a:xfrm>
          <a:prstGeom prst="rect">
            <a:avLst/>
          </a:prstGeom>
        </p:spPr>
        <p:txBody>
          <a:bodyPr vert="horz" lIns="0" tIns="0" rIns="0" bIns="0"/>
          <a:lstStyle>
            <a:lvl1pPr>
              <a:defRPr sz="4000" b="1" i="0">
                <a:solidFill>
                  <a:schemeClr val="bg1"/>
                </a:solidFill>
                <a:latin typeface="Avenir Next LT Pro" panose="020B0504020202020204" pitchFamily="34" charset="77"/>
              </a:defRPr>
            </a:lvl1pPr>
          </a:lstStyle>
          <a:p>
            <a:r>
              <a:rPr lang="en-US"/>
              <a:t>Click to edit Master title style</a:t>
            </a:r>
          </a:p>
        </p:txBody>
      </p:sp>
      <p:sp>
        <p:nvSpPr>
          <p:cNvPr id="9" name="Text Placeholder 9">
            <a:extLst>
              <a:ext uri="{FF2B5EF4-FFF2-40B4-BE49-F238E27FC236}">
                <a16:creationId xmlns:a16="http://schemas.microsoft.com/office/drawing/2014/main" id="{6A53B07D-6224-E7EC-3DE6-1F2F27446F9E}"/>
              </a:ext>
            </a:extLst>
          </p:cNvPr>
          <p:cNvSpPr>
            <a:spLocks noGrp="1"/>
          </p:cNvSpPr>
          <p:nvPr>
            <p:ph type="body" sz="quarter" idx="12" hasCustomPrompt="1"/>
          </p:nvPr>
        </p:nvSpPr>
        <p:spPr>
          <a:xfrm>
            <a:off x="549242" y="4040923"/>
            <a:ext cx="4897401"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Insert location, place, date, time etc.)</a:t>
            </a:r>
          </a:p>
        </p:txBody>
      </p:sp>
      <p:pic>
        <p:nvPicPr>
          <p:cNvPr id="4" name="Picture 3">
            <a:extLst>
              <a:ext uri="{FF2B5EF4-FFF2-40B4-BE49-F238E27FC236}">
                <a16:creationId xmlns:a16="http://schemas.microsoft.com/office/drawing/2014/main" id="{A3C12F29-3F55-A63B-60AA-CA53BD9AFFA5}"/>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0085945" y="5645576"/>
            <a:ext cx="1211894" cy="577092"/>
          </a:xfrm>
          <a:prstGeom prst="rect">
            <a:avLst/>
          </a:prstGeom>
        </p:spPr>
      </p:pic>
      <p:pic>
        <p:nvPicPr>
          <p:cNvPr id="5" name="Picture 4">
            <a:extLst>
              <a:ext uri="{FF2B5EF4-FFF2-40B4-BE49-F238E27FC236}">
                <a16:creationId xmlns:a16="http://schemas.microsoft.com/office/drawing/2014/main" id="{E6295BF2-2F90-E72C-DD85-ED6F04E1262A}"/>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9770609" y="6347075"/>
            <a:ext cx="1842566" cy="116656"/>
          </a:xfrm>
          <a:prstGeom prst="rect">
            <a:avLst/>
          </a:prstGeom>
        </p:spPr>
      </p:pic>
    </p:spTree>
    <p:extLst>
      <p:ext uri="{BB962C8B-B14F-4D97-AF65-F5344CB8AC3E}">
        <p14:creationId xmlns:p14="http://schemas.microsoft.com/office/powerpoint/2010/main" val="1202702122"/>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userDrawn="1">
  <p:cSld name="2_Left half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F95D9BF-B5A2-7247-9F4C-290817CA94AF}"/>
              </a:ext>
            </a:extLst>
          </p:cNvPr>
          <p:cNvSpPr/>
          <p:nvPr userDrawn="1"/>
        </p:nvSpPr>
        <p:spPr>
          <a:xfrm>
            <a:off x="6096794" y="0"/>
            <a:ext cx="609679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7" name="Picture Placeholder 3"/>
          <p:cNvSpPr>
            <a:spLocks noGrp="1"/>
          </p:cNvSpPr>
          <p:nvPr>
            <p:ph type="pic" sz="quarter" idx="10"/>
          </p:nvPr>
        </p:nvSpPr>
        <p:spPr>
          <a:xfrm>
            <a:off x="0" y="1"/>
            <a:ext cx="6096794" cy="2215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69" y="1924052"/>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4" name="Title 1">
            <a:extLst>
              <a:ext uri="{FF2B5EF4-FFF2-40B4-BE49-F238E27FC236}">
                <a16:creationId xmlns:a16="http://schemas.microsoft.com/office/drawing/2014/main" id="{DA047FE9-9C49-EB6D-2238-A8736778D9BF}"/>
              </a:ext>
            </a:extLst>
          </p:cNvPr>
          <p:cNvSpPr>
            <a:spLocks noGrp="1"/>
          </p:cNvSpPr>
          <p:nvPr>
            <p:ph type="title"/>
          </p:nvPr>
        </p:nvSpPr>
        <p:spPr>
          <a:xfrm>
            <a:off x="6446569" y="552715"/>
            <a:ext cx="5266953" cy="830997"/>
          </a:xfrm>
        </p:spPr>
        <p:txBody>
          <a:bodyPr/>
          <a:lstStyle>
            <a:lvl1pPr>
              <a:defRPr>
                <a:solidFill>
                  <a:schemeClr val="bg1"/>
                </a:solidFill>
              </a:defRPr>
            </a:lvl1pPr>
          </a:lstStyle>
          <a:p>
            <a:r>
              <a:rPr lang="en-US"/>
              <a:t>Click to edit Master title style</a:t>
            </a:r>
          </a:p>
        </p:txBody>
      </p:sp>
      <p:sp>
        <p:nvSpPr>
          <p:cNvPr id="5" name="Text Placeholder 9">
            <a:extLst>
              <a:ext uri="{FF2B5EF4-FFF2-40B4-BE49-F238E27FC236}">
                <a16:creationId xmlns:a16="http://schemas.microsoft.com/office/drawing/2014/main" id="{DEB7BC04-5F36-58FD-B27A-C6E6E6064FD4}"/>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2DC6463-53AF-2341-D32C-EDEAE3A3F7C8}"/>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1"/>
                </a:solidFill>
                <a:latin typeface="Avenir Next LT Pro" panose="020B0504020202020204" pitchFamily="34" charset="77"/>
              </a:rPr>
              <a:pPr algn="r"/>
              <a:t>‹#›</a:t>
            </a:fld>
            <a:endParaRPr lang="en-US" sz="1000" b="0" i="0" spc="40" baseline="0">
              <a:solidFill>
                <a:schemeClr val="tx1"/>
              </a:solidFill>
              <a:latin typeface="Avenir Next LT Pro" panose="020B0504020202020204" pitchFamily="34" charset="77"/>
            </a:endParaRPr>
          </a:p>
        </p:txBody>
      </p:sp>
    </p:spTree>
    <p:extLst>
      <p:ext uri="{BB962C8B-B14F-4D97-AF65-F5344CB8AC3E}">
        <p14:creationId xmlns:p14="http://schemas.microsoft.com/office/powerpoint/2010/main" val="1250856190"/>
      </p:ext>
    </p:extLst>
  </p:cSld>
  <p:clrMapOvr>
    <a:masterClrMapping/>
  </p:clrMapOvr>
  <p:transition spd="slow">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Frontpage V1">
    <p:bg>
      <p:bgPr>
        <a:solidFill>
          <a:schemeClr val="bg1"/>
        </a:solidFill>
        <a:effectLst/>
      </p:bgPr>
    </p:bg>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F743A93A-5C12-3CB4-C00E-E7C2F7B03A02}"/>
              </a:ext>
            </a:extLst>
          </p:cNvPr>
          <p:cNvSpPr>
            <a:spLocks noGrp="1"/>
          </p:cNvSpPr>
          <p:nvPr>
            <p:ph sz="half" idx="1" hasCustomPrompt="1"/>
          </p:nvPr>
        </p:nvSpPr>
        <p:spPr>
          <a:xfrm>
            <a:off x="565459" y="1520707"/>
            <a:ext cx="4084600" cy="3816585"/>
          </a:xfrm>
        </p:spPr>
        <p:txBody>
          <a:bodyPr>
            <a:normAutofit fontScale="92500" lnSpcReduction="20000"/>
          </a:bodyPr>
          <a:lstStyle>
            <a:lvl1pPr>
              <a:defRPr>
                <a:solidFill>
                  <a:schemeClr val="tx1"/>
                </a:solidFill>
              </a:defRPr>
            </a:lvl1pPr>
            <a:lvl2pPr>
              <a:defRPr>
                <a:solidFill>
                  <a:schemeClr val="tx1"/>
                </a:solidFill>
              </a:defRPr>
            </a:lvl2pPr>
          </a:lstStyle>
          <a:p>
            <a:pPr marL="0" indent="0" defTabSz="889000">
              <a:buNone/>
            </a:pPr>
            <a:r>
              <a:rPr lang="en-GB" b="1"/>
              <a:t>01  </a:t>
            </a:r>
            <a:r>
              <a:rPr lang="en-GB"/>
              <a:t>xxx</a:t>
            </a:r>
          </a:p>
          <a:p>
            <a:pPr marL="0" indent="0" defTabSz="889000">
              <a:buNone/>
            </a:pPr>
            <a:r>
              <a:rPr lang="en-GB" b="1"/>
              <a:t>02</a:t>
            </a:r>
            <a:r>
              <a:rPr lang="en-GB"/>
              <a:t>  xxx</a:t>
            </a:r>
          </a:p>
          <a:p>
            <a:pPr lvl="1" defTabSz="889000"/>
            <a:r>
              <a:rPr lang="en-GB" err="1"/>
              <a:t>xxxx</a:t>
            </a:r>
            <a:endParaRPr lang="en-GB"/>
          </a:p>
          <a:p>
            <a:pPr lvl="1" defTabSz="889000"/>
            <a:r>
              <a:rPr lang="en-GB"/>
              <a:t>xxx</a:t>
            </a:r>
          </a:p>
          <a:p>
            <a:pPr lvl="1" defTabSz="889000"/>
            <a:r>
              <a:rPr lang="en-GB"/>
              <a:t>xxx</a:t>
            </a:r>
          </a:p>
          <a:p>
            <a:pPr marL="0" indent="0" defTabSz="898525">
              <a:buNone/>
            </a:pPr>
            <a:r>
              <a:rPr lang="en-GB" b="1"/>
              <a:t>03</a:t>
            </a:r>
            <a:r>
              <a:rPr lang="en-GB"/>
              <a:t>  xxx</a:t>
            </a:r>
          </a:p>
          <a:p>
            <a:pPr marL="0" indent="0" defTabSz="898525">
              <a:buNone/>
            </a:pPr>
            <a:r>
              <a:rPr lang="en-GB" b="1"/>
              <a:t>04</a:t>
            </a:r>
            <a:r>
              <a:rPr lang="en-GB"/>
              <a:t>  xxx</a:t>
            </a:r>
          </a:p>
        </p:txBody>
      </p:sp>
      <p:sp>
        <p:nvSpPr>
          <p:cNvPr id="6" name="Title 1">
            <a:extLst>
              <a:ext uri="{FF2B5EF4-FFF2-40B4-BE49-F238E27FC236}">
                <a16:creationId xmlns:a16="http://schemas.microsoft.com/office/drawing/2014/main" id="{49FB2BD3-6474-3179-E074-EAF6DC6C38EE}"/>
              </a:ext>
            </a:extLst>
          </p:cNvPr>
          <p:cNvSpPr>
            <a:spLocks noGrp="1"/>
          </p:cNvSpPr>
          <p:nvPr>
            <p:ph type="title" hasCustomPrompt="1"/>
          </p:nvPr>
        </p:nvSpPr>
        <p:spPr>
          <a:xfrm>
            <a:off x="565460" y="552715"/>
            <a:ext cx="4084600" cy="430112"/>
          </a:xfrm>
        </p:spPr>
        <p:txBody>
          <a:bodyPr/>
          <a:lstStyle>
            <a:lvl1pPr>
              <a:defRPr>
                <a:solidFill>
                  <a:schemeClr val="tx1"/>
                </a:solidFill>
              </a:defRPr>
            </a:lvl1pPr>
          </a:lstStyle>
          <a:p>
            <a:r>
              <a:rPr lang="en-US"/>
              <a:t>Agenda for today</a:t>
            </a:r>
          </a:p>
        </p:txBody>
      </p:sp>
      <p:sp>
        <p:nvSpPr>
          <p:cNvPr id="2" name="TextBox 1">
            <a:extLst>
              <a:ext uri="{FF2B5EF4-FFF2-40B4-BE49-F238E27FC236}">
                <a16:creationId xmlns:a16="http://schemas.microsoft.com/office/drawing/2014/main" id="{D7B4C8E3-589E-BAF7-1374-B6C0353999D7}"/>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Tree>
    <p:extLst>
      <p:ext uri="{BB962C8B-B14F-4D97-AF65-F5344CB8AC3E}">
        <p14:creationId xmlns:p14="http://schemas.microsoft.com/office/powerpoint/2010/main" val="2247362851"/>
      </p:ext>
    </p:extLst>
  </p:cSld>
  <p:clrMapOvr>
    <a:masterClrMapping/>
  </p:clrMapOvr>
  <p:transition spd="slow">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sp>
        <p:nvSpPr>
          <p:cNvPr id="6" name="Title 8"/>
          <p:cNvSpPr>
            <a:spLocks noGrp="1"/>
          </p:cNvSpPr>
          <p:nvPr>
            <p:ph type="title"/>
          </p:nvPr>
        </p:nvSpPr>
        <p:spPr>
          <a:xfrm>
            <a:off x="838309" y="2385601"/>
            <a:ext cx="10516970" cy="415498"/>
          </a:xfrm>
        </p:spPr>
        <p:txBody>
          <a:bodyPr/>
          <a:lstStyle>
            <a:lvl1pPr algn="ctr">
              <a:defRPr>
                <a:solidFill>
                  <a:schemeClr val="tx2"/>
                </a:solidFill>
              </a:defRPr>
            </a:lvl1pPr>
          </a:lstStyle>
          <a:p>
            <a:r>
              <a:rPr lang="en-US"/>
              <a:t>Click to edit Master title style</a:t>
            </a:r>
          </a:p>
        </p:txBody>
      </p:sp>
      <p:sp>
        <p:nvSpPr>
          <p:cNvPr id="9" name="Text Placeholder 3"/>
          <p:cNvSpPr>
            <a:spLocks noGrp="1"/>
          </p:cNvSpPr>
          <p:nvPr>
            <p:ph type="body" sz="quarter" idx="11"/>
          </p:nvPr>
        </p:nvSpPr>
        <p:spPr>
          <a:xfrm>
            <a:off x="838309" y="3025859"/>
            <a:ext cx="10516970" cy="249299"/>
          </a:xfrm>
          <a:prstGeom prst="rect">
            <a:avLst/>
          </a:prstGeom>
        </p:spPr>
        <p:txBody>
          <a:bodyPr/>
          <a:lstStyle>
            <a:lvl1pPr marL="0" indent="0" algn="ctr">
              <a:buNone/>
              <a:defRPr b="0" i="0">
                <a:solidFill>
                  <a:schemeClr val="tx1"/>
                </a:solidFill>
                <a:latin typeface="Avenir Next LT Pro" panose="020B0504020202020204" pitchFamily="34" charset="77"/>
              </a:defRPr>
            </a:lvl1pPr>
          </a:lstStyle>
          <a:p>
            <a:pPr lvl="0"/>
            <a:r>
              <a:rPr lang="en-US"/>
              <a:t>Click to edit Master text styles</a:t>
            </a:r>
          </a:p>
        </p:txBody>
      </p:sp>
      <p:pic>
        <p:nvPicPr>
          <p:cNvPr id="2" name="Picture 1">
            <a:extLst>
              <a:ext uri="{FF2B5EF4-FFF2-40B4-BE49-F238E27FC236}">
                <a16:creationId xmlns:a16="http://schemas.microsoft.com/office/drawing/2014/main" id="{E6A7C64C-62F4-48F9-877D-B3CB771D857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758642262"/>
      </p:ext>
    </p:extLst>
  </p:cSld>
  <p:clrMapOvr>
    <a:masterClrMapping/>
  </p:clrMapOvr>
  <p:transition spd="slow">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2" name="Title 1">
            <a:extLst>
              <a:ext uri="{FF2B5EF4-FFF2-40B4-BE49-F238E27FC236}">
                <a16:creationId xmlns:a16="http://schemas.microsoft.com/office/drawing/2014/main" id="{083E5FDF-E153-FB83-59F8-C3342050DE2D}"/>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9DD7CAFE-A12E-5475-CF59-1899CB4CCFB7}"/>
              </a:ext>
            </a:extLst>
          </p:cNvPr>
          <p:cNvSpPr>
            <a:spLocks noGrp="1"/>
          </p:cNvSpPr>
          <p:nvPr>
            <p:ph type="body" sz="quarter" idx="11"/>
          </p:nvPr>
        </p:nvSpPr>
        <p:spPr>
          <a:xfrm>
            <a:off x="565459"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F2A6583E-996E-9E75-7882-FF852DCA2D48}"/>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Picture 5">
            <a:extLst>
              <a:ext uri="{FF2B5EF4-FFF2-40B4-BE49-F238E27FC236}">
                <a16:creationId xmlns:a16="http://schemas.microsoft.com/office/drawing/2014/main" id="{D0C64EB0-A7B5-2FF9-8C17-CCBC370693D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506954144"/>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7" name="Rectangle 6">
            <a:extLst>
              <a:ext uri="{FF2B5EF4-FFF2-40B4-BE49-F238E27FC236}">
                <a16:creationId xmlns:a16="http://schemas.microsoft.com/office/drawing/2014/main" id="{9DB270F1-B40D-2246-A956-F1D47E227370}"/>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2" name="Title 1">
            <a:extLst>
              <a:ext uri="{FF2B5EF4-FFF2-40B4-BE49-F238E27FC236}">
                <a16:creationId xmlns:a16="http://schemas.microsoft.com/office/drawing/2014/main" id="{C48E50A3-CD8F-C800-8D64-A2446E516B96}"/>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BEEB4D7A-3FF8-2422-96A4-39526DE5BA7E}"/>
              </a:ext>
            </a:extLst>
          </p:cNvPr>
          <p:cNvSpPr>
            <a:spLocks noGrp="1"/>
          </p:cNvSpPr>
          <p:nvPr>
            <p:ph type="body" sz="quarter" idx="11"/>
          </p:nvPr>
        </p:nvSpPr>
        <p:spPr>
          <a:xfrm>
            <a:off x="565459"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CC426A7C-39F7-A545-D883-51CB79E99304}"/>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Picture 5">
            <a:extLst>
              <a:ext uri="{FF2B5EF4-FFF2-40B4-BE49-F238E27FC236}">
                <a16:creationId xmlns:a16="http://schemas.microsoft.com/office/drawing/2014/main" id="{A9897DBB-8D7A-5251-0917-A3E95461F0B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2360770731"/>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2" name="Rectangle 1">
            <a:extLst>
              <a:ext uri="{FF2B5EF4-FFF2-40B4-BE49-F238E27FC236}">
                <a16:creationId xmlns:a16="http://schemas.microsoft.com/office/drawing/2014/main" id="{13782217-6487-F6BB-01E4-499FC8E30A1F}"/>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3" name="Title 1">
            <a:extLst>
              <a:ext uri="{FF2B5EF4-FFF2-40B4-BE49-F238E27FC236}">
                <a16:creationId xmlns:a16="http://schemas.microsoft.com/office/drawing/2014/main" id="{89549BBD-E8E8-2346-3D50-48B478C393EF}"/>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18774A25-19A6-95AF-8FB4-98DFE8F1382B}"/>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9027F306-9D8C-2F25-FD18-D6EB3DE8FC5D}"/>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Tree>
    <p:extLst>
      <p:ext uri="{BB962C8B-B14F-4D97-AF65-F5344CB8AC3E}">
        <p14:creationId xmlns:p14="http://schemas.microsoft.com/office/powerpoint/2010/main" val="1564376151"/>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s + text">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2" name="Text Placeholder 5"/>
          <p:cNvSpPr>
            <a:spLocks noGrp="1"/>
          </p:cNvSpPr>
          <p:nvPr>
            <p:ph type="body" sz="quarter" idx="12"/>
          </p:nvPr>
        </p:nvSpPr>
        <p:spPr>
          <a:xfrm>
            <a:off x="565458" y="1634067"/>
            <a:ext cx="11029035" cy="457411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3" name="Title 1">
            <a:extLst>
              <a:ext uri="{FF2B5EF4-FFF2-40B4-BE49-F238E27FC236}">
                <a16:creationId xmlns:a16="http://schemas.microsoft.com/office/drawing/2014/main" id="{4320D004-6754-4910-E736-BD1ADFAF98CC}"/>
              </a:ext>
            </a:extLst>
          </p:cNvPr>
          <p:cNvSpPr>
            <a:spLocks noGrp="1"/>
          </p:cNvSpPr>
          <p:nvPr>
            <p:ph type="title"/>
          </p:nvPr>
        </p:nvSpPr>
        <p:spPr>
          <a:xfrm>
            <a:off x="565459" y="552715"/>
            <a:ext cx="10098869"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39C08247-062F-0676-8498-BA3B732A36AC}"/>
              </a:ext>
            </a:extLst>
          </p:cNvPr>
          <p:cNvSpPr>
            <a:spLocks noGrp="1"/>
          </p:cNvSpPr>
          <p:nvPr>
            <p:ph type="body" sz="quarter" idx="11"/>
          </p:nvPr>
        </p:nvSpPr>
        <p:spPr>
          <a:xfrm>
            <a:off x="565459"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151A6EC8-761A-C152-2663-47D998769EFC}"/>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5" name="Picture 4">
            <a:extLst>
              <a:ext uri="{FF2B5EF4-FFF2-40B4-BE49-F238E27FC236}">
                <a16:creationId xmlns:a16="http://schemas.microsoft.com/office/drawing/2014/main" id="{4D26E5FE-679B-F2E6-0917-E3FFC186AE6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288325247"/>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itles +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5DCBE4-2474-E18F-D85B-AD8A02BDAB2C}"/>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3" name="Title 1">
            <a:extLst>
              <a:ext uri="{FF2B5EF4-FFF2-40B4-BE49-F238E27FC236}">
                <a16:creationId xmlns:a16="http://schemas.microsoft.com/office/drawing/2014/main" id="{E0A6DB9D-E6AB-6967-43E9-EE1FC0BE859A}"/>
              </a:ext>
            </a:extLst>
          </p:cNvPr>
          <p:cNvSpPr>
            <a:spLocks noGrp="1"/>
          </p:cNvSpPr>
          <p:nvPr>
            <p:ph type="title"/>
          </p:nvPr>
        </p:nvSpPr>
        <p:spPr>
          <a:xfrm>
            <a:off x="565459" y="552715"/>
            <a:ext cx="10098869"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286C8244-E396-CD67-B252-189D777C81BE}"/>
              </a:ext>
            </a:extLst>
          </p:cNvPr>
          <p:cNvSpPr>
            <a:spLocks noGrp="1"/>
          </p:cNvSpPr>
          <p:nvPr>
            <p:ph type="body" sz="quarter" idx="11"/>
          </p:nvPr>
        </p:nvSpPr>
        <p:spPr>
          <a:xfrm>
            <a:off x="565459"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12" name="Text Placeholder 5"/>
          <p:cNvSpPr>
            <a:spLocks noGrp="1"/>
          </p:cNvSpPr>
          <p:nvPr>
            <p:ph type="body" sz="quarter" idx="12"/>
          </p:nvPr>
        </p:nvSpPr>
        <p:spPr>
          <a:xfrm>
            <a:off x="565458" y="1634067"/>
            <a:ext cx="11029035" cy="457411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5" name="TextBox 4">
            <a:extLst>
              <a:ext uri="{FF2B5EF4-FFF2-40B4-BE49-F238E27FC236}">
                <a16:creationId xmlns:a16="http://schemas.microsoft.com/office/drawing/2014/main" id="{9AE4B553-B7AB-8210-F80F-5BEF4CCCCF0C}"/>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7" name="Picture 6">
            <a:extLst>
              <a:ext uri="{FF2B5EF4-FFF2-40B4-BE49-F238E27FC236}">
                <a16:creationId xmlns:a16="http://schemas.microsoft.com/office/drawing/2014/main" id="{8DF1A7AD-3051-0F55-71B5-7E1E0A970AB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4266035333"/>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with logo">
    <p:spTree>
      <p:nvGrpSpPr>
        <p:cNvPr id="1" name=""/>
        <p:cNvGrpSpPr/>
        <p:nvPr/>
      </p:nvGrpSpPr>
      <p:grpSpPr>
        <a:xfrm>
          <a:off x="0" y="0"/>
          <a:ext cx="0" cy="0"/>
          <a:chOff x="0" y="0"/>
          <a:chExt cx="0" cy="0"/>
        </a:xfrm>
      </p:grpSpPr>
      <p:sp>
        <p:nvSpPr>
          <p:cNvPr id="11" name="TextBox 10"/>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3" name="TextBox 2">
            <a:extLst>
              <a:ext uri="{FF2B5EF4-FFF2-40B4-BE49-F238E27FC236}">
                <a16:creationId xmlns:a16="http://schemas.microsoft.com/office/drawing/2014/main" id="{74007645-3940-90E7-9372-244CB8868E17}"/>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4" name="Picture 3">
            <a:extLst>
              <a:ext uri="{FF2B5EF4-FFF2-40B4-BE49-F238E27FC236}">
                <a16:creationId xmlns:a16="http://schemas.microsoft.com/office/drawing/2014/main" id="{930C7EC0-6ACD-55CB-1462-3BC9BDB08B6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3225097214"/>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images + 2 descriptions">
    <p:spTree>
      <p:nvGrpSpPr>
        <p:cNvPr id="1" name=""/>
        <p:cNvGrpSpPr/>
        <p:nvPr/>
      </p:nvGrpSpPr>
      <p:grpSpPr>
        <a:xfrm>
          <a:off x="0" y="0"/>
          <a:ext cx="0" cy="0"/>
          <a:chOff x="0" y="0"/>
          <a:chExt cx="0" cy="0"/>
        </a:xfrm>
      </p:grpSpPr>
      <p:sp>
        <p:nvSpPr>
          <p:cNvPr id="39" name="Content Placeholder 3">
            <a:extLst>
              <a:ext uri="{FF2B5EF4-FFF2-40B4-BE49-F238E27FC236}">
                <a16:creationId xmlns:a16="http://schemas.microsoft.com/office/drawing/2014/main" id="{C5556837-BDFE-E242-99D1-8166180F539B}"/>
              </a:ext>
            </a:extLst>
          </p:cNvPr>
          <p:cNvSpPr>
            <a:spLocks noGrp="1"/>
          </p:cNvSpPr>
          <p:nvPr>
            <p:ph sz="quarter" idx="18" hasCustomPrompt="1"/>
          </p:nvPr>
        </p:nvSpPr>
        <p:spPr>
          <a:xfrm>
            <a:off x="565459" y="1643744"/>
            <a:ext cx="5813569" cy="4241088"/>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40" name="TextBox 39">
            <a:extLst>
              <a:ext uri="{FF2B5EF4-FFF2-40B4-BE49-F238E27FC236}">
                <a16:creationId xmlns:a16="http://schemas.microsoft.com/office/drawing/2014/main" id="{0048BF0C-D14A-7E47-833B-85CE24AA521B}"/>
              </a:ext>
            </a:extLst>
          </p:cNvPr>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41" name="Text Placeholder 4">
            <a:extLst>
              <a:ext uri="{FF2B5EF4-FFF2-40B4-BE49-F238E27FC236}">
                <a16:creationId xmlns:a16="http://schemas.microsoft.com/office/drawing/2014/main" id="{58350936-F007-3344-A8E4-C14AC8D0D88A}"/>
              </a:ext>
            </a:extLst>
          </p:cNvPr>
          <p:cNvSpPr>
            <a:spLocks noGrp="1"/>
          </p:cNvSpPr>
          <p:nvPr>
            <p:ph type="body" sz="quarter" idx="15"/>
          </p:nvPr>
        </p:nvSpPr>
        <p:spPr>
          <a:xfrm>
            <a:off x="551937" y="6137045"/>
            <a:ext cx="5827091" cy="152349"/>
          </a:xfrm>
          <a:prstGeom prst="rect">
            <a:avLst/>
          </a:prstGeom>
        </p:spPr>
        <p:txBody>
          <a:bodyPr lIns="0" tIns="0" rIns="0" bIns="0"/>
          <a:lstStyle>
            <a:lvl1pPr marL="0" indent="0">
              <a:buNone/>
              <a:defRPr sz="1100" b="0" i="0">
                <a:solidFill>
                  <a:schemeClr val="tx1"/>
                </a:solidFill>
                <a:latin typeface="Avenir Next LT Pro" panose="020B0504020202020204" pitchFamily="34" charset="77"/>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48" name="Content Placeholder 3">
            <a:extLst>
              <a:ext uri="{FF2B5EF4-FFF2-40B4-BE49-F238E27FC236}">
                <a16:creationId xmlns:a16="http://schemas.microsoft.com/office/drawing/2014/main" id="{1E636B30-B043-AE40-B4D1-1440A233CF1B}"/>
              </a:ext>
            </a:extLst>
          </p:cNvPr>
          <p:cNvSpPr>
            <a:spLocks noGrp="1"/>
          </p:cNvSpPr>
          <p:nvPr>
            <p:ph sz="quarter" idx="21" hasCustomPrompt="1"/>
          </p:nvPr>
        </p:nvSpPr>
        <p:spPr>
          <a:xfrm>
            <a:off x="6760029" y="1643744"/>
            <a:ext cx="4822372" cy="2015999"/>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49" name="Text Placeholder 4">
            <a:extLst>
              <a:ext uri="{FF2B5EF4-FFF2-40B4-BE49-F238E27FC236}">
                <a16:creationId xmlns:a16="http://schemas.microsoft.com/office/drawing/2014/main" id="{13317509-5BA7-7B49-B291-1D234B9200C0}"/>
              </a:ext>
            </a:extLst>
          </p:cNvPr>
          <p:cNvSpPr>
            <a:spLocks noGrp="1"/>
          </p:cNvSpPr>
          <p:nvPr>
            <p:ph type="body" sz="quarter" idx="22"/>
          </p:nvPr>
        </p:nvSpPr>
        <p:spPr>
          <a:xfrm>
            <a:off x="6760029" y="6137045"/>
            <a:ext cx="4834352" cy="152349"/>
          </a:xfrm>
          <a:prstGeom prst="rect">
            <a:avLst/>
          </a:prstGeom>
        </p:spPr>
        <p:txBody>
          <a:bodyPr lIns="0" tIns="0" rIns="0" bIns="0"/>
          <a:lstStyle>
            <a:lvl1pPr marL="0" indent="0">
              <a:buNone/>
              <a:defRPr sz="1100" b="0" i="0">
                <a:solidFill>
                  <a:schemeClr val="tx1"/>
                </a:solidFill>
                <a:latin typeface="Avenir Next LT Pro" panose="020B0504020202020204" pitchFamily="34" charset="77"/>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17" name="Content Placeholder 3">
            <a:extLst>
              <a:ext uri="{FF2B5EF4-FFF2-40B4-BE49-F238E27FC236}">
                <a16:creationId xmlns:a16="http://schemas.microsoft.com/office/drawing/2014/main" id="{555198F4-2AED-4042-90ED-D3C7174E0906}"/>
              </a:ext>
            </a:extLst>
          </p:cNvPr>
          <p:cNvSpPr>
            <a:spLocks noGrp="1"/>
          </p:cNvSpPr>
          <p:nvPr>
            <p:ph sz="quarter" idx="23" hasCustomPrompt="1"/>
          </p:nvPr>
        </p:nvSpPr>
        <p:spPr>
          <a:xfrm>
            <a:off x="6760029" y="3868833"/>
            <a:ext cx="4822372" cy="2015999"/>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 name="Title 1">
            <a:extLst>
              <a:ext uri="{FF2B5EF4-FFF2-40B4-BE49-F238E27FC236}">
                <a16:creationId xmlns:a16="http://schemas.microsoft.com/office/drawing/2014/main" id="{A1C802F1-24AD-3A78-7C86-064CB6E48912}"/>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855BFB9C-1F29-A563-18B2-BD4359EBF425}"/>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473329C1-6E5B-4C40-9A11-15766FF1966D}"/>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292EA12C-5836-B803-B30F-EF095C838C0B}"/>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Graphic 3">
            <a:extLst>
              <a:ext uri="{FF2B5EF4-FFF2-40B4-BE49-F238E27FC236}">
                <a16:creationId xmlns:a16="http://schemas.microsoft.com/office/drawing/2014/main" id="{ACA9595A-F64B-321A-EE0A-9B41D4FB0CD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1758912673"/>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0015166"/>
      </p:ext>
    </p:extLst>
  </p:cSld>
  <p:clrMapOvr>
    <a:masterClrMapping/>
  </p:clrMapOvr>
  <p:transition spd="slow">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 image + description">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5" name="Text Placeholder 4"/>
          <p:cNvSpPr>
            <a:spLocks noGrp="1"/>
          </p:cNvSpPr>
          <p:nvPr>
            <p:ph type="body" sz="quarter" idx="15"/>
          </p:nvPr>
        </p:nvSpPr>
        <p:spPr>
          <a:xfrm>
            <a:off x="2600683" y="5753950"/>
            <a:ext cx="6992222"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7" name="Content Placeholder 6"/>
          <p:cNvSpPr>
            <a:spLocks noGrp="1"/>
          </p:cNvSpPr>
          <p:nvPr>
            <p:ph sz="quarter" idx="18" hasCustomPrompt="1"/>
          </p:nvPr>
        </p:nvSpPr>
        <p:spPr>
          <a:xfrm>
            <a:off x="2600683" y="1614956"/>
            <a:ext cx="6992223" cy="3904102"/>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 name="Title 1">
            <a:extLst>
              <a:ext uri="{FF2B5EF4-FFF2-40B4-BE49-F238E27FC236}">
                <a16:creationId xmlns:a16="http://schemas.microsoft.com/office/drawing/2014/main" id="{9E7E88F5-D369-B5E8-346F-19CD58348CD4}"/>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C1A5512B-5BEA-917E-32FE-EA67BB6D091E}"/>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675A382E-848B-532C-6EE1-4DAC99A77161}"/>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8" name="Picture 7">
            <a:extLst>
              <a:ext uri="{FF2B5EF4-FFF2-40B4-BE49-F238E27FC236}">
                <a16:creationId xmlns:a16="http://schemas.microsoft.com/office/drawing/2014/main" id="{D4FFEC07-125E-7CA3-E486-89B17D0B4CE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1857971203"/>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 images + description">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5" name="Text Placeholder 4"/>
          <p:cNvSpPr>
            <a:spLocks noGrp="1"/>
          </p:cNvSpPr>
          <p:nvPr>
            <p:ph type="body" sz="quarter" idx="15"/>
          </p:nvPr>
        </p:nvSpPr>
        <p:spPr>
          <a:xfrm>
            <a:off x="565458" y="5689756"/>
            <a:ext cx="5342777"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7" name="Content Placeholder 6"/>
          <p:cNvSpPr>
            <a:spLocks noGrp="1"/>
          </p:cNvSpPr>
          <p:nvPr>
            <p:ph sz="quarter" idx="18" hasCustomPrompt="1"/>
          </p:nvPr>
        </p:nvSpPr>
        <p:spPr>
          <a:xfrm>
            <a:off x="565459" y="1614955"/>
            <a:ext cx="5342776" cy="3864451"/>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2" name="Text Placeholder 4"/>
          <p:cNvSpPr>
            <a:spLocks noGrp="1"/>
          </p:cNvSpPr>
          <p:nvPr>
            <p:ph type="body" sz="quarter" idx="19"/>
          </p:nvPr>
        </p:nvSpPr>
        <p:spPr>
          <a:xfrm>
            <a:off x="6251604" y="5689756"/>
            <a:ext cx="5342777"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33" name="Content Placeholder 6"/>
          <p:cNvSpPr>
            <a:spLocks noGrp="1"/>
          </p:cNvSpPr>
          <p:nvPr>
            <p:ph sz="quarter" idx="20" hasCustomPrompt="1"/>
          </p:nvPr>
        </p:nvSpPr>
        <p:spPr>
          <a:xfrm>
            <a:off x="6251605" y="1614955"/>
            <a:ext cx="5342776" cy="3864451"/>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 name="Title 1">
            <a:extLst>
              <a:ext uri="{FF2B5EF4-FFF2-40B4-BE49-F238E27FC236}">
                <a16:creationId xmlns:a16="http://schemas.microsoft.com/office/drawing/2014/main" id="{90E6320A-1F87-8EA3-F808-3E4EC991B123}"/>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9A5852C2-3026-2B9A-A292-E9D26B2874D0}"/>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C6B656C-52BA-08CB-942C-1AAFEA03D6B7}"/>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8" name="Picture 7">
            <a:extLst>
              <a:ext uri="{FF2B5EF4-FFF2-40B4-BE49-F238E27FC236}">
                <a16:creationId xmlns:a16="http://schemas.microsoft.com/office/drawing/2014/main" id="{455FCB1D-93D3-D3D5-C7A0-D70E082D3C8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3758933721"/>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 images + descri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887A79-7AC5-5C4A-503C-92DC098B758E}"/>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4" name="Content Placeholder 3"/>
          <p:cNvSpPr>
            <a:spLocks noGrp="1"/>
          </p:cNvSpPr>
          <p:nvPr>
            <p:ph sz="quarter" idx="18" hasCustomPrompt="1"/>
          </p:nvPr>
        </p:nvSpPr>
        <p:spPr>
          <a:xfrm>
            <a:off x="565460"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5" name="Text Placeholder 4"/>
          <p:cNvSpPr>
            <a:spLocks noGrp="1"/>
          </p:cNvSpPr>
          <p:nvPr>
            <p:ph type="body" sz="quarter" idx="15"/>
          </p:nvPr>
        </p:nvSpPr>
        <p:spPr>
          <a:xfrm>
            <a:off x="551937" y="5098406"/>
            <a:ext cx="3529869"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6" name="Content Placeholder 3">
            <a:extLst>
              <a:ext uri="{FF2B5EF4-FFF2-40B4-BE49-F238E27FC236}">
                <a16:creationId xmlns:a16="http://schemas.microsoft.com/office/drawing/2014/main" id="{9E472C2D-B119-1348-ABB7-4B27DBE81FC4}"/>
              </a:ext>
            </a:extLst>
          </p:cNvPr>
          <p:cNvSpPr>
            <a:spLocks noGrp="1"/>
          </p:cNvSpPr>
          <p:nvPr>
            <p:ph sz="quarter" idx="19" hasCustomPrompt="1"/>
          </p:nvPr>
        </p:nvSpPr>
        <p:spPr>
          <a:xfrm>
            <a:off x="4315588"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7" name="Text Placeholder 4">
            <a:extLst>
              <a:ext uri="{FF2B5EF4-FFF2-40B4-BE49-F238E27FC236}">
                <a16:creationId xmlns:a16="http://schemas.microsoft.com/office/drawing/2014/main" id="{6B86DBF1-6757-494E-BB09-B02F75D7942F}"/>
              </a:ext>
            </a:extLst>
          </p:cNvPr>
          <p:cNvSpPr>
            <a:spLocks noGrp="1"/>
          </p:cNvSpPr>
          <p:nvPr>
            <p:ph type="body" sz="quarter" idx="20"/>
          </p:nvPr>
        </p:nvSpPr>
        <p:spPr>
          <a:xfrm>
            <a:off x="4315588" y="5098406"/>
            <a:ext cx="3529869"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8" name="Content Placeholder 3">
            <a:extLst>
              <a:ext uri="{FF2B5EF4-FFF2-40B4-BE49-F238E27FC236}">
                <a16:creationId xmlns:a16="http://schemas.microsoft.com/office/drawing/2014/main" id="{9D47F0CA-7587-3F49-929E-E48CC948FFEF}"/>
              </a:ext>
            </a:extLst>
          </p:cNvPr>
          <p:cNvSpPr>
            <a:spLocks noGrp="1"/>
          </p:cNvSpPr>
          <p:nvPr>
            <p:ph sz="quarter" idx="21" hasCustomPrompt="1"/>
          </p:nvPr>
        </p:nvSpPr>
        <p:spPr>
          <a:xfrm>
            <a:off x="8065717"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9" name="Text Placeholder 4">
            <a:extLst>
              <a:ext uri="{FF2B5EF4-FFF2-40B4-BE49-F238E27FC236}">
                <a16:creationId xmlns:a16="http://schemas.microsoft.com/office/drawing/2014/main" id="{C231C06B-3EE2-A348-A91C-CAFBBAF74FA0}"/>
              </a:ext>
            </a:extLst>
          </p:cNvPr>
          <p:cNvSpPr>
            <a:spLocks noGrp="1"/>
          </p:cNvSpPr>
          <p:nvPr>
            <p:ph type="body" sz="quarter" idx="22"/>
          </p:nvPr>
        </p:nvSpPr>
        <p:spPr>
          <a:xfrm>
            <a:off x="8065717" y="5098406"/>
            <a:ext cx="3529869"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3" name="Title 1">
            <a:extLst>
              <a:ext uri="{FF2B5EF4-FFF2-40B4-BE49-F238E27FC236}">
                <a16:creationId xmlns:a16="http://schemas.microsoft.com/office/drawing/2014/main" id="{DBF411DD-945C-4A72-1FBB-BC99017FA8F9}"/>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6" name="Text Placeholder 9">
            <a:extLst>
              <a:ext uri="{FF2B5EF4-FFF2-40B4-BE49-F238E27FC236}">
                <a16:creationId xmlns:a16="http://schemas.microsoft.com/office/drawing/2014/main" id="{7945EEC3-B051-A336-D42E-3BB3BFCED291}"/>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8" name="TextBox 7">
            <a:extLst>
              <a:ext uri="{FF2B5EF4-FFF2-40B4-BE49-F238E27FC236}">
                <a16:creationId xmlns:a16="http://schemas.microsoft.com/office/drawing/2014/main" id="{18E0ADA8-4CE7-A0B6-7DF3-AD8AA6E44AE0}"/>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9" name="Picture 8">
            <a:extLst>
              <a:ext uri="{FF2B5EF4-FFF2-40B4-BE49-F238E27FC236}">
                <a16:creationId xmlns:a16="http://schemas.microsoft.com/office/drawing/2014/main" id="{CCB64FEE-7063-5A4B-CF11-6C910CD1647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2976036645"/>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 images + 2 descriptions">
    <p:spTree>
      <p:nvGrpSpPr>
        <p:cNvPr id="1" name=""/>
        <p:cNvGrpSpPr/>
        <p:nvPr/>
      </p:nvGrpSpPr>
      <p:grpSpPr>
        <a:xfrm>
          <a:off x="0" y="0"/>
          <a:ext cx="0" cy="0"/>
          <a:chOff x="0" y="0"/>
          <a:chExt cx="0" cy="0"/>
        </a:xfrm>
      </p:grpSpPr>
      <p:sp>
        <p:nvSpPr>
          <p:cNvPr id="39" name="Content Placeholder 3">
            <a:extLst>
              <a:ext uri="{FF2B5EF4-FFF2-40B4-BE49-F238E27FC236}">
                <a16:creationId xmlns:a16="http://schemas.microsoft.com/office/drawing/2014/main" id="{C5556837-BDFE-E242-99D1-8166180F539B}"/>
              </a:ext>
            </a:extLst>
          </p:cNvPr>
          <p:cNvSpPr>
            <a:spLocks noGrp="1"/>
          </p:cNvSpPr>
          <p:nvPr>
            <p:ph sz="quarter" idx="18" hasCustomPrompt="1"/>
          </p:nvPr>
        </p:nvSpPr>
        <p:spPr>
          <a:xfrm>
            <a:off x="565459" y="1643744"/>
            <a:ext cx="5813569" cy="4241088"/>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40" name="TextBox 39">
            <a:extLst>
              <a:ext uri="{FF2B5EF4-FFF2-40B4-BE49-F238E27FC236}">
                <a16:creationId xmlns:a16="http://schemas.microsoft.com/office/drawing/2014/main" id="{0048BF0C-D14A-7E47-833B-85CE24AA521B}"/>
              </a:ext>
            </a:extLst>
          </p:cNvPr>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41" name="Text Placeholder 4">
            <a:extLst>
              <a:ext uri="{FF2B5EF4-FFF2-40B4-BE49-F238E27FC236}">
                <a16:creationId xmlns:a16="http://schemas.microsoft.com/office/drawing/2014/main" id="{58350936-F007-3344-A8E4-C14AC8D0D88A}"/>
              </a:ext>
            </a:extLst>
          </p:cNvPr>
          <p:cNvSpPr>
            <a:spLocks noGrp="1"/>
          </p:cNvSpPr>
          <p:nvPr>
            <p:ph type="body" sz="quarter" idx="15"/>
          </p:nvPr>
        </p:nvSpPr>
        <p:spPr>
          <a:xfrm>
            <a:off x="551937" y="6137045"/>
            <a:ext cx="5827091" cy="152349"/>
          </a:xfrm>
          <a:prstGeom prst="rect">
            <a:avLst/>
          </a:prstGeom>
        </p:spPr>
        <p:txBody>
          <a:bodyPr lIns="0" tIns="0" rIns="0" bIns="0"/>
          <a:lstStyle>
            <a:lvl1pPr marL="0" indent="0">
              <a:buNone/>
              <a:defRPr sz="1100" b="0" i="0">
                <a:solidFill>
                  <a:schemeClr val="tx1"/>
                </a:solidFill>
                <a:latin typeface="Avenir Next LT Pro" panose="020B0504020202020204" pitchFamily="34" charset="77"/>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48" name="Content Placeholder 3">
            <a:extLst>
              <a:ext uri="{FF2B5EF4-FFF2-40B4-BE49-F238E27FC236}">
                <a16:creationId xmlns:a16="http://schemas.microsoft.com/office/drawing/2014/main" id="{1E636B30-B043-AE40-B4D1-1440A233CF1B}"/>
              </a:ext>
            </a:extLst>
          </p:cNvPr>
          <p:cNvSpPr>
            <a:spLocks noGrp="1"/>
          </p:cNvSpPr>
          <p:nvPr>
            <p:ph sz="quarter" idx="21" hasCustomPrompt="1"/>
          </p:nvPr>
        </p:nvSpPr>
        <p:spPr>
          <a:xfrm>
            <a:off x="6760029" y="1643744"/>
            <a:ext cx="4822372" cy="2015999"/>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49" name="Text Placeholder 4">
            <a:extLst>
              <a:ext uri="{FF2B5EF4-FFF2-40B4-BE49-F238E27FC236}">
                <a16:creationId xmlns:a16="http://schemas.microsoft.com/office/drawing/2014/main" id="{13317509-5BA7-7B49-B291-1D234B9200C0}"/>
              </a:ext>
            </a:extLst>
          </p:cNvPr>
          <p:cNvSpPr>
            <a:spLocks noGrp="1"/>
          </p:cNvSpPr>
          <p:nvPr>
            <p:ph type="body" sz="quarter" idx="22"/>
          </p:nvPr>
        </p:nvSpPr>
        <p:spPr>
          <a:xfrm>
            <a:off x="6760029" y="6137045"/>
            <a:ext cx="4834352" cy="152349"/>
          </a:xfrm>
          <a:prstGeom prst="rect">
            <a:avLst/>
          </a:prstGeom>
        </p:spPr>
        <p:txBody>
          <a:bodyPr lIns="0" tIns="0" rIns="0" bIns="0"/>
          <a:lstStyle>
            <a:lvl1pPr marL="0" indent="0">
              <a:buNone/>
              <a:defRPr sz="1100" b="0" i="0">
                <a:solidFill>
                  <a:schemeClr val="tx1"/>
                </a:solidFill>
                <a:latin typeface="Avenir Next LT Pro" panose="020B0504020202020204" pitchFamily="34" charset="77"/>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17" name="Content Placeholder 3">
            <a:extLst>
              <a:ext uri="{FF2B5EF4-FFF2-40B4-BE49-F238E27FC236}">
                <a16:creationId xmlns:a16="http://schemas.microsoft.com/office/drawing/2014/main" id="{555198F4-2AED-4042-90ED-D3C7174E0906}"/>
              </a:ext>
            </a:extLst>
          </p:cNvPr>
          <p:cNvSpPr>
            <a:spLocks noGrp="1"/>
          </p:cNvSpPr>
          <p:nvPr>
            <p:ph sz="quarter" idx="23" hasCustomPrompt="1"/>
          </p:nvPr>
        </p:nvSpPr>
        <p:spPr>
          <a:xfrm>
            <a:off x="6760029" y="3868833"/>
            <a:ext cx="4822372" cy="2015999"/>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 name="Title 1">
            <a:extLst>
              <a:ext uri="{FF2B5EF4-FFF2-40B4-BE49-F238E27FC236}">
                <a16:creationId xmlns:a16="http://schemas.microsoft.com/office/drawing/2014/main" id="{A1C802F1-24AD-3A78-7C86-064CB6E48912}"/>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855BFB9C-1F29-A563-18B2-BD4359EBF425}"/>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473329C1-6E5B-4C40-9A11-15766FF1966D}"/>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Picture 5">
            <a:extLst>
              <a:ext uri="{FF2B5EF4-FFF2-40B4-BE49-F238E27FC236}">
                <a16:creationId xmlns:a16="http://schemas.microsoft.com/office/drawing/2014/main" id="{275173CF-2786-BABB-6285-A4C8786A30F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477031715"/>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4 images + 2 descriptions">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3F2B81F-6CDB-F24D-8286-75432400221E}"/>
              </a:ext>
            </a:extLst>
          </p:cNvPr>
          <p:cNvSpPr/>
          <p:nvPr userDrawn="1"/>
        </p:nvSpPr>
        <p:spPr>
          <a:xfrm>
            <a:off x="0" y="1378193"/>
            <a:ext cx="12193588" cy="554256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14" name="Content Placeholder 3">
            <a:extLst>
              <a:ext uri="{FF2B5EF4-FFF2-40B4-BE49-F238E27FC236}">
                <a16:creationId xmlns:a16="http://schemas.microsoft.com/office/drawing/2014/main" id="{78184602-ED9E-A547-B64C-B428E9D1E2BA}"/>
              </a:ext>
            </a:extLst>
          </p:cNvPr>
          <p:cNvSpPr>
            <a:spLocks noGrp="1"/>
          </p:cNvSpPr>
          <p:nvPr>
            <p:ph sz="quarter" idx="18" hasCustomPrompt="1"/>
          </p:nvPr>
        </p:nvSpPr>
        <p:spPr>
          <a:xfrm>
            <a:off x="553155" y="157268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3" name="Text Placeholder 4">
            <a:extLst>
              <a:ext uri="{FF2B5EF4-FFF2-40B4-BE49-F238E27FC236}">
                <a16:creationId xmlns:a16="http://schemas.microsoft.com/office/drawing/2014/main" id="{6D9F47C3-F248-E446-A670-634F129672B4}"/>
              </a:ext>
            </a:extLst>
          </p:cNvPr>
          <p:cNvSpPr>
            <a:spLocks noGrp="1"/>
          </p:cNvSpPr>
          <p:nvPr>
            <p:ph type="body" sz="quarter" idx="15"/>
          </p:nvPr>
        </p:nvSpPr>
        <p:spPr>
          <a:xfrm>
            <a:off x="553156" y="6170723"/>
            <a:ext cx="5388150"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9" name="Content Placeholder 3">
            <a:extLst>
              <a:ext uri="{FF2B5EF4-FFF2-40B4-BE49-F238E27FC236}">
                <a16:creationId xmlns:a16="http://schemas.microsoft.com/office/drawing/2014/main" id="{DBFE4DB6-4FEC-C543-9EB1-5F14AB473EFC}"/>
              </a:ext>
            </a:extLst>
          </p:cNvPr>
          <p:cNvSpPr>
            <a:spLocks noGrp="1"/>
          </p:cNvSpPr>
          <p:nvPr>
            <p:ph sz="quarter" idx="19" hasCustomPrompt="1"/>
          </p:nvPr>
        </p:nvSpPr>
        <p:spPr>
          <a:xfrm>
            <a:off x="553155" y="386957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0" name="Content Placeholder 3">
            <a:extLst>
              <a:ext uri="{FF2B5EF4-FFF2-40B4-BE49-F238E27FC236}">
                <a16:creationId xmlns:a16="http://schemas.microsoft.com/office/drawing/2014/main" id="{6990879E-A79F-3046-820F-0ED3521D3FBF}"/>
              </a:ext>
            </a:extLst>
          </p:cNvPr>
          <p:cNvSpPr>
            <a:spLocks noGrp="1"/>
          </p:cNvSpPr>
          <p:nvPr>
            <p:ph sz="quarter" idx="20" hasCustomPrompt="1"/>
          </p:nvPr>
        </p:nvSpPr>
        <p:spPr>
          <a:xfrm>
            <a:off x="6224613" y="157268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1" name="Text Placeholder 4">
            <a:extLst>
              <a:ext uri="{FF2B5EF4-FFF2-40B4-BE49-F238E27FC236}">
                <a16:creationId xmlns:a16="http://schemas.microsoft.com/office/drawing/2014/main" id="{D0AD178D-3412-A242-9FCD-611D216F2C6A}"/>
              </a:ext>
            </a:extLst>
          </p:cNvPr>
          <p:cNvSpPr>
            <a:spLocks noGrp="1"/>
          </p:cNvSpPr>
          <p:nvPr>
            <p:ph type="body" sz="quarter" idx="21"/>
          </p:nvPr>
        </p:nvSpPr>
        <p:spPr>
          <a:xfrm>
            <a:off x="6224614" y="6170723"/>
            <a:ext cx="5388150"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32" name="Content Placeholder 3">
            <a:extLst>
              <a:ext uri="{FF2B5EF4-FFF2-40B4-BE49-F238E27FC236}">
                <a16:creationId xmlns:a16="http://schemas.microsoft.com/office/drawing/2014/main" id="{F102D9E7-8CD9-FF47-BD72-00062EAA2C8C}"/>
              </a:ext>
            </a:extLst>
          </p:cNvPr>
          <p:cNvSpPr>
            <a:spLocks noGrp="1"/>
          </p:cNvSpPr>
          <p:nvPr>
            <p:ph sz="quarter" idx="22" hasCustomPrompt="1"/>
          </p:nvPr>
        </p:nvSpPr>
        <p:spPr>
          <a:xfrm>
            <a:off x="6224613" y="386957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 name="Title 1">
            <a:extLst>
              <a:ext uri="{FF2B5EF4-FFF2-40B4-BE49-F238E27FC236}">
                <a16:creationId xmlns:a16="http://schemas.microsoft.com/office/drawing/2014/main" id="{2F104133-4D7E-D456-337C-AAD749B9AF56}"/>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482525F2-8639-91D5-5A92-E03A1FA83782}"/>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1649404D-A47B-3834-7A04-D3603B3FE1B2}"/>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Picture 5">
            <a:extLst>
              <a:ext uri="{FF2B5EF4-FFF2-40B4-BE49-F238E27FC236}">
                <a16:creationId xmlns:a16="http://schemas.microsoft.com/office/drawing/2014/main" id="{65B219DD-3C92-EC97-A2BC-21B588A9C5A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1868896130"/>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6 images + 3 descriptions">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033F5C5-16D7-5349-8E7D-96E1C3D759DD}"/>
              </a:ext>
            </a:extLst>
          </p:cNvPr>
          <p:cNvSpPr/>
          <p:nvPr userDrawn="1"/>
        </p:nvSpPr>
        <p:spPr>
          <a:xfrm>
            <a:off x="0" y="1378193"/>
            <a:ext cx="12193588" cy="554256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14" name="Content Placeholder 3">
            <a:extLst>
              <a:ext uri="{FF2B5EF4-FFF2-40B4-BE49-F238E27FC236}">
                <a16:creationId xmlns:a16="http://schemas.microsoft.com/office/drawing/2014/main" id="{48548963-850E-7645-960B-31854F07CC34}"/>
              </a:ext>
            </a:extLst>
          </p:cNvPr>
          <p:cNvSpPr>
            <a:spLocks noGrp="1"/>
          </p:cNvSpPr>
          <p:nvPr>
            <p:ph sz="quarter" idx="18" hasCustomPrompt="1"/>
          </p:nvPr>
        </p:nvSpPr>
        <p:spPr>
          <a:xfrm>
            <a:off x="553156" y="157268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3" name="Text Placeholder 4">
            <a:extLst>
              <a:ext uri="{FF2B5EF4-FFF2-40B4-BE49-F238E27FC236}">
                <a16:creationId xmlns:a16="http://schemas.microsoft.com/office/drawing/2014/main" id="{0C8C808D-06BD-6347-9DEF-E094B0E9857F}"/>
              </a:ext>
            </a:extLst>
          </p:cNvPr>
          <p:cNvSpPr>
            <a:spLocks noGrp="1"/>
          </p:cNvSpPr>
          <p:nvPr>
            <p:ph type="body" sz="quarter" idx="15"/>
          </p:nvPr>
        </p:nvSpPr>
        <p:spPr>
          <a:xfrm>
            <a:off x="553156" y="6170723"/>
            <a:ext cx="3403643"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5" name="Text Placeholder 4">
            <a:extLst>
              <a:ext uri="{FF2B5EF4-FFF2-40B4-BE49-F238E27FC236}">
                <a16:creationId xmlns:a16="http://schemas.microsoft.com/office/drawing/2014/main" id="{204D55EA-A258-1E4C-A2FC-05363299092D}"/>
              </a:ext>
            </a:extLst>
          </p:cNvPr>
          <p:cNvSpPr>
            <a:spLocks noGrp="1"/>
          </p:cNvSpPr>
          <p:nvPr>
            <p:ph type="body" sz="quarter" idx="16"/>
          </p:nvPr>
        </p:nvSpPr>
        <p:spPr>
          <a:xfrm>
            <a:off x="4363864" y="6170723"/>
            <a:ext cx="3403643"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6" name="Text Placeholder 4">
            <a:extLst>
              <a:ext uri="{FF2B5EF4-FFF2-40B4-BE49-F238E27FC236}">
                <a16:creationId xmlns:a16="http://schemas.microsoft.com/office/drawing/2014/main" id="{71EFA00C-64E9-F849-BD3C-AACA0E678F63}"/>
              </a:ext>
            </a:extLst>
          </p:cNvPr>
          <p:cNvSpPr>
            <a:spLocks noGrp="1"/>
          </p:cNvSpPr>
          <p:nvPr>
            <p:ph type="body" sz="quarter" idx="17"/>
          </p:nvPr>
        </p:nvSpPr>
        <p:spPr>
          <a:xfrm>
            <a:off x="8174573" y="6170723"/>
            <a:ext cx="3403643"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31" name="Content Placeholder 3">
            <a:extLst>
              <a:ext uri="{FF2B5EF4-FFF2-40B4-BE49-F238E27FC236}">
                <a16:creationId xmlns:a16="http://schemas.microsoft.com/office/drawing/2014/main" id="{4CCC79FF-C617-C74F-BF72-F5C76E459D28}"/>
              </a:ext>
            </a:extLst>
          </p:cNvPr>
          <p:cNvSpPr>
            <a:spLocks noGrp="1"/>
          </p:cNvSpPr>
          <p:nvPr>
            <p:ph sz="quarter" idx="19" hasCustomPrompt="1"/>
          </p:nvPr>
        </p:nvSpPr>
        <p:spPr>
          <a:xfrm>
            <a:off x="553156" y="386957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2" name="Content Placeholder 3">
            <a:extLst>
              <a:ext uri="{FF2B5EF4-FFF2-40B4-BE49-F238E27FC236}">
                <a16:creationId xmlns:a16="http://schemas.microsoft.com/office/drawing/2014/main" id="{C862AF82-E3E8-4149-8264-3D55C0745FF3}"/>
              </a:ext>
            </a:extLst>
          </p:cNvPr>
          <p:cNvSpPr>
            <a:spLocks noGrp="1"/>
          </p:cNvSpPr>
          <p:nvPr>
            <p:ph sz="quarter" idx="20" hasCustomPrompt="1"/>
          </p:nvPr>
        </p:nvSpPr>
        <p:spPr>
          <a:xfrm>
            <a:off x="4363864" y="157268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3" name="Content Placeholder 3">
            <a:extLst>
              <a:ext uri="{FF2B5EF4-FFF2-40B4-BE49-F238E27FC236}">
                <a16:creationId xmlns:a16="http://schemas.microsoft.com/office/drawing/2014/main" id="{89C9B33E-10C8-3E4B-B48E-B7D88ED06055}"/>
              </a:ext>
            </a:extLst>
          </p:cNvPr>
          <p:cNvSpPr>
            <a:spLocks noGrp="1"/>
          </p:cNvSpPr>
          <p:nvPr>
            <p:ph sz="quarter" idx="21" hasCustomPrompt="1"/>
          </p:nvPr>
        </p:nvSpPr>
        <p:spPr>
          <a:xfrm>
            <a:off x="4363864" y="386957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4" name="Content Placeholder 3">
            <a:extLst>
              <a:ext uri="{FF2B5EF4-FFF2-40B4-BE49-F238E27FC236}">
                <a16:creationId xmlns:a16="http://schemas.microsoft.com/office/drawing/2014/main" id="{5635AEBB-B1FB-6840-ADCC-1597D1AF3F91}"/>
              </a:ext>
            </a:extLst>
          </p:cNvPr>
          <p:cNvSpPr>
            <a:spLocks noGrp="1"/>
          </p:cNvSpPr>
          <p:nvPr>
            <p:ph sz="quarter" idx="22" hasCustomPrompt="1"/>
          </p:nvPr>
        </p:nvSpPr>
        <p:spPr>
          <a:xfrm>
            <a:off x="8174573" y="157268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5" name="Content Placeholder 3">
            <a:extLst>
              <a:ext uri="{FF2B5EF4-FFF2-40B4-BE49-F238E27FC236}">
                <a16:creationId xmlns:a16="http://schemas.microsoft.com/office/drawing/2014/main" id="{9E3CF042-61F1-6B48-A9AB-9D779D5930C7}"/>
              </a:ext>
            </a:extLst>
          </p:cNvPr>
          <p:cNvSpPr>
            <a:spLocks noGrp="1"/>
          </p:cNvSpPr>
          <p:nvPr>
            <p:ph sz="quarter" idx="23" hasCustomPrompt="1"/>
          </p:nvPr>
        </p:nvSpPr>
        <p:spPr>
          <a:xfrm>
            <a:off x="8174573" y="386957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 name="Title 1">
            <a:extLst>
              <a:ext uri="{FF2B5EF4-FFF2-40B4-BE49-F238E27FC236}">
                <a16:creationId xmlns:a16="http://schemas.microsoft.com/office/drawing/2014/main" id="{112FB729-071E-1871-BA5E-79483A528C42}"/>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500D1A7D-D4EF-9BAB-1744-2BE5E43E5FFA}"/>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6D13B62E-1EE5-3622-9E0A-519228BE4E07}"/>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Picture 5">
            <a:extLst>
              <a:ext uri="{FF2B5EF4-FFF2-40B4-BE49-F238E27FC236}">
                <a16:creationId xmlns:a16="http://schemas.microsoft.com/office/drawing/2014/main" id="{E3AE194E-06E4-F2E8-89FC-806F57CF0BE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1929503191"/>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image left + text right">
    <p:spTree>
      <p:nvGrpSpPr>
        <p:cNvPr id="1" name=""/>
        <p:cNvGrpSpPr/>
        <p:nvPr/>
      </p:nvGrpSpPr>
      <p:grpSpPr>
        <a:xfrm>
          <a:off x="0" y="0"/>
          <a:ext cx="0" cy="0"/>
          <a:chOff x="0" y="0"/>
          <a:chExt cx="0" cy="0"/>
        </a:xfrm>
      </p:grpSpPr>
      <p:sp>
        <p:nvSpPr>
          <p:cNvPr id="17" name="TextBox 16"/>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1" name="Content Placeholder 6"/>
          <p:cNvSpPr>
            <a:spLocks noGrp="1"/>
          </p:cNvSpPr>
          <p:nvPr>
            <p:ph sz="quarter" idx="18" hasCustomPrompt="1"/>
          </p:nvPr>
        </p:nvSpPr>
        <p:spPr>
          <a:xfrm>
            <a:off x="565458" y="1676608"/>
            <a:ext cx="5719896" cy="4519943"/>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15" name="Text Placeholder 2"/>
          <p:cNvSpPr>
            <a:spLocks noGrp="1"/>
          </p:cNvSpPr>
          <p:nvPr>
            <p:ph type="body" sz="quarter" idx="12"/>
          </p:nvPr>
        </p:nvSpPr>
        <p:spPr>
          <a:xfrm>
            <a:off x="6631291" y="1676608"/>
            <a:ext cx="4963090" cy="4519943"/>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80CD31E6-457F-345A-584B-4FD13F51130D}"/>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4376E91E-6700-6F11-61ED-B6004D3C6C8D}"/>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FDDA0F93-8A90-0112-0786-678344CFE135}"/>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Picture 5">
            <a:extLst>
              <a:ext uri="{FF2B5EF4-FFF2-40B4-BE49-F238E27FC236}">
                <a16:creationId xmlns:a16="http://schemas.microsoft.com/office/drawing/2014/main" id="{6577B30B-06E1-A3CA-407C-05533C4E55D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4281223182"/>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image right + text left">
    <p:spTree>
      <p:nvGrpSpPr>
        <p:cNvPr id="1" name=""/>
        <p:cNvGrpSpPr/>
        <p:nvPr/>
      </p:nvGrpSpPr>
      <p:grpSpPr>
        <a:xfrm>
          <a:off x="0" y="0"/>
          <a:ext cx="0" cy="0"/>
          <a:chOff x="0" y="0"/>
          <a:chExt cx="0" cy="0"/>
        </a:xfrm>
      </p:grpSpPr>
      <p:sp>
        <p:nvSpPr>
          <p:cNvPr id="17" name="TextBox 16"/>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3" name="Content Placeholder 6"/>
          <p:cNvSpPr>
            <a:spLocks noGrp="1"/>
          </p:cNvSpPr>
          <p:nvPr>
            <p:ph sz="quarter" idx="18" hasCustomPrompt="1"/>
          </p:nvPr>
        </p:nvSpPr>
        <p:spPr>
          <a:xfrm>
            <a:off x="5868399" y="1676608"/>
            <a:ext cx="5719896" cy="4519943"/>
          </a:xfrm>
          <a:prstGeom prst="rect">
            <a:avLst/>
          </a:prstGeom>
        </p:spPr>
        <p:txBody>
          <a:bodyPr>
            <a:normAutofit/>
          </a:bodyPr>
          <a:lstStyle>
            <a:lvl1pPr marL="0" indent="0">
              <a:buFont typeface="Arial" charset="0"/>
              <a:buNone/>
              <a:defRPr sz="2000"/>
            </a:lvl1pPr>
          </a:lstStyle>
          <a:p>
            <a:r>
              <a:rPr lang="en-US"/>
              <a:t>Insert graph </a:t>
            </a:r>
            <a:r>
              <a:rPr lang="mr-IN"/>
              <a:t>–</a:t>
            </a:r>
            <a:r>
              <a:rPr lang="en-US"/>
              <a:t> Drag picture to placeholder or click on icon </a:t>
            </a:r>
          </a:p>
        </p:txBody>
      </p:sp>
      <p:sp>
        <p:nvSpPr>
          <p:cNvPr id="16" name="Text Placeholder 2"/>
          <p:cNvSpPr>
            <a:spLocks noGrp="1"/>
          </p:cNvSpPr>
          <p:nvPr>
            <p:ph type="body" sz="quarter" idx="12"/>
          </p:nvPr>
        </p:nvSpPr>
        <p:spPr>
          <a:xfrm>
            <a:off x="565460" y="1676608"/>
            <a:ext cx="4963090" cy="4519943"/>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C20DAD90-B4BF-1D5F-D032-10D4F3E8D123}"/>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4D63374E-93AD-26A8-FE04-9A6DBDFE1C4D}"/>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1B07A46E-BDD6-9B21-DCA5-8D8A02B85D1F}"/>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Picture 5">
            <a:extLst>
              <a:ext uri="{FF2B5EF4-FFF2-40B4-BE49-F238E27FC236}">
                <a16:creationId xmlns:a16="http://schemas.microsoft.com/office/drawing/2014/main" id="{56C3C41B-48EF-9DF4-EA99-1586E52DC9D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2682026887"/>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Right half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6096794" y="1"/>
            <a:ext cx="6096794" cy="6857999"/>
          </a:xfrm>
          <a:prstGeom prst="rect">
            <a:avLst/>
          </a:prstGeom>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10" name="Text Placeholder 2"/>
          <p:cNvSpPr>
            <a:spLocks noGrp="1"/>
          </p:cNvSpPr>
          <p:nvPr>
            <p:ph type="body" sz="quarter" idx="12"/>
          </p:nvPr>
        </p:nvSpPr>
        <p:spPr>
          <a:xfrm>
            <a:off x="565224" y="1997776"/>
            <a:ext cx="5266953" cy="4324710"/>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616C7696-1129-ACBF-CBE9-7B0D8A3F8509}"/>
              </a:ext>
            </a:extLst>
          </p:cNvPr>
          <p:cNvSpPr>
            <a:spLocks noGrp="1"/>
          </p:cNvSpPr>
          <p:nvPr>
            <p:ph type="title"/>
          </p:nvPr>
        </p:nvSpPr>
        <p:spPr>
          <a:xfrm>
            <a:off x="565460" y="552715"/>
            <a:ext cx="5064376" cy="830997"/>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6422030B-6CEB-0FAB-8779-819BEDC3ED89}"/>
              </a:ext>
            </a:extLst>
          </p:cNvPr>
          <p:cNvSpPr>
            <a:spLocks noGrp="1"/>
          </p:cNvSpPr>
          <p:nvPr>
            <p:ph type="body" sz="quarter" idx="11"/>
          </p:nvPr>
        </p:nvSpPr>
        <p:spPr>
          <a:xfrm>
            <a:off x="565459" y="1021031"/>
            <a:ext cx="5064377" cy="207134"/>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4" name="Picture 3">
            <a:extLst>
              <a:ext uri="{FF2B5EF4-FFF2-40B4-BE49-F238E27FC236}">
                <a16:creationId xmlns:a16="http://schemas.microsoft.com/office/drawing/2014/main" id="{F95D5B66-2802-F64D-CA99-4B338D62B48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6"/>
            <a:ext cx="1358721" cy="826913"/>
          </a:xfrm>
          <a:prstGeom prst="rect">
            <a:avLst/>
          </a:prstGeom>
        </p:spPr>
      </p:pic>
      <p:sp>
        <p:nvSpPr>
          <p:cNvPr id="5" name="TextBox 4">
            <a:extLst>
              <a:ext uri="{FF2B5EF4-FFF2-40B4-BE49-F238E27FC236}">
                <a16:creationId xmlns:a16="http://schemas.microsoft.com/office/drawing/2014/main" id="{6BD23979-BEBD-2BF8-17AE-82B147276BF9}"/>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Tree>
    <p:extLst>
      <p:ext uri="{BB962C8B-B14F-4D97-AF65-F5344CB8AC3E}">
        <p14:creationId xmlns:p14="http://schemas.microsoft.com/office/powerpoint/2010/main" val="938955959"/>
      </p:ext>
    </p:extLst>
  </p:cSld>
  <p:clrMapOvr>
    <a:masterClrMapping/>
  </p:clrMapOvr>
  <p:transition spd="slow">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images + 2 descriptions">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3F2B81F-6CDB-F24D-8286-75432400221E}"/>
              </a:ext>
            </a:extLst>
          </p:cNvPr>
          <p:cNvSpPr/>
          <p:nvPr userDrawn="1"/>
        </p:nvSpPr>
        <p:spPr>
          <a:xfrm>
            <a:off x="0" y="1378193"/>
            <a:ext cx="12193588" cy="554256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14" name="Content Placeholder 3">
            <a:extLst>
              <a:ext uri="{FF2B5EF4-FFF2-40B4-BE49-F238E27FC236}">
                <a16:creationId xmlns:a16="http://schemas.microsoft.com/office/drawing/2014/main" id="{78184602-ED9E-A547-B64C-B428E9D1E2BA}"/>
              </a:ext>
            </a:extLst>
          </p:cNvPr>
          <p:cNvSpPr>
            <a:spLocks noGrp="1"/>
          </p:cNvSpPr>
          <p:nvPr>
            <p:ph sz="quarter" idx="18" hasCustomPrompt="1"/>
          </p:nvPr>
        </p:nvSpPr>
        <p:spPr>
          <a:xfrm>
            <a:off x="553155" y="157268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3" name="Text Placeholder 4">
            <a:extLst>
              <a:ext uri="{FF2B5EF4-FFF2-40B4-BE49-F238E27FC236}">
                <a16:creationId xmlns:a16="http://schemas.microsoft.com/office/drawing/2014/main" id="{6D9F47C3-F248-E446-A670-634F129672B4}"/>
              </a:ext>
            </a:extLst>
          </p:cNvPr>
          <p:cNvSpPr>
            <a:spLocks noGrp="1"/>
          </p:cNvSpPr>
          <p:nvPr>
            <p:ph type="body" sz="quarter" idx="15"/>
          </p:nvPr>
        </p:nvSpPr>
        <p:spPr>
          <a:xfrm>
            <a:off x="553156" y="6170723"/>
            <a:ext cx="5388150"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9" name="Content Placeholder 3">
            <a:extLst>
              <a:ext uri="{FF2B5EF4-FFF2-40B4-BE49-F238E27FC236}">
                <a16:creationId xmlns:a16="http://schemas.microsoft.com/office/drawing/2014/main" id="{DBFE4DB6-4FEC-C543-9EB1-5F14AB473EFC}"/>
              </a:ext>
            </a:extLst>
          </p:cNvPr>
          <p:cNvSpPr>
            <a:spLocks noGrp="1"/>
          </p:cNvSpPr>
          <p:nvPr>
            <p:ph sz="quarter" idx="19" hasCustomPrompt="1"/>
          </p:nvPr>
        </p:nvSpPr>
        <p:spPr>
          <a:xfrm>
            <a:off x="553155" y="386957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0" name="Content Placeholder 3">
            <a:extLst>
              <a:ext uri="{FF2B5EF4-FFF2-40B4-BE49-F238E27FC236}">
                <a16:creationId xmlns:a16="http://schemas.microsoft.com/office/drawing/2014/main" id="{6990879E-A79F-3046-820F-0ED3521D3FBF}"/>
              </a:ext>
            </a:extLst>
          </p:cNvPr>
          <p:cNvSpPr>
            <a:spLocks noGrp="1"/>
          </p:cNvSpPr>
          <p:nvPr>
            <p:ph sz="quarter" idx="20" hasCustomPrompt="1"/>
          </p:nvPr>
        </p:nvSpPr>
        <p:spPr>
          <a:xfrm>
            <a:off x="6224613" y="157268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1" name="Text Placeholder 4">
            <a:extLst>
              <a:ext uri="{FF2B5EF4-FFF2-40B4-BE49-F238E27FC236}">
                <a16:creationId xmlns:a16="http://schemas.microsoft.com/office/drawing/2014/main" id="{D0AD178D-3412-A242-9FCD-611D216F2C6A}"/>
              </a:ext>
            </a:extLst>
          </p:cNvPr>
          <p:cNvSpPr>
            <a:spLocks noGrp="1"/>
          </p:cNvSpPr>
          <p:nvPr>
            <p:ph type="body" sz="quarter" idx="21"/>
          </p:nvPr>
        </p:nvSpPr>
        <p:spPr>
          <a:xfrm>
            <a:off x="6224614" y="6170723"/>
            <a:ext cx="5388150"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32" name="Content Placeholder 3">
            <a:extLst>
              <a:ext uri="{FF2B5EF4-FFF2-40B4-BE49-F238E27FC236}">
                <a16:creationId xmlns:a16="http://schemas.microsoft.com/office/drawing/2014/main" id="{F102D9E7-8CD9-FF47-BD72-00062EAA2C8C}"/>
              </a:ext>
            </a:extLst>
          </p:cNvPr>
          <p:cNvSpPr>
            <a:spLocks noGrp="1"/>
          </p:cNvSpPr>
          <p:nvPr>
            <p:ph sz="quarter" idx="22" hasCustomPrompt="1"/>
          </p:nvPr>
        </p:nvSpPr>
        <p:spPr>
          <a:xfrm>
            <a:off x="6224613" y="386957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 name="Title 1">
            <a:extLst>
              <a:ext uri="{FF2B5EF4-FFF2-40B4-BE49-F238E27FC236}">
                <a16:creationId xmlns:a16="http://schemas.microsoft.com/office/drawing/2014/main" id="{2F104133-4D7E-D456-337C-AAD749B9AF56}"/>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482525F2-8639-91D5-5A92-E03A1FA83782}"/>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1649404D-A47B-3834-7A04-D3603B3FE1B2}"/>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968A5D60-F214-33D8-BE42-D68156BF52C8}"/>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Graphic 3">
            <a:extLst>
              <a:ext uri="{FF2B5EF4-FFF2-40B4-BE49-F238E27FC236}">
                <a16:creationId xmlns:a16="http://schemas.microsoft.com/office/drawing/2014/main" id="{2EF2D59F-4359-8892-933E-C2DF04D1F9CF}"/>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3774678587"/>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Right half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6096794" y="1"/>
            <a:ext cx="6096794" cy="6857999"/>
          </a:xfrm>
          <a:prstGeom prst="rect">
            <a:avLst/>
          </a:prstGeom>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2" name="Rectangle 1">
            <a:extLst>
              <a:ext uri="{FF2B5EF4-FFF2-40B4-BE49-F238E27FC236}">
                <a16:creationId xmlns:a16="http://schemas.microsoft.com/office/drawing/2014/main" id="{D68DEE52-360F-D14A-9CAE-7B1FA2B9C68A}"/>
              </a:ext>
            </a:extLst>
          </p:cNvPr>
          <p:cNvSpPr/>
          <p:nvPr userDrawn="1"/>
        </p:nvSpPr>
        <p:spPr>
          <a:xfrm>
            <a:off x="0" y="0"/>
            <a:ext cx="609679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10" name="Text Placeholder 2"/>
          <p:cNvSpPr>
            <a:spLocks noGrp="1"/>
          </p:cNvSpPr>
          <p:nvPr>
            <p:ph type="body" sz="quarter" idx="12"/>
          </p:nvPr>
        </p:nvSpPr>
        <p:spPr>
          <a:xfrm>
            <a:off x="565224" y="1997776"/>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Title 1">
            <a:extLst>
              <a:ext uri="{FF2B5EF4-FFF2-40B4-BE49-F238E27FC236}">
                <a16:creationId xmlns:a16="http://schemas.microsoft.com/office/drawing/2014/main" id="{E12170D0-3B32-A0D7-A2D9-F64DF9CDD823}"/>
              </a:ext>
            </a:extLst>
          </p:cNvPr>
          <p:cNvSpPr>
            <a:spLocks noGrp="1"/>
          </p:cNvSpPr>
          <p:nvPr>
            <p:ph type="title"/>
          </p:nvPr>
        </p:nvSpPr>
        <p:spPr>
          <a:xfrm>
            <a:off x="565459" y="552715"/>
            <a:ext cx="5046447" cy="830997"/>
          </a:xfrm>
        </p:spPr>
        <p:txBody>
          <a:bodyPr/>
          <a:lstStyle>
            <a:lvl1pPr>
              <a:defRPr>
                <a:solidFill>
                  <a:schemeClr val="bg1"/>
                </a:solidFill>
              </a:defRPr>
            </a:lvl1pPr>
          </a:lstStyle>
          <a:p>
            <a:r>
              <a:rPr lang="en-US"/>
              <a:t>Click to edit Master title style</a:t>
            </a:r>
          </a:p>
        </p:txBody>
      </p:sp>
      <p:sp>
        <p:nvSpPr>
          <p:cNvPr id="4" name="Text Placeholder 9">
            <a:extLst>
              <a:ext uri="{FF2B5EF4-FFF2-40B4-BE49-F238E27FC236}">
                <a16:creationId xmlns:a16="http://schemas.microsoft.com/office/drawing/2014/main" id="{7C789ED9-BED9-7CDF-19E0-DA293B36E478}"/>
              </a:ext>
            </a:extLst>
          </p:cNvPr>
          <p:cNvSpPr>
            <a:spLocks noGrp="1"/>
          </p:cNvSpPr>
          <p:nvPr>
            <p:ph type="body" sz="quarter" idx="11"/>
          </p:nvPr>
        </p:nvSpPr>
        <p:spPr>
          <a:xfrm>
            <a:off x="565460" y="1021031"/>
            <a:ext cx="5040194"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5" name="Picture 4">
            <a:extLst>
              <a:ext uri="{FF2B5EF4-FFF2-40B4-BE49-F238E27FC236}">
                <a16:creationId xmlns:a16="http://schemas.microsoft.com/office/drawing/2014/main" id="{CD570D53-D6A9-8B3D-6294-1654E6CB465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6"/>
            <a:ext cx="1358721" cy="826913"/>
          </a:xfrm>
          <a:prstGeom prst="rect">
            <a:avLst/>
          </a:prstGeom>
        </p:spPr>
      </p:pic>
      <p:sp>
        <p:nvSpPr>
          <p:cNvPr id="6" name="TextBox 5">
            <a:extLst>
              <a:ext uri="{FF2B5EF4-FFF2-40B4-BE49-F238E27FC236}">
                <a16:creationId xmlns:a16="http://schemas.microsoft.com/office/drawing/2014/main" id="{6E8EDD47-C182-51B1-2C87-4F506A84C49D}"/>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Tree>
    <p:extLst>
      <p:ext uri="{BB962C8B-B14F-4D97-AF65-F5344CB8AC3E}">
        <p14:creationId xmlns:p14="http://schemas.microsoft.com/office/powerpoint/2010/main" val="35390833"/>
      </p:ext>
    </p:extLst>
  </p:cSld>
  <p:clrMapOvr>
    <a:masterClrMapping/>
  </p:clrMapOvr>
  <p:transition spd="slow">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_Left half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0" y="1"/>
            <a:ext cx="6096794" cy="68579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69" y="1924052"/>
            <a:ext cx="5266953" cy="4398433"/>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E3E4F818-3A7D-2AB5-57A3-ED45588D3948}"/>
              </a:ext>
            </a:extLst>
          </p:cNvPr>
          <p:cNvSpPr>
            <a:spLocks noGrp="1"/>
          </p:cNvSpPr>
          <p:nvPr>
            <p:ph type="title"/>
          </p:nvPr>
        </p:nvSpPr>
        <p:spPr>
          <a:xfrm>
            <a:off x="6446569" y="552715"/>
            <a:ext cx="5266953" cy="830997"/>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8A4AE163-B4FC-2BA1-4A79-5AC44435AD0C}"/>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4" name="Picture 3">
            <a:extLst>
              <a:ext uri="{FF2B5EF4-FFF2-40B4-BE49-F238E27FC236}">
                <a16:creationId xmlns:a16="http://schemas.microsoft.com/office/drawing/2014/main" id="{C7E3A211-9B52-F264-6FDC-D3E77A7D400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50197" y="204716"/>
            <a:ext cx="1358721" cy="826913"/>
          </a:xfrm>
          <a:prstGeom prst="rect">
            <a:avLst/>
          </a:prstGeom>
        </p:spPr>
      </p:pic>
      <p:pic>
        <p:nvPicPr>
          <p:cNvPr id="5" name="Picture 4">
            <a:extLst>
              <a:ext uri="{FF2B5EF4-FFF2-40B4-BE49-F238E27FC236}">
                <a16:creationId xmlns:a16="http://schemas.microsoft.com/office/drawing/2014/main" id="{1BC274B4-07B7-5DA0-DF33-F57B9851733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02597" y="357116"/>
            <a:ext cx="1358721" cy="826913"/>
          </a:xfrm>
          <a:prstGeom prst="rect">
            <a:avLst/>
          </a:prstGeom>
        </p:spPr>
      </p:pic>
      <p:sp>
        <p:nvSpPr>
          <p:cNvPr id="8" name="TextBox 7">
            <a:extLst>
              <a:ext uri="{FF2B5EF4-FFF2-40B4-BE49-F238E27FC236}">
                <a16:creationId xmlns:a16="http://schemas.microsoft.com/office/drawing/2014/main" id="{EA7DD7ED-38EA-248E-6A37-DDDBF2A49851}"/>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Tree>
    <p:extLst>
      <p:ext uri="{BB962C8B-B14F-4D97-AF65-F5344CB8AC3E}">
        <p14:creationId xmlns:p14="http://schemas.microsoft.com/office/powerpoint/2010/main" val="2520286297"/>
      </p:ext>
    </p:extLst>
  </p:cSld>
  <p:clrMapOvr>
    <a:masterClrMapping/>
  </p:clrMapOvr>
  <p:transition spd="slow">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Left half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0" y="1"/>
            <a:ext cx="6096794" cy="68579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8" name="Rectangle 7">
            <a:extLst>
              <a:ext uri="{FF2B5EF4-FFF2-40B4-BE49-F238E27FC236}">
                <a16:creationId xmlns:a16="http://schemas.microsoft.com/office/drawing/2014/main" id="{1F95D9BF-B5A2-7247-9F4C-290817CA94AF}"/>
              </a:ext>
            </a:extLst>
          </p:cNvPr>
          <p:cNvSpPr/>
          <p:nvPr userDrawn="1"/>
        </p:nvSpPr>
        <p:spPr>
          <a:xfrm>
            <a:off x="6096794" y="0"/>
            <a:ext cx="609679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6" name="Text Placeholder 2"/>
          <p:cNvSpPr>
            <a:spLocks noGrp="1"/>
          </p:cNvSpPr>
          <p:nvPr>
            <p:ph type="body" sz="quarter" idx="12"/>
          </p:nvPr>
        </p:nvSpPr>
        <p:spPr>
          <a:xfrm>
            <a:off x="6446569" y="1924052"/>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4" name="Title 1">
            <a:extLst>
              <a:ext uri="{FF2B5EF4-FFF2-40B4-BE49-F238E27FC236}">
                <a16:creationId xmlns:a16="http://schemas.microsoft.com/office/drawing/2014/main" id="{DA047FE9-9C49-EB6D-2238-A8736778D9BF}"/>
              </a:ext>
            </a:extLst>
          </p:cNvPr>
          <p:cNvSpPr>
            <a:spLocks noGrp="1"/>
          </p:cNvSpPr>
          <p:nvPr>
            <p:ph type="title"/>
          </p:nvPr>
        </p:nvSpPr>
        <p:spPr>
          <a:xfrm>
            <a:off x="6446569" y="552715"/>
            <a:ext cx="5266953" cy="830997"/>
          </a:xfrm>
        </p:spPr>
        <p:txBody>
          <a:bodyPr/>
          <a:lstStyle>
            <a:lvl1pPr>
              <a:defRPr>
                <a:solidFill>
                  <a:schemeClr val="bg1"/>
                </a:solidFill>
              </a:defRPr>
            </a:lvl1pPr>
          </a:lstStyle>
          <a:p>
            <a:r>
              <a:rPr lang="en-US"/>
              <a:t>Click to edit Master title style</a:t>
            </a:r>
          </a:p>
        </p:txBody>
      </p:sp>
      <p:sp>
        <p:nvSpPr>
          <p:cNvPr id="5" name="Text Placeholder 9">
            <a:extLst>
              <a:ext uri="{FF2B5EF4-FFF2-40B4-BE49-F238E27FC236}">
                <a16:creationId xmlns:a16="http://schemas.microsoft.com/office/drawing/2014/main" id="{DEB7BC04-5F36-58FD-B27A-C6E6E6064FD4}"/>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2DC6463-53AF-2341-D32C-EDEAE3A3F7C8}"/>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Tree>
    <p:extLst>
      <p:ext uri="{BB962C8B-B14F-4D97-AF65-F5344CB8AC3E}">
        <p14:creationId xmlns:p14="http://schemas.microsoft.com/office/powerpoint/2010/main" val="3073902066"/>
      </p:ext>
    </p:extLst>
  </p:cSld>
  <p:clrMapOvr>
    <a:masterClrMapping/>
  </p:clrMapOvr>
  <p:transition spd="slow">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2_Left half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F95D9BF-B5A2-7247-9F4C-290817CA94AF}"/>
              </a:ext>
            </a:extLst>
          </p:cNvPr>
          <p:cNvSpPr/>
          <p:nvPr userDrawn="1"/>
        </p:nvSpPr>
        <p:spPr>
          <a:xfrm>
            <a:off x="6096794" y="0"/>
            <a:ext cx="609679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7" name="Picture Placeholder 3"/>
          <p:cNvSpPr>
            <a:spLocks noGrp="1"/>
          </p:cNvSpPr>
          <p:nvPr>
            <p:ph type="pic" sz="quarter" idx="10"/>
          </p:nvPr>
        </p:nvSpPr>
        <p:spPr>
          <a:xfrm>
            <a:off x="0" y="1"/>
            <a:ext cx="6096794" cy="2215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69" y="1924052"/>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4" name="Title 1">
            <a:extLst>
              <a:ext uri="{FF2B5EF4-FFF2-40B4-BE49-F238E27FC236}">
                <a16:creationId xmlns:a16="http://schemas.microsoft.com/office/drawing/2014/main" id="{DA047FE9-9C49-EB6D-2238-A8736778D9BF}"/>
              </a:ext>
            </a:extLst>
          </p:cNvPr>
          <p:cNvSpPr>
            <a:spLocks noGrp="1"/>
          </p:cNvSpPr>
          <p:nvPr>
            <p:ph type="title"/>
          </p:nvPr>
        </p:nvSpPr>
        <p:spPr>
          <a:xfrm>
            <a:off x="6446569" y="552715"/>
            <a:ext cx="5266953" cy="830997"/>
          </a:xfrm>
        </p:spPr>
        <p:txBody>
          <a:bodyPr/>
          <a:lstStyle>
            <a:lvl1pPr>
              <a:defRPr>
                <a:solidFill>
                  <a:schemeClr val="bg1"/>
                </a:solidFill>
              </a:defRPr>
            </a:lvl1pPr>
          </a:lstStyle>
          <a:p>
            <a:r>
              <a:rPr lang="en-US"/>
              <a:t>Click to edit Master title style</a:t>
            </a:r>
          </a:p>
        </p:txBody>
      </p:sp>
      <p:sp>
        <p:nvSpPr>
          <p:cNvPr id="5" name="Text Placeholder 9">
            <a:extLst>
              <a:ext uri="{FF2B5EF4-FFF2-40B4-BE49-F238E27FC236}">
                <a16:creationId xmlns:a16="http://schemas.microsoft.com/office/drawing/2014/main" id="{DEB7BC04-5F36-58FD-B27A-C6E6E6064FD4}"/>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2DC6463-53AF-2341-D32C-EDEAE3A3F7C8}"/>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1"/>
                </a:solidFill>
                <a:latin typeface="Avenir Next LT Pro" panose="020B0504020202020204" pitchFamily="34" charset="77"/>
              </a:rPr>
              <a:pPr algn="r"/>
              <a:t>‹#›</a:t>
            </a:fld>
            <a:endParaRPr lang="en-US" sz="1000" b="0" i="0" spc="40" baseline="0">
              <a:solidFill>
                <a:schemeClr val="tx1"/>
              </a:solidFill>
              <a:latin typeface="Avenir Next LT Pro" panose="020B0504020202020204" pitchFamily="34" charset="77"/>
            </a:endParaRPr>
          </a:p>
        </p:txBody>
      </p:sp>
    </p:spTree>
    <p:extLst>
      <p:ext uri="{BB962C8B-B14F-4D97-AF65-F5344CB8AC3E}">
        <p14:creationId xmlns:p14="http://schemas.microsoft.com/office/powerpoint/2010/main" val="2602258408"/>
      </p:ext>
    </p:extLst>
  </p:cSld>
  <p:clrMapOvr>
    <a:masterClrMapping/>
  </p:clrMapOvr>
  <p:transition spd="slow">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text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9667546" cy="432802"/>
          </a:xfrm>
        </p:spPr>
        <p:txBody>
          <a:bodyPr wrap="square" bIns="72000" anchor="t" anchorCtr="0">
            <a:spAutoFit/>
          </a:bodyPr>
          <a:lstStyle>
            <a:lvl1pPr algn="l">
              <a:defRPr sz="2600">
                <a:solidFill>
                  <a:schemeClr val="tx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tx1"/>
                </a:solidFill>
              </a:defRPr>
            </a:lvl1pPr>
          </a:lstStyle>
          <a:p>
            <a:fld id="{7C672A5F-9A73-4696-8B65-D76206AADA17}" type="datetime3">
              <a:rPr lang="en-US" smtClean="0"/>
              <a:t>13 May 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6" y="1440000"/>
            <a:ext cx="11161579" cy="468000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6" y="947739"/>
            <a:ext cx="9667546"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pic>
        <p:nvPicPr>
          <p:cNvPr id="3" name="Graphic 2">
            <a:extLst>
              <a:ext uri="{FF2B5EF4-FFF2-40B4-BE49-F238E27FC236}">
                <a16:creationId xmlns:a16="http://schemas.microsoft.com/office/drawing/2014/main" id="{40519E47-9F3F-F3A9-31AE-904A777C7B5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8" name="TextBox 7">
            <a:extLst>
              <a:ext uri="{FF2B5EF4-FFF2-40B4-BE49-F238E27FC236}">
                <a16:creationId xmlns:a16="http://schemas.microsoft.com/office/drawing/2014/main" id="{13EAAA98-9F42-89EB-251F-E2407BF0E1EF}"/>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E2D03E0E-C886-B852-DBBC-B1EE67E02FD6}"/>
              </a:ext>
            </a:extLst>
          </p:cNvPr>
          <p:cNvPicPr>
            <a:picLocks noChangeAspect="1"/>
          </p:cNvPicPr>
          <p:nvPr userDrawn="1"/>
        </p:nvPicPr>
        <p:blipFill>
          <a:blip r:embed="rId3"/>
          <a:stretch>
            <a:fillRect/>
          </a:stretch>
        </p:blipFill>
        <p:spPr>
          <a:xfrm>
            <a:off x="-1032553" y="6043201"/>
            <a:ext cx="338511" cy="456195"/>
          </a:xfrm>
          <a:prstGeom prst="rect">
            <a:avLst/>
          </a:prstGeom>
        </p:spPr>
      </p:pic>
      <p:sp>
        <p:nvSpPr>
          <p:cNvPr id="14" name="TextBox 13">
            <a:extLst>
              <a:ext uri="{FF2B5EF4-FFF2-40B4-BE49-F238E27FC236}">
                <a16:creationId xmlns:a16="http://schemas.microsoft.com/office/drawing/2014/main" id="{278E1554-C664-C8F8-7A19-57AFDE1048A6}"/>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BDCE4B87-659B-36EF-6909-134CE2CFF556}"/>
              </a:ext>
            </a:extLst>
          </p:cNvPr>
          <p:cNvPicPr>
            <a:picLocks noChangeAspect="1"/>
          </p:cNvPicPr>
          <p:nvPr userDrawn="1"/>
        </p:nvPicPr>
        <p:blipFill>
          <a:blip r:embed="rId4"/>
          <a:srcRect t="32177"/>
          <a:stretch/>
        </p:blipFill>
        <p:spPr>
          <a:xfrm>
            <a:off x="-1404595" y="2958349"/>
            <a:ext cx="1082591" cy="836058"/>
          </a:xfrm>
          <a:prstGeom prst="rect">
            <a:avLst/>
          </a:prstGeom>
        </p:spPr>
      </p:pic>
      <p:pic>
        <p:nvPicPr>
          <p:cNvPr id="15" name="Picture 14">
            <a:extLst>
              <a:ext uri="{FF2B5EF4-FFF2-40B4-BE49-F238E27FC236}">
                <a16:creationId xmlns:a16="http://schemas.microsoft.com/office/drawing/2014/main" id="{9E7A2BE9-DBC3-CA1C-0529-1BCE90B2F59A}"/>
              </a:ext>
            </a:extLst>
          </p:cNvPr>
          <p:cNvPicPr>
            <a:picLocks noChangeAspect="1"/>
          </p:cNvPicPr>
          <p:nvPr userDrawn="1"/>
        </p:nvPicPr>
        <p:blipFill>
          <a:blip r:embed="rId5"/>
          <a:stretch>
            <a:fillRect/>
          </a:stretch>
        </p:blipFill>
        <p:spPr>
          <a:xfrm>
            <a:off x="-1082304" y="1940632"/>
            <a:ext cx="438012" cy="204850"/>
          </a:xfrm>
          <a:prstGeom prst="rect">
            <a:avLst/>
          </a:prstGeom>
        </p:spPr>
      </p:pic>
      <p:pic>
        <p:nvPicPr>
          <p:cNvPr id="17" name="Picture 16">
            <a:extLst>
              <a:ext uri="{FF2B5EF4-FFF2-40B4-BE49-F238E27FC236}">
                <a16:creationId xmlns:a16="http://schemas.microsoft.com/office/drawing/2014/main" id="{E35482C6-11FC-E6BA-23B1-6E14ACC8F99D}"/>
              </a:ext>
            </a:extLst>
          </p:cNvPr>
          <p:cNvPicPr>
            <a:picLocks noChangeAspect="1"/>
          </p:cNvPicPr>
          <p:nvPr userDrawn="1"/>
        </p:nvPicPr>
        <p:blipFill>
          <a:blip r:embed="rId6"/>
          <a:stretch>
            <a:fillRect/>
          </a:stretch>
        </p:blipFill>
        <p:spPr>
          <a:xfrm>
            <a:off x="-1019629" y="2663645"/>
            <a:ext cx="312660" cy="201690"/>
          </a:xfrm>
          <a:prstGeom prst="rect">
            <a:avLst/>
          </a:prstGeom>
        </p:spPr>
      </p:pic>
    </p:spTree>
    <p:extLst>
      <p:ext uri="{BB962C8B-B14F-4D97-AF65-F5344CB8AC3E}">
        <p14:creationId xmlns:p14="http://schemas.microsoft.com/office/powerpoint/2010/main" val="32214363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text 2">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9667546" cy="432802"/>
          </a:xfrm>
        </p:spPr>
        <p:txBody>
          <a:bodyPr wrap="square" bIns="72000" anchor="t" anchorCtr="0">
            <a:spAutoFit/>
          </a:bodyPr>
          <a:lstStyle>
            <a:lvl1pPr algn="l">
              <a:defRPr sz="2600">
                <a:solidFill>
                  <a:schemeClr val="bg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45A977C9-6A10-4091-846B-58846FF6EB14}" type="datetime3">
              <a:rPr lang="en-US" smtClean="0"/>
              <a:t>13 May 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4472"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6" y="1440000"/>
            <a:ext cx="11161579" cy="4680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516006" y="947739"/>
            <a:ext cx="9667546"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pic>
        <p:nvPicPr>
          <p:cNvPr id="8" name="Graphic 7">
            <a:extLst>
              <a:ext uri="{FF2B5EF4-FFF2-40B4-BE49-F238E27FC236}">
                <a16:creationId xmlns:a16="http://schemas.microsoft.com/office/drawing/2014/main" id="{DE7E9ABE-598A-ADF0-2DA4-1C6D485A9CD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3" name="TextBox 2">
            <a:extLst>
              <a:ext uri="{FF2B5EF4-FFF2-40B4-BE49-F238E27FC236}">
                <a16:creationId xmlns:a16="http://schemas.microsoft.com/office/drawing/2014/main" id="{63EA4070-EB43-9D65-30CA-C9804AD5109C}"/>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BC0BED3F-3613-064C-77FD-BC16E5E940E7}"/>
              </a:ext>
            </a:extLst>
          </p:cNvPr>
          <p:cNvPicPr>
            <a:picLocks noChangeAspect="1"/>
          </p:cNvPicPr>
          <p:nvPr userDrawn="1"/>
        </p:nvPicPr>
        <p:blipFill>
          <a:blip r:embed="rId3"/>
          <a:stretch>
            <a:fillRect/>
          </a:stretch>
        </p:blipFill>
        <p:spPr>
          <a:xfrm>
            <a:off x="-1032553" y="6043201"/>
            <a:ext cx="338511" cy="456195"/>
          </a:xfrm>
          <a:prstGeom prst="rect">
            <a:avLst/>
          </a:prstGeom>
        </p:spPr>
      </p:pic>
      <p:sp>
        <p:nvSpPr>
          <p:cNvPr id="11" name="TextBox 10">
            <a:extLst>
              <a:ext uri="{FF2B5EF4-FFF2-40B4-BE49-F238E27FC236}">
                <a16:creationId xmlns:a16="http://schemas.microsoft.com/office/drawing/2014/main" id="{35C00226-C226-7DF7-ECE7-E6D8FC036F2C}"/>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0DF3BFF0-19D0-BB88-0AA7-8B56A4FFCEB7}"/>
              </a:ext>
            </a:extLst>
          </p:cNvPr>
          <p:cNvPicPr>
            <a:picLocks noChangeAspect="1"/>
          </p:cNvPicPr>
          <p:nvPr userDrawn="1"/>
        </p:nvPicPr>
        <p:blipFill>
          <a:blip r:embed="rId4"/>
          <a:srcRect t="32177"/>
          <a:stretch/>
        </p:blipFill>
        <p:spPr>
          <a:xfrm>
            <a:off x="-1404595" y="2958349"/>
            <a:ext cx="1082591" cy="836058"/>
          </a:xfrm>
          <a:prstGeom prst="rect">
            <a:avLst/>
          </a:prstGeom>
        </p:spPr>
      </p:pic>
      <p:pic>
        <p:nvPicPr>
          <p:cNvPr id="13" name="Picture 12">
            <a:extLst>
              <a:ext uri="{FF2B5EF4-FFF2-40B4-BE49-F238E27FC236}">
                <a16:creationId xmlns:a16="http://schemas.microsoft.com/office/drawing/2014/main" id="{65C70C1D-B830-BBAF-886E-F45D6EA63ED2}"/>
              </a:ext>
            </a:extLst>
          </p:cNvPr>
          <p:cNvPicPr>
            <a:picLocks noChangeAspect="1"/>
          </p:cNvPicPr>
          <p:nvPr userDrawn="1"/>
        </p:nvPicPr>
        <p:blipFill>
          <a:blip r:embed="rId5"/>
          <a:stretch>
            <a:fillRect/>
          </a:stretch>
        </p:blipFill>
        <p:spPr>
          <a:xfrm>
            <a:off x="-1082304" y="1940632"/>
            <a:ext cx="438012" cy="204850"/>
          </a:xfrm>
          <a:prstGeom prst="rect">
            <a:avLst/>
          </a:prstGeom>
        </p:spPr>
      </p:pic>
      <p:pic>
        <p:nvPicPr>
          <p:cNvPr id="14" name="Picture 13">
            <a:extLst>
              <a:ext uri="{FF2B5EF4-FFF2-40B4-BE49-F238E27FC236}">
                <a16:creationId xmlns:a16="http://schemas.microsoft.com/office/drawing/2014/main" id="{A4181AD0-0906-1111-C77B-CAF9C557BB50}"/>
              </a:ext>
            </a:extLst>
          </p:cNvPr>
          <p:cNvPicPr>
            <a:picLocks noChangeAspect="1"/>
          </p:cNvPicPr>
          <p:nvPr userDrawn="1"/>
        </p:nvPicPr>
        <p:blipFill>
          <a:blip r:embed="rId6"/>
          <a:stretch>
            <a:fillRect/>
          </a:stretch>
        </p:blipFill>
        <p:spPr>
          <a:xfrm>
            <a:off x="-1019629" y="2663645"/>
            <a:ext cx="312660" cy="201690"/>
          </a:xfrm>
          <a:prstGeom prst="rect">
            <a:avLst/>
          </a:prstGeom>
        </p:spPr>
      </p:pic>
    </p:spTree>
    <p:extLst>
      <p:ext uri="{BB962C8B-B14F-4D97-AF65-F5344CB8AC3E}">
        <p14:creationId xmlns:p14="http://schemas.microsoft.com/office/powerpoint/2010/main" val="42853483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text 3">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9667546" cy="432802"/>
          </a:xfrm>
        </p:spPr>
        <p:txBody>
          <a:bodyPr wrap="square" bIns="72000" anchor="t" anchorCtr="0">
            <a:spAutoFit/>
          </a:bodyPr>
          <a:lstStyle>
            <a:lvl1pPr algn="l">
              <a:defRPr sz="2600">
                <a:solidFill>
                  <a:schemeClr val="bg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D5C1C8AF-8D97-4678-AF8D-1EFE5F4F4B2D}" type="datetime3">
              <a:rPr lang="en-US" smtClean="0"/>
              <a:t>13 May 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1" name="Text Placeholder 10">
            <a:extLst>
              <a:ext uri="{FF2B5EF4-FFF2-40B4-BE49-F238E27FC236}">
                <a16:creationId xmlns:a16="http://schemas.microsoft.com/office/drawing/2014/main" id="{16F6AF8C-CD28-9B1A-89E5-3665A88580D0}"/>
              </a:ext>
            </a:extLst>
          </p:cNvPr>
          <p:cNvSpPr>
            <a:spLocks noGrp="1"/>
          </p:cNvSpPr>
          <p:nvPr>
            <p:ph type="body" sz="quarter" idx="13"/>
          </p:nvPr>
        </p:nvSpPr>
        <p:spPr>
          <a:xfrm>
            <a:off x="516006" y="1440000"/>
            <a:ext cx="11161579" cy="4680000"/>
          </a:xfrm>
        </p:spPr>
        <p:txBody>
          <a:bodyPr/>
          <a:lstStyle>
            <a:lvl1pPr>
              <a:buClr>
                <a:schemeClr val="tx1"/>
              </a:buClr>
              <a:defRPr>
                <a:solidFill>
                  <a:schemeClr val="bg1"/>
                </a:solidFill>
              </a:defRPr>
            </a:lvl1pPr>
            <a:lvl2pPr>
              <a:buClr>
                <a:schemeClr val="tx1"/>
              </a:buClr>
              <a:defRPr>
                <a:solidFill>
                  <a:schemeClr val="bg1"/>
                </a:solidFill>
              </a:defRPr>
            </a:lvl2pPr>
            <a:lvl3pPr>
              <a:buClr>
                <a:schemeClr val="tx1"/>
              </a:buClr>
              <a:defRPr>
                <a:solidFill>
                  <a:schemeClr val="bg1"/>
                </a:solidFill>
              </a:defRPr>
            </a:lvl3pPr>
            <a:lvl4pPr>
              <a:buClr>
                <a:schemeClr val="tx1"/>
              </a:buClr>
              <a:defRPr>
                <a:solidFill>
                  <a:schemeClr val="bg1"/>
                </a:solidFill>
              </a:defRPr>
            </a:lvl4pPr>
            <a:lvl5pPr>
              <a:buClr>
                <a:schemeClr val="tx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B1AB3C8C-2F94-C86A-B5FF-5E7CBC8CB745}"/>
              </a:ext>
            </a:extLst>
          </p:cNvPr>
          <p:cNvSpPr>
            <a:spLocks noGrp="1"/>
          </p:cNvSpPr>
          <p:nvPr>
            <p:ph type="body" sz="quarter" idx="26"/>
          </p:nvPr>
        </p:nvSpPr>
        <p:spPr>
          <a:xfrm>
            <a:off x="516006" y="947739"/>
            <a:ext cx="9667546"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pic>
        <p:nvPicPr>
          <p:cNvPr id="8" name="Graphic 7">
            <a:extLst>
              <a:ext uri="{FF2B5EF4-FFF2-40B4-BE49-F238E27FC236}">
                <a16:creationId xmlns:a16="http://schemas.microsoft.com/office/drawing/2014/main" id="{15154D05-DD09-C85A-C5F4-855D6176103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3" name="TextBox 2">
            <a:extLst>
              <a:ext uri="{FF2B5EF4-FFF2-40B4-BE49-F238E27FC236}">
                <a16:creationId xmlns:a16="http://schemas.microsoft.com/office/drawing/2014/main" id="{ABED896B-940B-AE04-DC24-B6C52854C6CE}"/>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4D294566-014C-C114-AC32-857B49B28663}"/>
              </a:ext>
            </a:extLst>
          </p:cNvPr>
          <p:cNvPicPr>
            <a:picLocks noChangeAspect="1"/>
          </p:cNvPicPr>
          <p:nvPr userDrawn="1"/>
        </p:nvPicPr>
        <p:blipFill>
          <a:blip r:embed="rId3"/>
          <a:stretch>
            <a:fillRect/>
          </a:stretch>
        </p:blipFill>
        <p:spPr>
          <a:xfrm>
            <a:off x="-1032553" y="6043201"/>
            <a:ext cx="338511" cy="456195"/>
          </a:xfrm>
          <a:prstGeom prst="rect">
            <a:avLst/>
          </a:prstGeom>
        </p:spPr>
      </p:pic>
      <p:sp>
        <p:nvSpPr>
          <p:cNvPr id="10" name="TextBox 9">
            <a:extLst>
              <a:ext uri="{FF2B5EF4-FFF2-40B4-BE49-F238E27FC236}">
                <a16:creationId xmlns:a16="http://schemas.microsoft.com/office/drawing/2014/main" id="{6A14CC65-8058-744F-A6E3-E81F03C00EDD}"/>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B8379C14-E914-F294-1D65-FE5AA348ADFC}"/>
              </a:ext>
            </a:extLst>
          </p:cNvPr>
          <p:cNvPicPr>
            <a:picLocks noChangeAspect="1"/>
          </p:cNvPicPr>
          <p:nvPr userDrawn="1"/>
        </p:nvPicPr>
        <p:blipFill>
          <a:blip r:embed="rId4"/>
          <a:srcRect t="32177"/>
          <a:stretch/>
        </p:blipFill>
        <p:spPr>
          <a:xfrm>
            <a:off x="-1404595" y="2958349"/>
            <a:ext cx="1082591" cy="836058"/>
          </a:xfrm>
          <a:prstGeom prst="rect">
            <a:avLst/>
          </a:prstGeom>
        </p:spPr>
      </p:pic>
      <p:pic>
        <p:nvPicPr>
          <p:cNvPr id="13" name="Picture 12">
            <a:extLst>
              <a:ext uri="{FF2B5EF4-FFF2-40B4-BE49-F238E27FC236}">
                <a16:creationId xmlns:a16="http://schemas.microsoft.com/office/drawing/2014/main" id="{EB152BD5-62EB-312E-EBF9-F5B9B6047F49}"/>
              </a:ext>
            </a:extLst>
          </p:cNvPr>
          <p:cNvPicPr>
            <a:picLocks noChangeAspect="1"/>
          </p:cNvPicPr>
          <p:nvPr userDrawn="1"/>
        </p:nvPicPr>
        <p:blipFill>
          <a:blip r:embed="rId5"/>
          <a:stretch>
            <a:fillRect/>
          </a:stretch>
        </p:blipFill>
        <p:spPr>
          <a:xfrm>
            <a:off x="-1082304" y="1940632"/>
            <a:ext cx="438012" cy="204850"/>
          </a:xfrm>
          <a:prstGeom prst="rect">
            <a:avLst/>
          </a:prstGeom>
        </p:spPr>
      </p:pic>
      <p:pic>
        <p:nvPicPr>
          <p:cNvPr id="14" name="Picture 13">
            <a:extLst>
              <a:ext uri="{FF2B5EF4-FFF2-40B4-BE49-F238E27FC236}">
                <a16:creationId xmlns:a16="http://schemas.microsoft.com/office/drawing/2014/main" id="{E3E243A9-EC1B-6902-4A12-DF0C224D86A4}"/>
              </a:ext>
            </a:extLst>
          </p:cNvPr>
          <p:cNvPicPr>
            <a:picLocks noChangeAspect="1"/>
          </p:cNvPicPr>
          <p:nvPr userDrawn="1"/>
        </p:nvPicPr>
        <p:blipFill>
          <a:blip r:embed="rId6"/>
          <a:stretch>
            <a:fillRect/>
          </a:stretch>
        </p:blipFill>
        <p:spPr>
          <a:xfrm>
            <a:off x="-1019629" y="2663645"/>
            <a:ext cx="312660" cy="201690"/>
          </a:xfrm>
          <a:prstGeom prst="rect">
            <a:avLst/>
          </a:prstGeom>
        </p:spPr>
      </p:pic>
    </p:spTree>
    <p:extLst>
      <p:ext uri="{BB962C8B-B14F-4D97-AF65-F5344CB8AC3E}">
        <p14:creationId xmlns:p14="http://schemas.microsoft.com/office/powerpoint/2010/main" val="30061055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itle &amp; text - light backgroun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F7AD35-07BE-675A-5EE9-EB28FA6DBF79}"/>
              </a:ext>
            </a:extLst>
          </p:cNvPr>
          <p:cNvSpPr/>
          <p:nvPr userDrawn="1"/>
        </p:nvSpPr>
        <p:spPr>
          <a:xfrm>
            <a:off x="0" y="1440000"/>
            <a:ext cx="12193588" cy="5418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9667546" cy="432802"/>
          </a:xfrm>
        </p:spPr>
        <p:txBody>
          <a:bodyPr wrap="square" bIns="72000" anchor="t" anchorCtr="0">
            <a:spAutoFit/>
          </a:bodyPr>
          <a:lstStyle>
            <a:lvl1pPr algn="l">
              <a:defRPr sz="2600">
                <a:solidFill>
                  <a:schemeClr val="tx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tx1"/>
                </a:solidFill>
              </a:defRPr>
            </a:lvl1pPr>
          </a:lstStyle>
          <a:p>
            <a:fld id="{96EDCF1B-CFFD-4C1E-B7F6-525F0028E887}" type="datetime3">
              <a:rPr lang="en-US" smtClean="0"/>
              <a:t>13 May 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6" y="1656000"/>
            <a:ext cx="11161579" cy="446400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6" y="947739"/>
            <a:ext cx="9667546"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pic>
        <p:nvPicPr>
          <p:cNvPr id="3" name="Picture 2">
            <a:extLst>
              <a:ext uri="{FF2B5EF4-FFF2-40B4-BE49-F238E27FC236}">
                <a16:creationId xmlns:a16="http://schemas.microsoft.com/office/drawing/2014/main" id="{23909168-BBA0-3451-640D-8DE9E144D72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16325844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text - light backgroun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F7AD35-07BE-675A-5EE9-EB28FA6DBF79}"/>
              </a:ext>
            </a:extLst>
          </p:cNvPr>
          <p:cNvSpPr/>
          <p:nvPr userDrawn="1"/>
        </p:nvSpPr>
        <p:spPr>
          <a:xfrm>
            <a:off x="0" y="1440000"/>
            <a:ext cx="12193588" cy="5418000"/>
          </a:xfrm>
          <a:prstGeom prst="rect">
            <a:avLst/>
          </a:prstGeom>
          <a:solidFill>
            <a:srgbClr val="EBF1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9667546" cy="432802"/>
          </a:xfrm>
        </p:spPr>
        <p:txBody>
          <a:bodyPr wrap="square" bIns="72000" anchor="t" anchorCtr="0">
            <a:spAutoFit/>
          </a:bodyPr>
          <a:lstStyle>
            <a:lvl1pPr algn="l">
              <a:defRPr sz="2600">
                <a:solidFill>
                  <a:schemeClr val="tx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tx1"/>
                </a:solidFill>
              </a:defRPr>
            </a:lvl1pPr>
          </a:lstStyle>
          <a:p>
            <a:fld id="{96EDCF1B-CFFD-4C1E-B7F6-525F0028E887}" type="datetime3">
              <a:rPr lang="en-US" smtClean="0"/>
              <a:t>13 May 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6" y="1656000"/>
            <a:ext cx="11161579" cy="446400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6" y="947739"/>
            <a:ext cx="9667546"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11" name="TextBox 10">
            <a:extLst>
              <a:ext uri="{FF2B5EF4-FFF2-40B4-BE49-F238E27FC236}">
                <a16:creationId xmlns:a16="http://schemas.microsoft.com/office/drawing/2014/main" id="{DAC1EDCE-9759-281B-ABFC-9696AC7C51F9}"/>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2" name="Picture 11">
            <a:extLst>
              <a:ext uri="{FF2B5EF4-FFF2-40B4-BE49-F238E27FC236}">
                <a16:creationId xmlns:a16="http://schemas.microsoft.com/office/drawing/2014/main" id="{C8F224C3-3685-9F99-D43B-C0F2BAF60B8E}"/>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3" name="TextBox 12">
            <a:extLst>
              <a:ext uri="{FF2B5EF4-FFF2-40B4-BE49-F238E27FC236}">
                <a16:creationId xmlns:a16="http://schemas.microsoft.com/office/drawing/2014/main" id="{30503A48-5461-7D08-431F-02542CD126A9}"/>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4" name="Picture 13">
            <a:extLst>
              <a:ext uri="{FF2B5EF4-FFF2-40B4-BE49-F238E27FC236}">
                <a16:creationId xmlns:a16="http://schemas.microsoft.com/office/drawing/2014/main" id="{FBFE9543-7CBF-0289-67C7-7B848680BBBF}"/>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5" name="Picture 14">
            <a:extLst>
              <a:ext uri="{FF2B5EF4-FFF2-40B4-BE49-F238E27FC236}">
                <a16:creationId xmlns:a16="http://schemas.microsoft.com/office/drawing/2014/main" id="{2636F492-53C9-6EF4-F9F8-F0677B25A423}"/>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6" name="Picture 15">
            <a:extLst>
              <a:ext uri="{FF2B5EF4-FFF2-40B4-BE49-F238E27FC236}">
                <a16:creationId xmlns:a16="http://schemas.microsoft.com/office/drawing/2014/main" id="{4FE64523-E296-B93F-4467-10EE00D6D7A7}"/>
              </a:ext>
            </a:extLst>
          </p:cNvPr>
          <p:cNvPicPr>
            <a:picLocks noChangeAspect="1"/>
          </p:cNvPicPr>
          <p:nvPr userDrawn="1"/>
        </p:nvPicPr>
        <p:blipFill>
          <a:blip r:embed="rId5"/>
          <a:stretch>
            <a:fillRect/>
          </a:stretch>
        </p:blipFill>
        <p:spPr>
          <a:xfrm>
            <a:off x="-1019629" y="2663645"/>
            <a:ext cx="312660" cy="201690"/>
          </a:xfrm>
          <a:prstGeom prst="rect">
            <a:avLst/>
          </a:prstGeom>
        </p:spPr>
      </p:pic>
      <p:pic>
        <p:nvPicPr>
          <p:cNvPr id="3" name="Picture 2">
            <a:extLst>
              <a:ext uri="{FF2B5EF4-FFF2-40B4-BE49-F238E27FC236}">
                <a16:creationId xmlns:a16="http://schemas.microsoft.com/office/drawing/2014/main" id="{E1BE54A6-E7B2-8D89-22AA-9AB4A7E33C4F}"/>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37669902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text - dark backgroun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F7AD35-07BE-675A-5EE9-EB28FA6DBF79}"/>
              </a:ext>
            </a:extLst>
          </p:cNvPr>
          <p:cNvSpPr/>
          <p:nvPr userDrawn="1"/>
        </p:nvSpPr>
        <p:spPr>
          <a:xfrm>
            <a:off x="0" y="1440000"/>
            <a:ext cx="12193588" cy="541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9667546" cy="432802"/>
          </a:xfrm>
        </p:spPr>
        <p:txBody>
          <a:bodyPr wrap="square" bIns="72000" anchor="t" anchorCtr="0">
            <a:spAutoFit/>
          </a:bodyPr>
          <a:lstStyle>
            <a:lvl1pPr algn="l">
              <a:defRPr sz="2600">
                <a:solidFill>
                  <a:schemeClr val="tx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0F862550-F0C2-4394-9FCD-A3CA705DDA5D}" type="datetime3">
              <a:rPr lang="en-US" smtClean="0"/>
              <a:t>13 May 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4472" y="6494949"/>
            <a:ext cx="374699" cy="153888"/>
          </a:xfrm>
        </p:spPr>
        <p:txBody>
          <a:bodyPr/>
          <a:lstStyle>
            <a:lvl1pPr algn="r">
              <a:defRPr>
                <a:solidFill>
                  <a:schemeClr val="tx2">
                    <a:lumMod val="60000"/>
                    <a:lumOff val="40000"/>
                  </a:schemeClr>
                </a:solidFill>
              </a:defRPr>
            </a:lvl1pPr>
          </a:lstStyle>
          <a:p>
            <a:fld id="{C2F92818-9D0C-420B-84CB-20E21C25F84F}" type="slidenum">
              <a:rPr lang="sv-SE" smtClean="0"/>
              <a:pPr/>
              <a:t>‹#›</a:t>
            </a:fld>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6" y="1656000"/>
            <a:ext cx="11161579" cy="4464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6" y="947739"/>
            <a:ext cx="9667546"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9" name="TextBox 8">
            <a:extLst>
              <a:ext uri="{FF2B5EF4-FFF2-40B4-BE49-F238E27FC236}">
                <a16:creationId xmlns:a16="http://schemas.microsoft.com/office/drawing/2014/main" id="{74C06C06-FBD5-68AB-93E0-39E6BAF78AE4}"/>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2" name="Picture 11">
            <a:extLst>
              <a:ext uri="{FF2B5EF4-FFF2-40B4-BE49-F238E27FC236}">
                <a16:creationId xmlns:a16="http://schemas.microsoft.com/office/drawing/2014/main" id="{25CB06FE-F5E5-80F2-05D3-827D75F5B745}"/>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3" name="TextBox 12">
            <a:extLst>
              <a:ext uri="{FF2B5EF4-FFF2-40B4-BE49-F238E27FC236}">
                <a16:creationId xmlns:a16="http://schemas.microsoft.com/office/drawing/2014/main" id="{1E441848-DB0B-436B-4C8C-48ACBD36CB3D}"/>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4" name="Picture 13">
            <a:extLst>
              <a:ext uri="{FF2B5EF4-FFF2-40B4-BE49-F238E27FC236}">
                <a16:creationId xmlns:a16="http://schemas.microsoft.com/office/drawing/2014/main" id="{34D3F1FB-44CC-2FFF-0F51-1D9057EB18BE}"/>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5" name="Picture 14">
            <a:extLst>
              <a:ext uri="{FF2B5EF4-FFF2-40B4-BE49-F238E27FC236}">
                <a16:creationId xmlns:a16="http://schemas.microsoft.com/office/drawing/2014/main" id="{9C69F818-4B7C-1DF0-394D-0B0F938BD053}"/>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6" name="Picture 15">
            <a:extLst>
              <a:ext uri="{FF2B5EF4-FFF2-40B4-BE49-F238E27FC236}">
                <a16:creationId xmlns:a16="http://schemas.microsoft.com/office/drawing/2014/main" id="{F028DE18-1375-B647-B110-60BC4F4E8B55}"/>
              </a:ext>
            </a:extLst>
          </p:cNvPr>
          <p:cNvPicPr>
            <a:picLocks noChangeAspect="1"/>
          </p:cNvPicPr>
          <p:nvPr userDrawn="1"/>
        </p:nvPicPr>
        <p:blipFill>
          <a:blip r:embed="rId5"/>
          <a:stretch>
            <a:fillRect/>
          </a:stretch>
        </p:blipFill>
        <p:spPr>
          <a:xfrm>
            <a:off x="-1019629" y="2663645"/>
            <a:ext cx="312660" cy="201690"/>
          </a:xfrm>
          <a:prstGeom prst="rect">
            <a:avLst/>
          </a:prstGeom>
        </p:spPr>
      </p:pic>
      <p:pic>
        <p:nvPicPr>
          <p:cNvPr id="3" name="Picture 2">
            <a:extLst>
              <a:ext uri="{FF2B5EF4-FFF2-40B4-BE49-F238E27FC236}">
                <a16:creationId xmlns:a16="http://schemas.microsoft.com/office/drawing/2014/main" id="{06A7A08F-C465-2A4D-8C9E-C404C8C06DD6}"/>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16730390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left + text right">
    <p:spTree>
      <p:nvGrpSpPr>
        <p:cNvPr id="1" name=""/>
        <p:cNvGrpSpPr/>
        <p:nvPr/>
      </p:nvGrpSpPr>
      <p:grpSpPr>
        <a:xfrm>
          <a:off x="0" y="0"/>
          <a:ext cx="0" cy="0"/>
          <a:chOff x="0" y="0"/>
          <a:chExt cx="0" cy="0"/>
        </a:xfrm>
      </p:grpSpPr>
      <p:sp>
        <p:nvSpPr>
          <p:cNvPr id="17" name="TextBox 16"/>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1" name="Content Placeholder 6"/>
          <p:cNvSpPr>
            <a:spLocks noGrp="1"/>
          </p:cNvSpPr>
          <p:nvPr>
            <p:ph sz="quarter" idx="18" hasCustomPrompt="1"/>
          </p:nvPr>
        </p:nvSpPr>
        <p:spPr>
          <a:xfrm>
            <a:off x="565458" y="1676608"/>
            <a:ext cx="5719896" cy="4519943"/>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15" name="Text Placeholder 2"/>
          <p:cNvSpPr>
            <a:spLocks noGrp="1"/>
          </p:cNvSpPr>
          <p:nvPr>
            <p:ph type="body" sz="quarter" idx="12"/>
          </p:nvPr>
        </p:nvSpPr>
        <p:spPr>
          <a:xfrm>
            <a:off x="6631291" y="1676608"/>
            <a:ext cx="4963090" cy="4519943"/>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80CD31E6-457F-345A-584B-4FD13F51130D}"/>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4376E91E-6700-6F11-61ED-B6004D3C6C8D}"/>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FDDA0F93-8A90-0112-0786-678344CFE135}"/>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FA7DFE73-B464-BFF4-B6FB-7DBE2B3902B4}"/>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Graphic 3">
            <a:extLst>
              <a:ext uri="{FF2B5EF4-FFF2-40B4-BE49-F238E27FC236}">
                <a16:creationId xmlns:a16="http://schemas.microsoft.com/office/drawing/2014/main" id="{C52C172D-BED2-10D7-BC4C-EA11F2001F55}"/>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ext &amp; image right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5227881" cy="432802"/>
          </a:xfrm>
        </p:spPr>
        <p:txBody>
          <a:bodyPr wrap="square" bIns="72000" anchor="t" anchorCtr="0">
            <a:spAutoFit/>
          </a:bodyPr>
          <a:lstStyle>
            <a:lvl1pPr algn="l">
              <a:defRPr sz="2600">
                <a:solidFill>
                  <a:schemeClr val="tx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tx1"/>
                </a:solidFill>
              </a:defRPr>
            </a:lvl1pPr>
          </a:lstStyle>
          <a:p>
            <a:fld id="{D5C5C884-F590-45DA-9DF4-2A53BDFB91B5}" type="datetime3">
              <a:rPr lang="en-US" smtClean="0"/>
              <a:t>13 May 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4472"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5" y="1440000"/>
            <a:ext cx="5227881" cy="468000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6" y="947739"/>
            <a:ext cx="5227881"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8" name="Picture Placeholder 15">
            <a:extLst>
              <a:ext uri="{FF2B5EF4-FFF2-40B4-BE49-F238E27FC236}">
                <a16:creationId xmlns:a16="http://schemas.microsoft.com/office/drawing/2014/main" id="{C97B6A17-A79B-2D2E-B5FE-BF99F760DB3B}"/>
              </a:ext>
            </a:extLst>
          </p:cNvPr>
          <p:cNvSpPr>
            <a:spLocks noGrp="1"/>
          </p:cNvSpPr>
          <p:nvPr>
            <p:ph type="pic" sz="quarter" idx="27" hasCustomPrompt="1"/>
          </p:nvPr>
        </p:nvSpPr>
        <p:spPr>
          <a:xfrm>
            <a:off x="6096794" y="0"/>
            <a:ext cx="6096794" cy="6858000"/>
          </a:xfrm>
        </p:spPr>
        <p:txBody>
          <a:bodyPr tIns="504000"/>
          <a:lstStyle>
            <a:lvl1pPr marL="0" indent="0" algn="ctr">
              <a:buNone/>
              <a:defRPr>
                <a:solidFill>
                  <a:schemeClr val="tx1"/>
                </a:solidFill>
              </a:defRPr>
            </a:lvl1pPr>
          </a:lstStyle>
          <a:p>
            <a:r>
              <a:rPr lang="sv-SE" err="1"/>
              <a:t>Click</a:t>
            </a:r>
            <a:r>
              <a:rPr lang="sv-SE"/>
              <a:t> to </a:t>
            </a:r>
            <a:r>
              <a:rPr lang="sv-SE" err="1"/>
              <a:t>insert</a:t>
            </a:r>
            <a:r>
              <a:rPr lang="sv-SE"/>
              <a:t> </a:t>
            </a:r>
            <a:r>
              <a:rPr lang="sv-SE" err="1"/>
              <a:t>picture</a:t>
            </a:r>
            <a:endParaRPr lang="sv-SE"/>
          </a:p>
        </p:txBody>
      </p:sp>
      <p:sp>
        <p:nvSpPr>
          <p:cNvPr id="3" name="TextBox 2">
            <a:extLst>
              <a:ext uri="{FF2B5EF4-FFF2-40B4-BE49-F238E27FC236}">
                <a16:creationId xmlns:a16="http://schemas.microsoft.com/office/drawing/2014/main" id="{84F3970D-5128-14BA-B1FB-5F4F6F624D53}"/>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D00168CC-6D4A-D3D9-D2FB-2068273EE7B8}"/>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1" name="TextBox 10">
            <a:extLst>
              <a:ext uri="{FF2B5EF4-FFF2-40B4-BE49-F238E27FC236}">
                <a16:creationId xmlns:a16="http://schemas.microsoft.com/office/drawing/2014/main" id="{9A653868-CBCA-D554-5074-77C05A70D81D}"/>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9B84FFF2-670D-0134-15EC-875872153D81}"/>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3" name="Picture 12">
            <a:extLst>
              <a:ext uri="{FF2B5EF4-FFF2-40B4-BE49-F238E27FC236}">
                <a16:creationId xmlns:a16="http://schemas.microsoft.com/office/drawing/2014/main" id="{15BE3979-AFCB-5DA2-10C0-817672643630}"/>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4" name="Picture 13">
            <a:extLst>
              <a:ext uri="{FF2B5EF4-FFF2-40B4-BE49-F238E27FC236}">
                <a16:creationId xmlns:a16="http://schemas.microsoft.com/office/drawing/2014/main" id="{507290C6-5BB3-A722-EC2A-571B728C0B39}"/>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5" name="TextBox 14">
            <a:extLst>
              <a:ext uri="{FF2B5EF4-FFF2-40B4-BE49-F238E27FC236}">
                <a16:creationId xmlns:a16="http://schemas.microsoft.com/office/drawing/2014/main" id="{39B20A6E-C3BD-9548-DBF8-B76CC54AFC6E}"/>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32370704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ext &amp; image right - Dark Blue">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A1B5EA6-A0E2-3B9F-59B0-74E42BD02B54}"/>
              </a:ext>
            </a:extLst>
          </p:cNvPr>
          <p:cNvSpPr/>
          <p:nvPr userDrawn="1"/>
        </p:nvSpPr>
        <p:spPr>
          <a:xfrm>
            <a:off x="0" y="0"/>
            <a:ext cx="6096794"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5" y="514350"/>
            <a:ext cx="5227881" cy="432802"/>
          </a:xfrm>
        </p:spPr>
        <p:txBody>
          <a:bodyPr wrap="square" bIns="72000" anchor="t" anchorCtr="0">
            <a:spAutoFit/>
          </a:bodyPr>
          <a:lstStyle>
            <a:lvl1pPr algn="l">
              <a:defRPr sz="2600">
                <a:solidFill>
                  <a:schemeClr val="bg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5244D764-9EC9-472A-9548-0CA3394B89E2}" type="datetime3">
              <a:rPr lang="en-US" smtClean="0"/>
              <a:t>13 May 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5" y="1440000"/>
            <a:ext cx="5227881" cy="4680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516005" y="947739"/>
            <a:ext cx="5227881"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8" name="Picture Placeholder 15">
            <a:extLst>
              <a:ext uri="{FF2B5EF4-FFF2-40B4-BE49-F238E27FC236}">
                <a16:creationId xmlns:a16="http://schemas.microsoft.com/office/drawing/2014/main" id="{D0F135B0-EEDC-1771-A31F-233B18D7E883}"/>
              </a:ext>
            </a:extLst>
          </p:cNvPr>
          <p:cNvSpPr>
            <a:spLocks noGrp="1"/>
          </p:cNvSpPr>
          <p:nvPr>
            <p:ph type="pic" sz="quarter" idx="27" hasCustomPrompt="1"/>
          </p:nvPr>
        </p:nvSpPr>
        <p:spPr>
          <a:xfrm>
            <a:off x="6096794" y="0"/>
            <a:ext cx="6096794" cy="6858000"/>
          </a:xfrm>
        </p:spPr>
        <p:txBody>
          <a:bodyPr tIns="504000"/>
          <a:lstStyle>
            <a:lvl1pPr marL="0" indent="0" algn="ctr">
              <a:buNone/>
              <a:defRPr>
                <a:solidFill>
                  <a:schemeClr val="tx1"/>
                </a:solidFill>
              </a:defRPr>
            </a:lvl1pPr>
          </a:lstStyle>
          <a:p>
            <a:r>
              <a:rPr lang="sv-SE" err="1"/>
              <a:t>Click</a:t>
            </a:r>
            <a:r>
              <a:rPr lang="sv-SE"/>
              <a:t> to </a:t>
            </a:r>
            <a:r>
              <a:rPr lang="sv-SE" err="1"/>
              <a:t>insert</a:t>
            </a:r>
            <a:r>
              <a:rPr lang="sv-SE"/>
              <a:t> </a:t>
            </a:r>
            <a:r>
              <a:rPr lang="sv-SE" err="1"/>
              <a:t>picture</a:t>
            </a:r>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3" name="TextBox 2">
            <a:extLst>
              <a:ext uri="{FF2B5EF4-FFF2-40B4-BE49-F238E27FC236}">
                <a16:creationId xmlns:a16="http://schemas.microsoft.com/office/drawing/2014/main" id="{ABAC40BB-B2C0-10EF-905E-778852D5348D}"/>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1" name="Picture 10">
            <a:extLst>
              <a:ext uri="{FF2B5EF4-FFF2-40B4-BE49-F238E27FC236}">
                <a16:creationId xmlns:a16="http://schemas.microsoft.com/office/drawing/2014/main" id="{B09EEFC4-204E-9065-6674-EEF4F8C023F9}"/>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2" name="TextBox 11">
            <a:extLst>
              <a:ext uri="{FF2B5EF4-FFF2-40B4-BE49-F238E27FC236}">
                <a16:creationId xmlns:a16="http://schemas.microsoft.com/office/drawing/2014/main" id="{812A2870-86FB-3D69-F801-C366E6398B6C}"/>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3" name="Picture 12">
            <a:extLst>
              <a:ext uri="{FF2B5EF4-FFF2-40B4-BE49-F238E27FC236}">
                <a16:creationId xmlns:a16="http://schemas.microsoft.com/office/drawing/2014/main" id="{04D759B6-9C7C-4D35-6158-8272598C3D2B}"/>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4" name="Picture 13">
            <a:extLst>
              <a:ext uri="{FF2B5EF4-FFF2-40B4-BE49-F238E27FC236}">
                <a16:creationId xmlns:a16="http://schemas.microsoft.com/office/drawing/2014/main" id="{9B43CBAE-93F0-D92F-D62C-5611344AE9E2}"/>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5" name="Picture 14">
            <a:extLst>
              <a:ext uri="{FF2B5EF4-FFF2-40B4-BE49-F238E27FC236}">
                <a16:creationId xmlns:a16="http://schemas.microsoft.com/office/drawing/2014/main" id="{F62D5BEB-64F1-78DB-21A4-C65273DBC205}"/>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6" name="TextBox 15">
            <a:extLst>
              <a:ext uri="{FF2B5EF4-FFF2-40B4-BE49-F238E27FC236}">
                <a16:creationId xmlns:a16="http://schemas.microsoft.com/office/drawing/2014/main" id="{3648C5D2-B742-241A-5D34-29DED7EE9141}"/>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42276955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ext &amp; image right - Blue">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A1B5EA6-A0E2-3B9F-59B0-74E42BD02B54}"/>
              </a:ext>
            </a:extLst>
          </p:cNvPr>
          <p:cNvSpPr/>
          <p:nvPr userDrawn="1"/>
        </p:nvSpPr>
        <p:spPr>
          <a:xfrm>
            <a:off x="0" y="0"/>
            <a:ext cx="6096794"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5" y="514350"/>
            <a:ext cx="5227881" cy="432802"/>
          </a:xfrm>
        </p:spPr>
        <p:txBody>
          <a:bodyPr wrap="square" bIns="72000" anchor="t" anchorCtr="0">
            <a:spAutoFit/>
          </a:bodyPr>
          <a:lstStyle>
            <a:lvl1pPr algn="l">
              <a:defRPr sz="2600">
                <a:solidFill>
                  <a:schemeClr val="bg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FD3190D6-8E12-4F1D-A247-9AC2AE2005E4}" type="datetime3">
              <a:rPr lang="en-US" smtClean="0"/>
              <a:t>13 May 2026</a:t>
            </a:fld>
            <a:endParaRPr lang="sv-SE"/>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516005" y="947739"/>
            <a:ext cx="5227881"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8" name="Picture Placeholder 15">
            <a:extLst>
              <a:ext uri="{FF2B5EF4-FFF2-40B4-BE49-F238E27FC236}">
                <a16:creationId xmlns:a16="http://schemas.microsoft.com/office/drawing/2014/main" id="{D0F135B0-EEDC-1771-A31F-233B18D7E883}"/>
              </a:ext>
            </a:extLst>
          </p:cNvPr>
          <p:cNvSpPr>
            <a:spLocks noGrp="1"/>
          </p:cNvSpPr>
          <p:nvPr>
            <p:ph type="pic" sz="quarter" idx="27" hasCustomPrompt="1"/>
          </p:nvPr>
        </p:nvSpPr>
        <p:spPr>
          <a:xfrm>
            <a:off x="6096794" y="0"/>
            <a:ext cx="6096794" cy="6858000"/>
          </a:xfrm>
        </p:spPr>
        <p:txBody>
          <a:bodyPr tIns="504000"/>
          <a:lstStyle>
            <a:lvl1pPr marL="0" indent="0" algn="ctr">
              <a:buNone/>
              <a:defRPr>
                <a:solidFill>
                  <a:schemeClr val="tx1"/>
                </a:solidFill>
              </a:defRPr>
            </a:lvl1pPr>
          </a:lstStyle>
          <a:p>
            <a:r>
              <a:rPr lang="sv-SE" err="1"/>
              <a:t>Click</a:t>
            </a:r>
            <a:r>
              <a:rPr lang="sv-SE"/>
              <a:t> to </a:t>
            </a:r>
            <a:r>
              <a:rPr lang="sv-SE" err="1"/>
              <a:t>insert</a:t>
            </a:r>
            <a:r>
              <a:rPr lang="sv-SE"/>
              <a:t> </a:t>
            </a:r>
            <a:r>
              <a:rPr lang="sv-SE" err="1"/>
              <a:t>picture</a:t>
            </a:r>
            <a:endParaRPr lang="sv-SE"/>
          </a:p>
        </p:txBody>
      </p:sp>
      <p:sp>
        <p:nvSpPr>
          <p:cNvPr id="3" name="Text Placeholder 10">
            <a:extLst>
              <a:ext uri="{FF2B5EF4-FFF2-40B4-BE49-F238E27FC236}">
                <a16:creationId xmlns:a16="http://schemas.microsoft.com/office/drawing/2014/main" id="{6A3C0ADC-D3F8-0ACF-ADBE-55F01C3C17D2}"/>
              </a:ext>
            </a:extLst>
          </p:cNvPr>
          <p:cNvSpPr>
            <a:spLocks noGrp="1"/>
          </p:cNvSpPr>
          <p:nvPr>
            <p:ph type="body" sz="quarter" idx="13"/>
          </p:nvPr>
        </p:nvSpPr>
        <p:spPr>
          <a:xfrm>
            <a:off x="516005" y="1440000"/>
            <a:ext cx="5227881" cy="4680000"/>
          </a:xfrm>
        </p:spPr>
        <p:txBody>
          <a:bodyPr/>
          <a:lstStyle>
            <a:lvl1pPr>
              <a:buClr>
                <a:schemeClr val="tx1"/>
              </a:buClr>
              <a:defRPr>
                <a:solidFill>
                  <a:schemeClr val="bg1"/>
                </a:solidFill>
              </a:defRPr>
            </a:lvl1pPr>
            <a:lvl2pPr>
              <a:buClr>
                <a:schemeClr val="tx1"/>
              </a:buClr>
              <a:defRPr>
                <a:solidFill>
                  <a:schemeClr val="bg1"/>
                </a:solidFill>
              </a:defRPr>
            </a:lvl2pPr>
            <a:lvl3pPr>
              <a:buClr>
                <a:schemeClr val="tx1"/>
              </a:buClr>
              <a:defRPr>
                <a:solidFill>
                  <a:schemeClr val="bg1"/>
                </a:solidFill>
              </a:defRPr>
            </a:lvl3pPr>
            <a:lvl4pPr>
              <a:buClr>
                <a:schemeClr val="tx1"/>
              </a:buClr>
              <a:defRPr>
                <a:solidFill>
                  <a:schemeClr val="bg1"/>
                </a:solidFill>
              </a:defRPr>
            </a:lvl4pPr>
            <a:lvl5pPr>
              <a:buClr>
                <a:schemeClr val="tx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0" name="TextBox 9">
            <a:extLst>
              <a:ext uri="{FF2B5EF4-FFF2-40B4-BE49-F238E27FC236}">
                <a16:creationId xmlns:a16="http://schemas.microsoft.com/office/drawing/2014/main" id="{40F7BCEA-786B-1E47-4D8D-445368937DEF}"/>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1" name="Picture 10">
            <a:extLst>
              <a:ext uri="{FF2B5EF4-FFF2-40B4-BE49-F238E27FC236}">
                <a16:creationId xmlns:a16="http://schemas.microsoft.com/office/drawing/2014/main" id="{42EBC80B-FFC8-63EC-3483-CCCBB03639BA}"/>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2" name="TextBox 11">
            <a:extLst>
              <a:ext uri="{FF2B5EF4-FFF2-40B4-BE49-F238E27FC236}">
                <a16:creationId xmlns:a16="http://schemas.microsoft.com/office/drawing/2014/main" id="{C3C5CC40-030E-E498-AE51-304BCA04028A}"/>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3" name="Picture 12">
            <a:extLst>
              <a:ext uri="{FF2B5EF4-FFF2-40B4-BE49-F238E27FC236}">
                <a16:creationId xmlns:a16="http://schemas.microsoft.com/office/drawing/2014/main" id="{F38ECD07-5F8E-E6BB-33DF-9C47A442A8D1}"/>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4" name="Picture 13">
            <a:extLst>
              <a:ext uri="{FF2B5EF4-FFF2-40B4-BE49-F238E27FC236}">
                <a16:creationId xmlns:a16="http://schemas.microsoft.com/office/drawing/2014/main" id="{3AD37D10-6302-26BF-510E-8F6B8DFA09FC}"/>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5" name="Picture 14">
            <a:extLst>
              <a:ext uri="{FF2B5EF4-FFF2-40B4-BE49-F238E27FC236}">
                <a16:creationId xmlns:a16="http://schemas.microsoft.com/office/drawing/2014/main" id="{8E75B961-9E27-334D-7850-EA738C3B36E0}"/>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6" name="TextBox 15">
            <a:extLst>
              <a:ext uri="{FF2B5EF4-FFF2-40B4-BE49-F238E27FC236}">
                <a16:creationId xmlns:a16="http://schemas.microsoft.com/office/drawing/2014/main" id="{21A29A72-56D0-4EDE-5C46-7C807527CC61}"/>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23124705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ext &amp; image left - White">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id="{C97B6A17-A79B-2D2E-B5FE-BF99F760DB3B}"/>
              </a:ext>
            </a:extLst>
          </p:cNvPr>
          <p:cNvSpPr>
            <a:spLocks noGrp="1"/>
          </p:cNvSpPr>
          <p:nvPr>
            <p:ph type="pic" sz="quarter" idx="27" hasCustomPrompt="1"/>
          </p:nvPr>
        </p:nvSpPr>
        <p:spPr>
          <a:xfrm>
            <a:off x="0" y="0"/>
            <a:ext cx="6096794" cy="6858000"/>
          </a:xfrm>
        </p:spPr>
        <p:txBody>
          <a:bodyPr tIns="504000"/>
          <a:lstStyle>
            <a:lvl1pPr marL="0" indent="0" algn="ctr">
              <a:buNone/>
              <a:defRPr>
                <a:solidFill>
                  <a:schemeClr val="tx1"/>
                </a:solidFill>
              </a:defRPr>
            </a:lvl1pPr>
          </a:lstStyle>
          <a:p>
            <a:r>
              <a:rPr lang="en-GB" noProof="0"/>
              <a:t>Click to insert picture</a:t>
            </a:r>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6610461" y="514350"/>
            <a:ext cx="5069460" cy="432802"/>
          </a:xfrm>
        </p:spPr>
        <p:txBody>
          <a:bodyPr wrap="square" bIns="72000" anchor="t" anchorCtr="0">
            <a:spAutoFit/>
          </a:bodyPr>
          <a:lstStyle>
            <a:lvl1pPr algn="l">
              <a:defRPr sz="2600">
                <a:solidFill>
                  <a:schemeClr val="tx1"/>
                </a:solidFill>
              </a:defRPr>
            </a:lvl1pPr>
          </a:lstStyle>
          <a:p>
            <a:r>
              <a:rPr lang="en-US"/>
              <a:t>Click to edit title</a:t>
            </a:r>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6610461" y="1440000"/>
            <a:ext cx="5069460" cy="468000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6610461" y="947739"/>
            <a:ext cx="5069460"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3" name="Slide Number Placeholder 5">
            <a:extLst>
              <a:ext uri="{FF2B5EF4-FFF2-40B4-BE49-F238E27FC236}">
                <a16:creationId xmlns:a16="http://schemas.microsoft.com/office/drawing/2014/main" id="{EB01F3B5-A2AB-A32C-4E2B-C1390B59F55B}"/>
              </a:ext>
            </a:extLst>
          </p:cNvPr>
          <p:cNvSpPr>
            <a:spLocks noGrp="1"/>
          </p:cNvSpPr>
          <p:nvPr>
            <p:ph type="sldNum" sz="quarter" idx="12"/>
          </p:nvPr>
        </p:nvSpPr>
        <p:spPr>
          <a:xfrm>
            <a:off x="11304472"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4" name="Date Placeholder 3">
            <a:extLst>
              <a:ext uri="{FF2B5EF4-FFF2-40B4-BE49-F238E27FC236}">
                <a16:creationId xmlns:a16="http://schemas.microsoft.com/office/drawing/2014/main" id="{EA5EA2AF-C700-9C95-7A3D-05E8093ED0CC}"/>
              </a:ext>
            </a:extLst>
          </p:cNvPr>
          <p:cNvSpPr>
            <a:spLocks noGrp="1"/>
          </p:cNvSpPr>
          <p:nvPr>
            <p:ph type="dt" sz="half" idx="10"/>
          </p:nvPr>
        </p:nvSpPr>
        <p:spPr>
          <a:xfrm>
            <a:off x="516005" y="6328262"/>
            <a:ext cx="2743557" cy="153888"/>
          </a:xfrm>
        </p:spPr>
        <p:txBody>
          <a:bodyPr/>
          <a:lstStyle>
            <a:lvl1pPr>
              <a:defRPr>
                <a:solidFill>
                  <a:schemeClr val="bg1"/>
                </a:solidFill>
              </a:defRPr>
            </a:lvl1pPr>
          </a:lstStyle>
          <a:p>
            <a:fld id="{5ED6359A-518B-4307-ADAA-EA3131AAC12B}" type="datetime3">
              <a:rPr lang="en-US" smtClean="0"/>
              <a:t>13 May 2026</a:t>
            </a:fld>
            <a:endParaRPr lang="sv-SE"/>
          </a:p>
        </p:txBody>
      </p:sp>
      <p:sp>
        <p:nvSpPr>
          <p:cNvPr id="5" name="Footer Placeholder 4">
            <a:extLst>
              <a:ext uri="{FF2B5EF4-FFF2-40B4-BE49-F238E27FC236}">
                <a16:creationId xmlns:a16="http://schemas.microsoft.com/office/drawing/2014/main" id="{A54360FE-7428-6493-CB14-2866F116CCF2}"/>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TextBox 6">
            <a:extLst>
              <a:ext uri="{FF2B5EF4-FFF2-40B4-BE49-F238E27FC236}">
                <a16:creationId xmlns:a16="http://schemas.microsoft.com/office/drawing/2014/main" id="{7ACAB7FF-CE9E-5867-1E57-A635B64909A8}"/>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519EBF12-A1DD-EAFE-B755-F45459676B6E}"/>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1" name="TextBox 10">
            <a:extLst>
              <a:ext uri="{FF2B5EF4-FFF2-40B4-BE49-F238E27FC236}">
                <a16:creationId xmlns:a16="http://schemas.microsoft.com/office/drawing/2014/main" id="{CF33AF49-E200-E124-9C9A-A4DBA617BBAF}"/>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FC7D9146-0A46-FD60-85BF-01A3F6A98F15}"/>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3" name="Picture 12">
            <a:extLst>
              <a:ext uri="{FF2B5EF4-FFF2-40B4-BE49-F238E27FC236}">
                <a16:creationId xmlns:a16="http://schemas.microsoft.com/office/drawing/2014/main" id="{876742CD-B107-0546-8DE0-6D67648BDCA7}"/>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4" name="Picture 13">
            <a:extLst>
              <a:ext uri="{FF2B5EF4-FFF2-40B4-BE49-F238E27FC236}">
                <a16:creationId xmlns:a16="http://schemas.microsoft.com/office/drawing/2014/main" id="{14967557-6B6D-5A3F-3840-B09D2927AD2B}"/>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5" name="TextBox 14">
            <a:extLst>
              <a:ext uri="{FF2B5EF4-FFF2-40B4-BE49-F238E27FC236}">
                <a16:creationId xmlns:a16="http://schemas.microsoft.com/office/drawing/2014/main" id="{AF95DB38-940F-930C-4595-C9C96D19984D}"/>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18667242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ext &amp; image left - Dark Blue">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id="{D0F135B0-EEDC-1771-A31F-233B18D7E883}"/>
              </a:ext>
            </a:extLst>
          </p:cNvPr>
          <p:cNvSpPr>
            <a:spLocks noGrp="1"/>
          </p:cNvSpPr>
          <p:nvPr>
            <p:ph type="pic" sz="quarter" idx="27" hasCustomPrompt="1"/>
          </p:nvPr>
        </p:nvSpPr>
        <p:spPr>
          <a:xfrm>
            <a:off x="0" y="0"/>
            <a:ext cx="6096794" cy="6858000"/>
          </a:xfrm>
        </p:spPr>
        <p:txBody>
          <a:bodyPr tIns="504000"/>
          <a:lstStyle>
            <a:lvl1pPr marL="0" indent="0" algn="ctr">
              <a:buNone/>
              <a:defRPr>
                <a:solidFill>
                  <a:schemeClr val="tx1"/>
                </a:solidFill>
              </a:defRPr>
            </a:lvl1pPr>
          </a:lstStyle>
          <a:p>
            <a:r>
              <a:rPr lang="en-GB" noProof="0"/>
              <a:t>Click to insert picture</a:t>
            </a:r>
          </a:p>
        </p:txBody>
      </p:sp>
      <p:sp>
        <p:nvSpPr>
          <p:cNvPr id="9" name="Rectangle 8">
            <a:extLst>
              <a:ext uri="{FF2B5EF4-FFF2-40B4-BE49-F238E27FC236}">
                <a16:creationId xmlns:a16="http://schemas.microsoft.com/office/drawing/2014/main" id="{9A1B5EA6-A0E2-3B9F-59B0-74E42BD02B54}"/>
              </a:ext>
            </a:extLst>
          </p:cNvPr>
          <p:cNvSpPr/>
          <p:nvPr userDrawn="1"/>
        </p:nvSpPr>
        <p:spPr>
          <a:xfrm>
            <a:off x="6096794" y="0"/>
            <a:ext cx="6096794"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6610461" y="514350"/>
            <a:ext cx="5069460" cy="432802"/>
          </a:xfrm>
        </p:spPr>
        <p:txBody>
          <a:bodyPr wrap="square" bIns="72000" anchor="t" anchorCtr="0">
            <a:spAutoFit/>
          </a:bodyPr>
          <a:lstStyle>
            <a:lvl1pPr algn="l">
              <a:defRPr sz="2600">
                <a:solidFill>
                  <a:schemeClr val="bg1"/>
                </a:solidFill>
              </a:defRPr>
            </a:lvl1pPr>
          </a:lstStyle>
          <a:p>
            <a:r>
              <a:rPr lang="en-US"/>
              <a:t>Click to edit title</a:t>
            </a:r>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6610461" y="1440000"/>
            <a:ext cx="5069460" cy="4680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6610461" y="947739"/>
            <a:ext cx="5069460"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3" name="Slide Number Placeholder 5">
            <a:extLst>
              <a:ext uri="{FF2B5EF4-FFF2-40B4-BE49-F238E27FC236}">
                <a16:creationId xmlns:a16="http://schemas.microsoft.com/office/drawing/2014/main" id="{BBFCE1CA-8654-DA74-9199-E9A6981AB3B3}"/>
              </a:ext>
            </a:extLst>
          </p:cNvPr>
          <p:cNvSpPr>
            <a:spLocks noGrp="1"/>
          </p:cNvSpPr>
          <p:nvPr>
            <p:ph type="sldNum" sz="quarter" idx="12"/>
          </p:nvPr>
        </p:nvSpPr>
        <p:spPr>
          <a:xfrm>
            <a:off x="11304472" y="6494949"/>
            <a:ext cx="374699" cy="153888"/>
          </a:xfrm>
        </p:spPr>
        <p:txBody>
          <a:bodyPr/>
          <a:lstStyle>
            <a:lvl1pPr algn="r">
              <a:defRPr>
                <a:solidFill>
                  <a:schemeClr val="tx2">
                    <a:lumMod val="60000"/>
                    <a:lumOff val="40000"/>
                  </a:schemeClr>
                </a:solidFill>
              </a:defRPr>
            </a:lvl1pPr>
          </a:lstStyle>
          <a:p>
            <a:fld id="{C2F92818-9D0C-420B-84CB-20E21C25F84F}" type="slidenum">
              <a:rPr lang="sv-SE" smtClean="0"/>
              <a:pPr/>
              <a:t>‹#›</a:t>
            </a:fld>
            <a:endParaRPr lang="sv-SE"/>
          </a:p>
        </p:txBody>
      </p:sp>
      <p:sp>
        <p:nvSpPr>
          <p:cNvPr id="4" name="Date Placeholder 3">
            <a:extLst>
              <a:ext uri="{FF2B5EF4-FFF2-40B4-BE49-F238E27FC236}">
                <a16:creationId xmlns:a16="http://schemas.microsoft.com/office/drawing/2014/main" id="{7085BA52-C3B4-F368-89BE-533D92CC176C}"/>
              </a:ext>
            </a:extLst>
          </p:cNvPr>
          <p:cNvSpPr>
            <a:spLocks noGrp="1"/>
          </p:cNvSpPr>
          <p:nvPr>
            <p:ph type="dt" sz="half" idx="10"/>
          </p:nvPr>
        </p:nvSpPr>
        <p:spPr>
          <a:xfrm>
            <a:off x="516005" y="6328262"/>
            <a:ext cx="2743557" cy="153888"/>
          </a:xfrm>
        </p:spPr>
        <p:txBody>
          <a:bodyPr/>
          <a:lstStyle>
            <a:lvl1pPr>
              <a:defRPr>
                <a:solidFill>
                  <a:schemeClr val="bg1"/>
                </a:solidFill>
              </a:defRPr>
            </a:lvl1pPr>
          </a:lstStyle>
          <a:p>
            <a:fld id="{60B13B96-0E28-419A-8938-A6D4A42F43EE}" type="datetime3">
              <a:rPr lang="en-US" smtClean="0"/>
              <a:t>13 May 2026</a:t>
            </a:fld>
            <a:endParaRPr lang="sv-SE"/>
          </a:p>
        </p:txBody>
      </p:sp>
      <p:sp>
        <p:nvSpPr>
          <p:cNvPr id="5" name="Footer Placeholder 4">
            <a:extLst>
              <a:ext uri="{FF2B5EF4-FFF2-40B4-BE49-F238E27FC236}">
                <a16:creationId xmlns:a16="http://schemas.microsoft.com/office/drawing/2014/main" id="{ECB57A99-580A-E978-4BEF-803135E83E38}"/>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TextBox 6">
            <a:extLst>
              <a:ext uri="{FF2B5EF4-FFF2-40B4-BE49-F238E27FC236}">
                <a16:creationId xmlns:a16="http://schemas.microsoft.com/office/drawing/2014/main" id="{FF121109-2682-3B1C-ABAE-20E5667DBE77}"/>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1" name="Picture 10">
            <a:extLst>
              <a:ext uri="{FF2B5EF4-FFF2-40B4-BE49-F238E27FC236}">
                <a16:creationId xmlns:a16="http://schemas.microsoft.com/office/drawing/2014/main" id="{713B4F4A-DE7B-0A71-5409-3B0ABA3D1053}"/>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2" name="TextBox 11">
            <a:extLst>
              <a:ext uri="{FF2B5EF4-FFF2-40B4-BE49-F238E27FC236}">
                <a16:creationId xmlns:a16="http://schemas.microsoft.com/office/drawing/2014/main" id="{05CF16D4-E3D8-5D89-2DEB-A1AA3A59626A}"/>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3" name="Picture 12">
            <a:extLst>
              <a:ext uri="{FF2B5EF4-FFF2-40B4-BE49-F238E27FC236}">
                <a16:creationId xmlns:a16="http://schemas.microsoft.com/office/drawing/2014/main" id="{5BABEFB8-A2D0-2795-8FC7-40E1C3B0BF6F}"/>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4" name="Picture 13">
            <a:extLst>
              <a:ext uri="{FF2B5EF4-FFF2-40B4-BE49-F238E27FC236}">
                <a16:creationId xmlns:a16="http://schemas.microsoft.com/office/drawing/2014/main" id="{CBF05A01-837F-84D2-4FFA-1CCB0C8A5BCB}"/>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5" name="Picture 14">
            <a:extLst>
              <a:ext uri="{FF2B5EF4-FFF2-40B4-BE49-F238E27FC236}">
                <a16:creationId xmlns:a16="http://schemas.microsoft.com/office/drawing/2014/main" id="{0D1FE3E1-6488-C2A8-E357-85FE3CB19264}"/>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6" name="TextBox 15">
            <a:extLst>
              <a:ext uri="{FF2B5EF4-FFF2-40B4-BE49-F238E27FC236}">
                <a16:creationId xmlns:a16="http://schemas.microsoft.com/office/drawing/2014/main" id="{B4DFF7A9-6554-453B-19D0-E9309B758EC4}"/>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3763196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amp; image left - Blue">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id="{D0F135B0-EEDC-1771-A31F-233B18D7E883}"/>
              </a:ext>
            </a:extLst>
          </p:cNvPr>
          <p:cNvSpPr>
            <a:spLocks noGrp="1"/>
          </p:cNvSpPr>
          <p:nvPr>
            <p:ph type="pic" sz="quarter" idx="27" hasCustomPrompt="1"/>
          </p:nvPr>
        </p:nvSpPr>
        <p:spPr>
          <a:xfrm>
            <a:off x="0" y="0"/>
            <a:ext cx="6096794" cy="6858000"/>
          </a:xfrm>
        </p:spPr>
        <p:txBody>
          <a:bodyPr tIns="504000"/>
          <a:lstStyle>
            <a:lvl1pPr marL="0" indent="0" algn="ctr">
              <a:buNone/>
              <a:defRPr>
                <a:solidFill>
                  <a:schemeClr val="tx1"/>
                </a:solidFill>
              </a:defRPr>
            </a:lvl1pPr>
          </a:lstStyle>
          <a:p>
            <a:r>
              <a:rPr lang="en-GB" noProof="0"/>
              <a:t>Click to insert picture</a:t>
            </a:r>
          </a:p>
        </p:txBody>
      </p:sp>
      <p:sp>
        <p:nvSpPr>
          <p:cNvPr id="9" name="Rectangle 8">
            <a:extLst>
              <a:ext uri="{FF2B5EF4-FFF2-40B4-BE49-F238E27FC236}">
                <a16:creationId xmlns:a16="http://schemas.microsoft.com/office/drawing/2014/main" id="{9A1B5EA6-A0E2-3B9F-59B0-74E42BD02B54}"/>
              </a:ext>
            </a:extLst>
          </p:cNvPr>
          <p:cNvSpPr/>
          <p:nvPr userDrawn="1"/>
        </p:nvSpPr>
        <p:spPr>
          <a:xfrm>
            <a:off x="6096794" y="0"/>
            <a:ext cx="6096794"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6610461" y="514350"/>
            <a:ext cx="5069460" cy="432802"/>
          </a:xfrm>
        </p:spPr>
        <p:txBody>
          <a:bodyPr wrap="square" bIns="72000" anchor="t" anchorCtr="0">
            <a:spAutoFit/>
          </a:bodyPr>
          <a:lstStyle>
            <a:lvl1pPr algn="l">
              <a:defRPr sz="2600">
                <a:solidFill>
                  <a:schemeClr val="bg1"/>
                </a:solidFill>
              </a:defRPr>
            </a:lvl1pPr>
          </a:lstStyle>
          <a:p>
            <a:r>
              <a:rPr lang="en-US"/>
              <a:t>Click to edit title</a:t>
            </a:r>
            <a:endParaRPr lang="sv-SE"/>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6610461" y="947739"/>
            <a:ext cx="5069460"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3" name="Text Placeholder 10">
            <a:extLst>
              <a:ext uri="{FF2B5EF4-FFF2-40B4-BE49-F238E27FC236}">
                <a16:creationId xmlns:a16="http://schemas.microsoft.com/office/drawing/2014/main" id="{6A3C0ADC-D3F8-0ACF-ADBE-55F01C3C17D2}"/>
              </a:ext>
            </a:extLst>
          </p:cNvPr>
          <p:cNvSpPr>
            <a:spLocks noGrp="1"/>
          </p:cNvSpPr>
          <p:nvPr>
            <p:ph type="body" sz="quarter" idx="13"/>
          </p:nvPr>
        </p:nvSpPr>
        <p:spPr>
          <a:xfrm>
            <a:off x="6610461" y="1440000"/>
            <a:ext cx="5069460" cy="4680000"/>
          </a:xfrm>
        </p:spPr>
        <p:txBody>
          <a:bodyPr/>
          <a:lstStyle>
            <a:lvl1pPr>
              <a:buClr>
                <a:schemeClr val="tx1"/>
              </a:buClr>
              <a:defRPr>
                <a:solidFill>
                  <a:schemeClr val="bg1"/>
                </a:solidFill>
              </a:defRPr>
            </a:lvl1pPr>
            <a:lvl2pPr>
              <a:buClr>
                <a:schemeClr val="tx1"/>
              </a:buClr>
              <a:defRPr>
                <a:solidFill>
                  <a:schemeClr val="bg1"/>
                </a:solidFill>
              </a:defRPr>
            </a:lvl2pPr>
            <a:lvl3pPr>
              <a:buClr>
                <a:schemeClr val="tx1"/>
              </a:buClr>
              <a:defRPr>
                <a:solidFill>
                  <a:schemeClr val="bg1"/>
                </a:solidFill>
              </a:defRPr>
            </a:lvl3pPr>
            <a:lvl4pPr>
              <a:buClr>
                <a:schemeClr val="tx1"/>
              </a:buClr>
              <a:defRPr>
                <a:solidFill>
                  <a:schemeClr val="bg1"/>
                </a:solidFill>
              </a:defRPr>
            </a:lvl4pPr>
            <a:lvl5pPr>
              <a:buClr>
                <a:schemeClr val="tx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Slide Number Placeholder 5">
            <a:extLst>
              <a:ext uri="{FF2B5EF4-FFF2-40B4-BE49-F238E27FC236}">
                <a16:creationId xmlns:a16="http://schemas.microsoft.com/office/drawing/2014/main" id="{C7048014-131F-60DE-0194-279080F92F7D}"/>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5" name="Date Placeholder 3">
            <a:extLst>
              <a:ext uri="{FF2B5EF4-FFF2-40B4-BE49-F238E27FC236}">
                <a16:creationId xmlns:a16="http://schemas.microsoft.com/office/drawing/2014/main" id="{2C69CF42-66D5-A296-AD7B-0E21C4500C17}"/>
              </a:ext>
            </a:extLst>
          </p:cNvPr>
          <p:cNvSpPr>
            <a:spLocks noGrp="1"/>
          </p:cNvSpPr>
          <p:nvPr>
            <p:ph type="dt" sz="half" idx="10"/>
          </p:nvPr>
        </p:nvSpPr>
        <p:spPr>
          <a:xfrm>
            <a:off x="516005" y="6328262"/>
            <a:ext cx="2743557" cy="153888"/>
          </a:xfrm>
        </p:spPr>
        <p:txBody>
          <a:bodyPr/>
          <a:lstStyle>
            <a:lvl1pPr>
              <a:defRPr>
                <a:solidFill>
                  <a:schemeClr val="bg1"/>
                </a:solidFill>
              </a:defRPr>
            </a:lvl1pPr>
          </a:lstStyle>
          <a:p>
            <a:fld id="{67D6E8DA-8566-4434-AE64-AD4525CA15E0}" type="datetime3">
              <a:rPr lang="en-US" smtClean="0"/>
              <a:t>13 May 2026</a:t>
            </a:fld>
            <a:endParaRPr lang="sv-SE"/>
          </a:p>
        </p:txBody>
      </p:sp>
      <p:sp>
        <p:nvSpPr>
          <p:cNvPr id="7" name="Footer Placeholder 4">
            <a:extLst>
              <a:ext uri="{FF2B5EF4-FFF2-40B4-BE49-F238E27FC236}">
                <a16:creationId xmlns:a16="http://schemas.microsoft.com/office/drawing/2014/main" id="{78D328D6-43E9-279D-E85C-851ECC28914B}"/>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10" name="TextBox 9">
            <a:extLst>
              <a:ext uri="{FF2B5EF4-FFF2-40B4-BE49-F238E27FC236}">
                <a16:creationId xmlns:a16="http://schemas.microsoft.com/office/drawing/2014/main" id="{E8B819A9-C671-0C13-1F66-042B9CD48289}"/>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1" name="Picture 10">
            <a:extLst>
              <a:ext uri="{FF2B5EF4-FFF2-40B4-BE49-F238E27FC236}">
                <a16:creationId xmlns:a16="http://schemas.microsoft.com/office/drawing/2014/main" id="{9BCFCE37-36AF-47AE-DF67-AC2BCB1F1FC0}"/>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2" name="TextBox 11">
            <a:extLst>
              <a:ext uri="{FF2B5EF4-FFF2-40B4-BE49-F238E27FC236}">
                <a16:creationId xmlns:a16="http://schemas.microsoft.com/office/drawing/2014/main" id="{E569598F-FFFB-A955-F290-606046F3E6EB}"/>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3" name="Picture 12">
            <a:extLst>
              <a:ext uri="{FF2B5EF4-FFF2-40B4-BE49-F238E27FC236}">
                <a16:creationId xmlns:a16="http://schemas.microsoft.com/office/drawing/2014/main" id="{7679ACE7-6C68-7367-3821-7DE94BEC9426}"/>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4" name="Picture 13">
            <a:extLst>
              <a:ext uri="{FF2B5EF4-FFF2-40B4-BE49-F238E27FC236}">
                <a16:creationId xmlns:a16="http://schemas.microsoft.com/office/drawing/2014/main" id="{EAF6C811-4ADE-C22E-D732-39FDB45D8A87}"/>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5" name="Picture 14">
            <a:extLst>
              <a:ext uri="{FF2B5EF4-FFF2-40B4-BE49-F238E27FC236}">
                <a16:creationId xmlns:a16="http://schemas.microsoft.com/office/drawing/2014/main" id="{0490D3D9-6287-0813-C66E-CB11B0D9B7F7}"/>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6" name="TextBox 15">
            <a:extLst>
              <a:ext uri="{FF2B5EF4-FFF2-40B4-BE49-F238E27FC236}">
                <a16:creationId xmlns:a16="http://schemas.microsoft.com/office/drawing/2014/main" id="{D8B52AB2-D653-0E6D-F385-072BA06B193B}"/>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24187434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Frontpage V1">
    <p:bg>
      <p:bgPr>
        <a:solidFill>
          <a:schemeClr val="bg1"/>
        </a:solidFill>
        <a:effectLst/>
      </p:bgPr>
    </p:bg>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F743A93A-5C12-3CB4-C00E-E7C2F7B03A02}"/>
              </a:ext>
            </a:extLst>
          </p:cNvPr>
          <p:cNvSpPr>
            <a:spLocks noGrp="1"/>
          </p:cNvSpPr>
          <p:nvPr>
            <p:ph sz="half" idx="1" hasCustomPrompt="1"/>
          </p:nvPr>
        </p:nvSpPr>
        <p:spPr>
          <a:xfrm>
            <a:off x="565459" y="1520707"/>
            <a:ext cx="4084600" cy="3816585"/>
          </a:xfrm>
        </p:spPr>
        <p:txBody>
          <a:bodyPr>
            <a:normAutofit fontScale="92500" lnSpcReduction="20000"/>
          </a:bodyPr>
          <a:lstStyle>
            <a:lvl1pPr>
              <a:defRPr>
                <a:solidFill>
                  <a:schemeClr val="tx1"/>
                </a:solidFill>
              </a:defRPr>
            </a:lvl1pPr>
            <a:lvl2pPr>
              <a:defRPr>
                <a:solidFill>
                  <a:schemeClr val="tx1"/>
                </a:solidFill>
              </a:defRPr>
            </a:lvl2pPr>
          </a:lstStyle>
          <a:p>
            <a:pPr marL="0" indent="0" defTabSz="889000">
              <a:buNone/>
            </a:pPr>
            <a:r>
              <a:rPr lang="en-GB" b="1"/>
              <a:t>01  </a:t>
            </a:r>
            <a:r>
              <a:rPr lang="en-GB"/>
              <a:t>xxx</a:t>
            </a:r>
          </a:p>
          <a:p>
            <a:pPr marL="0" indent="0" defTabSz="889000">
              <a:buNone/>
            </a:pPr>
            <a:r>
              <a:rPr lang="en-GB" b="1"/>
              <a:t>02</a:t>
            </a:r>
            <a:r>
              <a:rPr lang="en-GB"/>
              <a:t>  xxx</a:t>
            </a:r>
          </a:p>
          <a:p>
            <a:pPr lvl="1" defTabSz="889000"/>
            <a:r>
              <a:rPr lang="en-GB" err="1"/>
              <a:t>xxxx</a:t>
            </a:r>
            <a:endParaRPr lang="en-GB"/>
          </a:p>
          <a:p>
            <a:pPr lvl="1" defTabSz="889000"/>
            <a:r>
              <a:rPr lang="en-GB"/>
              <a:t>xxx</a:t>
            </a:r>
          </a:p>
          <a:p>
            <a:pPr lvl="1" defTabSz="889000"/>
            <a:r>
              <a:rPr lang="en-GB"/>
              <a:t>xxx</a:t>
            </a:r>
          </a:p>
          <a:p>
            <a:pPr marL="0" indent="0" defTabSz="898525">
              <a:buNone/>
            </a:pPr>
            <a:r>
              <a:rPr lang="en-GB" b="1"/>
              <a:t>03</a:t>
            </a:r>
            <a:r>
              <a:rPr lang="en-GB"/>
              <a:t>  xxx</a:t>
            </a:r>
          </a:p>
          <a:p>
            <a:pPr marL="0" indent="0" defTabSz="898525">
              <a:buNone/>
            </a:pPr>
            <a:r>
              <a:rPr lang="en-GB" b="1"/>
              <a:t>04</a:t>
            </a:r>
            <a:r>
              <a:rPr lang="en-GB"/>
              <a:t>  xxx</a:t>
            </a:r>
          </a:p>
        </p:txBody>
      </p:sp>
      <p:sp>
        <p:nvSpPr>
          <p:cNvPr id="6" name="Title 1">
            <a:extLst>
              <a:ext uri="{FF2B5EF4-FFF2-40B4-BE49-F238E27FC236}">
                <a16:creationId xmlns:a16="http://schemas.microsoft.com/office/drawing/2014/main" id="{49FB2BD3-6474-3179-E074-EAF6DC6C38EE}"/>
              </a:ext>
            </a:extLst>
          </p:cNvPr>
          <p:cNvSpPr>
            <a:spLocks noGrp="1"/>
          </p:cNvSpPr>
          <p:nvPr>
            <p:ph type="title" hasCustomPrompt="1"/>
          </p:nvPr>
        </p:nvSpPr>
        <p:spPr>
          <a:xfrm>
            <a:off x="565460" y="552715"/>
            <a:ext cx="4084600" cy="430112"/>
          </a:xfrm>
        </p:spPr>
        <p:txBody>
          <a:bodyPr/>
          <a:lstStyle>
            <a:lvl1pPr>
              <a:defRPr>
                <a:solidFill>
                  <a:schemeClr val="tx1"/>
                </a:solidFill>
              </a:defRPr>
            </a:lvl1pPr>
          </a:lstStyle>
          <a:p>
            <a:r>
              <a:rPr lang="en-US"/>
              <a:t>Agenda for today</a:t>
            </a:r>
          </a:p>
        </p:txBody>
      </p:sp>
      <p:sp>
        <p:nvSpPr>
          <p:cNvPr id="2" name="TextBox 1">
            <a:extLst>
              <a:ext uri="{FF2B5EF4-FFF2-40B4-BE49-F238E27FC236}">
                <a16:creationId xmlns:a16="http://schemas.microsoft.com/office/drawing/2014/main" id="{D7B4C8E3-589E-BAF7-1374-B6C0353999D7}"/>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4" name="TextBox 3">
            <a:extLst>
              <a:ext uri="{FF2B5EF4-FFF2-40B4-BE49-F238E27FC236}">
                <a16:creationId xmlns:a16="http://schemas.microsoft.com/office/drawing/2014/main" id="{1FFBDFB2-7277-B7A3-4EB9-52A2334C44FC}"/>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extLst>
      <p:ext uri="{BB962C8B-B14F-4D97-AF65-F5344CB8AC3E}">
        <p14:creationId xmlns:p14="http://schemas.microsoft.com/office/powerpoint/2010/main" val="2789440621"/>
      </p:ext>
    </p:extLst>
  </p:cSld>
  <p:clrMapOvr>
    <a:masterClrMapping/>
  </p:clrMapOvr>
  <p:transition spd="slow">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sp>
        <p:nvSpPr>
          <p:cNvPr id="6" name="Title 8"/>
          <p:cNvSpPr>
            <a:spLocks noGrp="1"/>
          </p:cNvSpPr>
          <p:nvPr>
            <p:ph type="title"/>
          </p:nvPr>
        </p:nvSpPr>
        <p:spPr>
          <a:xfrm>
            <a:off x="838309" y="2385601"/>
            <a:ext cx="10516970" cy="415498"/>
          </a:xfrm>
        </p:spPr>
        <p:txBody>
          <a:bodyPr/>
          <a:lstStyle>
            <a:lvl1pPr algn="ctr">
              <a:defRPr>
                <a:solidFill>
                  <a:schemeClr val="tx2"/>
                </a:solidFill>
              </a:defRPr>
            </a:lvl1pPr>
          </a:lstStyle>
          <a:p>
            <a:r>
              <a:rPr lang="en-US"/>
              <a:t>Click to edit Master title style</a:t>
            </a:r>
          </a:p>
        </p:txBody>
      </p:sp>
      <p:sp>
        <p:nvSpPr>
          <p:cNvPr id="9" name="Text Placeholder 3"/>
          <p:cNvSpPr>
            <a:spLocks noGrp="1"/>
          </p:cNvSpPr>
          <p:nvPr>
            <p:ph type="body" sz="quarter" idx="11"/>
          </p:nvPr>
        </p:nvSpPr>
        <p:spPr>
          <a:xfrm>
            <a:off x="838309" y="3025859"/>
            <a:ext cx="10516970" cy="249299"/>
          </a:xfrm>
          <a:prstGeom prst="rect">
            <a:avLst/>
          </a:prstGeom>
        </p:spPr>
        <p:txBody>
          <a:bodyPr/>
          <a:lstStyle>
            <a:lvl1pPr marL="0" indent="0" algn="ctr">
              <a:buNone/>
              <a:defRPr b="0" i="0">
                <a:solidFill>
                  <a:schemeClr val="tx1"/>
                </a:solidFill>
                <a:latin typeface="Avenir Next LT Pro" panose="020B0504020202020204" pitchFamily="34" charset="77"/>
              </a:defRPr>
            </a:lvl1pPr>
          </a:lstStyle>
          <a:p>
            <a:pPr lvl="0"/>
            <a:r>
              <a:rPr lang="en-US"/>
              <a:t>Click to edit Master text styles</a:t>
            </a:r>
          </a:p>
        </p:txBody>
      </p:sp>
      <p:pic>
        <p:nvPicPr>
          <p:cNvPr id="2" name="Picture 1">
            <a:extLst>
              <a:ext uri="{FF2B5EF4-FFF2-40B4-BE49-F238E27FC236}">
                <a16:creationId xmlns:a16="http://schemas.microsoft.com/office/drawing/2014/main" id="{3715B933-27A2-128A-1C68-172CA423185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3808347454"/>
      </p:ext>
    </p:extLst>
  </p:cSld>
  <p:clrMapOvr>
    <a:masterClrMapping/>
  </p:clrMapOvr>
  <p:transition spd="slow">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2" name="Title 1">
            <a:extLst>
              <a:ext uri="{FF2B5EF4-FFF2-40B4-BE49-F238E27FC236}">
                <a16:creationId xmlns:a16="http://schemas.microsoft.com/office/drawing/2014/main" id="{083E5FDF-E153-FB83-59F8-C3342050DE2D}"/>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9DD7CAFE-A12E-5475-CF59-1899CB4CCFB7}"/>
              </a:ext>
            </a:extLst>
          </p:cNvPr>
          <p:cNvSpPr>
            <a:spLocks noGrp="1"/>
          </p:cNvSpPr>
          <p:nvPr>
            <p:ph type="body" sz="quarter" idx="11"/>
          </p:nvPr>
        </p:nvSpPr>
        <p:spPr>
          <a:xfrm>
            <a:off x="565459"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F2A6583E-996E-9E75-7882-FF852DCA2D48}"/>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4" name="Picture 3">
            <a:extLst>
              <a:ext uri="{FF2B5EF4-FFF2-40B4-BE49-F238E27FC236}">
                <a16:creationId xmlns:a16="http://schemas.microsoft.com/office/drawing/2014/main" id="{D95BDA8B-B80D-8B2B-F183-DCC7143C7AA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4150105825"/>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7" name="Rectangle 6">
            <a:extLst>
              <a:ext uri="{FF2B5EF4-FFF2-40B4-BE49-F238E27FC236}">
                <a16:creationId xmlns:a16="http://schemas.microsoft.com/office/drawing/2014/main" id="{9DB270F1-B40D-2246-A956-F1D47E227370}"/>
              </a:ext>
            </a:extLst>
          </p:cNvPr>
          <p:cNvSpPr/>
          <p:nvPr userDrawn="1"/>
        </p:nvSpPr>
        <p:spPr>
          <a:xfrm>
            <a:off x="0" y="1458000"/>
            <a:ext cx="12193588" cy="540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2" name="Title 1">
            <a:extLst>
              <a:ext uri="{FF2B5EF4-FFF2-40B4-BE49-F238E27FC236}">
                <a16:creationId xmlns:a16="http://schemas.microsoft.com/office/drawing/2014/main" id="{C48E50A3-CD8F-C800-8D64-A2446E516B96}"/>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BEEB4D7A-3FF8-2422-96A4-39526DE5BA7E}"/>
              </a:ext>
            </a:extLst>
          </p:cNvPr>
          <p:cNvSpPr>
            <a:spLocks noGrp="1"/>
          </p:cNvSpPr>
          <p:nvPr>
            <p:ph type="body" sz="quarter" idx="11"/>
          </p:nvPr>
        </p:nvSpPr>
        <p:spPr>
          <a:xfrm>
            <a:off x="565459"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CC426A7C-39F7-A545-D883-51CB79E99304}"/>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4" name="Picture 3">
            <a:extLst>
              <a:ext uri="{FF2B5EF4-FFF2-40B4-BE49-F238E27FC236}">
                <a16:creationId xmlns:a16="http://schemas.microsoft.com/office/drawing/2014/main" id="{50AA6080-CC43-C3BC-FE2E-34951B8C277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1588731170"/>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right + text left">
    <p:spTree>
      <p:nvGrpSpPr>
        <p:cNvPr id="1" name=""/>
        <p:cNvGrpSpPr/>
        <p:nvPr/>
      </p:nvGrpSpPr>
      <p:grpSpPr>
        <a:xfrm>
          <a:off x="0" y="0"/>
          <a:ext cx="0" cy="0"/>
          <a:chOff x="0" y="0"/>
          <a:chExt cx="0" cy="0"/>
        </a:xfrm>
      </p:grpSpPr>
      <p:sp>
        <p:nvSpPr>
          <p:cNvPr id="17" name="TextBox 16"/>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3" name="Content Placeholder 6"/>
          <p:cNvSpPr>
            <a:spLocks noGrp="1"/>
          </p:cNvSpPr>
          <p:nvPr>
            <p:ph sz="quarter" idx="18" hasCustomPrompt="1"/>
          </p:nvPr>
        </p:nvSpPr>
        <p:spPr>
          <a:xfrm>
            <a:off x="5868399" y="1676608"/>
            <a:ext cx="5719896" cy="4519943"/>
          </a:xfrm>
          <a:prstGeom prst="rect">
            <a:avLst/>
          </a:prstGeom>
        </p:spPr>
        <p:txBody>
          <a:bodyPr>
            <a:normAutofit/>
          </a:bodyPr>
          <a:lstStyle>
            <a:lvl1pPr marL="0" indent="0">
              <a:buFont typeface="Arial" charset="0"/>
              <a:buNone/>
              <a:defRPr sz="2000"/>
            </a:lvl1pPr>
          </a:lstStyle>
          <a:p>
            <a:r>
              <a:rPr lang="en-US"/>
              <a:t>Insert graph </a:t>
            </a:r>
            <a:r>
              <a:rPr lang="mr-IN"/>
              <a:t>–</a:t>
            </a:r>
            <a:r>
              <a:rPr lang="en-US"/>
              <a:t> Drag picture to placeholder or click on icon </a:t>
            </a:r>
          </a:p>
        </p:txBody>
      </p:sp>
      <p:sp>
        <p:nvSpPr>
          <p:cNvPr id="16" name="Text Placeholder 2"/>
          <p:cNvSpPr>
            <a:spLocks noGrp="1"/>
          </p:cNvSpPr>
          <p:nvPr>
            <p:ph type="body" sz="quarter" idx="12"/>
          </p:nvPr>
        </p:nvSpPr>
        <p:spPr>
          <a:xfrm>
            <a:off x="565460" y="1676608"/>
            <a:ext cx="4963090" cy="4519943"/>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C20DAD90-B4BF-1D5F-D032-10D4F3E8D123}"/>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4D63374E-93AD-26A8-FE04-9A6DBDFE1C4D}"/>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1B07A46E-BDD6-9B21-DCA5-8D8A02B85D1F}"/>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3FE8C249-9948-5463-D195-11DD65F4A81D}"/>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Graphic 3">
            <a:extLst>
              <a:ext uri="{FF2B5EF4-FFF2-40B4-BE49-F238E27FC236}">
                <a16:creationId xmlns:a16="http://schemas.microsoft.com/office/drawing/2014/main" id="{43DBD38B-6CC8-63E9-C745-FBFBE43D9915}"/>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2" name="Rectangle 1">
            <a:extLst>
              <a:ext uri="{FF2B5EF4-FFF2-40B4-BE49-F238E27FC236}">
                <a16:creationId xmlns:a16="http://schemas.microsoft.com/office/drawing/2014/main" id="{13782217-6487-F6BB-01E4-499FC8E30A1F}"/>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3" name="Title 1">
            <a:extLst>
              <a:ext uri="{FF2B5EF4-FFF2-40B4-BE49-F238E27FC236}">
                <a16:creationId xmlns:a16="http://schemas.microsoft.com/office/drawing/2014/main" id="{89549BBD-E8E8-2346-3D50-48B478C393EF}"/>
              </a:ext>
            </a:extLst>
          </p:cNvPr>
          <p:cNvSpPr>
            <a:spLocks noGrp="1"/>
          </p:cNvSpPr>
          <p:nvPr>
            <p:ph type="title"/>
          </p:nvPr>
        </p:nvSpPr>
        <p:spPr>
          <a:xfrm>
            <a:off x="565459" y="552715"/>
            <a:ext cx="10245477" cy="360099"/>
          </a:xfrm>
        </p:spPr>
        <p:txBody>
          <a:bodyPr/>
          <a:lstStyle>
            <a:lvl1pPr>
              <a:defRPr sz="2600">
                <a:solidFill>
                  <a:schemeClr val="tx1"/>
                </a:solidFill>
              </a:defRPr>
            </a:lvl1pPr>
          </a:lstStyle>
          <a:p>
            <a:r>
              <a:rPr lang="en-US"/>
              <a:t>Click to edit Master title style</a:t>
            </a:r>
          </a:p>
        </p:txBody>
      </p:sp>
      <p:sp>
        <p:nvSpPr>
          <p:cNvPr id="4" name="Text Placeholder 9">
            <a:extLst>
              <a:ext uri="{FF2B5EF4-FFF2-40B4-BE49-F238E27FC236}">
                <a16:creationId xmlns:a16="http://schemas.microsoft.com/office/drawing/2014/main" id="{18774A25-19A6-95AF-8FB4-98DFE8F1382B}"/>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9027F306-9D8C-2F25-FD18-D6EB3DE8FC5D}"/>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Tree>
    <p:extLst>
      <p:ext uri="{BB962C8B-B14F-4D97-AF65-F5344CB8AC3E}">
        <p14:creationId xmlns:p14="http://schemas.microsoft.com/office/powerpoint/2010/main" val="1373025589"/>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s + text">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2" name="Text Placeholder 5"/>
          <p:cNvSpPr>
            <a:spLocks noGrp="1"/>
          </p:cNvSpPr>
          <p:nvPr>
            <p:ph type="body" sz="quarter" idx="12"/>
          </p:nvPr>
        </p:nvSpPr>
        <p:spPr>
          <a:xfrm>
            <a:off x="565458" y="1634067"/>
            <a:ext cx="11029035" cy="457411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3" name="Title 1">
            <a:extLst>
              <a:ext uri="{FF2B5EF4-FFF2-40B4-BE49-F238E27FC236}">
                <a16:creationId xmlns:a16="http://schemas.microsoft.com/office/drawing/2014/main" id="{4320D004-6754-4910-E736-BD1ADFAF98CC}"/>
              </a:ext>
            </a:extLst>
          </p:cNvPr>
          <p:cNvSpPr>
            <a:spLocks noGrp="1"/>
          </p:cNvSpPr>
          <p:nvPr>
            <p:ph type="title"/>
          </p:nvPr>
        </p:nvSpPr>
        <p:spPr>
          <a:xfrm>
            <a:off x="565459" y="552715"/>
            <a:ext cx="10098869"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39C08247-062F-0676-8498-BA3B732A36AC}"/>
              </a:ext>
            </a:extLst>
          </p:cNvPr>
          <p:cNvSpPr>
            <a:spLocks noGrp="1"/>
          </p:cNvSpPr>
          <p:nvPr>
            <p:ph type="body" sz="quarter" idx="11"/>
          </p:nvPr>
        </p:nvSpPr>
        <p:spPr>
          <a:xfrm>
            <a:off x="565459"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151A6EC8-761A-C152-2663-47D998769EFC}"/>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Picture 5">
            <a:extLst>
              <a:ext uri="{FF2B5EF4-FFF2-40B4-BE49-F238E27FC236}">
                <a16:creationId xmlns:a16="http://schemas.microsoft.com/office/drawing/2014/main" id="{F96421AB-D33D-A95B-ED88-2A6965B415A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3871886679"/>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_Titles +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5DCBE4-2474-E18F-D85B-AD8A02BDAB2C}"/>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3" name="Title 1">
            <a:extLst>
              <a:ext uri="{FF2B5EF4-FFF2-40B4-BE49-F238E27FC236}">
                <a16:creationId xmlns:a16="http://schemas.microsoft.com/office/drawing/2014/main" id="{E0A6DB9D-E6AB-6967-43E9-EE1FC0BE859A}"/>
              </a:ext>
            </a:extLst>
          </p:cNvPr>
          <p:cNvSpPr>
            <a:spLocks noGrp="1"/>
          </p:cNvSpPr>
          <p:nvPr>
            <p:ph type="title"/>
          </p:nvPr>
        </p:nvSpPr>
        <p:spPr>
          <a:xfrm>
            <a:off x="565459" y="552715"/>
            <a:ext cx="10098869" cy="360099"/>
          </a:xfrm>
        </p:spPr>
        <p:txBody>
          <a:bodyPr/>
          <a:lstStyle>
            <a:lvl1pPr>
              <a:defRPr sz="2600">
                <a:solidFill>
                  <a:schemeClr val="tx1"/>
                </a:solidFill>
              </a:defRPr>
            </a:lvl1pPr>
          </a:lstStyle>
          <a:p>
            <a:r>
              <a:rPr lang="en-US"/>
              <a:t>Click to edit Master title style</a:t>
            </a:r>
          </a:p>
        </p:txBody>
      </p:sp>
      <p:sp>
        <p:nvSpPr>
          <p:cNvPr id="4" name="Text Placeholder 9">
            <a:extLst>
              <a:ext uri="{FF2B5EF4-FFF2-40B4-BE49-F238E27FC236}">
                <a16:creationId xmlns:a16="http://schemas.microsoft.com/office/drawing/2014/main" id="{286C8244-E396-CD67-B252-189D777C81BE}"/>
              </a:ext>
            </a:extLst>
          </p:cNvPr>
          <p:cNvSpPr>
            <a:spLocks noGrp="1"/>
          </p:cNvSpPr>
          <p:nvPr>
            <p:ph type="body" sz="quarter" idx="11"/>
          </p:nvPr>
        </p:nvSpPr>
        <p:spPr>
          <a:xfrm>
            <a:off x="565459"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12" name="Text Placeholder 5"/>
          <p:cNvSpPr>
            <a:spLocks noGrp="1"/>
          </p:cNvSpPr>
          <p:nvPr>
            <p:ph type="body" sz="quarter" idx="12"/>
          </p:nvPr>
        </p:nvSpPr>
        <p:spPr>
          <a:xfrm>
            <a:off x="565458" y="1634067"/>
            <a:ext cx="11029035" cy="457411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5" name="TextBox 4">
            <a:extLst>
              <a:ext uri="{FF2B5EF4-FFF2-40B4-BE49-F238E27FC236}">
                <a16:creationId xmlns:a16="http://schemas.microsoft.com/office/drawing/2014/main" id="{9AE4B553-B7AB-8210-F80F-5BEF4CCCCF0C}"/>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Picture 5">
            <a:extLst>
              <a:ext uri="{FF2B5EF4-FFF2-40B4-BE49-F238E27FC236}">
                <a16:creationId xmlns:a16="http://schemas.microsoft.com/office/drawing/2014/main" id="{653A30F7-73A5-1D78-161F-8C926078206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2902001333"/>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s +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5DCBE4-2474-E18F-D85B-AD8A02BDAB2C}"/>
              </a:ext>
            </a:extLst>
          </p:cNvPr>
          <p:cNvSpPr/>
          <p:nvPr userDrawn="1"/>
        </p:nvSpPr>
        <p:spPr>
          <a:xfrm>
            <a:off x="0" y="1458000"/>
            <a:ext cx="12193588" cy="540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3" name="Title 1">
            <a:extLst>
              <a:ext uri="{FF2B5EF4-FFF2-40B4-BE49-F238E27FC236}">
                <a16:creationId xmlns:a16="http://schemas.microsoft.com/office/drawing/2014/main" id="{E0A6DB9D-E6AB-6967-43E9-EE1FC0BE859A}"/>
              </a:ext>
            </a:extLst>
          </p:cNvPr>
          <p:cNvSpPr>
            <a:spLocks noGrp="1"/>
          </p:cNvSpPr>
          <p:nvPr>
            <p:ph type="title"/>
          </p:nvPr>
        </p:nvSpPr>
        <p:spPr>
          <a:xfrm>
            <a:off x="565459" y="552715"/>
            <a:ext cx="10098869" cy="360099"/>
          </a:xfrm>
        </p:spPr>
        <p:txBody>
          <a:bodyPr/>
          <a:lstStyle>
            <a:lvl1pPr>
              <a:defRPr sz="2600">
                <a:solidFill>
                  <a:schemeClr val="tx1"/>
                </a:solidFill>
              </a:defRPr>
            </a:lvl1pPr>
          </a:lstStyle>
          <a:p>
            <a:r>
              <a:rPr lang="en-US"/>
              <a:t>Click to edit Master title style</a:t>
            </a:r>
          </a:p>
        </p:txBody>
      </p:sp>
      <p:sp>
        <p:nvSpPr>
          <p:cNvPr id="4" name="Text Placeholder 9">
            <a:extLst>
              <a:ext uri="{FF2B5EF4-FFF2-40B4-BE49-F238E27FC236}">
                <a16:creationId xmlns:a16="http://schemas.microsoft.com/office/drawing/2014/main" id="{286C8244-E396-CD67-B252-189D777C81BE}"/>
              </a:ext>
            </a:extLst>
          </p:cNvPr>
          <p:cNvSpPr>
            <a:spLocks noGrp="1"/>
          </p:cNvSpPr>
          <p:nvPr>
            <p:ph type="body" sz="quarter" idx="11"/>
          </p:nvPr>
        </p:nvSpPr>
        <p:spPr>
          <a:xfrm>
            <a:off x="565459"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9AE4B553-B7AB-8210-F80F-5BEF4CCCCF0C}"/>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Picture 5">
            <a:extLst>
              <a:ext uri="{FF2B5EF4-FFF2-40B4-BE49-F238E27FC236}">
                <a16:creationId xmlns:a16="http://schemas.microsoft.com/office/drawing/2014/main" id="{44F47BCE-6E3C-FDE4-C901-2D9BDA30E66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2222861740"/>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with logo">
    <p:spTree>
      <p:nvGrpSpPr>
        <p:cNvPr id="1" name=""/>
        <p:cNvGrpSpPr/>
        <p:nvPr/>
      </p:nvGrpSpPr>
      <p:grpSpPr>
        <a:xfrm>
          <a:off x="0" y="0"/>
          <a:ext cx="0" cy="0"/>
          <a:chOff x="0" y="0"/>
          <a:chExt cx="0" cy="0"/>
        </a:xfrm>
      </p:grpSpPr>
      <p:sp>
        <p:nvSpPr>
          <p:cNvPr id="11" name="TextBox 10"/>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3" name="TextBox 2">
            <a:extLst>
              <a:ext uri="{FF2B5EF4-FFF2-40B4-BE49-F238E27FC236}">
                <a16:creationId xmlns:a16="http://schemas.microsoft.com/office/drawing/2014/main" id="{74007645-3940-90E7-9372-244CB8868E17}"/>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4" name="TextBox 3">
            <a:extLst>
              <a:ext uri="{FF2B5EF4-FFF2-40B4-BE49-F238E27FC236}">
                <a16:creationId xmlns:a16="http://schemas.microsoft.com/office/drawing/2014/main" id="{24BABFC5-BDD2-FF8A-6D55-428C6DA89640}"/>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2" name="Picture 1">
            <a:extLst>
              <a:ext uri="{FF2B5EF4-FFF2-40B4-BE49-F238E27FC236}">
                <a16:creationId xmlns:a16="http://schemas.microsoft.com/office/drawing/2014/main" id="{25BA4E8C-2074-D0D7-B232-CED5A5674C5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236939615"/>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0433673"/>
      </p:ext>
    </p:extLst>
  </p:cSld>
  <p:clrMapOvr>
    <a:masterClrMapping/>
  </p:clrMapOvr>
  <p:transition spd="slow">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 image + description">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5" name="Text Placeholder 4"/>
          <p:cNvSpPr>
            <a:spLocks noGrp="1"/>
          </p:cNvSpPr>
          <p:nvPr>
            <p:ph type="body" sz="quarter" idx="15"/>
          </p:nvPr>
        </p:nvSpPr>
        <p:spPr>
          <a:xfrm>
            <a:off x="2600683" y="5753950"/>
            <a:ext cx="6992222"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7" name="Content Placeholder 6"/>
          <p:cNvSpPr>
            <a:spLocks noGrp="1"/>
          </p:cNvSpPr>
          <p:nvPr>
            <p:ph sz="quarter" idx="18" hasCustomPrompt="1"/>
          </p:nvPr>
        </p:nvSpPr>
        <p:spPr>
          <a:xfrm>
            <a:off x="2600683" y="1614956"/>
            <a:ext cx="6992223" cy="3904102"/>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 name="Title 1">
            <a:extLst>
              <a:ext uri="{FF2B5EF4-FFF2-40B4-BE49-F238E27FC236}">
                <a16:creationId xmlns:a16="http://schemas.microsoft.com/office/drawing/2014/main" id="{9E7E88F5-D369-B5E8-346F-19CD58348CD4}"/>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C1A5512B-5BEA-917E-32FE-EA67BB6D091E}"/>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675A382E-848B-532C-6EE1-4DAC99A77161}"/>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8" name="TextBox 7">
            <a:extLst>
              <a:ext uri="{FF2B5EF4-FFF2-40B4-BE49-F238E27FC236}">
                <a16:creationId xmlns:a16="http://schemas.microsoft.com/office/drawing/2014/main" id="{56325CAD-D2AD-A4CC-7581-280CBE85E670}"/>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6" name="Picture 5">
            <a:extLst>
              <a:ext uri="{FF2B5EF4-FFF2-40B4-BE49-F238E27FC236}">
                <a16:creationId xmlns:a16="http://schemas.microsoft.com/office/drawing/2014/main" id="{CD9B83A3-35A3-A748-5354-E8F022EF843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1508201390"/>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 images + description">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5" name="Text Placeholder 4"/>
          <p:cNvSpPr>
            <a:spLocks noGrp="1"/>
          </p:cNvSpPr>
          <p:nvPr>
            <p:ph type="body" sz="quarter" idx="15"/>
          </p:nvPr>
        </p:nvSpPr>
        <p:spPr>
          <a:xfrm>
            <a:off x="565458" y="5689756"/>
            <a:ext cx="5342777"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7" name="Content Placeholder 6"/>
          <p:cNvSpPr>
            <a:spLocks noGrp="1"/>
          </p:cNvSpPr>
          <p:nvPr>
            <p:ph sz="quarter" idx="18" hasCustomPrompt="1"/>
          </p:nvPr>
        </p:nvSpPr>
        <p:spPr>
          <a:xfrm>
            <a:off x="565459" y="1614955"/>
            <a:ext cx="5342776" cy="3864451"/>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2" name="Text Placeholder 4"/>
          <p:cNvSpPr>
            <a:spLocks noGrp="1"/>
          </p:cNvSpPr>
          <p:nvPr>
            <p:ph type="body" sz="quarter" idx="19"/>
          </p:nvPr>
        </p:nvSpPr>
        <p:spPr>
          <a:xfrm>
            <a:off x="6251604" y="5689756"/>
            <a:ext cx="5342777"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33" name="Content Placeholder 6"/>
          <p:cNvSpPr>
            <a:spLocks noGrp="1"/>
          </p:cNvSpPr>
          <p:nvPr>
            <p:ph sz="quarter" idx="20" hasCustomPrompt="1"/>
          </p:nvPr>
        </p:nvSpPr>
        <p:spPr>
          <a:xfrm>
            <a:off x="6251605" y="1614955"/>
            <a:ext cx="5342776" cy="3864451"/>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 name="Title 1">
            <a:extLst>
              <a:ext uri="{FF2B5EF4-FFF2-40B4-BE49-F238E27FC236}">
                <a16:creationId xmlns:a16="http://schemas.microsoft.com/office/drawing/2014/main" id="{90E6320A-1F87-8EA3-F808-3E4EC991B123}"/>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9A5852C2-3026-2B9A-A292-E9D26B2874D0}"/>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C6B656C-52BA-08CB-942C-1AAFEA03D6B7}"/>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8" name="TextBox 7">
            <a:extLst>
              <a:ext uri="{FF2B5EF4-FFF2-40B4-BE49-F238E27FC236}">
                <a16:creationId xmlns:a16="http://schemas.microsoft.com/office/drawing/2014/main" id="{5406B0B8-DE6A-5EA0-6734-73B95E9FB636}"/>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6" name="Picture 5">
            <a:extLst>
              <a:ext uri="{FF2B5EF4-FFF2-40B4-BE49-F238E27FC236}">
                <a16:creationId xmlns:a16="http://schemas.microsoft.com/office/drawing/2014/main" id="{D01EBF42-3B81-8DF7-29AF-37FD73CBEC4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3219067252"/>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 images + descri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887A79-7AC5-5C4A-503C-92DC098B758E}"/>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4" name="Content Placeholder 3"/>
          <p:cNvSpPr>
            <a:spLocks noGrp="1"/>
          </p:cNvSpPr>
          <p:nvPr>
            <p:ph sz="quarter" idx="18" hasCustomPrompt="1"/>
          </p:nvPr>
        </p:nvSpPr>
        <p:spPr>
          <a:xfrm>
            <a:off x="565460"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5" name="Text Placeholder 4"/>
          <p:cNvSpPr>
            <a:spLocks noGrp="1"/>
          </p:cNvSpPr>
          <p:nvPr>
            <p:ph type="body" sz="quarter" idx="15"/>
          </p:nvPr>
        </p:nvSpPr>
        <p:spPr>
          <a:xfrm>
            <a:off x="551937" y="5098406"/>
            <a:ext cx="3529869"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6" name="Content Placeholder 3">
            <a:extLst>
              <a:ext uri="{FF2B5EF4-FFF2-40B4-BE49-F238E27FC236}">
                <a16:creationId xmlns:a16="http://schemas.microsoft.com/office/drawing/2014/main" id="{9E472C2D-B119-1348-ABB7-4B27DBE81FC4}"/>
              </a:ext>
            </a:extLst>
          </p:cNvPr>
          <p:cNvSpPr>
            <a:spLocks noGrp="1"/>
          </p:cNvSpPr>
          <p:nvPr>
            <p:ph sz="quarter" idx="19" hasCustomPrompt="1"/>
          </p:nvPr>
        </p:nvSpPr>
        <p:spPr>
          <a:xfrm>
            <a:off x="4315588"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7" name="Text Placeholder 4">
            <a:extLst>
              <a:ext uri="{FF2B5EF4-FFF2-40B4-BE49-F238E27FC236}">
                <a16:creationId xmlns:a16="http://schemas.microsoft.com/office/drawing/2014/main" id="{6B86DBF1-6757-494E-BB09-B02F75D7942F}"/>
              </a:ext>
            </a:extLst>
          </p:cNvPr>
          <p:cNvSpPr>
            <a:spLocks noGrp="1"/>
          </p:cNvSpPr>
          <p:nvPr>
            <p:ph type="body" sz="quarter" idx="20"/>
          </p:nvPr>
        </p:nvSpPr>
        <p:spPr>
          <a:xfrm>
            <a:off x="4315588" y="5098406"/>
            <a:ext cx="3529869"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8" name="Content Placeholder 3">
            <a:extLst>
              <a:ext uri="{FF2B5EF4-FFF2-40B4-BE49-F238E27FC236}">
                <a16:creationId xmlns:a16="http://schemas.microsoft.com/office/drawing/2014/main" id="{9D47F0CA-7587-3F49-929E-E48CC948FFEF}"/>
              </a:ext>
            </a:extLst>
          </p:cNvPr>
          <p:cNvSpPr>
            <a:spLocks noGrp="1"/>
          </p:cNvSpPr>
          <p:nvPr>
            <p:ph sz="quarter" idx="21" hasCustomPrompt="1"/>
          </p:nvPr>
        </p:nvSpPr>
        <p:spPr>
          <a:xfrm>
            <a:off x="8065717"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9" name="Text Placeholder 4">
            <a:extLst>
              <a:ext uri="{FF2B5EF4-FFF2-40B4-BE49-F238E27FC236}">
                <a16:creationId xmlns:a16="http://schemas.microsoft.com/office/drawing/2014/main" id="{C231C06B-3EE2-A348-A91C-CAFBBAF74FA0}"/>
              </a:ext>
            </a:extLst>
          </p:cNvPr>
          <p:cNvSpPr>
            <a:spLocks noGrp="1"/>
          </p:cNvSpPr>
          <p:nvPr>
            <p:ph type="body" sz="quarter" idx="22"/>
          </p:nvPr>
        </p:nvSpPr>
        <p:spPr>
          <a:xfrm>
            <a:off x="8065717" y="5098406"/>
            <a:ext cx="3529869"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3" name="Title 1">
            <a:extLst>
              <a:ext uri="{FF2B5EF4-FFF2-40B4-BE49-F238E27FC236}">
                <a16:creationId xmlns:a16="http://schemas.microsoft.com/office/drawing/2014/main" id="{DBF411DD-945C-4A72-1FBB-BC99017FA8F9}"/>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6" name="Text Placeholder 9">
            <a:extLst>
              <a:ext uri="{FF2B5EF4-FFF2-40B4-BE49-F238E27FC236}">
                <a16:creationId xmlns:a16="http://schemas.microsoft.com/office/drawing/2014/main" id="{7945EEC3-B051-A336-D42E-3BB3BFCED291}"/>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8" name="TextBox 7">
            <a:extLst>
              <a:ext uri="{FF2B5EF4-FFF2-40B4-BE49-F238E27FC236}">
                <a16:creationId xmlns:a16="http://schemas.microsoft.com/office/drawing/2014/main" id="{18E0ADA8-4CE7-A0B6-7DF3-AD8AA6E44AE0}"/>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7" name="Picture 6">
            <a:extLst>
              <a:ext uri="{FF2B5EF4-FFF2-40B4-BE49-F238E27FC236}">
                <a16:creationId xmlns:a16="http://schemas.microsoft.com/office/drawing/2014/main" id="{0868CC64-EC48-041D-72B1-0A43CCB0247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735659252"/>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 images + 2 descriptions">
    <p:spTree>
      <p:nvGrpSpPr>
        <p:cNvPr id="1" name=""/>
        <p:cNvGrpSpPr/>
        <p:nvPr/>
      </p:nvGrpSpPr>
      <p:grpSpPr>
        <a:xfrm>
          <a:off x="0" y="0"/>
          <a:ext cx="0" cy="0"/>
          <a:chOff x="0" y="0"/>
          <a:chExt cx="0" cy="0"/>
        </a:xfrm>
      </p:grpSpPr>
      <p:sp>
        <p:nvSpPr>
          <p:cNvPr id="39" name="Content Placeholder 3">
            <a:extLst>
              <a:ext uri="{FF2B5EF4-FFF2-40B4-BE49-F238E27FC236}">
                <a16:creationId xmlns:a16="http://schemas.microsoft.com/office/drawing/2014/main" id="{C5556837-BDFE-E242-99D1-8166180F539B}"/>
              </a:ext>
            </a:extLst>
          </p:cNvPr>
          <p:cNvSpPr>
            <a:spLocks noGrp="1"/>
          </p:cNvSpPr>
          <p:nvPr>
            <p:ph sz="quarter" idx="18" hasCustomPrompt="1"/>
          </p:nvPr>
        </p:nvSpPr>
        <p:spPr>
          <a:xfrm>
            <a:off x="565459" y="1643744"/>
            <a:ext cx="5813569" cy="4241088"/>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40" name="TextBox 39">
            <a:extLst>
              <a:ext uri="{FF2B5EF4-FFF2-40B4-BE49-F238E27FC236}">
                <a16:creationId xmlns:a16="http://schemas.microsoft.com/office/drawing/2014/main" id="{0048BF0C-D14A-7E47-833B-85CE24AA521B}"/>
              </a:ext>
            </a:extLst>
          </p:cNvPr>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41" name="Text Placeholder 4">
            <a:extLst>
              <a:ext uri="{FF2B5EF4-FFF2-40B4-BE49-F238E27FC236}">
                <a16:creationId xmlns:a16="http://schemas.microsoft.com/office/drawing/2014/main" id="{58350936-F007-3344-A8E4-C14AC8D0D88A}"/>
              </a:ext>
            </a:extLst>
          </p:cNvPr>
          <p:cNvSpPr>
            <a:spLocks noGrp="1"/>
          </p:cNvSpPr>
          <p:nvPr>
            <p:ph type="body" sz="quarter" idx="15"/>
          </p:nvPr>
        </p:nvSpPr>
        <p:spPr>
          <a:xfrm>
            <a:off x="551937" y="6137045"/>
            <a:ext cx="5827091" cy="152349"/>
          </a:xfrm>
          <a:prstGeom prst="rect">
            <a:avLst/>
          </a:prstGeom>
        </p:spPr>
        <p:txBody>
          <a:bodyPr lIns="0" tIns="0" rIns="0" bIns="0"/>
          <a:lstStyle>
            <a:lvl1pPr marL="0" indent="0">
              <a:buNone/>
              <a:defRPr sz="1100" b="0" i="0">
                <a:solidFill>
                  <a:schemeClr val="tx1"/>
                </a:solidFill>
                <a:latin typeface="Avenir Next LT Pro" panose="020B0504020202020204" pitchFamily="34" charset="77"/>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48" name="Content Placeholder 3">
            <a:extLst>
              <a:ext uri="{FF2B5EF4-FFF2-40B4-BE49-F238E27FC236}">
                <a16:creationId xmlns:a16="http://schemas.microsoft.com/office/drawing/2014/main" id="{1E636B30-B043-AE40-B4D1-1440A233CF1B}"/>
              </a:ext>
            </a:extLst>
          </p:cNvPr>
          <p:cNvSpPr>
            <a:spLocks noGrp="1"/>
          </p:cNvSpPr>
          <p:nvPr>
            <p:ph sz="quarter" idx="21" hasCustomPrompt="1"/>
          </p:nvPr>
        </p:nvSpPr>
        <p:spPr>
          <a:xfrm>
            <a:off x="6760029" y="1643744"/>
            <a:ext cx="4822372" cy="2015999"/>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49" name="Text Placeholder 4">
            <a:extLst>
              <a:ext uri="{FF2B5EF4-FFF2-40B4-BE49-F238E27FC236}">
                <a16:creationId xmlns:a16="http://schemas.microsoft.com/office/drawing/2014/main" id="{13317509-5BA7-7B49-B291-1D234B9200C0}"/>
              </a:ext>
            </a:extLst>
          </p:cNvPr>
          <p:cNvSpPr>
            <a:spLocks noGrp="1"/>
          </p:cNvSpPr>
          <p:nvPr>
            <p:ph type="body" sz="quarter" idx="22"/>
          </p:nvPr>
        </p:nvSpPr>
        <p:spPr>
          <a:xfrm>
            <a:off x="6760029" y="6137045"/>
            <a:ext cx="4834352" cy="152349"/>
          </a:xfrm>
          <a:prstGeom prst="rect">
            <a:avLst/>
          </a:prstGeom>
        </p:spPr>
        <p:txBody>
          <a:bodyPr lIns="0" tIns="0" rIns="0" bIns="0"/>
          <a:lstStyle>
            <a:lvl1pPr marL="0" indent="0">
              <a:buNone/>
              <a:defRPr sz="1100" b="0" i="0">
                <a:solidFill>
                  <a:schemeClr val="tx1"/>
                </a:solidFill>
                <a:latin typeface="Avenir Next LT Pro" panose="020B0504020202020204" pitchFamily="34" charset="77"/>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17" name="Content Placeholder 3">
            <a:extLst>
              <a:ext uri="{FF2B5EF4-FFF2-40B4-BE49-F238E27FC236}">
                <a16:creationId xmlns:a16="http://schemas.microsoft.com/office/drawing/2014/main" id="{555198F4-2AED-4042-90ED-D3C7174E0906}"/>
              </a:ext>
            </a:extLst>
          </p:cNvPr>
          <p:cNvSpPr>
            <a:spLocks noGrp="1"/>
          </p:cNvSpPr>
          <p:nvPr>
            <p:ph sz="quarter" idx="23" hasCustomPrompt="1"/>
          </p:nvPr>
        </p:nvSpPr>
        <p:spPr>
          <a:xfrm>
            <a:off x="6760029" y="3868833"/>
            <a:ext cx="4822372" cy="2015999"/>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 name="Title 1">
            <a:extLst>
              <a:ext uri="{FF2B5EF4-FFF2-40B4-BE49-F238E27FC236}">
                <a16:creationId xmlns:a16="http://schemas.microsoft.com/office/drawing/2014/main" id="{A1C802F1-24AD-3A78-7C86-064CB6E48912}"/>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855BFB9C-1F29-A563-18B2-BD4359EBF425}"/>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473329C1-6E5B-4C40-9A11-15766FF1966D}"/>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292EA12C-5836-B803-B30F-EF095C838C0B}"/>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Picture 3">
            <a:extLst>
              <a:ext uri="{FF2B5EF4-FFF2-40B4-BE49-F238E27FC236}">
                <a16:creationId xmlns:a16="http://schemas.microsoft.com/office/drawing/2014/main" id="{25C0507E-1054-3EFD-89B2-C9FDA34FAA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3128127532"/>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images + 3 descriptions">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033F5C5-16D7-5349-8E7D-96E1C3D759DD}"/>
              </a:ext>
            </a:extLst>
          </p:cNvPr>
          <p:cNvSpPr/>
          <p:nvPr userDrawn="1"/>
        </p:nvSpPr>
        <p:spPr>
          <a:xfrm>
            <a:off x="0" y="1378193"/>
            <a:ext cx="12193588" cy="554256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14" name="Content Placeholder 3">
            <a:extLst>
              <a:ext uri="{FF2B5EF4-FFF2-40B4-BE49-F238E27FC236}">
                <a16:creationId xmlns:a16="http://schemas.microsoft.com/office/drawing/2014/main" id="{48548963-850E-7645-960B-31854F07CC34}"/>
              </a:ext>
            </a:extLst>
          </p:cNvPr>
          <p:cNvSpPr>
            <a:spLocks noGrp="1"/>
          </p:cNvSpPr>
          <p:nvPr>
            <p:ph sz="quarter" idx="18" hasCustomPrompt="1"/>
          </p:nvPr>
        </p:nvSpPr>
        <p:spPr>
          <a:xfrm>
            <a:off x="553156" y="157268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3" name="Text Placeholder 4">
            <a:extLst>
              <a:ext uri="{FF2B5EF4-FFF2-40B4-BE49-F238E27FC236}">
                <a16:creationId xmlns:a16="http://schemas.microsoft.com/office/drawing/2014/main" id="{0C8C808D-06BD-6347-9DEF-E094B0E9857F}"/>
              </a:ext>
            </a:extLst>
          </p:cNvPr>
          <p:cNvSpPr>
            <a:spLocks noGrp="1"/>
          </p:cNvSpPr>
          <p:nvPr>
            <p:ph type="body" sz="quarter" idx="15"/>
          </p:nvPr>
        </p:nvSpPr>
        <p:spPr>
          <a:xfrm>
            <a:off x="553156" y="6170723"/>
            <a:ext cx="3403643"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5" name="Text Placeholder 4">
            <a:extLst>
              <a:ext uri="{FF2B5EF4-FFF2-40B4-BE49-F238E27FC236}">
                <a16:creationId xmlns:a16="http://schemas.microsoft.com/office/drawing/2014/main" id="{204D55EA-A258-1E4C-A2FC-05363299092D}"/>
              </a:ext>
            </a:extLst>
          </p:cNvPr>
          <p:cNvSpPr>
            <a:spLocks noGrp="1"/>
          </p:cNvSpPr>
          <p:nvPr>
            <p:ph type="body" sz="quarter" idx="16"/>
          </p:nvPr>
        </p:nvSpPr>
        <p:spPr>
          <a:xfrm>
            <a:off x="4363864" y="6170723"/>
            <a:ext cx="3403643"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6" name="Text Placeholder 4">
            <a:extLst>
              <a:ext uri="{FF2B5EF4-FFF2-40B4-BE49-F238E27FC236}">
                <a16:creationId xmlns:a16="http://schemas.microsoft.com/office/drawing/2014/main" id="{71EFA00C-64E9-F849-BD3C-AACA0E678F63}"/>
              </a:ext>
            </a:extLst>
          </p:cNvPr>
          <p:cNvSpPr>
            <a:spLocks noGrp="1"/>
          </p:cNvSpPr>
          <p:nvPr>
            <p:ph type="body" sz="quarter" idx="17"/>
          </p:nvPr>
        </p:nvSpPr>
        <p:spPr>
          <a:xfrm>
            <a:off x="8174573" y="6170723"/>
            <a:ext cx="3403643"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31" name="Content Placeholder 3">
            <a:extLst>
              <a:ext uri="{FF2B5EF4-FFF2-40B4-BE49-F238E27FC236}">
                <a16:creationId xmlns:a16="http://schemas.microsoft.com/office/drawing/2014/main" id="{4CCC79FF-C617-C74F-BF72-F5C76E459D28}"/>
              </a:ext>
            </a:extLst>
          </p:cNvPr>
          <p:cNvSpPr>
            <a:spLocks noGrp="1"/>
          </p:cNvSpPr>
          <p:nvPr>
            <p:ph sz="quarter" idx="19" hasCustomPrompt="1"/>
          </p:nvPr>
        </p:nvSpPr>
        <p:spPr>
          <a:xfrm>
            <a:off x="553156" y="386957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2" name="Content Placeholder 3">
            <a:extLst>
              <a:ext uri="{FF2B5EF4-FFF2-40B4-BE49-F238E27FC236}">
                <a16:creationId xmlns:a16="http://schemas.microsoft.com/office/drawing/2014/main" id="{C862AF82-E3E8-4149-8264-3D55C0745FF3}"/>
              </a:ext>
            </a:extLst>
          </p:cNvPr>
          <p:cNvSpPr>
            <a:spLocks noGrp="1"/>
          </p:cNvSpPr>
          <p:nvPr>
            <p:ph sz="quarter" idx="20" hasCustomPrompt="1"/>
          </p:nvPr>
        </p:nvSpPr>
        <p:spPr>
          <a:xfrm>
            <a:off x="4363864" y="157268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3" name="Content Placeholder 3">
            <a:extLst>
              <a:ext uri="{FF2B5EF4-FFF2-40B4-BE49-F238E27FC236}">
                <a16:creationId xmlns:a16="http://schemas.microsoft.com/office/drawing/2014/main" id="{89C9B33E-10C8-3E4B-B48E-B7D88ED06055}"/>
              </a:ext>
            </a:extLst>
          </p:cNvPr>
          <p:cNvSpPr>
            <a:spLocks noGrp="1"/>
          </p:cNvSpPr>
          <p:nvPr>
            <p:ph sz="quarter" idx="21" hasCustomPrompt="1"/>
          </p:nvPr>
        </p:nvSpPr>
        <p:spPr>
          <a:xfrm>
            <a:off x="4363864" y="386957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4" name="Content Placeholder 3">
            <a:extLst>
              <a:ext uri="{FF2B5EF4-FFF2-40B4-BE49-F238E27FC236}">
                <a16:creationId xmlns:a16="http://schemas.microsoft.com/office/drawing/2014/main" id="{5635AEBB-B1FB-6840-ADCC-1597D1AF3F91}"/>
              </a:ext>
            </a:extLst>
          </p:cNvPr>
          <p:cNvSpPr>
            <a:spLocks noGrp="1"/>
          </p:cNvSpPr>
          <p:nvPr>
            <p:ph sz="quarter" idx="22" hasCustomPrompt="1"/>
          </p:nvPr>
        </p:nvSpPr>
        <p:spPr>
          <a:xfrm>
            <a:off x="8174573" y="157268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5" name="Content Placeholder 3">
            <a:extLst>
              <a:ext uri="{FF2B5EF4-FFF2-40B4-BE49-F238E27FC236}">
                <a16:creationId xmlns:a16="http://schemas.microsoft.com/office/drawing/2014/main" id="{9E3CF042-61F1-6B48-A9AB-9D779D5930C7}"/>
              </a:ext>
            </a:extLst>
          </p:cNvPr>
          <p:cNvSpPr>
            <a:spLocks noGrp="1"/>
          </p:cNvSpPr>
          <p:nvPr>
            <p:ph sz="quarter" idx="23" hasCustomPrompt="1"/>
          </p:nvPr>
        </p:nvSpPr>
        <p:spPr>
          <a:xfrm>
            <a:off x="8174573" y="386957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 name="Title 1">
            <a:extLst>
              <a:ext uri="{FF2B5EF4-FFF2-40B4-BE49-F238E27FC236}">
                <a16:creationId xmlns:a16="http://schemas.microsoft.com/office/drawing/2014/main" id="{112FB729-071E-1871-BA5E-79483A528C42}"/>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500D1A7D-D4EF-9BAB-1744-2BE5E43E5FFA}"/>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6D13B62E-1EE5-3622-9E0A-519228BE4E07}"/>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B61B4EC2-6396-6CE8-6AB5-5F7C04DA813A}"/>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Graphic 3">
            <a:extLst>
              <a:ext uri="{FF2B5EF4-FFF2-40B4-BE49-F238E27FC236}">
                <a16:creationId xmlns:a16="http://schemas.microsoft.com/office/drawing/2014/main" id="{FE59DFE2-2989-D5D7-242F-8C6FB2F136C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4027165263"/>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4 images + 2 descriptions">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3F2B81F-6CDB-F24D-8286-75432400221E}"/>
              </a:ext>
            </a:extLst>
          </p:cNvPr>
          <p:cNvSpPr/>
          <p:nvPr userDrawn="1"/>
        </p:nvSpPr>
        <p:spPr>
          <a:xfrm>
            <a:off x="0" y="1378193"/>
            <a:ext cx="12193588" cy="554256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14" name="Content Placeholder 3">
            <a:extLst>
              <a:ext uri="{FF2B5EF4-FFF2-40B4-BE49-F238E27FC236}">
                <a16:creationId xmlns:a16="http://schemas.microsoft.com/office/drawing/2014/main" id="{78184602-ED9E-A547-B64C-B428E9D1E2BA}"/>
              </a:ext>
            </a:extLst>
          </p:cNvPr>
          <p:cNvSpPr>
            <a:spLocks noGrp="1"/>
          </p:cNvSpPr>
          <p:nvPr>
            <p:ph sz="quarter" idx="18" hasCustomPrompt="1"/>
          </p:nvPr>
        </p:nvSpPr>
        <p:spPr>
          <a:xfrm>
            <a:off x="553155" y="157268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3" name="Text Placeholder 4">
            <a:extLst>
              <a:ext uri="{FF2B5EF4-FFF2-40B4-BE49-F238E27FC236}">
                <a16:creationId xmlns:a16="http://schemas.microsoft.com/office/drawing/2014/main" id="{6D9F47C3-F248-E446-A670-634F129672B4}"/>
              </a:ext>
            </a:extLst>
          </p:cNvPr>
          <p:cNvSpPr>
            <a:spLocks noGrp="1"/>
          </p:cNvSpPr>
          <p:nvPr>
            <p:ph type="body" sz="quarter" idx="15"/>
          </p:nvPr>
        </p:nvSpPr>
        <p:spPr>
          <a:xfrm>
            <a:off x="553156" y="6170723"/>
            <a:ext cx="5388150"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9" name="Content Placeholder 3">
            <a:extLst>
              <a:ext uri="{FF2B5EF4-FFF2-40B4-BE49-F238E27FC236}">
                <a16:creationId xmlns:a16="http://schemas.microsoft.com/office/drawing/2014/main" id="{DBFE4DB6-4FEC-C543-9EB1-5F14AB473EFC}"/>
              </a:ext>
            </a:extLst>
          </p:cNvPr>
          <p:cNvSpPr>
            <a:spLocks noGrp="1"/>
          </p:cNvSpPr>
          <p:nvPr>
            <p:ph sz="quarter" idx="19" hasCustomPrompt="1"/>
          </p:nvPr>
        </p:nvSpPr>
        <p:spPr>
          <a:xfrm>
            <a:off x="553155" y="386957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0" name="Content Placeholder 3">
            <a:extLst>
              <a:ext uri="{FF2B5EF4-FFF2-40B4-BE49-F238E27FC236}">
                <a16:creationId xmlns:a16="http://schemas.microsoft.com/office/drawing/2014/main" id="{6990879E-A79F-3046-820F-0ED3521D3FBF}"/>
              </a:ext>
            </a:extLst>
          </p:cNvPr>
          <p:cNvSpPr>
            <a:spLocks noGrp="1"/>
          </p:cNvSpPr>
          <p:nvPr>
            <p:ph sz="quarter" idx="20" hasCustomPrompt="1"/>
          </p:nvPr>
        </p:nvSpPr>
        <p:spPr>
          <a:xfrm>
            <a:off x="6224613" y="157268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1" name="Text Placeholder 4">
            <a:extLst>
              <a:ext uri="{FF2B5EF4-FFF2-40B4-BE49-F238E27FC236}">
                <a16:creationId xmlns:a16="http://schemas.microsoft.com/office/drawing/2014/main" id="{D0AD178D-3412-A242-9FCD-611D216F2C6A}"/>
              </a:ext>
            </a:extLst>
          </p:cNvPr>
          <p:cNvSpPr>
            <a:spLocks noGrp="1"/>
          </p:cNvSpPr>
          <p:nvPr>
            <p:ph type="body" sz="quarter" idx="21"/>
          </p:nvPr>
        </p:nvSpPr>
        <p:spPr>
          <a:xfrm>
            <a:off x="6224614" y="6170723"/>
            <a:ext cx="5388150"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32" name="Content Placeholder 3">
            <a:extLst>
              <a:ext uri="{FF2B5EF4-FFF2-40B4-BE49-F238E27FC236}">
                <a16:creationId xmlns:a16="http://schemas.microsoft.com/office/drawing/2014/main" id="{F102D9E7-8CD9-FF47-BD72-00062EAA2C8C}"/>
              </a:ext>
            </a:extLst>
          </p:cNvPr>
          <p:cNvSpPr>
            <a:spLocks noGrp="1"/>
          </p:cNvSpPr>
          <p:nvPr>
            <p:ph sz="quarter" idx="22" hasCustomPrompt="1"/>
          </p:nvPr>
        </p:nvSpPr>
        <p:spPr>
          <a:xfrm>
            <a:off x="6224613" y="386957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 name="Title 1">
            <a:extLst>
              <a:ext uri="{FF2B5EF4-FFF2-40B4-BE49-F238E27FC236}">
                <a16:creationId xmlns:a16="http://schemas.microsoft.com/office/drawing/2014/main" id="{2F104133-4D7E-D456-337C-AAD749B9AF56}"/>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482525F2-8639-91D5-5A92-E03A1FA83782}"/>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1649404D-A47B-3834-7A04-D3603B3FE1B2}"/>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968A5D60-F214-33D8-BE42-D68156BF52C8}"/>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Picture 3">
            <a:extLst>
              <a:ext uri="{FF2B5EF4-FFF2-40B4-BE49-F238E27FC236}">
                <a16:creationId xmlns:a16="http://schemas.microsoft.com/office/drawing/2014/main" id="{AF189AB9-8147-D69E-0B41-9208AE5D19B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1650445718"/>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6 images + 3 descriptions">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033F5C5-16D7-5349-8E7D-96E1C3D759DD}"/>
              </a:ext>
            </a:extLst>
          </p:cNvPr>
          <p:cNvSpPr/>
          <p:nvPr userDrawn="1"/>
        </p:nvSpPr>
        <p:spPr>
          <a:xfrm>
            <a:off x="0" y="1378193"/>
            <a:ext cx="12193588" cy="554256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14" name="Content Placeholder 3">
            <a:extLst>
              <a:ext uri="{FF2B5EF4-FFF2-40B4-BE49-F238E27FC236}">
                <a16:creationId xmlns:a16="http://schemas.microsoft.com/office/drawing/2014/main" id="{48548963-850E-7645-960B-31854F07CC34}"/>
              </a:ext>
            </a:extLst>
          </p:cNvPr>
          <p:cNvSpPr>
            <a:spLocks noGrp="1"/>
          </p:cNvSpPr>
          <p:nvPr>
            <p:ph sz="quarter" idx="18" hasCustomPrompt="1"/>
          </p:nvPr>
        </p:nvSpPr>
        <p:spPr>
          <a:xfrm>
            <a:off x="553156" y="157268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3" name="Text Placeholder 4">
            <a:extLst>
              <a:ext uri="{FF2B5EF4-FFF2-40B4-BE49-F238E27FC236}">
                <a16:creationId xmlns:a16="http://schemas.microsoft.com/office/drawing/2014/main" id="{0C8C808D-06BD-6347-9DEF-E094B0E9857F}"/>
              </a:ext>
            </a:extLst>
          </p:cNvPr>
          <p:cNvSpPr>
            <a:spLocks noGrp="1"/>
          </p:cNvSpPr>
          <p:nvPr>
            <p:ph type="body" sz="quarter" idx="15"/>
          </p:nvPr>
        </p:nvSpPr>
        <p:spPr>
          <a:xfrm>
            <a:off x="553156" y="6170723"/>
            <a:ext cx="3403643"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5" name="Text Placeholder 4">
            <a:extLst>
              <a:ext uri="{FF2B5EF4-FFF2-40B4-BE49-F238E27FC236}">
                <a16:creationId xmlns:a16="http://schemas.microsoft.com/office/drawing/2014/main" id="{204D55EA-A258-1E4C-A2FC-05363299092D}"/>
              </a:ext>
            </a:extLst>
          </p:cNvPr>
          <p:cNvSpPr>
            <a:spLocks noGrp="1"/>
          </p:cNvSpPr>
          <p:nvPr>
            <p:ph type="body" sz="quarter" idx="16"/>
          </p:nvPr>
        </p:nvSpPr>
        <p:spPr>
          <a:xfrm>
            <a:off x="4363864" y="6170723"/>
            <a:ext cx="3403643"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6" name="Text Placeholder 4">
            <a:extLst>
              <a:ext uri="{FF2B5EF4-FFF2-40B4-BE49-F238E27FC236}">
                <a16:creationId xmlns:a16="http://schemas.microsoft.com/office/drawing/2014/main" id="{71EFA00C-64E9-F849-BD3C-AACA0E678F63}"/>
              </a:ext>
            </a:extLst>
          </p:cNvPr>
          <p:cNvSpPr>
            <a:spLocks noGrp="1"/>
          </p:cNvSpPr>
          <p:nvPr>
            <p:ph type="body" sz="quarter" idx="17"/>
          </p:nvPr>
        </p:nvSpPr>
        <p:spPr>
          <a:xfrm>
            <a:off x="8174573" y="6170723"/>
            <a:ext cx="3403643"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31" name="Content Placeholder 3">
            <a:extLst>
              <a:ext uri="{FF2B5EF4-FFF2-40B4-BE49-F238E27FC236}">
                <a16:creationId xmlns:a16="http://schemas.microsoft.com/office/drawing/2014/main" id="{4CCC79FF-C617-C74F-BF72-F5C76E459D28}"/>
              </a:ext>
            </a:extLst>
          </p:cNvPr>
          <p:cNvSpPr>
            <a:spLocks noGrp="1"/>
          </p:cNvSpPr>
          <p:nvPr>
            <p:ph sz="quarter" idx="19" hasCustomPrompt="1"/>
          </p:nvPr>
        </p:nvSpPr>
        <p:spPr>
          <a:xfrm>
            <a:off x="553156" y="386957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2" name="Content Placeholder 3">
            <a:extLst>
              <a:ext uri="{FF2B5EF4-FFF2-40B4-BE49-F238E27FC236}">
                <a16:creationId xmlns:a16="http://schemas.microsoft.com/office/drawing/2014/main" id="{C862AF82-E3E8-4149-8264-3D55C0745FF3}"/>
              </a:ext>
            </a:extLst>
          </p:cNvPr>
          <p:cNvSpPr>
            <a:spLocks noGrp="1"/>
          </p:cNvSpPr>
          <p:nvPr>
            <p:ph sz="quarter" idx="20" hasCustomPrompt="1"/>
          </p:nvPr>
        </p:nvSpPr>
        <p:spPr>
          <a:xfrm>
            <a:off x="4363864" y="157268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3" name="Content Placeholder 3">
            <a:extLst>
              <a:ext uri="{FF2B5EF4-FFF2-40B4-BE49-F238E27FC236}">
                <a16:creationId xmlns:a16="http://schemas.microsoft.com/office/drawing/2014/main" id="{89C9B33E-10C8-3E4B-B48E-B7D88ED06055}"/>
              </a:ext>
            </a:extLst>
          </p:cNvPr>
          <p:cNvSpPr>
            <a:spLocks noGrp="1"/>
          </p:cNvSpPr>
          <p:nvPr>
            <p:ph sz="quarter" idx="21" hasCustomPrompt="1"/>
          </p:nvPr>
        </p:nvSpPr>
        <p:spPr>
          <a:xfrm>
            <a:off x="4363864" y="386957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4" name="Content Placeholder 3">
            <a:extLst>
              <a:ext uri="{FF2B5EF4-FFF2-40B4-BE49-F238E27FC236}">
                <a16:creationId xmlns:a16="http://schemas.microsoft.com/office/drawing/2014/main" id="{5635AEBB-B1FB-6840-ADCC-1597D1AF3F91}"/>
              </a:ext>
            </a:extLst>
          </p:cNvPr>
          <p:cNvSpPr>
            <a:spLocks noGrp="1"/>
          </p:cNvSpPr>
          <p:nvPr>
            <p:ph sz="quarter" idx="22" hasCustomPrompt="1"/>
          </p:nvPr>
        </p:nvSpPr>
        <p:spPr>
          <a:xfrm>
            <a:off x="8174573" y="157268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5" name="Content Placeholder 3">
            <a:extLst>
              <a:ext uri="{FF2B5EF4-FFF2-40B4-BE49-F238E27FC236}">
                <a16:creationId xmlns:a16="http://schemas.microsoft.com/office/drawing/2014/main" id="{9E3CF042-61F1-6B48-A9AB-9D779D5930C7}"/>
              </a:ext>
            </a:extLst>
          </p:cNvPr>
          <p:cNvSpPr>
            <a:spLocks noGrp="1"/>
          </p:cNvSpPr>
          <p:nvPr>
            <p:ph sz="quarter" idx="23" hasCustomPrompt="1"/>
          </p:nvPr>
        </p:nvSpPr>
        <p:spPr>
          <a:xfrm>
            <a:off x="8174573" y="386957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 name="Title 1">
            <a:extLst>
              <a:ext uri="{FF2B5EF4-FFF2-40B4-BE49-F238E27FC236}">
                <a16:creationId xmlns:a16="http://schemas.microsoft.com/office/drawing/2014/main" id="{112FB729-071E-1871-BA5E-79483A528C42}"/>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500D1A7D-D4EF-9BAB-1744-2BE5E43E5FFA}"/>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6D13B62E-1EE5-3622-9E0A-519228BE4E07}"/>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B61B4EC2-6396-6CE8-6AB5-5F7C04DA813A}"/>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Picture 3">
            <a:extLst>
              <a:ext uri="{FF2B5EF4-FFF2-40B4-BE49-F238E27FC236}">
                <a16:creationId xmlns:a16="http://schemas.microsoft.com/office/drawing/2014/main" id="{63058E0D-57E1-8092-DA82-B0A858F42BF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4020368857"/>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mage left + text right">
    <p:spTree>
      <p:nvGrpSpPr>
        <p:cNvPr id="1" name=""/>
        <p:cNvGrpSpPr/>
        <p:nvPr/>
      </p:nvGrpSpPr>
      <p:grpSpPr>
        <a:xfrm>
          <a:off x="0" y="0"/>
          <a:ext cx="0" cy="0"/>
          <a:chOff x="0" y="0"/>
          <a:chExt cx="0" cy="0"/>
        </a:xfrm>
      </p:grpSpPr>
      <p:sp>
        <p:nvSpPr>
          <p:cNvPr id="17" name="TextBox 16"/>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1" name="Content Placeholder 6"/>
          <p:cNvSpPr>
            <a:spLocks noGrp="1"/>
          </p:cNvSpPr>
          <p:nvPr>
            <p:ph sz="quarter" idx="18" hasCustomPrompt="1"/>
          </p:nvPr>
        </p:nvSpPr>
        <p:spPr>
          <a:xfrm>
            <a:off x="565458" y="1676608"/>
            <a:ext cx="5719896" cy="4519943"/>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15" name="Text Placeholder 2"/>
          <p:cNvSpPr>
            <a:spLocks noGrp="1"/>
          </p:cNvSpPr>
          <p:nvPr>
            <p:ph type="body" sz="quarter" idx="12"/>
          </p:nvPr>
        </p:nvSpPr>
        <p:spPr>
          <a:xfrm>
            <a:off x="6631291" y="1676608"/>
            <a:ext cx="4963090" cy="4519943"/>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80CD31E6-457F-345A-584B-4FD13F51130D}"/>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4376E91E-6700-6F11-61ED-B6004D3C6C8D}"/>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FDDA0F93-8A90-0112-0786-678344CFE135}"/>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FA7DFE73-B464-BFF4-B6FB-7DBE2B3902B4}"/>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Picture 3">
            <a:extLst>
              <a:ext uri="{FF2B5EF4-FFF2-40B4-BE49-F238E27FC236}">
                <a16:creationId xmlns:a16="http://schemas.microsoft.com/office/drawing/2014/main" id="{D3A7F102-6038-65DD-2831-09C14DF61E6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390183999"/>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mage right + text left">
    <p:spTree>
      <p:nvGrpSpPr>
        <p:cNvPr id="1" name=""/>
        <p:cNvGrpSpPr/>
        <p:nvPr/>
      </p:nvGrpSpPr>
      <p:grpSpPr>
        <a:xfrm>
          <a:off x="0" y="0"/>
          <a:ext cx="0" cy="0"/>
          <a:chOff x="0" y="0"/>
          <a:chExt cx="0" cy="0"/>
        </a:xfrm>
      </p:grpSpPr>
      <p:sp>
        <p:nvSpPr>
          <p:cNvPr id="17" name="TextBox 16"/>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3" name="Content Placeholder 6"/>
          <p:cNvSpPr>
            <a:spLocks noGrp="1"/>
          </p:cNvSpPr>
          <p:nvPr>
            <p:ph sz="quarter" idx="18" hasCustomPrompt="1"/>
          </p:nvPr>
        </p:nvSpPr>
        <p:spPr>
          <a:xfrm>
            <a:off x="5868399" y="1676608"/>
            <a:ext cx="5719896" cy="4519943"/>
          </a:xfrm>
          <a:prstGeom prst="rect">
            <a:avLst/>
          </a:prstGeom>
        </p:spPr>
        <p:txBody>
          <a:bodyPr>
            <a:normAutofit/>
          </a:bodyPr>
          <a:lstStyle>
            <a:lvl1pPr marL="0" indent="0">
              <a:buFont typeface="Arial" charset="0"/>
              <a:buNone/>
              <a:defRPr sz="2000"/>
            </a:lvl1pPr>
          </a:lstStyle>
          <a:p>
            <a:r>
              <a:rPr lang="en-US"/>
              <a:t>Insert graph </a:t>
            </a:r>
            <a:r>
              <a:rPr lang="mr-IN"/>
              <a:t>–</a:t>
            </a:r>
            <a:r>
              <a:rPr lang="en-US"/>
              <a:t> Drag picture to placeholder or click on icon </a:t>
            </a:r>
          </a:p>
        </p:txBody>
      </p:sp>
      <p:sp>
        <p:nvSpPr>
          <p:cNvPr id="16" name="Text Placeholder 2"/>
          <p:cNvSpPr>
            <a:spLocks noGrp="1"/>
          </p:cNvSpPr>
          <p:nvPr>
            <p:ph type="body" sz="quarter" idx="12"/>
          </p:nvPr>
        </p:nvSpPr>
        <p:spPr>
          <a:xfrm>
            <a:off x="565460" y="1676608"/>
            <a:ext cx="4963090" cy="4519943"/>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C20DAD90-B4BF-1D5F-D032-10D4F3E8D123}"/>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4D63374E-93AD-26A8-FE04-9A6DBDFE1C4D}"/>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1B07A46E-BDD6-9B21-DCA5-8D8A02B85D1F}"/>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3FE8C249-9948-5463-D195-11DD65F4A81D}"/>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Picture 3">
            <a:extLst>
              <a:ext uri="{FF2B5EF4-FFF2-40B4-BE49-F238E27FC236}">
                <a16:creationId xmlns:a16="http://schemas.microsoft.com/office/drawing/2014/main" id="{F7C47882-3E2B-37B6-C7B5-371F05DC281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468898913"/>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Right half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6096794" y="1"/>
            <a:ext cx="6096794" cy="221599"/>
          </a:xfrm>
          <a:prstGeom prst="rect">
            <a:avLst/>
          </a:prstGeom>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10" name="Text Placeholder 2"/>
          <p:cNvSpPr>
            <a:spLocks noGrp="1"/>
          </p:cNvSpPr>
          <p:nvPr>
            <p:ph type="body" sz="quarter" idx="12"/>
          </p:nvPr>
        </p:nvSpPr>
        <p:spPr>
          <a:xfrm>
            <a:off x="565224" y="1997776"/>
            <a:ext cx="5266953" cy="4324710"/>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616C7696-1129-ACBF-CBE9-7B0D8A3F8509}"/>
              </a:ext>
            </a:extLst>
          </p:cNvPr>
          <p:cNvSpPr>
            <a:spLocks noGrp="1"/>
          </p:cNvSpPr>
          <p:nvPr>
            <p:ph type="title"/>
          </p:nvPr>
        </p:nvSpPr>
        <p:spPr>
          <a:xfrm>
            <a:off x="565460" y="552715"/>
            <a:ext cx="5064376" cy="830997"/>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6422030B-6CEB-0FAB-8779-819BEDC3ED89}"/>
              </a:ext>
            </a:extLst>
          </p:cNvPr>
          <p:cNvSpPr>
            <a:spLocks noGrp="1"/>
          </p:cNvSpPr>
          <p:nvPr>
            <p:ph type="body" sz="quarter" idx="11"/>
          </p:nvPr>
        </p:nvSpPr>
        <p:spPr>
          <a:xfrm>
            <a:off x="565459" y="1021031"/>
            <a:ext cx="5064377" cy="207134"/>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4" name="Picture 3">
            <a:extLst>
              <a:ext uri="{FF2B5EF4-FFF2-40B4-BE49-F238E27FC236}">
                <a16:creationId xmlns:a16="http://schemas.microsoft.com/office/drawing/2014/main" id="{F95D5B66-2802-F64D-CA99-4B338D62B48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83170" y="204716"/>
            <a:ext cx="1358721" cy="826913"/>
          </a:xfrm>
          <a:prstGeom prst="rect">
            <a:avLst/>
          </a:prstGeom>
        </p:spPr>
      </p:pic>
      <p:sp>
        <p:nvSpPr>
          <p:cNvPr id="5" name="TextBox 4">
            <a:extLst>
              <a:ext uri="{FF2B5EF4-FFF2-40B4-BE49-F238E27FC236}">
                <a16:creationId xmlns:a16="http://schemas.microsoft.com/office/drawing/2014/main" id="{6BD23979-BEBD-2BF8-17AE-82B147276BF9}"/>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CA7883C1-F457-9ACB-4755-8CC5D9084EBB}"/>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extLst>
      <p:ext uri="{BB962C8B-B14F-4D97-AF65-F5344CB8AC3E}">
        <p14:creationId xmlns:p14="http://schemas.microsoft.com/office/powerpoint/2010/main" val="1625351434"/>
      </p:ext>
    </p:extLst>
  </p:cSld>
  <p:clrMapOvr>
    <a:masterClrMapping/>
  </p:clrMapOvr>
  <p:transition spd="slow">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Right half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8DEE52-360F-D14A-9CAE-7B1FA2B9C68A}"/>
              </a:ext>
            </a:extLst>
          </p:cNvPr>
          <p:cNvSpPr/>
          <p:nvPr userDrawn="1"/>
        </p:nvSpPr>
        <p:spPr>
          <a:xfrm>
            <a:off x="0" y="0"/>
            <a:ext cx="609679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7" name="Picture Placeholder 3"/>
          <p:cNvSpPr>
            <a:spLocks noGrp="1"/>
          </p:cNvSpPr>
          <p:nvPr>
            <p:ph type="pic" sz="quarter" idx="10"/>
          </p:nvPr>
        </p:nvSpPr>
        <p:spPr>
          <a:xfrm>
            <a:off x="6096794" y="1"/>
            <a:ext cx="6096794" cy="221599"/>
          </a:xfrm>
          <a:prstGeom prst="rect">
            <a:avLst/>
          </a:prstGeom>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10" name="Text Placeholder 2"/>
          <p:cNvSpPr>
            <a:spLocks noGrp="1"/>
          </p:cNvSpPr>
          <p:nvPr>
            <p:ph type="body" sz="quarter" idx="12"/>
          </p:nvPr>
        </p:nvSpPr>
        <p:spPr>
          <a:xfrm>
            <a:off x="565224" y="1997776"/>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Title 1">
            <a:extLst>
              <a:ext uri="{FF2B5EF4-FFF2-40B4-BE49-F238E27FC236}">
                <a16:creationId xmlns:a16="http://schemas.microsoft.com/office/drawing/2014/main" id="{E12170D0-3B32-A0D7-A2D9-F64DF9CDD823}"/>
              </a:ext>
            </a:extLst>
          </p:cNvPr>
          <p:cNvSpPr>
            <a:spLocks noGrp="1"/>
          </p:cNvSpPr>
          <p:nvPr>
            <p:ph type="title"/>
          </p:nvPr>
        </p:nvSpPr>
        <p:spPr>
          <a:xfrm>
            <a:off x="565459" y="552715"/>
            <a:ext cx="5046447" cy="830997"/>
          </a:xfrm>
        </p:spPr>
        <p:txBody>
          <a:bodyPr/>
          <a:lstStyle>
            <a:lvl1pPr>
              <a:defRPr>
                <a:solidFill>
                  <a:schemeClr val="bg1"/>
                </a:solidFill>
              </a:defRPr>
            </a:lvl1pPr>
          </a:lstStyle>
          <a:p>
            <a:r>
              <a:rPr lang="en-US"/>
              <a:t>Click to edit Master title style</a:t>
            </a:r>
          </a:p>
        </p:txBody>
      </p:sp>
      <p:sp>
        <p:nvSpPr>
          <p:cNvPr id="4" name="Text Placeholder 9">
            <a:extLst>
              <a:ext uri="{FF2B5EF4-FFF2-40B4-BE49-F238E27FC236}">
                <a16:creationId xmlns:a16="http://schemas.microsoft.com/office/drawing/2014/main" id="{7C789ED9-BED9-7CDF-19E0-DA293B36E478}"/>
              </a:ext>
            </a:extLst>
          </p:cNvPr>
          <p:cNvSpPr>
            <a:spLocks noGrp="1"/>
          </p:cNvSpPr>
          <p:nvPr>
            <p:ph type="body" sz="quarter" idx="11"/>
          </p:nvPr>
        </p:nvSpPr>
        <p:spPr>
          <a:xfrm>
            <a:off x="565460" y="1021031"/>
            <a:ext cx="5040194"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5" name="Picture 4">
            <a:extLst>
              <a:ext uri="{FF2B5EF4-FFF2-40B4-BE49-F238E27FC236}">
                <a16:creationId xmlns:a16="http://schemas.microsoft.com/office/drawing/2014/main" id="{CD570D53-D6A9-8B3D-6294-1654E6CB465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83170" y="204716"/>
            <a:ext cx="1358721" cy="826913"/>
          </a:xfrm>
          <a:prstGeom prst="rect">
            <a:avLst/>
          </a:prstGeom>
        </p:spPr>
      </p:pic>
      <p:sp>
        <p:nvSpPr>
          <p:cNvPr id="6" name="TextBox 5">
            <a:extLst>
              <a:ext uri="{FF2B5EF4-FFF2-40B4-BE49-F238E27FC236}">
                <a16:creationId xmlns:a16="http://schemas.microsoft.com/office/drawing/2014/main" id="{6E8EDD47-C182-51B1-2C87-4F506A84C49D}"/>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8" name="TextBox 7">
            <a:extLst>
              <a:ext uri="{FF2B5EF4-FFF2-40B4-BE49-F238E27FC236}">
                <a16:creationId xmlns:a16="http://schemas.microsoft.com/office/drawing/2014/main" id="{81601D58-CDAD-05EF-75AA-FDE4E24526DD}"/>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extLst>
      <p:ext uri="{BB962C8B-B14F-4D97-AF65-F5344CB8AC3E}">
        <p14:creationId xmlns:p14="http://schemas.microsoft.com/office/powerpoint/2010/main" val="299897091"/>
      </p:ext>
    </p:extLst>
  </p:cSld>
  <p:clrMapOvr>
    <a:masterClrMapping/>
  </p:clrMapOvr>
  <p:transition spd="slow">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_Right half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8DEE52-360F-D14A-9CAE-7B1FA2B9C68A}"/>
              </a:ext>
            </a:extLst>
          </p:cNvPr>
          <p:cNvSpPr/>
          <p:nvPr userDrawn="1"/>
        </p:nvSpPr>
        <p:spPr>
          <a:xfrm>
            <a:off x="0" y="0"/>
            <a:ext cx="60967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7" name="Picture Placeholder 3"/>
          <p:cNvSpPr>
            <a:spLocks noGrp="1"/>
          </p:cNvSpPr>
          <p:nvPr>
            <p:ph type="pic" sz="quarter" idx="10"/>
          </p:nvPr>
        </p:nvSpPr>
        <p:spPr>
          <a:xfrm>
            <a:off x="6096794" y="1"/>
            <a:ext cx="6096794" cy="221599"/>
          </a:xfrm>
          <a:prstGeom prst="rect">
            <a:avLst/>
          </a:prstGeom>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10" name="Text Placeholder 2"/>
          <p:cNvSpPr>
            <a:spLocks noGrp="1"/>
          </p:cNvSpPr>
          <p:nvPr>
            <p:ph type="body" sz="quarter" idx="12"/>
          </p:nvPr>
        </p:nvSpPr>
        <p:spPr>
          <a:xfrm>
            <a:off x="565224" y="1997776"/>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Title 1">
            <a:extLst>
              <a:ext uri="{FF2B5EF4-FFF2-40B4-BE49-F238E27FC236}">
                <a16:creationId xmlns:a16="http://schemas.microsoft.com/office/drawing/2014/main" id="{E12170D0-3B32-A0D7-A2D9-F64DF9CDD823}"/>
              </a:ext>
            </a:extLst>
          </p:cNvPr>
          <p:cNvSpPr>
            <a:spLocks noGrp="1"/>
          </p:cNvSpPr>
          <p:nvPr>
            <p:ph type="title"/>
          </p:nvPr>
        </p:nvSpPr>
        <p:spPr>
          <a:xfrm>
            <a:off x="565459" y="552715"/>
            <a:ext cx="5046447" cy="830997"/>
          </a:xfrm>
        </p:spPr>
        <p:txBody>
          <a:bodyPr/>
          <a:lstStyle>
            <a:lvl1pPr>
              <a:defRPr>
                <a:solidFill>
                  <a:schemeClr val="bg1"/>
                </a:solidFill>
              </a:defRPr>
            </a:lvl1pPr>
          </a:lstStyle>
          <a:p>
            <a:r>
              <a:rPr lang="en-US"/>
              <a:t>Click to edit Master title style</a:t>
            </a:r>
          </a:p>
        </p:txBody>
      </p:sp>
      <p:sp>
        <p:nvSpPr>
          <p:cNvPr id="4" name="Text Placeholder 9">
            <a:extLst>
              <a:ext uri="{FF2B5EF4-FFF2-40B4-BE49-F238E27FC236}">
                <a16:creationId xmlns:a16="http://schemas.microsoft.com/office/drawing/2014/main" id="{7C789ED9-BED9-7CDF-19E0-DA293B36E478}"/>
              </a:ext>
            </a:extLst>
          </p:cNvPr>
          <p:cNvSpPr>
            <a:spLocks noGrp="1"/>
          </p:cNvSpPr>
          <p:nvPr>
            <p:ph type="body" sz="quarter" idx="11"/>
          </p:nvPr>
        </p:nvSpPr>
        <p:spPr>
          <a:xfrm>
            <a:off x="565460" y="1021031"/>
            <a:ext cx="5040194"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5" name="Picture 4">
            <a:extLst>
              <a:ext uri="{FF2B5EF4-FFF2-40B4-BE49-F238E27FC236}">
                <a16:creationId xmlns:a16="http://schemas.microsoft.com/office/drawing/2014/main" id="{CD570D53-D6A9-8B3D-6294-1654E6CB465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83170" y="204716"/>
            <a:ext cx="1358721" cy="826913"/>
          </a:xfrm>
          <a:prstGeom prst="rect">
            <a:avLst/>
          </a:prstGeom>
        </p:spPr>
      </p:pic>
      <p:sp>
        <p:nvSpPr>
          <p:cNvPr id="6" name="TextBox 5">
            <a:extLst>
              <a:ext uri="{FF2B5EF4-FFF2-40B4-BE49-F238E27FC236}">
                <a16:creationId xmlns:a16="http://schemas.microsoft.com/office/drawing/2014/main" id="{6E8EDD47-C182-51B1-2C87-4F506A84C49D}"/>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8" name="TextBox 7">
            <a:extLst>
              <a:ext uri="{FF2B5EF4-FFF2-40B4-BE49-F238E27FC236}">
                <a16:creationId xmlns:a16="http://schemas.microsoft.com/office/drawing/2014/main" id="{81601D58-CDAD-05EF-75AA-FDE4E24526DD}"/>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extLst>
      <p:ext uri="{BB962C8B-B14F-4D97-AF65-F5344CB8AC3E}">
        <p14:creationId xmlns:p14="http://schemas.microsoft.com/office/powerpoint/2010/main" val="3512213509"/>
      </p:ext>
    </p:extLst>
  </p:cSld>
  <p:clrMapOvr>
    <a:masterClrMapping/>
  </p:clrMapOvr>
  <p:transition spd="slow">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1_Left half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0" y="1"/>
            <a:ext cx="6096794" cy="2215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69" y="1924052"/>
            <a:ext cx="5266953" cy="4398433"/>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E3E4F818-3A7D-2AB5-57A3-ED45588D3948}"/>
              </a:ext>
            </a:extLst>
          </p:cNvPr>
          <p:cNvSpPr>
            <a:spLocks noGrp="1"/>
          </p:cNvSpPr>
          <p:nvPr>
            <p:ph type="title"/>
          </p:nvPr>
        </p:nvSpPr>
        <p:spPr>
          <a:xfrm>
            <a:off x="6446569" y="552715"/>
            <a:ext cx="5266953" cy="830997"/>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8A4AE163-B4FC-2BA1-4A79-5AC44435AD0C}"/>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4" name="Picture 3">
            <a:extLst>
              <a:ext uri="{FF2B5EF4-FFF2-40B4-BE49-F238E27FC236}">
                <a16:creationId xmlns:a16="http://schemas.microsoft.com/office/drawing/2014/main" id="{C7E3A211-9B52-F264-6FDC-D3E77A7D400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50197" y="204716"/>
            <a:ext cx="1358721" cy="826913"/>
          </a:xfrm>
          <a:prstGeom prst="rect">
            <a:avLst/>
          </a:prstGeom>
        </p:spPr>
      </p:pic>
      <p:pic>
        <p:nvPicPr>
          <p:cNvPr id="5" name="Picture 4">
            <a:extLst>
              <a:ext uri="{FF2B5EF4-FFF2-40B4-BE49-F238E27FC236}">
                <a16:creationId xmlns:a16="http://schemas.microsoft.com/office/drawing/2014/main" id="{1BC274B4-07B7-5DA0-DF33-F57B9851733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2597" y="357116"/>
            <a:ext cx="1358721" cy="826913"/>
          </a:xfrm>
          <a:prstGeom prst="rect">
            <a:avLst/>
          </a:prstGeom>
        </p:spPr>
      </p:pic>
      <p:sp>
        <p:nvSpPr>
          <p:cNvPr id="8" name="TextBox 7">
            <a:extLst>
              <a:ext uri="{FF2B5EF4-FFF2-40B4-BE49-F238E27FC236}">
                <a16:creationId xmlns:a16="http://schemas.microsoft.com/office/drawing/2014/main" id="{EA7DD7ED-38EA-248E-6A37-DDDBF2A49851}"/>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9" name="TextBox 8">
            <a:extLst>
              <a:ext uri="{FF2B5EF4-FFF2-40B4-BE49-F238E27FC236}">
                <a16:creationId xmlns:a16="http://schemas.microsoft.com/office/drawing/2014/main" id="{67C06B24-EBD2-9679-25F3-969411C769BD}"/>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extLst>
      <p:ext uri="{BB962C8B-B14F-4D97-AF65-F5344CB8AC3E}">
        <p14:creationId xmlns:p14="http://schemas.microsoft.com/office/powerpoint/2010/main" val="398984540"/>
      </p:ext>
    </p:extLst>
  </p:cSld>
  <p:clrMapOvr>
    <a:masterClrMapping/>
  </p:clrMapOvr>
  <p:transition spd="slow">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Left half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F95D9BF-B5A2-7247-9F4C-290817CA94AF}"/>
              </a:ext>
            </a:extLst>
          </p:cNvPr>
          <p:cNvSpPr/>
          <p:nvPr userDrawn="1"/>
        </p:nvSpPr>
        <p:spPr>
          <a:xfrm>
            <a:off x="6096794" y="0"/>
            <a:ext cx="609679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7" name="Picture Placeholder 3"/>
          <p:cNvSpPr>
            <a:spLocks noGrp="1"/>
          </p:cNvSpPr>
          <p:nvPr>
            <p:ph type="pic" sz="quarter" idx="10"/>
          </p:nvPr>
        </p:nvSpPr>
        <p:spPr>
          <a:xfrm>
            <a:off x="0" y="1"/>
            <a:ext cx="6096794" cy="2215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69" y="1924052"/>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4" name="Title 1">
            <a:extLst>
              <a:ext uri="{FF2B5EF4-FFF2-40B4-BE49-F238E27FC236}">
                <a16:creationId xmlns:a16="http://schemas.microsoft.com/office/drawing/2014/main" id="{DA047FE9-9C49-EB6D-2238-A8736778D9BF}"/>
              </a:ext>
            </a:extLst>
          </p:cNvPr>
          <p:cNvSpPr>
            <a:spLocks noGrp="1"/>
          </p:cNvSpPr>
          <p:nvPr>
            <p:ph type="title"/>
          </p:nvPr>
        </p:nvSpPr>
        <p:spPr>
          <a:xfrm>
            <a:off x="6446569" y="552715"/>
            <a:ext cx="5266953" cy="830997"/>
          </a:xfrm>
        </p:spPr>
        <p:txBody>
          <a:bodyPr/>
          <a:lstStyle>
            <a:lvl1pPr>
              <a:defRPr>
                <a:solidFill>
                  <a:schemeClr val="bg1"/>
                </a:solidFill>
              </a:defRPr>
            </a:lvl1pPr>
          </a:lstStyle>
          <a:p>
            <a:r>
              <a:rPr lang="en-US"/>
              <a:t>Click to edit Master title style</a:t>
            </a:r>
          </a:p>
        </p:txBody>
      </p:sp>
      <p:sp>
        <p:nvSpPr>
          <p:cNvPr id="5" name="Text Placeholder 9">
            <a:extLst>
              <a:ext uri="{FF2B5EF4-FFF2-40B4-BE49-F238E27FC236}">
                <a16:creationId xmlns:a16="http://schemas.microsoft.com/office/drawing/2014/main" id="{DEB7BC04-5F36-58FD-B27A-C6E6E6064FD4}"/>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2DC6463-53AF-2341-D32C-EDEAE3A3F7C8}"/>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bg1"/>
                </a:solidFill>
                <a:latin typeface="Avenir Next LT Pro" panose="020B0504020202020204" pitchFamily="34" charset="77"/>
              </a:rPr>
              <a:pPr algn="r"/>
              <a:t>‹#›</a:t>
            </a:fld>
            <a:endParaRPr lang="en-US" sz="1000" b="0" i="0" spc="40" baseline="0">
              <a:solidFill>
                <a:schemeClr val="bg1"/>
              </a:solidFill>
              <a:latin typeface="Avenir Next LT Pro" panose="020B0504020202020204" pitchFamily="34" charset="77"/>
            </a:endParaRPr>
          </a:p>
        </p:txBody>
      </p:sp>
    </p:spTree>
    <p:extLst>
      <p:ext uri="{BB962C8B-B14F-4D97-AF65-F5344CB8AC3E}">
        <p14:creationId xmlns:p14="http://schemas.microsoft.com/office/powerpoint/2010/main" val="921837834"/>
      </p:ext>
    </p:extLst>
  </p:cSld>
  <p:clrMapOvr>
    <a:masterClrMapping/>
  </p:clrMapOvr>
  <p:transition spd="slow">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2_Left half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F95D9BF-B5A2-7247-9F4C-290817CA94AF}"/>
              </a:ext>
            </a:extLst>
          </p:cNvPr>
          <p:cNvSpPr/>
          <p:nvPr userDrawn="1"/>
        </p:nvSpPr>
        <p:spPr>
          <a:xfrm>
            <a:off x="6096794" y="0"/>
            <a:ext cx="6096794" cy="6858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7" name="Picture Placeholder 3"/>
          <p:cNvSpPr>
            <a:spLocks noGrp="1"/>
          </p:cNvSpPr>
          <p:nvPr>
            <p:ph type="pic" sz="quarter" idx="10"/>
          </p:nvPr>
        </p:nvSpPr>
        <p:spPr>
          <a:xfrm>
            <a:off x="0" y="1"/>
            <a:ext cx="6096794" cy="2215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69" y="1924052"/>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4" name="Title 1">
            <a:extLst>
              <a:ext uri="{FF2B5EF4-FFF2-40B4-BE49-F238E27FC236}">
                <a16:creationId xmlns:a16="http://schemas.microsoft.com/office/drawing/2014/main" id="{DA047FE9-9C49-EB6D-2238-A8736778D9BF}"/>
              </a:ext>
            </a:extLst>
          </p:cNvPr>
          <p:cNvSpPr>
            <a:spLocks noGrp="1"/>
          </p:cNvSpPr>
          <p:nvPr>
            <p:ph type="title"/>
          </p:nvPr>
        </p:nvSpPr>
        <p:spPr>
          <a:xfrm>
            <a:off x="6446569" y="552715"/>
            <a:ext cx="5266953" cy="830997"/>
          </a:xfrm>
        </p:spPr>
        <p:txBody>
          <a:bodyPr/>
          <a:lstStyle>
            <a:lvl1pPr>
              <a:defRPr>
                <a:solidFill>
                  <a:schemeClr val="bg1"/>
                </a:solidFill>
              </a:defRPr>
            </a:lvl1pPr>
          </a:lstStyle>
          <a:p>
            <a:r>
              <a:rPr lang="en-US"/>
              <a:t>Click to edit Master title style</a:t>
            </a:r>
          </a:p>
        </p:txBody>
      </p:sp>
      <p:sp>
        <p:nvSpPr>
          <p:cNvPr id="5" name="Text Placeholder 9">
            <a:extLst>
              <a:ext uri="{FF2B5EF4-FFF2-40B4-BE49-F238E27FC236}">
                <a16:creationId xmlns:a16="http://schemas.microsoft.com/office/drawing/2014/main" id="{DEB7BC04-5F36-58FD-B27A-C6E6E6064FD4}"/>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2DC6463-53AF-2341-D32C-EDEAE3A3F7C8}"/>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1"/>
                </a:solidFill>
                <a:latin typeface="Avenir Next LT Pro" panose="020B0504020202020204" pitchFamily="34" charset="77"/>
              </a:rPr>
              <a:pPr algn="r"/>
              <a:t>‹#›</a:t>
            </a:fld>
            <a:endParaRPr lang="en-US" sz="1000" b="0" i="0" spc="40" baseline="0">
              <a:solidFill>
                <a:schemeClr val="tx1"/>
              </a:solidFill>
              <a:latin typeface="Avenir Next LT Pro" panose="020B0504020202020204" pitchFamily="34" charset="77"/>
            </a:endParaRPr>
          </a:p>
        </p:txBody>
      </p:sp>
    </p:spTree>
    <p:extLst>
      <p:ext uri="{BB962C8B-B14F-4D97-AF65-F5344CB8AC3E}">
        <p14:creationId xmlns:p14="http://schemas.microsoft.com/office/powerpoint/2010/main" val="2227229694"/>
      </p:ext>
    </p:extLst>
  </p:cSld>
  <p:clrMapOvr>
    <a:masterClrMapping/>
  </p:clrMapOvr>
  <p:transition spd="slow">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ight half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6096794" y="1"/>
            <a:ext cx="6096794" cy="221599"/>
          </a:xfrm>
          <a:prstGeom prst="rect">
            <a:avLst/>
          </a:prstGeom>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10" name="Text Placeholder 2"/>
          <p:cNvSpPr>
            <a:spLocks noGrp="1"/>
          </p:cNvSpPr>
          <p:nvPr>
            <p:ph type="body" sz="quarter" idx="12"/>
          </p:nvPr>
        </p:nvSpPr>
        <p:spPr>
          <a:xfrm>
            <a:off x="565224" y="1997776"/>
            <a:ext cx="5266953" cy="4324710"/>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616C7696-1129-ACBF-CBE9-7B0D8A3F8509}"/>
              </a:ext>
            </a:extLst>
          </p:cNvPr>
          <p:cNvSpPr>
            <a:spLocks noGrp="1"/>
          </p:cNvSpPr>
          <p:nvPr>
            <p:ph type="title"/>
          </p:nvPr>
        </p:nvSpPr>
        <p:spPr>
          <a:xfrm>
            <a:off x="565460" y="552715"/>
            <a:ext cx="5064376" cy="830997"/>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6422030B-6CEB-0FAB-8779-819BEDC3ED89}"/>
              </a:ext>
            </a:extLst>
          </p:cNvPr>
          <p:cNvSpPr>
            <a:spLocks noGrp="1"/>
          </p:cNvSpPr>
          <p:nvPr>
            <p:ph type="body" sz="quarter" idx="11"/>
          </p:nvPr>
        </p:nvSpPr>
        <p:spPr>
          <a:xfrm>
            <a:off x="565459" y="1021031"/>
            <a:ext cx="5064377" cy="207134"/>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4" name="Picture 3">
            <a:extLst>
              <a:ext uri="{FF2B5EF4-FFF2-40B4-BE49-F238E27FC236}">
                <a16:creationId xmlns:a16="http://schemas.microsoft.com/office/drawing/2014/main" id="{F95D5B66-2802-F64D-CA99-4B338D62B48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83170" y="204716"/>
            <a:ext cx="1358721" cy="826913"/>
          </a:xfrm>
          <a:prstGeom prst="rect">
            <a:avLst/>
          </a:prstGeom>
        </p:spPr>
      </p:pic>
      <p:sp>
        <p:nvSpPr>
          <p:cNvPr id="5" name="TextBox 4">
            <a:extLst>
              <a:ext uri="{FF2B5EF4-FFF2-40B4-BE49-F238E27FC236}">
                <a16:creationId xmlns:a16="http://schemas.microsoft.com/office/drawing/2014/main" id="{6BD23979-BEBD-2BF8-17AE-82B147276BF9}"/>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CA7883C1-F457-9ACB-4755-8CC5D9084EBB}"/>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cSld>
  <p:clrMapOvr>
    <a:masterClrMapping/>
  </p:clrMapOvr>
  <p:transition spd="slow">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3_Left half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F95D9BF-B5A2-7247-9F4C-290817CA94AF}"/>
              </a:ext>
            </a:extLst>
          </p:cNvPr>
          <p:cNvSpPr/>
          <p:nvPr userDrawn="1"/>
        </p:nvSpPr>
        <p:spPr>
          <a:xfrm>
            <a:off x="6096794" y="0"/>
            <a:ext cx="6096794"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7" name="Picture Placeholder 3"/>
          <p:cNvSpPr>
            <a:spLocks noGrp="1"/>
          </p:cNvSpPr>
          <p:nvPr>
            <p:ph type="pic" sz="quarter" idx="10"/>
          </p:nvPr>
        </p:nvSpPr>
        <p:spPr>
          <a:xfrm>
            <a:off x="0" y="1"/>
            <a:ext cx="6096794" cy="2215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69" y="1924052"/>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4" name="Title 1">
            <a:extLst>
              <a:ext uri="{FF2B5EF4-FFF2-40B4-BE49-F238E27FC236}">
                <a16:creationId xmlns:a16="http://schemas.microsoft.com/office/drawing/2014/main" id="{DA047FE9-9C49-EB6D-2238-A8736778D9BF}"/>
              </a:ext>
            </a:extLst>
          </p:cNvPr>
          <p:cNvSpPr>
            <a:spLocks noGrp="1"/>
          </p:cNvSpPr>
          <p:nvPr>
            <p:ph type="title"/>
          </p:nvPr>
        </p:nvSpPr>
        <p:spPr>
          <a:xfrm>
            <a:off x="6446569" y="552715"/>
            <a:ext cx="5266953" cy="830997"/>
          </a:xfrm>
        </p:spPr>
        <p:txBody>
          <a:bodyPr/>
          <a:lstStyle>
            <a:lvl1pPr>
              <a:defRPr>
                <a:solidFill>
                  <a:schemeClr val="bg1"/>
                </a:solidFill>
              </a:defRPr>
            </a:lvl1pPr>
          </a:lstStyle>
          <a:p>
            <a:r>
              <a:rPr lang="en-US"/>
              <a:t>Click to edit Master title style</a:t>
            </a:r>
          </a:p>
        </p:txBody>
      </p:sp>
      <p:sp>
        <p:nvSpPr>
          <p:cNvPr id="5" name="Text Placeholder 9">
            <a:extLst>
              <a:ext uri="{FF2B5EF4-FFF2-40B4-BE49-F238E27FC236}">
                <a16:creationId xmlns:a16="http://schemas.microsoft.com/office/drawing/2014/main" id="{DEB7BC04-5F36-58FD-B27A-C6E6E6064FD4}"/>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2DC6463-53AF-2341-D32C-EDEAE3A3F7C8}"/>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1"/>
                </a:solidFill>
                <a:latin typeface="Avenir Next LT Pro" panose="020B0504020202020204" pitchFamily="34" charset="77"/>
              </a:rPr>
              <a:pPr algn="r"/>
              <a:t>‹#›</a:t>
            </a:fld>
            <a:endParaRPr lang="en-US" sz="1000" b="0" i="0" spc="40" baseline="0">
              <a:solidFill>
                <a:schemeClr val="tx1"/>
              </a:solidFill>
              <a:latin typeface="Avenir Next LT Pro" panose="020B0504020202020204" pitchFamily="34" charset="77"/>
            </a:endParaRPr>
          </a:p>
        </p:txBody>
      </p:sp>
    </p:spTree>
    <p:extLst>
      <p:ext uri="{BB962C8B-B14F-4D97-AF65-F5344CB8AC3E}">
        <p14:creationId xmlns:p14="http://schemas.microsoft.com/office/powerpoint/2010/main" val="4217192382"/>
      </p:ext>
    </p:extLst>
  </p:cSld>
  <p:clrMapOvr>
    <a:masterClrMapping/>
  </p:clrMapOvr>
  <p:transition spd="slow">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8_Page break V1">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AD348AC-6CB6-9787-9690-FCC0ED20C326}"/>
              </a:ext>
            </a:extLst>
          </p:cNvPr>
          <p:cNvSpPr/>
          <p:nvPr userDrawn="1"/>
        </p:nvSpPr>
        <p:spPr>
          <a:xfrm>
            <a:off x="-10241" y="0"/>
            <a:ext cx="12203829" cy="6889150"/>
          </a:xfrm>
          <a:prstGeom prst="rect">
            <a:avLst/>
          </a:prstGeom>
          <a:solidFill>
            <a:srgbClr val="0019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5" name="Title 1">
            <a:extLst>
              <a:ext uri="{FF2B5EF4-FFF2-40B4-BE49-F238E27FC236}">
                <a16:creationId xmlns:a16="http://schemas.microsoft.com/office/drawing/2014/main" id="{32815878-B5E4-F12D-4AED-850BCEA8F7CB}"/>
              </a:ext>
            </a:extLst>
          </p:cNvPr>
          <p:cNvSpPr>
            <a:spLocks noGrp="1"/>
          </p:cNvSpPr>
          <p:nvPr>
            <p:ph type="title"/>
          </p:nvPr>
        </p:nvSpPr>
        <p:spPr>
          <a:xfrm>
            <a:off x="565459" y="552715"/>
            <a:ext cx="10017711" cy="387798"/>
          </a:xfrm>
        </p:spPr>
        <p:txBody>
          <a:bodyPr/>
          <a:lstStyle>
            <a:lvl1pPr>
              <a:defRPr>
                <a:solidFill>
                  <a:schemeClr val="bg1"/>
                </a:solidFill>
              </a:defRPr>
            </a:lvl1pPr>
          </a:lstStyle>
          <a:p>
            <a:r>
              <a:rPr lang="en-US"/>
              <a:t>Click to edit Master title style</a:t>
            </a:r>
          </a:p>
        </p:txBody>
      </p:sp>
      <p:sp>
        <p:nvSpPr>
          <p:cNvPr id="6" name="Text Placeholder 9">
            <a:extLst>
              <a:ext uri="{FF2B5EF4-FFF2-40B4-BE49-F238E27FC236}">
                <a16:creationId xmlns:a16="http://schemas.microsoft.com/office/drawing/2014/main" id="{2DCEFB29-3102-A477-5698-738DA1D8AC21}"/>
              </a:ext>
            </a:extLst>
          </p:cNvPr>
          <p:cNvSpPr>
            <a:spLocks noGrp="1"/>
          </p:cNvSpPr>
          <p:nvPr>
            <p:ph type="body" sz="quarter" idx="11"/>
          </p:nvPr>
        </p:nvSpPr>
        <p:spPr>
          <a:xfrm>
            <a:off x="565459"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7" name="Graphic 6">
            <a:extLst>
              <a:ext uri="{FF2B5EF4-FFF2-40B4-BE49-F238E27FC236}">
                <a16:creationId xmlns:a16="http://schemas.microsoft.com/office/drawing/2014/main" id="{A32AFBD3-5B32-87F4-97E9-80118918530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2" name="TextBox 1">
            <a:extLst>
              <a:ext uri="{FF2B5EF4-FFF2-40B4-BE49-F238E27FC236}">
                <a16:creationId xmlns:a16="http://schemas.microsoft.com/office/drawing/2014/main" id="{FA131241-A01C-873C-E99D-747EA42EB178}"/>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Tree>
    <p:extLst>
      <p:ext uri="{BB962C8B-B14F-4D97-AF65-F5344CB8AC3E}">
        <p14:creationId xmlns:p14="http://schemas.microsoft.com/office/powerpoint/2010/main" val="3295249630"/>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13_Page break V1">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4620260-3DA9-5AE3-1C8A-4CDFA2FD8360}"/>
              </a:ext>
            </a:extLst>
          </p:cNvPr>
          <p:cNvSpPr/>
          <p:nvPr userDrawn="1"/>
        </p:nvSpPr>
        <p:spPr>
          <a:xfrm>
            <a:off x="-10241" y="0"/>
            <a:ext cx="6096003" cy="6889150"/>
          </a:xfrm>
          <a:prstGeom prst="rect">
            <a:avLst/>
          </a:prstGeom>
          <a:solidFill>
            <a:srgbClr val="0019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11" name="Title 1">
            <a:extLst>
              <a:ext uri="{FF2B5EF4-FFF2-40B4-BE49-F238E27FC236}">
                <a16:creationId xmlns:a16="http://schemas.microsoft.com/office/drawing/2014/main" id="{217B33A1-77D1-BA89-A17B-305986D5621F}"/>
              </a:ext>
            </a:extLst>
          </p:cNvPr>
          <p:cNvSpPr>
            <a:spLocks noGrp="1"/>
          </p:cNvSpPr>
          <p:nvPr>
            <p:ph type="title"/>
          </p:nvPr>
        </p:nvSpPr>
        <p:spPr>
          <a:xfrm>
            <a:off x="565459" y="2260113"/>
            <a:ext cx="5046447" cy="1155783"/>
          </a:xfrm>
          <a:prstGeom prst="rect">
            <a:avLst/>
          </a:prstGeom>
        </p:spPr>
        <p:txBody>
          <a:bodyPr lIns="0" tIns="0" rIns="0" bIns="0"/>
          <a:lstStyle>
            <a:lvl1pPr>
              <a:defRPr sz="3400" b="1" i="0">
                <a:solidFill>
                  <a:schemeClr val="accent2"/>
                </a:solidFill>
                <a:latin typeface="Avenir Next LT Pro" panose="020B0504020202020204" pitchFamily="34" charset="77"/>
              </a:defRPr>
            </a:lvl1pPr>
          </a:lstStyle>
          <a:p>
            <a:r>
              <a:rPr lang="en-US"/>
              <a:t>Click to edit Master title style</a:t>
            </a:r>
          </a:p>
        </p:txBody>
      </p:sp>
      <p:sp>
        <p:nvSpPr>
          <p:cNvPr id="13" name="Text Placeholder 9">
            <a:extLst>
              <a:ext uri="{FF2B5EF4-FFF2-40B4-BE49-F238E27FC236}">
                <a16:creationId xmlns:a16="http://schemas.microsoft.com/office/drawing/2014/main" id="{9BF14781-F7C5-28CD-EA36-2EA983C7DA17}"/>
              </a:ext>
            </a:extLst>
          </p:cNvPr>
          <p:cNvSpPr>
            <a:spLocks noGrp="1"/>
          </p:cNvSpPr>
          <p:nvPr>
            <p:ph type="body" sz="quarter" idx="12" hasCustomPrompt="1"/>
          </p:nvPr>
        </p:nvSpPr>
        <p:spPr>
          <a:xfrm>
            <a:off x="549242" y="4040923"/>
            <a:ext cx="4897401"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Insert location, place, date, time etc.)</a:t>
            </a:r>
          </a:p>
        </p:txBody>
      </p:sp>
    </p:spTree>
    <p:extLst>
      <p:ext uri="{BB962C8B-B14F-4D97-AF65-F5344CB8AC3E}">
        <p14:creationId xmlns:p14="http://schemas.microsoft.com/office/powerpoint/2010/main" val="2151615219"/>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_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2" name="Title 1">
            <a:extLst>
              <a:ext uri="{FF2B5EF4-FFF2-40B4-BE49-F238E27FC236}">
                <a16:creationId xmlns:a16="http://schemas.microsoft.com/office/drawing/2014/main" id="{083E5FDF-E153-FB83-59F8-C3342050DE2D}"/>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9DD7CAFE-A12E-5475-CF59-1899CB4CCFB7}"/>
              </a:ext>
            </a:extLst>
          </p:cNvPr>
          <p:cNvSpPr>
            <a:spLocks noGrp="1"/>
          </p:cNvSpPr>
          <p:nvPr>
            <p:ph type="body" sz="quarter" idx="11"/>
          </p:nvPr>
        </p:nvSpPr>
        <p:spPr>
          <a:xfrm>
            <a:off x="565459"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F2A6583E-996E-9E75-7882-FF852DCA2D48}"/>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0AD12B55-5B5E-CC98-9236-6E85084425FA}"/>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Picture 3">
            <a:extLst>
              <a:ext uri="{FF2B5EF4-FFF2-40B4-BE49-F238E27FC236}">
                <a16:creationId xmlns:a16="http://schemas.microsoft.com/office/drawing/2014/main" id="{996F81F4-4828-193F-705E-9368373FC5E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574077981"/>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4_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7" name="Rectangle 6">
            <a:extLst>
              <a:ext uri="{FF2B5EF4-FFF2-40B4-BE49-F238E27FC236}">
                <a16:creationId xmlns:a16="http://schemas.microsoft.com/office/drawing/2014/main" id="{9DB270F1-B40D-2246-A956-F1D47E227370}"/>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2" name="Title 1">
            <a:extLst>
              <a:ext uri="{FF2B5EF4-FFF2-40B4-BE49-F238E27FC236}">
                <a16:creationId xmlns:a16="http://schemas.microsoft.com/office/drawing/2014/main" id="{C48E50A3-CD8F-C800-8D64-A2446E516B96}"/>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BEEB4D7A-3FF8-2422-96A4-39526DE5BA7E}"/>
              </a:ext>
            </a:extLst>
          </p:cNvPr>
          <p:cNvSpPr>
            <a:spLocks noGrp="1"/>
          </p:cNvSpPr>
          <p:nvPr>
            <p:ph type="body" sz="quarter" idx="11"/>
          </p:nvPr>
        </p:nvSpPr>
        <p:spPr>
          <a:xfrm>
            <a:off x="565459"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CC426A7C-39F7-A545-D883-51CB79E99304}"/>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4" name="Picture 3">
            <a:extLst>
              <a:ext uri="{FF2B5EF4-FFF2-40B4-BE49-F238E27FC236}">
                <a16:creationId xmlns:a16="http://schemas.microsoft.com/office/drawing/2014/main" id="{CB4DAC4E-87BC-3629-670B-911794B03E1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3788208738"/>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3_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2" name="Rectangle 1">
            <a:extLst>
              <a:ext uri="{FF2B5EF4-FFF2-40B4-BE49-F238E27FC236}">
                <a16:creationId xmlns:a16="http://schemas.microsoft.com/office/drawing/2014/main" id="{13782217-6487-F6BB-01E4-499FC8E30A1F}"/>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3" name="Title 1">
            <a:extLst>
              <a:ext uri="{FF2B5EF4-FFF2-40B4-BE49-F238E27FC236}">
                <a16:creationId xmlns:a16="http://schemas.microsoft.com/office/drawing/2014/main" id="{89549BBD-E8E8-2346-3D50-48B478C393EF}"/>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18774A25-19A6-95AF-8FB4-98DFE8F1382B}"/>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9027F306-9D8C-2F25-FD18-D6EB3DE8FC5D}"/>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382D8668-7E35-E451-A960-F5E235DC9D98}"/>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extLst>
      <p:ext uri="{BB962C8B-B14F-4D97-AF65-F5344CB8AC3E}">
        <p14:creationId xmlns:p14="http://schemas.microsoft.com/office/powerpoint/2010/main" val="2308722005"/>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Titles + text">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2" name="Text Placeholder 5"/>
          <p:cNvSpPr>
            <a:spLocks noGrp="1"/>
          </p:cNvSpPr>
          <p:nvPr>
            <p:ph type="body" sz="quarter" idx="12"/>
          </p:nvPr>
        </p:nvSpPr>
        <p:spPr>
          <a:xfrm>
            <a:off x="565458" y="1634067"/>
            <a:ext cx="11029035" cy="457411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3" name="Title 1">
            <a:extLst>
              <a:ext uri="{FF2B5EF4-FFF2-40B4-BE49-F238E27FC236}">
                <a16:creationId xmlns:a16="http://schemas.microsoft.com/office/drawing/2014/main" id="{4320D004-6754-4910-E736-BD1ADFAF98CC}"/>
              </a:ext>
            </a:extLst>
          </p:cNvPr>
          <p:cNvSpPr>
            <a:spLocks noGrp="1"/>
          </p:cNvSpPr>
          <p:nvPr>
            <p:ph type="title"/>
          </p:nvPr>
        </p:nvSpPr>
        <p:spPr>
          <a:xfrm>
            <a:off x="565459" y="552715"/>
            <a:ext cx="10098869"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39C08247-062F-0676-8498-BA3B732A36AC}"/>
              </a:ext>
            </a:extLst>
          </p:cNvPr>
          <p:cNvSpPr>
            <a:spLocks noGrp="1"/>
          </p:cNvSpPr>
          <p:nvPr>
            <p:ph type="body" sz="quarter" idx="11"/>
          </p:nvPr>
        </p:nvSpPr>
        <p:spPr>
          <a:xfrm>
            <a:off x="565459"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151A6EC8-761A-C152-2663-47D998769EFC}"/>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Picture 5">
            <a:extLst>
              <a:ext uri="{FF2B5EF4-FFF2-40B4-BE49-F238E27FC236}">
                <a16:creationId xmlns:a16="http://schemas.microsoft.com/office/drawing/2014/main" id="{BE855006-6D2A-6089-E104-F9FB811844F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2501066442"/>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Titles +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5DCBE4-2474-E18F-D85B-AD8A02BDAB2C}"/>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3" name="Title 1">
            <a:extLst>
              <a:ext uri="{FF2B5EF4-FFF2-40B4-BE49-F238E27FC236}">
                <a16:creationId xmlns:a16="http://schemas.microsoft.com/office/drawing/2014/main" id="{E0A6DB9D-E6AB-6967-43E9-EE1FC0BE859A}"/>
              </a:ext>
            </a:extLst>
          </p:cNvPr>
          <p:cNvSpPr>
            <a:spLocks noGrp="1"/>
          </p:cNvSpPr>
          <p:nvPr>
            <p:ph type="title"/>
          </p:nvPr>
        </p:nvSpPr>
        <p:spPr>
          <a:xfrm>
            <a:off x="565459" y="552715"/>
            <a:ext cx="10098869"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286C8244-E396-CD67-B252-189D777C81BE}"/>
              </a:ext>
            </a:extLst>
          </p:cNvPr>
          <p:cNvSpPr>
            <a:spLocks noGrp="1"/>
          </p:cNvSpPr>
          <p:nvPr>
            <p:ph type="body" sz="quarter" idx="11"/>
          </p:nvPr>
        </p:nvSpPr>
        <p:spPr>
          <a:xfrm>
            <a:off x="565459"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12" name="Text Placeholder 5"/>
          <p:cNvSpPr>
            <a:spLocks noGrp="1"/>
          </p:cNvSpPr>
          <p:nvPr>
            <p:ph type="body" sz="quarter" idx="12"/>
          </p:nvPr>
        </p:nvSpPr>
        <p:spPr>
          <a:xfrm>
            <a:off x="565458" y="1634067"/>
            <a:ext cx="11029035" cy="457411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5" name="TextBox 4">
            <a:extLst>
              <a:ext uri="{FF2B5EF4-FFF2-40B4-BE49-F238E27FC236}">
                <a16:creationId xmlns:a16="http://schemas.microsoft.com/office/drawing/2014/main" id="{9AE4B553-B7AB-8210-F80F-5BEF4CCCCF0C}"/>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Picture 5">
            <a:extLst>
              <a:ext uri="{FF2B5EF4-FFF2-40B4-BE49-F238E27FC236}">
                <a16:creationId xmlns:a16="http://schemas.microsoft.com/office/drawing/2014/main" id="{B8B70775-7ECD-956B-AA7F-77DA5B111A5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1086842731"/>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3 images + descri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887A79-7AC5-5C4A-503C-92DC098B758E}"/>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4" name="Content Placeholder 3"/>
          <p:cNvSpPr>
            <a:spLocks noGrp="1"/>
          </p:cNvSpPr>
          <p:nvPr>
            <p:ph sz="quarter" idx="18" hasCustomPrompt="1"/>
          </p:nvPr>
        </p:nvSpPr>
        <p:spPr>
          <a:xfrm>
            <a:off x="565460"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5" name="Text Placeholder 4"/>
          <p:cNvSpPr>
            <a:spLocks noGrp="1"/>
          </p:cNvSpPr>
          <p:nvPr>
            <p:ph type="body" sz="quarter" idx="15"/>
          </p:nvPr>
        </p:nvSpPr>
        <p:spPr>
          <a:xfrm>
            <a:off x="551937" y="5098406"/>
            <a:ext cx="3529869"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6" name="Content Placeholder 3">
            <a:extLst>
              <a:ext uri="{FF2B5EF4-FFF2-40B4-BE49-F238E27FC236}">
                <a16:creationId xmlns:a16="http://schemas.microsoft.com/office/drawing/2014/main" id="{9E472C2D-B119-1348-ABB7-4B27DBE81FC4}"/>
              </a:ext>
            </a:extLst>
          </p:cNvPr>
          <p:cNvSpPr>
            <a:spLocks noGrp="1"/>
          </p:cNvSpPr>
          <p:nvPr>
            <p:ph sz="quarter" idx="19" hasCustomPrompt="1"/>
          </p:nvPr>
        </p:nvSpPr>
        <p:spPr>
          <a:xfrm>
            <a:off x="4315588"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7" name="Text Placeholder 4">
            <a:extLst>
              <a:ext uri="{FF2B5EF4-FFF2-40B4-BE49-F238E27FC236}">
                <a16:creationId xmlns:a16="http://schemas.microsoft.com/office/drawing/2014/main" id="{6B86DBF1-6757-494E-BB09-B02F75D7942F}"/>
              </a:ext>
            </a:extLst>
          </p:cNvPr>
          <p:cNvSpPr>
            <a:spLocks noGrp="1"/>
          </p:cNvSpPr>
          <p:nvPr>
            <p:ph type="body" sz="quarter" idx="20"/>
          </p:nvPr>
        </p:nvSpPr>
        <p:spPr>
          <a:xfrm>
            <a:off x="4315588" y="5098406"/>
            <a:ext cx="3529869"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8" name="Content Placeholder 3">
            <a:extLst>
              <a:ext uri="{FF2B5EF4-FFF2-40B4-BE49-F238E27FC236}">
                <a16:creationId xmlns:a16="http://schemas.microsoft.com/office/drawing/2014/main" id="{9D47F0CA-7587-3F49-929E-E48CC948FFEF}"/>
              </a:ext>
            </a:extLst>
          </p:cNvPr>
          <p:cNvSpPr>
            <a:spLocks noGrp="1"/>
          </p:cNvSpPr>
          <p:nvPr>
            <p:ph sz="quarter" idx="21" hasCustomPrompt="1"/>
          </p:nvPr>
        </p:nvSpPr>
        <p:spPr>
          <a:xfrm>
            <a:off x="8065717"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9" name="Text Placeholder 4">
            <a:extLst>
              <a:ext uri="{FF2B5EF4-FFF2-40B4-BE49-F238E27FC236}">
                <a16:creationId xmlns:a16="http://schemas.microsoft.com/office/drawing/2014/main" id="{C231C06B-3EE2-A348-A91C-CAFBBAF74FA0}"/>
              </a:ext>
            </a:extLst>
          </p:cNvPr>
          <p:cNvSpPr>
            <a:spLocks noGrp="1"/>
          </p:cNvSpPr>
          <p:nvPr>
            <p:ph type="body" sz="quarter" idx="22"/>
          </p:nvPr>
        </p:nvSpPr>
        <p:spPr>
          <a:xfrm>
            <a:off x="8065717" y="5098406"/>
            <a:ext cx="3529869"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3" name="Title 1">
            <a:extLst>
              <a:ext uri="{FF2B5EF4-FFF2-40B4-BE49-F238E27FC236}">
                <a16:creationId xmlns:a16="http://schemas.microsoft.com/office/drawing/2014/main" id="{DBF411DD-945C-4A72-1FBB-BC99017FA8F9}"/>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6" name="Text Placeholder 9">
            <a:extLst>
              <a:ext uri="{FF2B5EF4-FFF2-40B4-BE49-F238E27FC236}">
                <a16:creationId xmlns:a16="http://schemas.microsoft.com/office/drawing/2014/main" id="{7945EEC3-B051-A336-D42E-3BB3BFCED291}"/>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8" name="TextBox 7">
            <a:extLst>
              <a:ext uri="{FF2B5EF4-FFF2-40B4-BE49-F238E27FC236}">
                <a16:creationId xmlns:a16="http://schemas.microsoft.com/office/drawing/2014/main" id="{18E0ADA8-4CE7-A0B6-7DF3-AD8AA6E44AE0}"/>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9" name="TextBox 8">
            <a:extLst>
              <a:ext uri="{FF2B5EF4-FFF2-40B4-BE49-F238E27FC236}">
                <a16:creationId xmlns:a16="http://schemas.microsoft.com/office/drawing/2014/main" id="{97EFE607-1873-412D-8757-FB24DA34D8B2}"/>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7" name="Picture 6">
            <a:extLst>
              <a:ext uri="{FF2B5EF4-FFF2-40B4-BE49-F238E27FC236}">
                <a16:creationId xmlns:a16="http://schemas.microsoft.com/office/drawing/2014/main" id="{0A51D026-4F4C-8A55-1461-D25339641B4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Tree>
    <p:extLst>
      <p:ext uri="{BB962C8B-B14F-4D97-AF65-F5344CB8AC3E}">
        <p14:creationId xmlns:p14="http://schemas.microsoft.com/office/powerpoint/2010/main" val="3912893707"/>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5_Left half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F95D9BF-B5A2-7247-9F4C-290817CA94AF}"/>
              </a:ext>
            </a:extLst>
          </p:cNvPr>
          <p:cNvSpPr/>
          <p:nvPr userDrawn="1"/>
        </p:nvSpPr>
        <p:spPr>
          <a:xfrm>
            <a:off x="6096794" y="0"/>
            <a:ext cx="609679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7" name="Picture Placeholder 3"/>
          <p:cNvSpPr>
            <a:spLocks noGrp="1"/>
          </p:cNvSpPr>
          <p:nvPr>
            <p:ph type="pic" sz="quarter" idx="10"/>
          </p:nvPr>
        </p:nvSpPr>
        <p:spPr>
          <a:xfrm>
            <a:off x="0" y="1"/>
            <a:ext cx="6096794" cy="2215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69" y="1924052"/>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4" name="Title 1">
            <a:extLst>
              <a:ext uri="{FF2B5EF4-FFF2-40B4-BE49-F238E27FC236}">
                <a16:creationId xmlns:a16="http://schemas.microsoft.com/office/drawing/2014/main" id="{DA047FE9-9C49-EB6D-2238-A8736778D9BF}"/>
              </a:ext>
            </a:extLst>
          </p:cNvPr>
          <p:cNvSpPr>
            <a:spLocks noGrp="1"/>
          </p:cNvSpPr>
          <p:nvPr>
            <p:ph type="title"/>
          </p:nvPr>
        </p:nvSpPr>
        <p:spPr>
          <a:xfrm>
            <a:off x="6446569" y="552715"/>
            <a:ext cx="5266953" cy="830997"/>
          </a:xfrm>
        </p:spPr>
        <p:txBody>
          <a:bodyPr/>
          <a:lstStyle>
            <a:lvl1pPr>
              <a:defRPr>
                <a:solidFill>
                  <a:schemeClr val="bg1"/>
                </a:solidFill>
              </a:defRPr>
            </a:lvl1pPr>
          </a:lstStyle>
          <a:p>
            <a:r>
              <a:rPr lang="en-US"/>
              <a:t>Click to edit Master title style</a:t>
            </a:r>
          </a:p>
        </p:txBody>
      </p:sp>
      <p:sp>
        <p:nvSpPr>
          <p:cNvPr id="5" name="Text Placeholder 9">
            <a:extLst>
              <a:ext uri="{FF2B5EF4-FFF2-40B4-BE49-F238E27FC236}">
                <a16:creationId xmlns:a16="http://schemas.microsoft.com/office/drawing/2014/main" id="{DEB7BC04-5F36-58FD-B27A-C6E6E6064FD4}"/>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2DC6463-53AF-2341-D32C-EDEAE3A3F7C8}"/>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1"/>
                </a:solidFill>
                <a:latin typeface="Avenir Next LT Pro" panose="020B0504020202020204" pitchFamily="34" charset="77"/>
              </a:rPr>
              <a:pPr algn="r"/>
              <a:t>‹#›</a:t>
            </a:fld>
            <a:endParaRPr lang="en-US" sz="1000" b="0" i="0" spc="40" baseline="0">
              <a:solidFill>
                <a:schemeClr val="tx1"/>
              </a:solidFill>
              <a:latin typeface="Avenir Next LT Pro" panose="020B0504020202020204" pitchFamily="34" charset="77"/>
            </a:endParaRPr>
          </a:p>
        </p:txBody>
      </p:sp>
    </p:spTree>
    <p:extLst>
      <p:ext uri="{BB962C8B-B14F-4D97-AF65-F5344CB8AC3E}">
        <p14:creationId xmlns:p14="http://schemas.microsoft.com/office/powerpoint/2010/main" val="3901853101"/>
      </p:ext>
    </p:extLst>
  </p:cSld>
  <p:clrMapOvr>
    <a:masterClrMapping/>
  </p:clrMapOvr>
  <p:transition spd="slow">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Right half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8DEE52-360F-D14A-9CAE-7B1FA2B9C68A}"/>
              </a:ext>
            </a:extLst>
          </p:cNvPr>
          <p:cNvSpPr/>
          <p:nvPr userDrawn="1"/>
        </p:nvSpPr>
        <p:spPr>
          <a:xfrm>
            <a:off x="0" y="0"/>
            <a:ext cx="609679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7" name="Picture Placeholder 3"/>
          <p:cNvSpPr>
            <a:spLocks noGrp="1"/>
          </p:cNvSpPr>
          <p:nvPr>
            <p:ph type="pic" sz="quarter" idx="10"/>
          </p:nvPr>
        </p:nvSpPr>
        <p:spPr>
          <a:xfrm>
            <a:off x="6096794" y="1"/>
            <a:ext cx="6096794" cy="221599"/>
          </a:xfrm>
          <a:prstGeom prst="rect">
            <a:avLst/>
          </a:prstGeom>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10" name="Text Placeholder 2"/>
          <p:cNvSpPr>
            <a:spLocks noGrp="1"/>
          </p:cNvSpPr>
          <p:nvPr>
            <p:ph type="body" sz="quarter" idx="12"/>
          </p:nvPr>
        </p:nvSpPr>
        <p:spPr>
          <a:xfrm>
            <a:off x="565224" y="1997776"/>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Title 1">
            <a:extLst>
              <a:ext uri="{FF2B5EF4-FFF2-40B4-BE49-F238E27FC236}">
                <a16:creationId xmlns:a16="http://schemas.microsoft.com/office/drawing/2014/main" id="{E12170D0-3B32-A0D7-A2D9-F64DF9CDD823}"/>
              </a:ext>
            </a:extLst>
          </p:cNvPr>
          <p:cNvSpPr>
            <a:spLocks noGrp="1"/>
          </p:cNvSpPr>
          <p:nvPr>
            <p:ph type="title"/>
          </p:nvPr>
        </p:nvSpPr>
        <p:spPr>
          <a:xfrm>
            <a:off x="565459" y="552715"/>
            <a:ext cx="5046447" cy="830997"/>
          </a:xfrm>
        </p:spPr>
        <p:txBody>
          <a:bodyPr/>
          <a:lstStyle>
            <a:lvl1pPr>
              <a:defRPr>
                <a:solidFill>
                  <a:schemeClr val="bg1"/>
                </a:solidFill>
              </a:defRPr>
            </a:lvl1pPr>
          </a:lstStyle>
          <a:p>
            <a:r>
              <a:rPr lang="en-US"/>
              <a:t>Click to edit Master title style</a:t>
            </a:r>
          </a:p>
        </p:txBody>
      </p:sp>
      <p:sp>
        <p:nvSpPr>
          <p:cNvPr id="4" name="Text Placeholder 9">
            <a:extLst>
              <a:ext uri="{FF2B5EF4-FFF2-40B4-BE49-F238E27FC236}">
                <a16:creationId xmlns:a16="http://schemas.microsoft.com/office/drawing/2014/main" id="{7C789ED9-BED9-7CDF-19E0-DA293B36E478}"/>
              </a:ext>
            </a:extLst>
          </p:cNvPr>
          <p:cNvSpPr>
            <a:spLocks noGrp="1"/>
          </p:cNvSpPr>
          <p:nvPr>
            <p:ph type="body" sz="quarter" idx="11"/>
          </p:nvPr>
        </p:nvSpPr>
        <p:spPr>
          <a:xfrm>
            <a:off x="565460" y="1021031"/>
            <a:ext cx="5040194"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5" name="Picture 4">
            <a:extLst>
              <a:ext uri="{FF2B5EF4-FFF2-40B4-BE49-F238E27FC236}">
                <a16:creationId xmlns:a16="http://schemas.microsoft.com/office/drawing/2014/main" id="{CD570D53-D6A9-8B3D-6294-1654E6CB465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83170" y="204716"/>
            <a:ext cx="1358721" cy="826913"/>
          </a:xfrm>
          <a:prstGeom prst="rect">
            <a:avLst/>
          </a:prstGeom>
        </p:spPr>
      </p:pic>
      <p:sp>
        <p:nvSpPr>
          <p:cNvPr id="6" name="TextBox 5">
            <a:extLst>
              <a:ext uri="{FF2B5EF4-FFF2-40B4-BE49-F238E27FC236}">
                <a16:creationId xmlns:a16="http://schemas.microsoft.com/office/drawing/2014/main" id="{6E8EDD47-C182-51B1-2C87-4F506A84C49D}"/>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8" name="TextBox 7">
            <a:extLst>
              <a:ext uri="{FF2B5EF4-FFF2-40B4-BE49-F238E27FC236}">
                <a16:creationId xmlns:a16="http://schemas.microsoft.com/office/drawing/2014/main" id="{81601D58-CDAD-05EF-75AA-FDE4E24526DD}"/>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extLst>
      <p:ext uri="{BB962C8B-B14F-4D97-AF65-F5344CB8AC3E}">
        <p14:creationId xmlns:p14="http://schemas.microsoft.com/office/powerpoint/2010/main" val="3751316633"/>
      </p:ext>
    </p:extLst>
  </p:cSld>
  <p:clrMapOvr>
    <a:masterClrMapping/>
  </p:clrMapOvr>
  <p:transition spd="slow">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4_Page break V1">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BEBDAF5-8848-D89E-558B-E4CA4D265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 t="1730" r="1736"/>
          <a:stretch/>
        </p:blipFill>
        <p:spPr>
          <a:xfrm>
            <a:off x="6085761" y="0"/>
            <a:ext cx="6107826" cy="6858000"/>
          </a:xfrm>
          <a:prstGeom prst="rect">
            <a:avLst/>
          </a:prstGeom>
        </p:spPr>
      </p:pic>
      <p:sp>
        <p:nvSpPr>
          <p:cNvPr id="3" name="Rectangle 2">
            <a:extLst>
              <a:ext uri="{FF2B5EF4-FFF2-40B4-BE49-F238E27FC236}">
                <a16:creationId xmlns:a16="http://schemas.microsoft.com/office/drawing/2014/main" id="{94620260-3DA9-5AE3-1C8A-4CDFA2FD8360}"/>
              </a:ext>
            </a:extLst>
          </p:cNvPr>
          <p:cNvSpPr/>
          <p:nvPr userDrawn="1"/>
        </p:nvSpPr>
        <p:spPr>
          <a:xfrm>
            <a:off x="-10241" y="0"/>
            <a:ext cx="6096003" cy="6889150"/>
          </a:xfrm>
          <a:prstGeom prst="rect">
            <a:avLst/>
          </a:prstGeom>
          <a:solidFill>
            <a:srgbClr val="0019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11" name="Title 1">
            <a:extLst>
              <a:ext uri="{FF2B5EF4-FFF2-40B4-BE49-F238E27FC236}">
                <a16:creationId xmlns:a16="http://schemas.microsoft.com/office/drawing/2014/main" id="{217B33A1-77D1-BA89-A17B-305986D5621F}"/>
              </a:ext>
            </a:extLst>
          </p:cNvPr>
          <p:cNvSpPr>
            <a:spLocks noGrp="1"/>
          </p:cNvSpPr>
          <p:nvPr>
            <p:ph type="title"/>
          </p:nvPr>
        </p:nvSpPr>
        <p:spPr>
          <a:xfrm>
            <a:off x="565459" y="2260113"/>
            <a:ext cx="5046447" cy="1155783"/>
          </a:xfrm>
          <a:prstGeom prst="rect">
            <a:avLst/>
          </a:prstGeom>
        </p:spPr>
        <p:txBody>
          <a:bodyPr lIns="0" tIns="0" rIns="0" bIns="0"/>
          <a:lstStyle>
            <a:lvl1pPr>
              <a:defRPr sz="3400" b="1" i="0">
                <a:solidFill>
                  <a:schemeClr val="accent2"/>
                </a:solidFill>
                <a:latin typeface="Avenir Next LT Pro" panose="020B0504020202020204" pitchFamily="34" charset="77"/>
              </a:defRPr>
            </a:lvl1pPr>
          </a:lstStyle>
          <a:p>
            <a:r>
              <a:rPr lang="en-US"/>
              <a:t>Click to edit Master title style</a:t>
            </a:r>
          </a:p>
        </p:txBody>
      </p:sp>
      <p:sp>
        <p:nvSpPr>
          <p:cNvPr id="13" name="Text Placeholder 9">
            <a:extLst>
              <a:ext uri="{FF2B5EF4-FFF2-40B4-BE49-F238E27FC236}">
                <a16:creationId xmlns:a16="http://schemas.microsoft.com/office/drawing/2014/main" id="{9BF14781-F7C5-28CD-EA36-2EA983C7DA17}"/>
              </a:ext>
            </a:extLst>
          </p:cNvPr>
          <p:cNvSpPr>
            <a:spLocks noGrp="1"/>
          </p:cNvSpPr>
          <p:nvPr>
            <p:ph type="body" sz="quarter" idx="12" hasCustomPrompt="1"/>
          </p:nvPr>
        </p:nvSpPr>
        <p:spPr>
          <a:xfrm>
            <a:off x="549242" y="4040923"/>
            <a:ext cx="4897401"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Insert location, place, date, time etc.)</a:t>
            </a:r>
          </a:p>
        </p:txBody>
      </p:sp>
    </p:spTree>
    <p:extLst>
      <p:ext uri="{BB962C8B-B14F-4D97-AF65-F5344CB8AC3E}">
        <p14:creationId xmlns:p14="http://schemas.microsoft.com/office/powerpoint/2010/main" val="227896735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tx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92C4920F-65A0-0869-BF5A-1F70832F6126}"/>
              </a:ext>
            </a:extLst>
          </p:cNvPr>
          <p:cNvSpPr>
            <a:spLocks noGrp="1"/>
          </p:cNvSpPr>
          <p:nvPr>
            <p:ph type="pic" sz="quarter" idx="13" hasCustomPrompt="1"/>
          </p:nvPr>
        </p:nvSpPr>
        <p:spPr>
          <a:xfrm>
            <a:off x="0" y="0"/>
            <a:ext cx="6096794" cy="6858000"/>
          </a:xfrm>
        </p:spPr>
        <p:txBody>
          <a:bodyPr tIns="504000"/>
          <a:lstStyle>
            <a:lvl1pPr marL="0" indent="0" algn="ctr">
              <a:buNone/>
              <a:defRPr>
                <a:solidFill>
                  <a:schemeClr val="bg1"/>
                </a:solidFill>
              </a:defRPr>
            </a:lvl1pPr>
          </a:lstStyle>
          <a:p>
            <a:r>
              <a:rPr lang="en-GB" noProof="0"/>
              <a:t>Click to insert picture</a:t>
            </a:r>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6609711" y="2059756"/>
            <a:ext cx="5069460" cy="360099"/>
          </a:xfrm>
        </p:spPr>
        <p:txBody>
          <a:bodyPr anchor="t" anchorCtr="0">
            <a:spAutoFit/>
          </a:bodyPr>
          <a:lstStyle>
            <a:lvl1pPr algn="l">
              <a:defRPr sz="2600">
                <a:solidFill>
                  <a:schemeClr val="bg1"/>
                </a:solidFill>
              </a:defRPr>
            </a:lvl1pPr>
          </a:lstStyle>
          <a:p>
            <a:r>
              <a:rPr lang="en-US"/>
              <a:t>Message</a:t>
            </a:r>
            <a:endParaRPr lang="sv-SE"/>
          </a:p>
        </p:txBody>
      </p:sp>
      <p:sp>
        <p:nvSpPr>
          <p:cNvPr id="8" name="Text Placeholder 7">
            <a:extLst>
              <a:ext uri="{FF2B5EF4-FFF2-40B4-BE49-F238E27FC236}">
                <a16:creationId xmlns:a16="http://schemas.microsoft.com/office/drawing/2014/main" id="{D83336E9-09C3-10AD-7DD6-CF5F2E7360B7}"/>
              </a:ext>
            </a:extLst>
          </p:cNvPr>
          <p:cNvSpPr>
            <a:spLocks noGrp="1"/>
          </p:cNvSpPr>
          <p:nvPr>
            <p:ph type="body" sz="quarter" idx="11" hasCustomPrompt="1"/>
          </p:nvPr>
        </p:nvSpPr>
        <p:spPr>
          <a:xfrm>
            <a:off x="6609711" y="3436493"/>
            <a:ext cx="5069460" cy="221599"/>
          </a:xfrm>
        </p:spPr>
        <p:txBody>
          <a:bodyPr wrap="square">
            <a:spAutoFit/>
          </a:bodyPr>
          <a:lstStyle>
            <a:lvl1pPr marL="0" indent="0">
              <a:buNone/>
              <a:defRPr sz="1600">
                <a:solidFill>
                  <a:schemeClr val="bg1"/>
                </a:solidFill>
                <a:latin typeface="Avenir Next LT Pro Demi" panose="020B0704020202020204" pitchFamily="34" charset="0"/>
              </a:defRPr>
            </a:lvl1pPr>
            <a:lvl2pPr marL="266700" indent="0">
              <a:buNone/>
              <a:defRPr>
                <a:solidFill>
                  <a:schemeClr val="bg1"/>
                </a:solidFill>
              </a:defRPr>
            </a:lvl2pPr>
            <a:lvl3pPr marL="447675" indent="0">
              <a:buNone/>
              <a:defRPr>
                <a:solidFill>
                  <a:schemeClr val="bg1"/>
                </a:solidFill>
              </a:defRPr>
            </a:lvl3pPr>
            <a:lvl4pPr marL="628650" indent="0">
              <a:buNone/>
              <a:defRPr>
                <a:solidFill>
                  <a:schemeClr val="bg1"/>
                </a:solidFill>
              </a:defRPr>
            </a:lvl4pPr>
            <a:lvl5pPr marL="809625" indent="0">
              <a:buNone/>
              <a:defRPr>
                <a:solidFill>
                  <a:schemeClr val="bg1"/>
                </a:solidFill>
              </a:defRPr>
            </a:lvl5pPr>
          </a:lstStyle>
          <a:p>
            <a:pPr lvl="0"/>
            <a:r>
              <a:rPr lang="en-US"/>
              <a:t>Company name</a:t>
            </a:r>
          </a:p>
        </p:txBody>
      </p:sp>
      <p:sp>
        <p:nvSpPr>
          <p:cNvPr id="9" name="Text Placeholder 7">
            <a:extLst>
              <a:ext uri="{FF2B5EF4-FFF2-40B4-BE49-F238E27FC236}">
                <a16:creationId xmlns:a16="http://schemas.microsoft.com/office/drawing/2014/main" id="{E09CE7B8-A4F6-7E0F-F1B5-60956BEEFFE5}"/>
              </a:ext>
            </a:extLst>
          </p:cNvPr>
          <p:cNvSpPr>
            <a:spLocks noGrp="1"/>
          </p:cNvSpPr>
          <p:nvPr>
            <p:ph type="body" sz="quarter" idx="12" hasCustomPrompt="1"/>
          </p:nvPr>
        </p:nvSpPr>
        <p:spPr>
          <a:xfrm>
            <a:off x="6609711" y="3732100"/>
            <a:ext cx="5069460" cy="246221"/>
          </a:xfrm>
        </p:spPr>
        <p:txBody>
          <a:bodyPr wrap="square">
            <a:spAutoFit/>
          </a:bodyPr>
          <a:lstStyle>
            <a:lvl1pPr marL="0" indent="0">
              <a:lnSpc>
                <a:spcPct val="100000"/>
              </a:lnSpc>
              <a:spcBef>
                <a:spcPts val="0"/>
              </a:spcBef>
              <a:buNone/>
              <a:defRPr sz="1600">
                <a:solidFill>
                  <a:schemeClr val="bg1"/>
                </a:solidFill>
                <a:latin typeface="+mn-lt"/>
              </a:defRPr>
            </a:lvl1pPr>
            <a:lvl2pPr marL="266700" indent="0">
              <a:buNone/>
              <a:defRPr>
                <a:solidFill>
                  <a:schemeClr val="bg1"/>
                </a:solidFill>
              </a:defRPr>
            </a:lvl2pPr>
            <a:lvl3pPr marL="447675" indent="0">
              <a:buNone/>
              <a:defRPr>
                <a:solidFill>
                  <a:schemeClr val="bg1"/>
                </a:solidFill>
              </a:defRPr>
            </a:lvl3pPr>
            <a:lvl4pPr marL="628650" indent="0">
              <a:buNone/>
              <a:defRPr>
                <a:solidFill>
                  <a:schemeClr val="bg1"/>
                </a:solidFill>
              </a:defRPr>
            </a:lvl4pPr>
            <a:lvl5pPr marL="809625" indent="0">
              <a:buNone/>
              <a:defRPr>
                <a:solidFill>
                  <a:schemeClr val="bg1"/>
                </a:solidFill>
              </a:defRPr>
            </a:lvl5pPr>
          </a:lstStyle>
          <a:p>
            <a:pPr lvl="0"/>
            <a:r>
              <a:rPr lang="en-US"/>
              <a:t>Address and contact details</a:t>
            </a:r>
          </a:p>
        </p:txBody>
      </p:sp>
      <p:pic>
        <p:nvPicPr>
          <p:cNvPr id="13" name="Picture 12">
            <a:extLst>
              <a:ext uri="{FF2B5EF4-FFF2-40B4-BE49-F238E27FC236}">
                <a16:creationId xmlns:a16="http://schemas.microsoft.com/office/drawing/2014/main" id="{F032D6C2-5A3F-3978-6A61-2A851A7A24D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004740" y="5645576"/>
            <a:ext cx="1212052" cy="577092"/>
          </a:xfrm>
          <a:prstGeom prst="rect">
            <a:avLst/>
          </a:prstGeom>
        </p:spPr>
      </p:pic>
      <p:pic>
        <p:nvPicPr>
          <p:cNvPr id="14" name="Picture 13">
            <a:extLst>
              <a:ext uri="{FF2B5EF4-FFF2-40B4-BE49-F238E27FC236}">
                <a16:creationId xmlns:a16="http://schemas.microsoft.com/office/drawing/2014/main" id="{36CB25F2-40C6-D49A-8C09-2061E457B6E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9689363" y="6347075"/>
            <a:ext cx="1842806" cy="116656"/>
          </a:xfrm>
          <a:prstGeom prst="rect">
            <a:avLst/>
          </a:prstGeom>
        </p:spPr>
      </p:pic>
      <p:pic>
        <p:nvPicPr>
          <p:cNvPr id="7" name="Graphic 6">
            <a:extLst>
              <a:ext uri="{FF2B5EF4-FFF2-40B4-BE49-F238E27FC236}">
                <a16:creationId xmlns:a16="http://schemas.microsoft.com/office/drawing/2014/main" id="{BFDEF6E7-6A28-3B8E-2213-48F40D27448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09711" y="5426386"/>
            <a:ext cx="356300" cy="356254"/>
          </a:xfrm>
          <a:prstGeom prst="rect">
            <a:avLst/>
          </a:prstGeom>
        </p:spPr>
      </p:pic>
      <p:pic>
        <p:nvPicPr>
          <p:cNvPr id="11" name="Graphic 10">
            <a:extLst>
              <a:ext uri="{FF2B5EF4-FFF2-40B4-BE49-F238E27FC236}">
                <a16:creationId xmlns:a16="http://schemas.microsoft.com/office/drawing/2014/main" id="{201374FD-6C51-2D8B-5192-34982EC91554}"/>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609711" y="5998163"/>
            <a:ext cx="356300" cy="352423"/>
          </a:xfrm>
          <a:prstGeom prst="rect">
            <a:avLst/>
          </a:prstGeom>
        </p:spPr>
      </p:pic>
      <p:sp>
        <p:nvSpPr>
          <p:cNvPr id="12" name="TextBox 11">
            <a:extLst>
              <a:ext uri="{FF2B5EF4-FFF2-40B4-BE49-F238E27FC236}">
                <a16:creationId xmlns:a16="http://schemas.microsoft.com/office/drawing/2014/main" id="{32FC294A-1A00-991E-6E00-CEFAB72ABB3D}"/>
              </a:ext>
            </a:extLst>
          </p:cNvPr>
          <p:cNvSpPr txBox="1"/>
          <p:nvPr userDrawn="1"/>
        </p:nvSpPr>
        <p:spPr>
          <a:xfrm>
            <a:off x="7068470" y="5426386"/>
            <a:ext cx="3344606"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0">
                <a:solidFill>
                  <a:schemeClr val="bg1"/>
                </a:solidFill>
                <a:latin typeface="Avenir Next LT Pro Demi" panose="020B0504020202020204" pitchFamily="34" charset="77"/>
              </a:rPr>
              <a:t>www.gubra.dk</a:t>
            </a:r>
          </a:p>
        </p:txBody>
      </p:sp>
      <p:sp>
        <p:nvSpPr>
          <p:cNvPr id="15" name="TextBox 14">
            <a:extLst>
              <a:ext uri="{FF2B5EF4-FFF2-40B4-BE49-F238E27FC236}">
                <a16:creationId xmlns:a16="http://schemas.microsoft.com/office/drawing/2014/main" id="{A2877CB2-3FCB-1F83-EB5D-28C584943474}"/>
              </a:ext>
            </a:extLst>
          </p:cNvPr>
          <p:cNvSpPr txBox="1"/>
          <p:nvPr userDrawn="1"/>
        </p:nvSpPr>
        <p:spPr>
          <a:xfrm>
            <a:off x="7068470" y="6005096"/>
            <a:ext cx="3344606"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0">
                <a:solidFill>
                  <a:schemeClr val="bg1"/>
                </a:solidFill>
                <a:latin typeface="Avenir Next LT Pro Demi" panose="020B0504020202020204" pitchFamily="34" charset="77"/>
              </a:rPr>
              <a:t>Let’s stay connected</a:t>
            </a:r>
          </a:p>
        </p:txBody>
      </p:sp>
      <p:pic>
        <p:nvPicPr>
          <p:cNvPr id="17" name="Graphic 16">
            <a:extLst>
              <a:ext uri="{FF2B5EF4-FFF2-40B4-BE49-F238E27FC236}">
                <a16:creationId xmlns:a16="http://schemas.microsoft.com/office/drawing/2014/main" id="{5298135E-294A-4B3F-CEF4-9A2FF4C89558}"/>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10435044" y="311152"/>
            <a:ext cx="1502053" cy="664960"/>
          </a:xfrm>
          <a:prstGeom prst="rect">
            <a:avLst/>
          </a:prstGeom>
        </p:spPr>
      </p:pic>
      <p:sp>
        <p:nvSpPr>
          <p:cNvPr id="3" name="TextBox 2">
            <a:extLst>
              <a:ext uri="{FF2B5EF4-FFF2-40B4-BE49-F238E27FC236}">
                <a16:creationId xmlns:a16="http://schemas.microsoft.com/office/drawing/2014/main" id="{D7BF47B6-4720-15CD-97F1-13938166656A}"/>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41591251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text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9667546" cy="432802"/>
          </a:xfrm>
        </p:spPr>
        <p:txBody>
          <a:bodyPr wrap="square" bIns="72000" anchor="t" anchorCtr="0">
            <a:spAutoFit/>
          </a:bodyPr>
          <a:lstStyle>
            <a:lvl1pPr algn="l">
              <a:defRPr sz="2600">
                <a:solidFill>
                  <a:schemeClr val="tx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tx1"/>
                </a:solidFill>
              </a:defRPr>
            </a:lvl1pPr>
          </a:lstStyle>
          <a:p>
            <a:fld id="{E5FC1B6F-5120-2A44-B5D0-B3379BF0D786}" type="datetime3">
              <a:rPr lang="da-DK" smtClean="0"/>
              <a:t>13.05.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6" y="1440000"/>
            <a:ext cx="11161579" cy="468000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6" y="947739"/>
            <a:ext cx="9667546"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pic>
        <p:nvPicPr>
          <p:cNvPr id="3" name="Graphic 2">
            <a:extLst>
              <a:ext uri="{FF2B5EF4-FFF2-40B4-BE49-F238E27FC236}">
                <a16:creationId xmlns:a16="http://schemas.microsoft.com/office/drawing/2014/main" id="{40519E47-9F3F-F3A9-31AE-904A777C7B5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Tree>
    <p:extLst>
      <p:ext uri="{BB962C8B-B14F-4D97-AF65-F5344CB8AC3E}">
        <p14:creationId xmlns:p14="http://schemas.microsoft.com/office/powerpoint/2010/main" val="11269851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text 2">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9667546" cy="432802"/>
          </a:xfrm>
        </p:spPr>
        <p:txBody>
          <a:bodyPr wrap="square" bIns="72000" anchor="t" anchorCtr="0">
            <a:spAutoFit/>
          </a:bodyPr>
          <a:lstStyle>
            <a:lvl1pPr algn="l">
              <a:defRPr sz="2600">
                <a:solidFill>
                  <a:schemeClr val="bg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F8168E74-C1F2-D742-9CA1-B205FAFDA380}" type="datetime3">
              <a:rPr lang="da-DK" smtClean="0"/>
              <a:t>13.05.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4472"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6" y="1440000"/>
            <a:ext cx="11161579" cy="4680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516006" y="947739"/>
            <a:ext cx="9667546"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pic>
        <p:nvPicPr>
          <p:cNvPr id="8" name="Graphic 7">
            <a:extLst>
              <a:ext uri="{FF2B5EF4-FFF2-40B4-BE49-F238E27FC236}">
                <a16:creationId xmlns:a16="http://schemas.microsoft.com/office/drawing/2014/main" id="{DE7E9ABE-598A-ADF0-2DA4-1C6D485A9CD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3" name="TextBox 2">
            <a:extLst>
              <a:ext uri="{FF2B5EF4-FFF2-40B4-BE49-F238E27FC236}">
                <a16:creationId xmlns:a16="http://schemas.microsoft.com/office/drawing/2014/main" id="{63EA4070-EB43-9D65-30CA-C9804AD5109C}"/>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BC0BED3F-3613-064C-77FD-BC16E5E940E7}"/>
              </a:ext>
            </a:extLst>
          </p:cNvPr>
          <p:cNvPicPr>
            <a:picLocks noChangeAspect="1"/>
          </p:cNvPicPr>
          <p:nvPr userDrawn="1"/>
        </p:nvPicPr>
        <p:blipFill>
          <a:blip r:embed="rId3"/>
          <a:stretch>
            <a:fillRect/>
          </a:stretch>
        </p:blipFill>
        <p:spPr>
          <a:xfrm>
            <a:off x="-1032553" y="6043201"/>
            <a:ext cx="338511" cy="456195"/>
          </a:xfrm>
          <a:prstGeom prst="rect">
            <a:avLst/>
          </a:prstGeom>
        </p:spPr>
      </p:pic>
      <p:sp>
        <p:nvSpPr>
          <p:cNvPr id="11" name="TextBox 10">
            <a:extLst>
              <a:ext uri="{FF2B5EF4-FFF2-40B4-BE49-F238E27FC236}">
                <a16:creationId xmlns:a16="http://schemas.microsoft.com/office/drawing/2014/main" id="{35C00226-C226-7DF7-ECE7-E6D8FC036F2C}"/>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0DF3BFF0-19D0-BB88-0AA7-8B56A4FFCEB7}"/>
              </a:ext>
            </a:extLst>
          </p:cNvPr>
          <p:cNvPicPr>
            <a:picLocks noChangeAspect="1"/>
          </p:cNvPicPr>
          <p:nvPr userDrawn="1"/>
        </p:nvPicPr>
        <p:blipFill>
          <a:blip r:embed="rId4"/>
          <a:srcRect t="32177"/>
          <a:stretch/>
        </p:blipFill>
        <p:spPr>
          <a:xfrm>
            <a:off x="-1404595" y="2958349"/>
            <a:ext cx="1082591" cy="836058"/>
          </a:xfrm>
          <a:prstGeom prst="rect">
            <a:avLst/>
          </a:prstGeom>
        </p:spPr>
      </p:pic>
      <p:pic>
        <p:nvPicPr>
          <p:cNvPr id="13" name="Picture 12">
            <a:extLst>
              <a:ext uri="{FF2B5EF4-FFF2-40B4-BE49-F238E27FC236}">
                <a16:creationId xmlns:a16="http://schemas.microsoft.com/office/drawing/2014/main" id="{65C70C1D-B830-BBAF-886E-F45D6EA63ED2}"/>
              </a:ext>
            </a:extLst>
          </p:cNvPr>
          <p:cNvPicPr>
            <a:picLocks noChangeAspect="1"/>
          </p:cNvPicPr>
          <p:nvPr userDrawn="1"/>
        </p:nvPicPr>
        <p:blipFill>
          <a:blip r:embed="rId5"/>
          <a:stretch>
            <a:fillRect/>
          </a:stretch>
        </p:blipFill>
        <p:spPr>
          <a:xfrm>
            <a:off x="-1082304" y="1940632"/>
            <a:ext cx="438012" cy="204850"/>
          </a:xfrm>
          <a:prstGeom prst="rect">
            <a:avLst/>
          </a:prstGeom>
        </p:spPr>
      </p:pic>
      <p:pic>
        <p:nvPicPr>
          <p:cNvPr id="14" name="Picture 13">
            <a:extLst>
              <a:ext uri="{FF2B5EF4-FFF2-40B4-BE49-F238E27FC236}">
                <a16:creationId xmlns:a16="http://schemas.microsoft.com/office/drawing/2014/main" id="{A4181AD0-0906-1111-C77B-CAF9C557BB50}"/>
              </a:ext>
            </a:extLst>
          </p:cNvPr>
          <p:cNvPicPr>
            <a:picLocks noChangeAspect="1"/>
          </p:cNvPicPr>
          <p:nvPr userDrawn="1"/>
        </p:nvPicPr>
        <p:blipFill>
          <a:blip r:embed="rId6"/>
          <a:stretch>
            <a:fillRect/>
          </a:stretch>
        </p:blipFill>
        <p:spPr>
          <a:xfrm>
            <a:off x="-1019629" y="2663645"/>
            <a:ext cx="312660" cy="201690"/>
          </a:xfrm>
          <a:prstGeom prst="rect">
            <a:avLst/>
          </a:prstGeom>
        </p:spPr>
      </p:pic>
    </p:spTree>
    <p:extLst>
      <p:ext uri="{BB962C8B-B14F-4D97-AF65-F5344CB8AC3E}">
        <p14:creationId xmlns:p14="http://schemas.microsoft.com/office/powerpoint/2010/main" val="21686396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text 3">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9667546" cy="432802"/>
          </a:xfrm>
        </p:spPr>
        <p:txBody>
          <a:bodyPr wrap="square" bIns="72000" anchor="t" anchorCtr="0">
            <a:spAutoFit/>
          </a:bodyPr>
          <a:lstStyle>
            <a:lvl1pPr algn="l">
              <a:defRPr sz="2600">
                <a:solidFill>
                  <a:schemeClr val="bg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B829A294-4AC5-F84D-87E9-C260625D256F}" type="datetime3">
              <a:rPr lang="da-DK" smtClean="0"/>
              <a:t>13.05.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1" name="Text Placeholder 10">
            <a:extLst>
              <a:ext uri="{FF2B5EF4-FFF2-40B4-BE49-F238E27FC236}">
                <a16:creationId xmlns:a16="http://schemas.microsoft.com/office/drawing/2014/main" id="{16F6AF8C-CD28-9B1A-89E5-3665A88580D0}"/>
              </a:ext>
            </a:extLst>
          </p:cNvPr>
          <p:cNvSpPr>
            <a:spLocks noGrp="1"/>
          </p:cNvSpPr>
          <p:nvPr>
            <p:ph type="body" sz="quarter" idx="13"/>
          </p:nvPr>
        </p:nvSpPr>
        <p:spPr>
          <a:xfrm>
            <a:off x="516006" y="1440000"/>
            <a:ext cx="11161579" cy="4680000"/>
          </a:xfrm>
        </p:spPr>
        <p:txBody>
          <a:bodyPr/>
          <a:lstStyle>
            <a:lvl1pPr>
              <a:buClr>
                <a:schemeClr val="tx1"/>
              </a:buClr>
              <a:defRPr>
                <a:solidFill>
                  <a:schemeClr val="bg1"/>
                </a:solidFill>
              </a:defRPr>
            </a:lvl1pPr>
            <a:lvl2pPr>
              <a:buClr>
                <a:schemeClr val="tx1"/>
              </a:buClr>
              <a:defRPr>
                <a:solidFill>
                  <a:schemeClr val="bg1"/>
                </a:solidFill>
              </a:defRPr>
            </a:lvl2pPr>
            <a:lvl3pPr>
              <a:buClr>
                <a:schemeClr val="tx1"/>
              </a:buClr>
              <a:defRPr>
                <a:solidFill>
                  <a:schemeClr val="bg1"/>
                </a:solidFill>
              </a:defRPr>
            </a:lvl3pPr>
            <a:lvl4pPr>
              <a:buClr>
                <a:schemeClr val="tx1"/>
              </a:buClr>
              <a:defRPr>
                <a:solidFill>
                  <a:schemeClr val="bg1"/>
                </a:solidFill>
              </a:defRPr>
            </a:lvl4pPr>
            <a:lvl5pPr>
              <a:buClr>
                <a:schemeClr val="tx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B1AB3C8C-2F94-C86A-B5FF-5E7CBC8CB745}"/>
              </a:ext>
            </a:extLst>
          </p:cNvPr>
          <p:cNvSpPr>
            <a:spLocks noGrp="1"/>
          </p:cNvSpPr>
          <p:nvPr>
            <p:ph type="body" sz="quarter" idx="26"/>
          </p:nvPr>
        </p:nvSpPr>
        <p:spPr>
          <a:xfrm>
            <a:off x="516006" y="947739"/>
            <a:ext cx="9667546"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pic>
        <p:nvPicPr>
          <p:cNvPr id="8" name="Graphic 7">
            <a:extLst>
              <a:ext uri="{FF2B5EF4-FFF2-40B4-BE49-F238E27FC236}">
                <a16:creationId xmlns:a16="http://schemas.microsoft.com/office/drawing/2014/main" id="{15154D05-DD09-C85A-C5F4-855D6176103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3" name="TextBox 2">
            <a:extLst>
              <a:ext uri="{FF2B5EF4-FFF2-40B4-BE49-F238E27FC236}">
                <a16:creationId xmlns:a16="http://schemas.microsoft.com/office/drawing/2014/main" id="{ABED896B-940B-AE04-DC24-B6C52854C6CE}"/>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4D294566-014C-C114-AC32-857B49B28663}"/>
              </a:ext>
            </a:extLst>
          </p:cNvPr>
          <p:cNvPicPr>
            <a:picLocks noChangeAspect="1"/>
          </p:cNvPicPr>
          <p:nvPr userDrawn="1"/>
        </p:nvPicPr>
        <p:blipFill>
          <a:blip r:embed="rId3"/>
          <a:stretch>
            <a:fillRect/>
          </a:stretch>
        </p:blipFill>
        <p:spPr>
          <a:xfrm>
            <a:off x="-1032553" y="6043201"/>
            <a:ext cx="338511" cy="456195"/>
          </a:xfrm>
          <a:prstGeom prst="rect">
            <a:avLst/>
          </a:prstGeom>
        </p:spPr>
      </p:pic>
      <p:sp>
        <p:nvSpPr>
          <p:cNvPr id="10" name="TextBox 9">
            <a:extLst>
              <a:ext uri="{FF2B5EF4-FFF2-40B4-BE49-F238E27FC236}">
                <a16:creationId xmlns:a16="http://schemas.microsoft.com/office/drawing/2014/main" id="{6A14CC65-8058-744F-A6E3-E81F03C00EDD}"/>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B8379C14-E914-F294-1D65-FE5AA348ADFC}"/>
              </a:ext>
            </a:extLst>
          </p:cNvPr>
          <p:cNvPicPr>
            <a:picLocks noChangeAspect="1"/>
          </p:cNvPicPr>
          <p:nvPr userDrawn="1"/>
        </p:nvPicPr>
        <p:blipFill>
          <a:blip r:embed="rId4"/>
          <a:srcRect t="32177"/>
          <a:stretch/>
        </p:blipFill>
        <p:spPr>
          <a:xfrm>
            <a:off x="-1404595" y="2958349"/>
            <a:ext cx="1082591" cy="836058"/>
          </a:xfrm>
          <a:prstGeom prst="rect">
            <a:avLst/>
          </a:prstGeom>
        </p:spPr>
      </p:pic>
      <p:pic>
        <p:nvPicPr>
          <p:cNvPr id="13" name="Picture 12">
            <a:extLst>
              <a:ext uri="{FF2B5EF4-FFF2-40B4-BE49-F238E27FC236}">
                <a16:creationId xmlns:a16="http://schemas.microsoft.com/office/drawing/2014/main" id="{EB152BD5-62EB-312E-EBF9-F5B9B6047F49}"/>
              </a:ext>
            </a:extLst>
          </p:cNvPr>
          <p:cNvPicPr>
            <a:picLocks noChangeAspect="1"/>
          </p:cNvPicPr>
          <p:nvPr userDrawn="1"/>
        </p:nvPicPr>
        <p:blipFill>
          <a:blip r:embed="rId5"/>
          <a:stretch>
            <a:fillRect/>
          </a:stretch>
        </p:blipFill>
        <p:spPr>
          <a:xfrm>
            <a:off x="-1082304" y="1940632"/>
            <a:ext cx="438012" cy="204850"/>
          </a:xfrm>
          <a:prstGeom prst="rect">
            <a:avLst/>
          </a:prstGeom>
        </p:spPr>
      </p:pic>
      <p:pic>
        <p:nvPicPr>
          <p:cNvPr id="14" name="Picture 13">
            <a:extLst>
              <a:ext uri="{FF2B5EF4-FFF2-40B4-BE49-F238E27FC236}">
                <a16:creationId xmlns:a16="http://schemas.microsoft.com/office/drawing/2014/main" id="{E3E243A9-EC1B-6902-4A12-DF0C224D86A4}"/>
              </a:ext>
            </a:extLst>
          </p:cNvPr>
          <p:cNvPicPr>
            <a:picLocks noChangeAspect="1"/>
          </p:cNvPicPr>
          <p:nvPr userDrawn="1"/>
        </p:nvPicPr>
        <p:blipFill>
          <a:blip r:embed="rId6"/>
          <a:stretch>
            <a:fillRect/>
          </a:stretch>
        </p:blipFill>
        <p:spPr>
          <a:xfrm>
            <a:off x="-1019629" y="2663645"/>
            <a:ext cx="312660" cy="201690"/>
          </a:xfrm>
          <a:prstGeom prst="rect">
            <a:avLst/>
          </a:prstGeom>
        </p:spPr>
      </p:pic>
    </p:spTree>
    <p:extLst>
      <p:ext uri="{BB962C8B-B14F-4D97-AF65-F5344CB8AC3E}">
        <p14:creationId xmlns:p14="http://schemas.microsoft.com/office/powerpoint/2010/main" val="4576928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text - light backgroun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F7AD35-07BE-675A-5EE9-EB28FA6DBF79}"/>
              </a:ext>
            </a:extLst>
          </p:cNvPr>
          <p:cNvSpPr/>
          <p:nvPr userDrawn="1"/>
        </p:nvSpPr>
        <p:spPr>
          <a:xfrm>
            <a:off x="0" y="1440000"/>
            <a:ext cx="12193588" cy="5418000"/>
          </a:xfrm>
          <a:prstGeom prst="rect">
            <a:avLst/>
          </a:prstGeom>
          <a:solidFill>
            <a:srgbClr val="EBF1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9667546" cy="432802"/>
          </a:xfrm>
        </p:spPr>
        <p:txBody>
          <a:bodyPr wrap="square" bIns="72000" anchor="t" anchorCtr="0">
            <a:spAutoFit/>
          </a:bodyPr>
          <a:lstStyle>
            <a:lvl1pPr algn="l">
              <a:defRPr sz="2600">
                <a:solidFill>
                  <a:schemeClr val="tx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tx1"/>
                </a:solidFill>
              </a:defRPr>
            </a:lvl1pPr>
          </a:lstStyle>
          <a:p>
            <a:fld id="{10A37092-F642-7542-B85A-613B27DD4291}" type="datetime3">
              <a:rPr lang="da-DK" smtClean="0"/>
              <a:t>13.05.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6" y="1656000"/>
            <a:ext cx="11161579" cy="446400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6" y="947739"/>
            <a:ext cx="9667546"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pic>
        <p:nvPicPr>
          <p:cNvPr id="9" name="Graphic 8">
            <a:extLst>
              <a:ext uri="{FF2B5EF4-FFF2-40B4-BE49-F238E27FC236}">
                <a16:creationId xmlns:a16="http://schemas.microsoft.com/office/drawing/2014/main" id="{39DC7169-8B85-CEDE-7370-051A4A5BF2F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11" name="TextBox 10">
            <a:extLst>
              <a:ext uri="{FF2B5EF4-FFF2-40B4-BE49-F238E27FC236}">
                <a16:creationId xmlns:a16="http://schemas.microsoft.com/office/drawing/2014/main" id="{DAC1EDCE-9759-281B-ABFC-9696AC7C51F9}"/>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2" name="Picture 11">
            <a:extLst>
              <a:ext uri="{FF2B5EF4-FFF2-40B4-BE49-F238E27FC236}">
                <a16:creationId xmlns:a16="http://schemas.microsoft.com/office/drawing/2014/main" id="{C8F224C3-3685-9F99-D43B-C0F2BAF60B8E}"/>
              </a:ext>
            </a:extLst>
          </p:cNvPr>
          <p:cNvPicPr>
            <a:picLocks noChangeAspect="1"/>
          </p:cNvPicPr>
          <p:nvPr userDrawn="1"/>
        </p:nvPicPr>
        <p:blipFill>
          <a:blip r:embed="rId3"/>
          <a:stretch>
            <a:fillRect/>
          </a:stretch>
        </p:blipFill>
        <p:spPr>
          <a:xfrm>
            <a:off x="-1032553" y="6043201"/>
            <a:ext cx="338511" cy="456195"/>
          </a:xfrm>
          <a:prstGeom prst="rect">
            <a:avLst/>
          </a:prstGeom>
        </p:spPr>
      </p:pic>
      <p:sp>
        <p:nvSpPr>
          <p:cNvPr id="13" name="TextBox 12">
            <a:extLst>
              <a:ext uri="{FF2B5EF4-FFF2-40B4-BE49-F238E27FC236}">
                <a16:creationId xmlns:a16="http://schemas.microsoft.com/office/drawing/2014/main" id="{30503A48-5461-7D08-431F-02542CD126A9}"/>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4" name="Picture 13">
            <a:extLst>
              <a:ext uri="{FF2B5EF4-FFF2-40B4-BE49-F238E27FC236}">
                <a16:creationId xmlns:a16="http://schemas.microsoft.com/office/drawing/2014/main" id="{FBFE9543-7CBF-0289-67C7-7B848680BBBF}"/>
              </a:ext>
            </a:extLst>
          </p:cNvPr>
          <p:cNvPicPr>
            <a:picLocks noChangeAspect="1"/>
          </p:cNvPicPr>
          <p:nvPr userDrawn="1"/>
        </p:nvPicPr>
        <p:blipFill>
          <a:blip r:embed="rId4"/>
          <a:srcRect t="32177"/>
          <a:stretch/>
        </p:blipFill>
        <p:spPr>
          <a:xfrm>
            <a:off x="-1404595" y="2958349"/>
            <a:ext cx="1082591" cy="836058"/>
          </a:xfrm>
          <a:prstGeom prst="rect">
            <a:avLst/>
          </a:prstGeom>
        </p:spPr>
      </p:pic>
      <p:pic>
        <p:nvPicPr>
          <p:cNvPr id="15" name="Picture 14">
            <a:extLst>
              <a:ext uri="{FF2B5EF4-FFF2-40B4-BE49-F238E27FC236}">
                <a16:creationId xmlns:a16="http://schemas.microsoft.com/office/drawing/2014/main" id="{2636F492-53C9-6EF4-F9F8-F0677B25A423}"/>
              </a:ext>
            </a:extLst>
          </p:cNvPr>
          <p:cNvPicPr>
            <a:picLocks noChangeAspect="1"/>
          </p:cNvPicPr>
          <p:nvPr userDrawn="1"/>
        </p:nvPicPr>
        <p:blipFill>
          <a:blip r:embed="rId5"/>
          <a:stretch>
            <a:fillRect/>
          </a:stretch>
        </p:blipFill>
        <p:spPr>
          <a:xfrm>
            <a:off x="-1082304" y="1940632"/>
            <a:ext cx="438012" cy="204850"/>
          </a:xfrm>
          <a:prstGeom prst="rect">
            <a:avLst/>
          </a:prstGeom>
        </p:spPr>
      </p:pic>
      <p:pic>
        <p:nvPicPr>
          <p:cNvPr id="16" name="Picture 15">
            <a:extLst>
              <a:ext uri="{FF2B5EF4-FFF2-40B4-BE49-F238E27FC236}">
                <a16:creationId xmlns:a16="http://schemas.microsoft.com/office/drawing/2014/main" id="{4FE64523-E296-B93F-4467-10EE00D6D7A7}"/>
              </a:ext>
            </a:extLst>
          </p:cNvPr>
          <p:cNvPicPr>
            <a:picLocks noChangeAspect="1"/>
          </p:cNvPicPr>
          <p:nvPr userDrawn="1"/>
        </p:nvPicPr>
        <p:blipFill>
          <a:blip r:embed="rId6"/>
          <a:stretch>
            <a:fillRect/>
          </a:stretch>
        </p:blipFill>
        <p:spPr>
          <a:xfrm>
            <a:off x="-1019629" y="2663645"/>
            <a:ext cx="312660" cy="201690"/>
          </a:xfrm>
          <a:prstGeom prst="rect">
            <a:avLst/>
          </a:prstGeom>
        </p:spPr>
      </p:pic>
    </p:spTree>
    <p:extLst>
      <p:ext uri="{BB962C8B-B14F-4D97-AF65-F5344CB8AC3E}">
        <p14:creationId xmlns:p14="http://schemas.microsoft.com/office/powerpoint/2010/main" val="9005191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text - dark backgroun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F7AD35-07BE-675A-5EE9-EB28FA6DBF79}"/>
              </a:ext>
            </a:extLst>
          </p:cNvPr>
          <p:cNvSpPr/>
          <p:nvPr userDrawn="1"/>
        </p:nvSpPr>
        <p:spPr>
          <a:xfrm>
            <a:off x="0" y="1440000"/>
            <a:ext cx="12193588" cy="541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9667546" cy="432802"/>
          </a:xfrm>
        </p:spPr>
        <p:txBody>
          <a:bodyPr wrap="square" bIns="72000" anchor="t" anchorCtr="0">
            <a:spAutoFit/>
          </a:bodyPr>
          <a:lstStyle>
            <a:lvl1pPr algn="l">
              <a:defRPr sz="2600">
                <a:solidFill>
                  <a:schemeClr val="tx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BED509E5-4181-8243-B59D-0F5A34B53FB4}" type="datetime3">
              <a:rPr lang="da-DK" smtClean="0"/>
              <a:t>13.05.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4472" y="6494949"/>
            <a:ext cx="374699" cy="153888"/>
          </a:xfrm>
        </p:spPr>
        <p:txBody>
          <a:bodyPr/>
          <a:lstStyle>
            <a:lvl1pPr algn="r">
              <a:defRPr>
                <a:solidFill>
                  <a:schemeClr val="tx2">
                    <a:lumMod val="60000"/>
                    <a:lumOff val="40000"/>
                  </a:schemeClr>
                </a:solidFill>
              </a:defRPr>
            </a:lvl1pPr>
          </a:lstStyle>
          <a:p>
            <a:fld id="{C2F92818-9D0C-420B-84CB-20E21C25F84F}" type="slidenum">
              <a:rPr lang="sv-SE" smtClean="0"/>
              <a:pPr/>
              <a:t>‹#›</a:t>
            </a:fld>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6" y="1656000"/>
            <a:ext cx="11161579" cy="4464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6" y="947739"/>
            <a:ext cx="9667546"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pic>
        <p:nvPicPr>
          <p:cNvPr id="11" name="Graphic 10">
            <a:extLst>
              <a:ext uri="{FF2B5EF4-FFF2-40B4-BE49-F238E27FC236}">
                <a16:creationId xmlns:a16="http://schemas.microsoft.com/office/drawing/2014/main" id="{ADC0A9E1-1549-C303-148D-86A70CA050FA}"/>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9" name="TextBox 8">
            <a:extLst>
              <a:ext uri="{FF2B5EF4-FFF2-40B4-BE49-F238E27FC236}">
                <a16:creationId xmlns:a16="http://schemas.microsoft.com/office/drawing/2014/main" id="{74C06C06-FBD5-68AB-93E0-39E6BAF78AE4}"/>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2" name="Picture 11">
            <a:extLst>
              <a:ext uri="{FF2B5EF4-FFF2-40B4-BE49-F238E27FC236}">
                <a16:creationId xmlns:a16="http://schemas.microsoft.com/office/drawing/2014/main" id="{25CB06FE-F5E5-80F2-05D3-827D75F5B745}"/>
              </a:ext>
            </a:extLst>
          </p:cNvPr>
          <p:cNvPicPr>
            <a:picLocks noChangeAspect="1"/>
          </p:cNvPicPr>
          <p:nvPr userDrawn="1"/>
        </p:nvPicPr>
        <p:blipFill>
          <a:blip r:embed="rId3"/>
          <a:stretch>
            <a:fillRect/>
          </a:stretch>
        </p:blipFill>
        <p:spPr>
          <a:xfrm>
            <a:off x="-1032553" y="6043201"/>
            <a:ext cx="338511" cy="456195"/>
          </a:xfrm>
          <a:prstGeom prst="rect">
            <a:avLst/>
          </a:prstGeom>
        </p:spPr>
      </p:pic>
      <p:sp>
        <p:nvSpPr>
          <p:cNvPr id="13" name="TextBox 12">
            <a:extLst>
              <a:ext uri="{FF2B5EF4-FFF2-40B4-BE49-F238E27FC236}">
                <a16:creationId xmlns:a16="http://schemas.microsoft.com/office/drawing/2014/main" id="{1E441848-DB0B-436B-4C8C-48ACBD36CB3D}"/>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4" name="Picture 13">
            <a:extLst>
              <a:ext uri="{FF2B5EF4-FFF2-40B4-BE49-F238E27FC236}">
                <a16:creationId xmlns:a16="http://schemas.microsoft.com/office/drawing/2014/main" id="{34D3F1FB-44CC-2FFF-0F51-1D9057EB18BE}"/>
              </a:ext>
            </a:extLst>
          </p:cNvPr>
          <p:cNvPicPr>
            <a:picLocks noChangeAspect="1"/>
          </p:cNvPicPr>
          <p:nvPr userDrawn="1"/>
        </p:nvPicPr>
        <p:blipFill>
          <a:blip r:embed="rId4"/>
          <a:srcRect t="32177"/>
          <a:stretch/>
        </p:blipFill>
        <p:spPr>
          <a:xfrm>
            <a:off x="-1404595" y="2958349"/>
            <a:ext cx="1082591" cy="836058"/>
          </a:xfrm>
          <a:prstGeom prst="rect">
            <a:avLst/>
          </a:prstGeom>
        </p:spPr>
      </p:pic>
      <p:pic>
        <p:nvPicPr>
          <p:cNvPr id="15" name="Picture 14">
            <a:extLst>
              <a:ext uri="{FF2B5EF4-FFF2-40B4-BE49-F238E27FC236}">
                <a16:creationId xmlns:a16="http://schemas.microsoft.com/office/drawing/2014/main" id="{9C69F818-4B7C-1DF0-394D-0B0F938BD053}"/>
              </a:ext>
            </a:extLst>
          </p:cNvPr>
          <p:cNvPicPr>
            <a:picLocks noChangeAspect="1"/>
          </p:cNvPicPr>
          <p:nvPr userDrawn="1"/>
        </p:nvPicPr>
        <p:blipFill>
          <a:blip r:embed="rId5"/>
          <a:stretch>
            <a:fillRect/>
          </a:stretch>
        </p:blipFill>
        <p:spPr>
          <a:xfrm>
            <a:off x="-1082304" y="1940632"/>
            <a:ext cx="438012" cy="204850"/>
          </a:xfrm>
          <a:prstGeom prst="rect">
            <a:avLst/>
          </a:prstGeom>
        </p:spPr>
      </p:pic>
      <p:pic>
        <p:nvPicPr>
          <p:cNvPr id="16" name="Picture 15">
            <a:extLst>
              <a:ext uri="{FF2B5EF4-FFF2-40B4-BE49-F238E27FC236}">
                <a16:creationId xmlns:a16="http://schemas.microsoft.com/office/drawing/2014/main" id="{F028DE18-1375-B647-B110-60BC4F4E8B55}"/>
              </a:ext>
            </a:extLst>
          </p:cNvPr>
          <p:cNvPicPr>
            <a:picLocks noChangeAspect="1"/>
          </p:cNvPicPr>
          <p:nvPr userDrawn="1"/>
        </p:nvPicPr>
        <p:blipFill>
          <a:blip r:embed="rId6"/>
          <a:stretch>
            <a:fillRect/>
          </a:stretch>
        </p:blipFill>
        <p:spPr>
          <a:xfrm>
            <a:off x="-1019629" y="2663645"/>
            <a:ext cx="312660" cy="201690"/>
          </a:xfrm>
          <a:prstGeom prst="rect">
            <a:avLst/>
          </a:prstGeom>
        </p:spPr>
      </p:pic>
    </p:spTree>
    <p:extLst>
      <p:ext uri="{BB962C8B-B14F-4D97-AF65-F5344CB8AC3E}">
        <p14:creationId xmlns:p14="http://schemas.microsoft.com/office/powerpoint/2010/main" val="27241655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ext &amp; image right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5227881" cy="432802"/>
          </a:xfrm>
        </p:spPr>
        <p:txBody>
          <a:bodyPr wrap="square" bIns="72000" anchor="t" anchorCtr="0">
            <a:spAutoFit/>
          </a:bodyPr>
          <a:lstStyle>
            <a:lvl1pPr algn="l">
              <a:defRPr sz="2600">
                <a:solidFill>
                  <a:schemeClr val="tx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tx1"/>
                </a:solidFill>
              </a:defRPr>
            </a:lvl1pPr>
          </a:lstStyle>
          <a:p>
            <a:fld id="{F57CA290-0BCC-584A-9792-2423CAD04943}" type="datetime3">
              <a:rPr lang="da-DK" smtClean="0"/>
              <a:t>13.05.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4472"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5" y="1440000"/>
            <a:ext cx="5227881" cy="468000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6" y="947739"/>
            <a:ext cx="5227881"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8" name="Picture Placeholder 15">
            <a:extLst>
              <a:ext uri="{FF2B5EF4-FFF2-40B4-BE49-F238E27FC236}">
                <a16:creationId xmlns:a16="http://schemas.microsoft.com/office/drawing/2014/main" id="{C97B6A17-A79B-2D2E-B5FE-BF99F760DB3B}"/>
              </a:ext>
            </a:extLst>
          </p:cNvPr>
          <p:cNvSpPr>
            <a:spLocks noGrp="1"/>
          </p:cNvSpPr>
          <p:nvPr>
            <p:ph type="pic" sz="quarter" idx="27" hasCustomPrompt="1"/>
          </p:nvPr>
        </p:nvSpPr>
        <p:spPr>
          <a:xfrm>
            <a:off x="6096794" y="0"/>
            <a:ext cx="6096794" cy="6858000"/>
          </a:xfrm>
        </p:spPr>
        <p:txBody>
          <a:bodyPr tIns="504000"/>
          <a:lstStyle>
            <a:lvl1pPr marL="0" indent="0" algn="ctr">
              <a:buNone/>
              <a:defRPr>
                <a:solidFill>
                  <a:schemeClr val="tx1"/>
                </a:solidFill>
              </a:defRPr>
            </a:lvl1pPr>
          </a:lstStyle>
          <a:p>
            <a:r>
              <a:rPr lang="sv-SE" err="1"/>
              <a:t>Click</a:t>
            </a:r>
            <a:r>
              <a:rPr lang="sv-SE"/>
              <a:t> to </a:t>
            </a:r>
            <a:r>
              <a:rPr lang="sv-SE" err="1"/>
              <a:t>insert</a:t>
            </a:r>
            <a:r>
              <a:rPr lang="sv-SE"/>
              <a:t> </a:t>
            </a:r>
            <a:r>
              <a:rPr lang="sv-SE" err="1"/>
              <a:t>picture</a:t>
            </a:r>
            <a:endParaRPr lang="sv-SE"/>
          </a:p>
        </p:txBody>
      </p:sp>
      <p:sp>
        <p:nvSpPr>
          <p:cNvPr id="3" name="TextBox 2">
            <a:extLst>
              <a:ext uri="{FF2B5EF4-FFF2-40B4-BE49-F238E27FC236}">
                <a16:creationId xmlns:a16="http://schemas.microsoft.com/office/drawing/2014/main" id="{84F3970D-5128-14BA-B1FB-5F4F6F624D53}"/>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D00168CC-6D4A-D3D9-D2FB-2068273EE7B8}"/>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1" name="TextBox 10">
            <a:extLst>
              <a:ext uri="{FF2B5EF4-FFF2-40B4-BE49-F238E27FC236}">
                <a16:creationId xmlns:a16="http://schemas.microsoft.com/office/drawing/2014/main" id="{9A653868-CBCA-D554-5074-77C05A70D81D}"/>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9B84FFF2-670D-0134-15EC-875872153D81}"/>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3" name="Picture 12">
            <a:extLst>
              <a:ext uri="{FF2B5EF4-FFF2-40B4-BE49-F238E27FC236}">
                <a16:creationId xmlns:a16="http://schemas.microsoft.com/office/drawing/2014/main" id="{15BE3979-AFCB-5DA2-10C0-817672643630}"/>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4" name="Picture 13">
            <a:extLst>
              <a:ext uri="{FF2B5EF4-FFF2-40B4-BE49-F238E27FC236}">
                <a16:creationId xmlns:a16="http://schemas.microsoft.com/office/drawing/2014/main" id="{507290C6-5BB3-A722-EC2A-571B728C0B39}"/>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5" name="TextBox 14">
            <a:extLst>
              <a:ext uri="{FF2B5EF4-FFF2-40B4-BE49-F238E27FC236}">
                <a16:creationId xmlns:a16="http://schemas.microsoft.com/office/drawing/2014/main" id="{39B20A6E-C3BD-9548-DBF8-B76CC54AFC6E}"/>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7832247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xt &amp; image right - Dark Blue">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A1B5EA6-A0E2-3B9F-59B0-74E42BD02B54}"/>
              </a:ext>
            </a:extLst>
          </p:cNvPr>
          <p:cNvSpPr/>
          <p:nvPr userDrawn="1"/>
        </p:nvSpPr>
        <p:spPr>
          <a:xfrm>
            <a:off x="0" y="0"/>
            <a:ext cx="6096794"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5" y="514350"/>
            <a:ext cx="5227881" cy="432802"/>
          </a:xfrm>
        </p:spPr>
        <p:txBody>
          <a:bodyPr wrap="square" bIns="72000" anchor="t" anchorCtr="0">
            <a:spAutoFit/>
          </a:bodyPr>
          <a:lstStyle>
            <a:lvl1pPr algn="l">
              <a:defRPr sz="2600">
                <a:solidFill>
                  <a:schemeClr val="bg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DBAA2410-14E8-1542-A8E1-F1C90BB3F55A}" type="datetime3">
              <a:rPr lang="da-DK" smtClean="0"/>
              <a:t>13.05.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5" y="1440000"/>
            <a:ext cx="5227881" cy="4680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516005" y="947739"/>
            <a:ext cx="5227881"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8" name="Picture Placeholder 15">
            <a:extLst>
              <a:ext uri="{FF2B5EF4-FFF2-40B4-BE49-F238E27FC236}">
                <a16:creationId xmlns:a16="http://schemas.microsoft.com/office/drawing/2014/main" id="{D0F135B0-EEDC-1771-A31F-233B18D7E883}"/>
              </a:ext>
            </a:extLst>
          </p:cNvPr>
          <p:cNvSpPr>
            <a:spLocks noGrp="1"/>
          </p:cNvSpPr>
          <p:nvPr>
            <p:ph type="pic" sz="quarter" idx="27" hasCustomPrompt="1"/>
          </p:nvPr>
        </p:nvSpPr>
        <p:spPr>
          <a:xfrm>
            <a:off x="6096794" y="0"/>
            <a:ext cx="6096794" cy="6858000"/>
          </a:xfrm>
        </p:spPr>
        <p:txBody>
          <a:bodyPr tIns="504000"/>
          <a:lstStyle>
            <a:lvl1pPr marL="0" indent="0" algn="ctr">
              <a:buNone/>
              <a:defRPr>
                <a:solidFill>
                  <a:schemeClr val="tx1"/>
                </a:solidFill>
              </a:defRPr>
            </a:lvl1pPr>
          </a:lstStyle>
          <a:p>
            <a:r>
              <a:rPr lang="sv-SE" err="1"/>
              <a:t>Click</a:t>
            </a:r>
            <a:r>
              <a:rPr lang="sv-SE"/>
              <a:t> to </a:t>
            </a:r>
            <a:r>
              <a:rPr lang="sv-SE" err="1"/>
              <a:t>insert</a:t>
            </a:r>
            <a:r>
              <a:rPr lang="sv-SE"/>
              <a:t> </a:t>
            </a:r>
            <a:r>
              <a:rPr lang="sv-SE" err="1"/>
              <a:t>picture</a:t>
            </a:r>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3" name="TextBox 2">
            <a:extLst>
              <a:ext uri="{FF2B5EF4-FFF2-40B4-BE49-F238E27FC236}">
                <a16:creationId xmlns:a16="http://schemas.microsoft.com/office/drawing/2014/main" id="{ABAC40BB-B2C0-10EF-905E-778852D5348D}"/>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1" name="Picture 10">
            <a:extLst>
              <a:ext uri="{FF2B5EF4-FFF2-40B4-BE49-F238E27FC236}">
                <a16:creationId xmlns:a16="http://schemas.microsoft.com/office/drawing/2014/main" id="{B09EEFC4-204E-9065-6674-EEF4F8C023F9}"/>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2" name="TextBox 11">
            <a:extLst>
              <a:ext uri="{FF2B5EF4-FFF2-40B4-BE49-F238E27FC236}">
                <a16:creationId xmlns:a16="http://schemas.microsoft.com/office/drawing/2014/main" id="{812A2870-86FB-3D69-F801-C366E6398B6C}"/>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3" name="Picture 12">
            <a:extLst>
              <a:ext uri="{FF2B5EF4-FFF2-40B4-BE49-F238E27FC236}">
                <a16:creationId xmlns:a16="http://schemas.microsoft.com/office/drawing/2014/main" id="{04D759B6-9C7C-4D35-6158-8272598C3D2B}"/>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4" name="Picture 13">
            <a:extLst>
              <a:ext uri="{FF2B5EF4-FFF2-40B4-BE49-F238E27FC236}">
                <a16:creationId xmlns:a16="http://schemas.microsoft.com/office/drawing/2014/main" id="{9B43CBAE-93F0-D92F-D62C-5611344AE9E2}"/>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5" name="Picture 14">
            <a:extLst>
              <a:ext uri="{FF2B5EF4-FFF2-40B4-BE49-F238E27FC236}">
                <a16:creationId xmlns:a16="http://schemas.microsoft.com/office/drawing/2014/main" id="{F62D5BEB-64F1-78DB-21A4-C65273DBC205}"/>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6" name="TextBox 15">
            <a:extLst>
              <a:ext uri="{FF2B5EF4-FFF2-40B4-BE49-F238E27FC236}">
                <a16:creationId xmlns:a16="http://schemas.microsoft.com/office/drawing/2014/main" id="{3648C5D2-B742-241A-5D34-29DED7EE9141}"/>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15908926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 &amp; image right - Blue">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A1B5EA6-A0E2-3B9F-59B0-74E42BD02B54}"/>
              </a:ext>
            </a:extLst>
          </p:cNvPr>
          <p:cNvSpPr/>
          <p:nvPr userDrawn="1"/>
        </p:nvSpPr>
        <p:spPr>
          <a:xfrm>
            <a:off x="0" y="0"/>
            <a:ext cx="6096794"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5" y="514350"/>
            <a:ext cx="5227881" cy="432802"/>
          </a:xfrm>
        </p:spPr>
        <p:txBody>
          <a:bodyPr wrap="square" bIns="72000" anchor="t" anchorCtr="0">
            <a:spAutoFit/>
          </a:bodyPr>
          <a:lstStyle>
            <a:lvl1pPr algn="l">
              <a:defRPr sz="2600">
                <a:solidFill>
                  <a:schemeClr val="bg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6F1115F5-A98B-054E-B1B1-46320BCA105B}" type="datetime3">
              <a:rPr lang="da-DK" smtClean="0"/>
              <a:t>13.05.2026</a:t>
            </a:fld>
            <a:endParaRPr lang="sv-SE"/>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516005" y="947739"/>
            <a:ext cx="5227881"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8" name="Picture Placeholder 15">
            <a:extLst>
              <a:ext uri="{FF2B5EF4-FFF2-40B4-BE49-F238E27FC236}">
                <a16:creationId xmlns:a16="http://schemas.microsoft.com/office/drawing/2014/main" id="{D0F135B0-EEDC-1771-A31F-233B18D7E883}"/>
              </a:ext>
            </a:extLst>
          </p:cNvPr>
          <p:cNvSpPr>
            <a:spLocks noGrp="1"/>
          </p:cNvSpPr>
          <p:nvPr>
            <p:ph type="pic" sz="quarter" idx="27" hasCustomPrompt="1"/>
          </p:nvPr>
        </p:nvSpPr>
        <p:spPr>
          <a:xfrm>
            <a:off x="6096794" y="0"/>
            <a:ext cx="6096794" cy="6858000"/>
          </a:xfrm>
        </p:spPr>
        <p:txBody>
          <a:bodyPr tIns="504000"/>
          <a:lstStyle>
            <a:lvl1pPr marL="0" indent="0" algn="ctr">
              <a:buNone/>
              <a:defRPr>
                <a:solidFill>
                  <a:schemeClr val="tx1"/>
                </a:solidFill>
              </a:defRPr>
            </a:lvl1pPr>
          </a:lstStyle>
          <a:p>
            <a:r>
              <a:rPr lang="sv-SE" err="1"/>
              <a:t>Click</a:t>
            </a:r>
            <a:r>
              <a:rPr lang="sv-SE"/>
              <a:t> to </a:t>
            </a:r>
            <a:r>
              <a:rPr lang="sv-SE" err="1"/>
              <a:t>insert</a:t>
            </a:r>
            <a:r>
              <a:rPr lang="sv-SE"/>
              <a:t> </a:t>
            </a:r>
            <a:r>
              <a:rPr lang="sv-SE" err="1"/>
              <a:t>picture</a:t>
            </a:r>
            <a:endParaRPr lang="sv-SE"/>
          </a:p>
        </p:txBody>
      </p:sp>
      <p:sp>
        <p:nvSpPr>
          <p:cNvPr id="3" name="Text Placeholder 10">
            <a:extLst>
              <a:ext uri="{FF2B5EF4-FFF2-40B4-BE49-F238E27FC236}">
                <a16:creationId xmlns:a16="http://schemas.microsoft.com/office/drawing/2014/main" id="{6A3C0ADC-D3F8-0ACF-ADBE-55F01C3C17D2}"/>
              </a:ext>
            </a:extLst>
          </p:cNvPr>
          <p:cNvSpPr>
            <a:spLocks noGrp="1"/>
          </p:cNvSpPr>
          <p:nvPr>
            <p:ph type="body" sz="quarter" idx="13"/>
          </p:nvPr>
        </p:nvSpPr>
        <p:spPr>
          <a:xfrm>
            <a:off x="516005" y="1440000"/>
            <a:ext cx="5227881" cy="4680000"/>
          </a:xfrm>
        </p:spPr>
        <p:txBody>
          <a:bodyPr/>
          <a:lstStyle>
            <a:lvl1pPr>
              <a:buClr>
                <a:schemeClr val="tx1"/>
              </a:buClr>
              <a:defRPr>
                <a:solidFill>
                  <a:schemeClr val="bg1"/>
                </a:solidFill>
              </a:defRPr>
            </a:lvl1pPr>
            <a:lvl2pPr>
              <a:buClr>
                <a:schemeClr val="tx1"/>
              </a:buClr>
              <a:defRPr>
                <a:solidFill>
                  <a:schemeClr val="bg1"/>
                </a:solidFill>
              </a:defRPr>
            </a:lvl2pPr>
            <a:lvl3pPr>
              <a:buClr>
                <a:schemeClr val="tx1"/>
              </a:buClr>
              <a:defRPr>
                <a:solidFill>
                  <a:schemeClr val="bg1"/>
                </a:solidFill>
              </a:defRPr>
            </a:lvl3pPr>
            <a:lvl4pPr>
              <a:buClr>
                <a:schemeClr val="tx1"/>
              </a:buClr>
              <a:defRPr>
                <a:solidFill>
                  <a:schemeClr val="bg1"/>
                </a:solidFill>
              </a:defRPr>
            </a:lvl4pPr>
            <a:lvl5pPr>
              <a:buClr>
                <a:schemeClr val="tx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0" name="TextBox 9">
            <a:extLst>
              <a:ext uri="{FF2B5EF4-FFF2-40B4-BE49-F238E27FC236}">
                <a16:creationId xmlns:a16="http://schemas.microsoft.com/office/drawing/2014/main" id="{40F7BCEA-786B-1E47-4D8D-445368937DEF}"/>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1" name="Picture 10">
            <a:extLst>
              <a:ext uri="{FF2B5EF4-FFF2-40B4-BE49-F238E27FC236}">
                <a16:creationId xmlns:a16="http://schemas.microsoft.com/office/drawing/2014/main" id="{42EBC80B-FFC8-63EC-3483-CCCBB03639BA}"/>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2" name="TextBox 11">
            <a:extLst>
              <a:ext uri="{FF2B5EF4-FFF2-40B4-BE49-F238E27FC236}">
                <a16:creationId xmlns:a16="http://schemas.microsoft.com/office/drawing/2014/main" id="{C3C5CC40-030E-E498-AE51-304BCA04028A}"/>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3" name="Picture 12">
            <a:extLst>
              <a:ext uri="{FF2B5EF4-FFF2-40B4-BE49-F238E27FC236}">
                <a16:creationId xmlns:a16="http://schemas.microsoft.com/office/drawing/2014/main" id="{F38ECD07-5F8E-E6BB-33DF-9C47A442A8D1}"/>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4" name="Picture 13">
            <a:extLst>
              <a:ext uri="{FF2B5EF4-FFF2-40B4-BE49-F238E27FC236}">
                <a16:creationId xmlns:a16="http://schemas.microsoft.com/office/drawing/2014/main" id="{3AD37D10-6302-26BF-510E-8F6B8DFA09FC}"/>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5" name="Picture 14">
            <a:extLst>
              <a:ext uri="{FF2B5EF4-FFF2-40B4-BE49-F238E27FC236}">
                <a16:creationId xmlns:a16="http://schemas.microsoft.com/office/drawing/2014/main" id="{8E75B961-9E27-334D-7850-EA738C3B36E0}"/>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6" name="TextBox 15">
            <a:extLst>
              <a:ext uri="{FF2B5EF4-FFF2-40B4-BE49-F238E27FC236}">
                <a16:creationId xmlns:a16="http://schemas.microsoft.com/office/drawing/2014/main" id="{21A29A72-56D0-4EDE-5C46-7C807527CC61}"/>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18893385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sp>
        <p:nvSpPr>
          <p:cNvPr id="6" name="Title 8"/>
          <p:cNvSpPr>
            <a:spLocks noGrp="1"/>
          </p:cNvSpPr>
          <p:nvPr>
            <p:ph type="title"/>
          </p:nvPr>
        </p:nvSpPr>
        <p:spPr>
          <a:xfrm>
            <a:off x="838309" y="2385601"/>
            <a:ext cx="10516970" cy="415498"/>
          </a:xfrm>
        </p:spPr>
        <p:txBody>
          <a:bodyPr/>
          <a:lstStyle>
            <a:lvl1pPr algn="ctr">
              <a:defRPr>
                <a:solidFill>
                  <a:schemeClr val="tx2"/>
                </a:solidFill>
              </a:defRPr>
            </a:lvl1pPr>
          </a:lstStyle>
          <a:p>
            <a:r>
              <a:rPr lang="en-US"/>
              <a:t>Click to edit Master title style</a:t>
            </a:r>
          </a:p>
        </p:txBody>
      </p:sp>
      <p:sp>
        <p:nvSpPr>
          <p:cNvPr id="9" name="Text Placeholder 3"/>
          <p:cNvSpPr>
            <a:spLocks noGrp="1"/>
          </p:cNvSpPr>
          <p:nvPr>
            <p:ph type="body" sz="quarter" idx="11"/>
          </p:nvPr>
        </p:nvSpPr>
        <p:spPr>
          <a:xfrm>
            <a:off x="838309" y="3025859"/>
            <a:ext cx="10516970" cy="249299"/>
          </a:xfrm>
          <a:prstGeom prst="rect">
            <a:avLst/>
          </a:prstGeom>
        </p:spPr>
        <p:txBody>
          <a:bodyPr/>
          <a:lstStyle>
            <a:lvl1pPr marL="0" indent="0" algn="ctr">
              <a:buNone/>
              <a:defRPr b="0" i="0">
                <a:solidFill>
                  <a:schemeClr val="tx1"/>
                </a:solidFill>
                <a:latin typeface="Avenir Next LT Pro" panose="020B0504020202020204" pitchFamily="34" charset="77"/>
              </a:defRPr>
            </a:lvl1pPr>
          </a:lstStyle>
          <a:p>
            <a:pPr lvl="0"/>
            <a:r>
              <a:rPr lang="en-US"/>
              <a:t>Click to edit Master text styles</a:t>
            </a:r>
          </a:p>
        </p:txBody>
      </p:sp>
      <p:pic>
        <p:nvPicPr>
          <p:cNvPr id="3" name="Graphic 2">
            <a:extLst>
              <a:ext uri="{FF2B5EF4-FFF2-40B4-BE49-F238E27FC236}">
                <a16:creationId xmlns:a16="http://schemas.microsoft.com/office/drawing/2014/main" id="{E1747897-FA7F-9CC2-3846-9A951B478C2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cSld>
  <p:clrMapOvr>
    <a:masterClrMapping/>
  </p:clrMapOvr>
  <p:transition spd="slow">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Right half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8DEE52-360F-D14A-9CAE-7B1FA2B9C68A}"/>
              </a:ext>
            </a:extLst>
          </p:cNvPr>
          <p:cNvSpPr/>
          <p:nvPr userDrawn="1"/>
        </p:nvSpPr>
        <p:spPr>
          <a:xfrm>
            <a:off x="0" y="0"/>
            <a:ext cx="60967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7" name="Picture Placeholder 3"/>
          <p:cNvSpPr>
            <a:spLocks noGrp="1"/>
          </p:cNvSpPr>
          <p:nvPr>
            <p:ph type="pic" sz="quarter" idx="10"/>
          </p:nvPr>
        </p:nvSpPr>
        <p:spPr>
          <a:xfrm>
            <a:off x="6096794" y="1"/>
            <a:ext cx="6096794" cy="221599"/>
          </a:xfrm>
          <a:prstGeom prst="rect">
            <a:avLst/>
          </a:prstGeom>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10" name="Text Placeholder 2"/>
          <p:cNvSpPr>
            <a:spLocks noGrp="1"/>
          </p:cNvSpPr>
          <p:nvPr>
            <p:ph type="body" sz="quarter" idx="12"/>
          </p:nvPr>
        </p:nvSpPr>
        <p:spPr>
          <a:xfrm>
            <a:off x="565224" y="1997776"/>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Title 1">
            <a:extLst>
              <a:ext uri="{FF2B5EF4-FFF2-40B4-BE49-F238E27FC236}">
                <a16:creationId xmlns:a16="http://schemas.microsoft.com/office/drawing/2014/main" id="{E12170D0-3B32-A0D7-A2D9-F64DF9CDD823}"/>
              </a:ext>
            </a:extLst>
          </p:cNvPr>
          <p:cNvSpPr>
            <a:spLocks noGrp="1"/>
          </p:cNvSpPr>
          <p:nvPr>
            <p:ph type="title"/>
          </p:nvPr>
        </p:nvSpPr>
        <p:spPr>
          <a:xfrm>
            <a:off x="565459" y="552715"/>
            <a:ext cx="5046447" cy="830997"/>
          </a:xfrm>
        </p:spPr>
        <p:txBody>
          <a:bodyPr/>
          <a:lstStyle>
            <a:lvl1pPr>
              <a:defRPr>
                <a:solidFill>
                  <a:schemeClr val="bg1"/>
                </a:solidFill>
              </a:defRPr>
            </a:lvl1pPr>
          </a:lstStyle>
          <a:p>
            <a:r>
              <a:rPr lang="en-US"/>
              <a:t>Click to edit Master title style</a:t>
            </a:r>
          </a:p>
        </p:txBody>
      </p:sp>
      <p:sp>
        <p:nvSpPr>
          <p:cNvPr id="4" name="Text Placeholder 9">
            <a:extLst>
              <a:ext uri="{FF2B5EF4-FFF2-40B4-BE49-F238E27FC236}">
                <a16:creationId xmlns:a16="http://schemas.microsoft.com/office/drawing/2014/main" id="{7C789ED9-BED9-7CDF-19E0-DA293B36E478}"/>
              </a:ext>
            </a:extLst>
          </p:cNvPr>
          <p:cNvSpPr>
            <a:spLocks noGrp="1"/>
          </p:cNvSpPr>
          <p:nvPr>
            <p:ph type="body" sz="quarter" idx="11"/>
          </p:nvPr>
        </p:nvSpPr>
        <p:spPr>
          <a:xfrm>
            <a:off x="565460" y="1021031"/>
            <a:ext cx="5040194"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5" name="Picture 4">
            <a:extLst>
              <a:ext uri="{FF2B5EF4-FFF2-40B4-BE49-F238E27FC236}">
                <a16:creationId xmlns:a16="http://schemas.microsoft.com/office/drawing/2014/main" id="{CD570D53-D6A9-8B3D-6294-1654E6CB465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83170" y="204716"/>
            <a:ext cx="1358721" cy="826913"/>
          </a:xfrm>
          <a:prstGeom prst="rect">
            <a:avLst/>
          </a:prstGeom>
        </p:spPr>
      </p:pic>
      <p:sp>
        <p:nvSpPr>
          <p:cNvPr id="6" name="TextBox 5">
            <a:extLst>
              <a:ext uri="{FF2B5EF4-FFF2-40B4-BE49-F238E27FC236}">
                <a16:creationId xmlns:a16="http://schemas.microsoft.com/office/drawing/2014/main" id="{6E8EDD47-C182-51B1-2C87-4F506A84C49D}"/>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8" name="TextBox 7">
            <a:extLst>
              <a:ext uri="{FF2B5EF4-FFF2-40B4-BE49-F238E27FC236}">
                <a16:creationId xmlns:a16="http://schemas.microsoft.com/office/drawing/2014/main" id="{81601D58-CDAD-05EF-75AA-FDE4E24526DD}"/>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extLst>
      <p:ext uri="{BB962C8B-B14F-4D97-AF65-F5344CB8AC3E}">
        <p14:creationId xmlns:p14="http://schemas.microsoft.com/office/powerpoint/2010/main" val="341505700"/>
      </p:ext>
    </p:extLst>
  </p:cSld>
  <p:clrMapOvr>
    <a:masterClrMapping/>
  </p:clrMapOvr>
  <p:transition spd="slow">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 &amp; image left - White">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id="{C97B6A17-A79B-2D2E-B5FE-BF99F760DB3B}"/>
              </a:ext>
            </a:extLst>
          </p:cNvPr>
          <p:cNvSpPr>
            <a:spLocks noGrp="1"/>
          </p:cNvSpPr>
          <p:nvPr>
            <p:ph type="pic" sz="quarter" idx="27" hasCustomPrompt="1"/>
          </p:nvPr>
        </p:nvSpPr>
        <p:spPr>
          <a:xfrm>
            <a:off x="0" y="0"/>
            <a:ext cx="6096794" cy="6858000"/>
          </a:xfrm>
        </p:spPr>
        <p:txBody>
          <a:bodyPr tIns="504000"/>
          <a:lstStyle>
            <a:lvl1pPr marL="0" indent="0" algn="ctr">
              <a:buNone/>
              <a:defRPr>
                <a:solidFill>
                  <a:schemeClr val="tx1"/>
                </a:solidFill>
              </a:defRPr>
            </a:lvl1pPr>
          </a:lstStyle>
          <a:p>
            <a:r>
              <a:rPr lang="en-GB" noProof="0"/>
              <a:t>Click to insert picture</a:t>
            </a:r>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6610461" y="514350"/>
            <a:ext cx="5069460" cy="432802"/>
          </a:xfrm>
        </p:spPr>
        <p:txBody>
          <a:bodyPr wrap="square" bIns="72000" anchor="t" anchorCtr="0">
            <a:spAutoFit/>
          </a:bodyPr>
          <a:lstStyle>
            <a:lvl1pPr algn="l">
              <a:defRPr sz="2600">
                <a:solidFill>
                  <a:schemeClr val="tx1"/>
                </a:solidFill>
              </a:defRPr>
            </a:lvl1pPr>
          </a:lstStyle>
          <a:p>
            <a:r>
              <a:rPr lang="en-US"/>
              <a:t>Click to edit title</a:t>
            </a:r>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6610461" y="1440000"/>
            <a:ext cx="5069460" cy="468000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6610461" y="947739"/>
            <a:ext cx="5069460"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3" name="Slide Number Placeholder 5">
            <a:extLst>
              <a:ext uri="{FF2B5EF4-FFF2-40B4-BE49-F238E27FC236}">
                <a16:creationId xmlns:a16="http://schemas.microsoft.com/office/drawing/2014/main" id="{EB01F3B5-A2AB-A32C-4E2B-C1390B59F55B}"/>
              </a:ext>
            </a:extLst>
          </p:cNvPr>
          <p:cNvSpPr>
            <a:spLocks noGrp="1"/>
          </p:cNvSpPr>
          <p:nvPr>
            <p:ph type="sldNum" sz="quarter" idx="12"/>
          </p:nvPr>
        </p:nvSpPr>
        <p:spPr>
          <a:xfrm>
            <a:off x="11304472"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4" name="Date Placeholder 3">
            <a:extLst>
              <a:ext uri="{FF2B5EF4-FFF2-40B4-BE49-F238E27FC236}">
                <a16:creationId xmlns:a16="http://schemas.microsoft.com/office/drawing/2014/main" id="{EA5EA2AF-C700-9C95-7A3D-05E8093ED0CC}"/>
              </a:ext>
            </a:extLst>
          </p:cNvPr>
          <p:cNvSpPr>
            <a:spLocks noGrp="1"/>
          </p:cNvSpPr>
          <p:nvPr>
            <p:ph type="dt" sz="half" idx="10"/>
          </p:nvPr>
        </p:nvSpPr>
        <p:spPr>
          <a:xfrm>
            <a:off x="516005" y="6328262"/>
            <a:ext cx="2743557" cy="153888"/>
          </a:xfrm>
        </p:spPr>
        <p:txBody>
          <a:bodyPr/>
          <a:lstStyle>
            <a:lvl1pPr>
              <a:defRPr>
                <a:solidFill>
                  <a:schemeClr val="bg1"/>
                </a:solidFill>
              </a:defRPr>
            </a:lvl1pPr>
          </a:lstStyle>
          <a:p>
            <a:fld id="{D11A3144-17B8-9F4F-95B3-1336F3CDF646}" type="datetime3">
              <a:rPr lang="da-DK" smtClean="0"/>
              <a:t>13.05.2026</a:t>
            </a:fld>
            <a:endParaRPr lang="sv-SE"/>
          </a:p>
        </p:txBody>
      </p:sp>
      <p:sp>
        <p:nvSpPr>
          <p:cNvPr id="5" name="Footer Placeholder 4">
            <a:extLst>
              <a:ext uri="{FF2B5EF4-FFF2-40B4-BE49-F238E27FC236}">
                <a16:creationId xmlns:a16="http://schemas.microsoft.com/office/drawing/2014/main" id="{A54360FE-7428-6493-CB14-2866F116CCF2}"/>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TextBox 6">
            <a:extLst>
              <a:ext uri="{FF2B5EF4-FFF2-40B4-BE49-F238E27FC236}">
                <a16:creationId xmlns:a16="http://schemas.microsoft.com/office/drawing/2014/main" id="{7ACAB7FF-CE9E-5867-1E57-A635B64909A8}"/>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519EBF12-A1DD-EAFE-B755-F45459676B6E}"/>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1" name="TextBox 10">
            <a:extLst>
              <a:ext uri="{FF2B5EF4-FFF2-40B4-BE49-F238E27FC236}">
                <a16:creationId xmlns:a16="http://schemas.microsoft.com/office/drawing/2014/main" id="{CF33AF49-E200-E124-9C9A-A4DBA617BBAF}"/>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FC7D9146-0A46-FD60-85BF-01A3F6A98F15}"/>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3" name="Picture 12">
            <a:extLst>
              <a:ext uri="{FF2B5EF4-FFF2-40B4-BE49-F238E27FC236}">
                <a16:creationId xmlns:a16="http://schemas.microsoft.com/office/drawing/2014/main" id="{876742CD-B107-0546-8DE0-6D67648BDCA7}"/>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4" name="Picture 13">
            <a:extLst>
              <a:ext uri="{FF2B5EF4-FFF2-40B4-BE49-F238E27FC236}">
                <a16:creationId xmlns:a16="http://schemas.microsoft.com/office/drawing/2014/main" id="{14967557-6B6D-5A3F-3840-B09D2927AD2B}"/>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5" name="TextBox 14">
            <a:extLst>
              <a:ext uri="{FF2B5EF4-FFF2-40B4-BE49-F238E27FC236}">
                <a16:creationId xmlns:a16="http://schemas.microsoft.com/office/drawing/2014/main" id="{AF95DB38-940F-930C-4595-C9C96D19984D}"/>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16410347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 &amp; image left - Dark Blue">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id="{D0F135B0-EEDC-1771-A31F-233B18D7E883}"/>
              </a:ext>
            </a:extLst>
          </p:cNvPr>
          <p:cNvSpPr>
            <a:spLocks noGrp="1"/>
          </p:cNvSpPr>
          <p:nvPr>
            <p:ph type="pic" sz="quarter" idx="27" hasCustomPrompt="1"/>
          </p:nvPr>
        </p:nvSpPr>
        <p:spPr>
          <a:xfrm>
            <a:off x="0" y="0"/>
            <a:ext cx="6096794" cy="6858000"/>
          </a:xfrm>
        </p:spPr>
        <p:txBody>
          <a:bodyPr tIns="504000"/>
          <a:lstStyle>
            <a:lvl1pPr marL="0" indent="0" algn="ctr">
              <a:buNone/>
              <a:defRPr>
                <a:solidFill>
                  <a:schemeClr val="tx1"/>
                </a:solidFill>
              </a:defRPr>
            </a:lvl1pPr>
          </a:lstStyle>
          <a:p>
            <a:r>
              <a:rPr lang="en-GB" noProof="0"/>
              <a:t>Click to insert picture</a:t>
            </a:r>
          </a:p>
        </p:txBody>
      </p:sp>
      <p:sp>
        <p:nvSpPr>
          <p:cNvPr id="9" name="Rectangle 8">
            <a:extLst>
              <a:ext uri="{FF2B5EF4-FFF2-40B4-BE49-F238E27FC236}">
                <a16:creationId xmlns:a16="http://schemas.microsoft.com/office/drawing/2014/main" id="{9A1B5EA6-A0E2-3B9F-59B0-74E42BD02B54}"/>
              </a:ext>
            </a:extLst>
          </p:cNvPr>
          <p:cNvSpPr/>
          <p:nvPr userDrawn="1"/>
        </p:nvSpPr>
        <p:spPr>
          <a:xfrm>
            <a:off x="6096794" y="0"/>
            <a:ext cx="6096794"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6610461" y="514350"/>
            <a:ext cx="5069460" cy="432802"/>
          </a:xfrm>
        </p:spPr>
        <p:txBody>
          <a:bodyPr wrap="square" bIns="72000" anchor="t" anchorCtr="0">
            <a:spAutoFit/>
          </a:bodyPr>
          <a:lstStyle>
            <a:lvl1pPr algn="l">
              <a:defRPr sz="2600">
                <a:solidFill>
                  <a:schemeClr val="bg1"/>
                </a:solidFill>
              </a:defRPr>
            </a:lvl1pPr>
          </a:lstStyle>
          <a:p>
            <a:r>
              <a:rPr lang="en-US"/>
              <a:t>Click to edit title</a:t>
            </a:r>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6610461" y="1440000"/>
            <a:ext cx="5069460" cy="4680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6610461" y="947739"/>
            <a:ext cx="5069460"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3" name="Slide Number Placeholder 5">
            <a:extLst>
              <a:ext uri="{FF2B5EF4-FFF2-40B4-BE49-F238E27FC236}">
                <a16:creationId xmlns:a16="http://schemas.microsoft.com/office/drawing/2014/main" id="{BBFCE1CA-8654-DA74-9199-E9A6981AB3B3}"/>
              </a:ext>
            </a:extLst>
          </p:cNvPr>
          <p:cNvSpPr>
            <a:spLocks noGrp="1"/>
          </p:cNvSpPr>
          <p:nvPr>
            <p:ph type="sldNum" sz="quarter" idx="12"/>
          </p:nvPr>
        </p:nvSpPr>
        <p:spPr>
          <a:xfrm>
            <a:off x="11304472" y="6494949"/>
            <a:ext cx="374699" cy="153888"/>
          </a:xfrm>
        </p:spPr>
        <p:txBody>
          <a:bodyPr/>
          <a:lstStyle>
            <a:lvl1pPr algn="r">
              <a:defRPr>
                <a:solidFill>
                  <a:schemeClr val="tx2">
                    <a:lumMod val="60000"/>
                    <a:lumOff val="40000"/>
                  </a:schemeClr>
                </a:solidFill>
              </a:defRPr>
            </a:lvl1pPr>
          </a:lstStyle>
          <a:p>
            <a:fld id="{C2F92818-9D0C-420B-84CB-20E21C25F84F}" type="slidenum">
              <a:rPr lang="sv-SE" smtClean="0"/>
              <a:pPr/>
              <a:t>‹#›</a:t>
            </a:fld>
            <a:endParaRPr lang="sv-SE"/>
          </a:p>
        </p:txBody>
      </p:sp>
      <p:sp>
        <p:nvSpPr>
          <p:cNvPr id="4" name="Date Placeholder 3">
            <a:extLst>
              <a:ext uri="{FF2B5EF4-FFF2-40B4-BE49-F238E27FC236}">
                <a16:creationId xmlns:a16="http://schemas.microsoft.com/office/drawing/2014/main" id="{7085BA52-C3B4-F368-89BE-533D92CC176C}"/>
              </a:ext>
            </a:extLst>
          </p:cNvPr>
          <p:cNvSpPr>
            <a:spLocks noGrp="1"/>
          </p:cNvSpPr>
          <p:nvPr>
            <p:ph type="dt" sz="half" idx="10"/>
          </p:nvPr>
        </p:nvSpPr>
        <p:spPr>
          <a:xfrm>
            <a:off x="516005" y="6328262"/>
            <a:ext cx="2743557" cy="153888"/>
          </a:xfrm>
        </p:spPr>
        <p:txBody>
          <a:bodyPr/>
          <a:lstStyle>
            <a:lvl1pPr>
              <a:defRPr>
                <a:solidFill>
                  <a:schemeClr val="bg1"/>
                </a:solidFill>
              </a:defRPr>
            </a:lvl1pPr>
          </a:lstStyle>
          <a:p>
            <a:fld id="{0D8AE5F8-E08B-824D-BADA-27DD8C8D1894}" type="datetime3">
              <a:rPr lang="da-DK" smtClean="0"/>
              <a:t>13.05.2026</a:t>
            </a:fld>
            <a:endParaRPr lang="sv-SE"/>
          </a:p>
        </p:txBody>
      </p:sp>
      <p:sp>
        <p:nvSpPr>
          <p:cNvPr id="5" name="Footer Placeholder 4">
            <a:extLst>
              <a:ext uri="{FF2B5EF4-FFF2-40B4-BE49-F238E27FC236}">
                <a16:creationId xmlns:a16="http://schemas.microsoft.com/office/drawing/2014/main" id="{ECB57A99-580A-E978-4BEF-803135E83E38}"/>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TextBox 6">
            <a:extLst>
              <a:ext uri="{FF2B5EF4-FFF2-40B4-BE49-F238E27FC236}">
                <a16:creationId xmlns:a16="http://schemas.microsoft.com/office/drawing/2014/main" id="{FF121109-2682-3B1C-ABAE-20E5667DBE77}"/>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1" name="Picture 10">
            <a:extLst>
              <a:ext uri="{FF2B5EF4-FFF2-40B4-BE49-F238E27FC236}">
                <a16:creationId xmlns:a16="http://schemas.microsoft.com/office/drawing/2014/main" id="{713B4F4A-DE7B-0A71-5409-3B0ABA3D1053}"/>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2" name="TextBox 11">
            <a:extLst>
              <a:ext uri="{FF2B5EF4-FFF2-40B4-BE49-F238E27FC236}">
                <a16:creationId xmlns:a16="http://schemas.microsoft.com/office/drawing/2014/main" id="{05CF16D4-E3D8-5D89-2DEB-A1AA3A59626A}"/>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3" name="Picture 12">
            <a:extLst>
              <a:ext uri="{FF2B5EF4-FFF2-40B4-BE49-F238E27FC236}">
                <a16:creationId xmlns:a16="http://schemas.microsoft.com/office/drawing/2014/main" id="{5BABEFB8-A2D0-2795-8FC7-40E1C3B0BF6F}"/>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4" name="Picture 13">
            <a:extLst>
              <a:ext uri="{FF2B5EF4-FFF2-40B4-BE49-F238E27FC236}">
                <a16:creationId xmlns:a16="http://schemas.microsoft.com/office/drawing/2014/main" id="{CBF05A01-837F-84D2-4FFA-1CCB0C8A5BCB}"/>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5" name="Picture 14">
            <a:extLst>
              <a:ext uri="{FF2B5EF4-FFF2-40B4-BE49-F238E27FC236}">
                <a16:creationId xmlns:a16="http://schemas.microsoft.com/office/drawing/2014/main" id="{0D1FE3E1-6488-C2A8-E357-85FE3CB19264}"/>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6" name="TextBox 15">
            <a:extLst>
              <a:ext uri="{FF2B5EF4-FFF2-40B4-BE49-F238E27FC236}">
                <a16:creationId xmlns:a16="http://schemas.microsoft.com/office/drawing/2014/main" id="{B4DFF7A9-6554-453B-19D0-E9309B758EC4}"/>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1153452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 &amp; image left - Blue">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id="{D0F135B0-EEDC-1771-A31F-233B18D7E883}"/>
              </a:ext>
            </a:extLst>
          </p:cNvPr>
          <p:cNvSpPr>
            <a:spLocks noGrp="1"/>
          </p:cNvSpPr>
          <p:nvPr>
            <p:ph type="pic" sz="quarter" idx="27" hasCustomPrompt="1"/>
          </p:nvPr>
        </p:nvSpPr>
        <p:spPr>
          <a:xfrm>
            <a:off x="0" y="0"/>
            <a:ext cx="6096794" cy="6858000"/>
          </a:xfrm>
        </p:spPr>
        <p:txBody>
          <a:bodyPr tIns="504000"/>
          <a:lstStyle>
            <a:lvl1pPr marL="0" indent="0" algn="ctr">
              <a:buNone/>
              <a:defRPr>
                <a:solidFill>
                  <a:schemeClr val="tx1"/>
                </a:solidFill>
              </a:defRPr>
            </a:lvl1pPr>
          </a:lstStyle>
          <a:p>
            <a:r>
              <a:rPr lang="en-GB" noProof="0"/>
              <a:t>Click to insert picture</a:t>
            </a:r>
          </a:p>
        </p:txBody>
      </p:sp>
      <p:sp>
        <p:nvSpPr>
          <p:cNvPr id="9" name="Rectangle 8">
            <a:extLst>
              <a:ext uri="{FF2B5EF4-FFF2-40B4-BE49-F238E27FC236}">
                <a16:creationId xmlns:a16="http://schemas.microsoft.com/office/drawing/2014/main" id="{9A1B5EA6-A0E2-3B9F-59B0-74E42BD02B54}"/>
              </a:ext>
            </a:extLst>
          </p:cNvPr>
          <p:cNvSpPr/>
          <p:nvPr userDrawn="1"/>
        </p:nvSpPr>
        <p:spPr>
          <a:xfrm>
            <a:off x="6096794" y="0"/>
            <a:ext cx="6096794"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6610461" y="514350"/>
            <a:ext cx="5069460" cy="432802"/>
          </a:xfrm>
        </p:spPr>
        <p:txBody>
          <a:bodyPr wrap="square" bIns="72000" anchor="t" anchorCtr="0">
            <a:spAutoFit/>
          </a:bodyPr>
          <a:lstStyle>
            <a:lvl1pPr algn="l">
              <a:defRPr sz="2600">
                <a:solidFill>
                  <a:schemeClr val="bg1"/>
                </a:solidFill>
              </a:defRPr>
            </a:lvl1pPr>
          </a:lstStyle>
          <a:p>
            <a:r>
              <a:rPr lang="en-US"/>
              <a:t>Click to edit title</a:t>
            </a:r>
            <a:endParaRPr lang="sv-SE"/>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6610461" y="947739"/>
            <a:ext cx="5069460"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3" name="Text Placeholder 10">
            <a:extLst>
              <a:ext uri="{FF2B5EF4-FFF2-40B4-BE49-F238E27FC236}">
                <a16:creationId xmlns:a16="http://schemas.microsoft.com/office/drawing/2014/main" id="{6A3C0ADC-D3F8-0ACF-ADBE-55F01C3C17D2}"/>
              </a:ext>
            </a:extLst>
          </p:cNvPr>
          <p:cNvSpPr>
            <a:spLocks noGrp="1"/>
          </p:cNvSpPr>
          <p:nvPr>
            <p:ph type="body" sz="quarter" idx="13"/>
          </p:nvPr>
        </p:nvSpPr>
        <p:spPr>
          <a:xfrm>
            <a:off x="6610461" y="1440000"/>
            <a:ext cx="5069460" cy="4680000"/>
          </a:xfrm>
        </p:spPr>
        <p:txBody>
          <a:bodyPr/>
          <a:lstStyle>
            <a:lvl1pPr>
              <a:buClr>
                <a:schemeClr val="tx1"/>
              </a:buClr>
              <a:defRPr>
                <a:solidFill>
                  <a:schemeClr val="bg1"/>
                </a:solidFill>
              </a:defRPr>
            </a:lvl1pPr>
            <a:lvl2pPr>
              <a:buClr>
                <a:schemeClr val="tx1"/>
              </a:buClr>
              <a:defRPr>
                <a:solidFill>
                  <a:schemeClr val="bg1"/>
                </a:solidFill>
              </a:defRPr>
            </a:lvl2pPr>
            <a:lvl3pPr>
              <a:buClr>
                <a:schemeClr val="tx1"/>
              </a:buClr>
              <a:defRPr>
                <a:solidFill>
                  <a:schemeClr val="bg1"/>
                </a:solidFill>
              </a:defRPr>
            </a:lvl3pPr>
            <a:lvl4pPr>
              <a:buClr>
                <a:schemeClr val="tx1"/>
              </a:buClr>
              <a:defRPr>
                <a:solidFill>
                  <a:schemeClr val="bg1"/>
                </a:solidFill>
              </a:defRPr>
            </a:lvl4pPr>
            <a:lvl5pPr>
              <a:buClr>
                <a:schemeClr val="tx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Slide Number Placeholder 5">
            <a:extLst>
              <a:ext uri="{FF2B5EF4-FFF2-40B4-BE49-F238E27FC236}">
                <a16:creationId xmlns:a16="http://schemas.microsoft.com/office/drawing/2014/main" id="{C7048014-131F-60DE-0194-279080F92F7D}"/>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5" name="Date Placeholder 3">
            <a:extLst>
              <a:ext uri="{FF2B5EF4-FFF2-40B4-BE49-F238E27FC236}">
                <a16:creationId xmlns:a16="http://schemas.microsoft.com/office/drawing/2014/main" id="{2C69CF42-66D5-A296-AD7B-0E21C4500C17}"/>
              </a:ext>
            </a:extLst>
          </p:cNvPr>
          <p:cNvSpPr>
            <a:spLocks noGrp="1"/>
          </p:cNvSpPr>
          <p:nvPr>
            <p:ph type="dt" sz="half" idx="10"/>
          </p:nvPr>
        </p:nvSpPr>
        <p:spPr>
          <a:xfrm>
            <a:off x="516005" y="6328262"/>
            <a:ext cx="2743557" cy="153888"/>
          </a:xfrm>
        </p:spPr>
        <p:txBody>
          <a:bodyPr/>
          <a:lstStyle>
            <a:lvl1pPr>
              <a:defRPr>
                <a:solidFill>
                  <a:schemeClr val="bg1"/>
                </a:solidFill>
              </a:defRPr>
            </a:lvl1pPr>
          </a:lstStyle>
          <a:p>
            <a:fld id="{111CB231-07B4-E441-A2AE-12C7A8BDAA0E}" type="datetime3">
              <a:rPr lang="da-DK" smtClean="0"/>
              <a:t>13.05.2026</a:t>
            </a:fld>
            <a:endParaRPr lang="sv-SE"/>
          </a:p>
        </p:txBody>
      </p:sp>
      <p:sp>
        <p:nvSpPr>
          <p:cNvPr id="7" name="Footer Placeholder 4">
            <a:extLst>
              <a:ext uri="{FF2B5EF4-FFF2-40B4-BE49-F238E27FC236}">
                <a16:creationId xmlns:a16="http://schemas.microsoft.com/office/drawing/2014/main" id="{78D328D6-43E9-279D-E85C-851ECC28914B}"/>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10" name="TextBox 9">
            <a:extLst>
              <a:ext uri="{FF2B5EF4-FFF2-40B4-BE49-F238E27FC236}">
                <a16:creationId xmlns:a16="http://schemas.microsoft.com/office/drawing/2014/main" id="{E8B819A9-C671-0C13-1F66-042B9CD48289}"/>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1" name="Picture 10">
            <a:extLst>
              <a:ext uri="{FF2B5EF4-FFF2-40B4-BE49-F238E27FC236}">
                <a16:creationId xmlns:a16="http://schemas.microsoft.com/office/drawing/2014/main" id="{9BCFCE37-36AF-47AE-DF67-AC2BCB1F1FC0}"/>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2" name="TextBox 11">
            <a:extLst>
              <a:ext uri="{FF2B5EF4-FFF2-40B4-BE49-F238E27FC236}">
                <a16:creationId xmlns:a16="http://schemas.microsoft.com/office/drawing/2014/main" id="{E569598F-FFFB-A955-F290-606046F3E6EB}"/>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3" name="Picture 12">
            <a:extLst>
              <a:ext uri="{FF2B5EF4-FFF2-40B4-BE49-F238E27FC236}">
                <a16:creationId xmlns:a16="http://schemas.microsoft.com/office/drawing/2014/main" id="{7679ACE7-6C68-7367-3821-7DE94BEC9426}"/>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4" name="Picture 13">
            <a:extLst>
              <a:ext uri="{FF2B5EF4-FFF2-40B4-BE49-F238E27FC236}">
                <a16:creationId xmlns:a16="http://schemas.microsoft.com/office/drawing/2014/main" id="{EAF6C811-4ADE-C22E-D732-39FDB45D8A87}"/>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5" name="Picture 14">
            <a:extLst>
              <a:ext uri="{FF2B5EF4-FFF2-40B4-BE49-F238E27FC236}">
                <a16:creationId xmlns:a16="http://schemas.microsoft.com/office/drawing/2014/main" id="{0490D3D9-6287-0813-C66E-CB11B0D9B7F7}"/>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6" name="TextBox 15">
            <a:extLst>
              <a:ext uri="{FF2B5EF4-FFF2-40B4-BE49-F238E27FC236}">
                <a16:creationId xmlns:a16="http://schemas.microsoft.com/office/drawing/2014/main" id="{D8B52AB2-D653-0E6D-F385-072BA06B193B}"/>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11992977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7_Page break V1">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BEBDAF5-8848-D89E-558B-E4CA4D2658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6085761" y="0"/>
            <a:ext cx="6107826" cy="6858000"/>
          </a:xfrm>
          <a:prstGeom prst="rect">
            <a:avLst/>
          </a:prstGeom>
        </p:spPr>
      </p:pic>
      <p:sp>
        <p:nvSpPr>
          <p:cNvPr id="11" name="Title 1">
            <a:extLst>
              <a:ext uri="{FF2B5EF4-FFF2-40B4-BE49-F238E27FC236}">
                <a16:creationId xmlns:a16="http://schemas.microsoft.com/office/drawing/2014/main" id="{217B33A1-77D1-BA89-A17B-305986D5621F}"/>
              </a:ext>
            </a:extLst>
          </p:cNvPr>
          <p:cNvSpPr>
            <a:spLocks noGrp="1"/>
          </p:cNvSpPr>
          <p:nvPr>
            <p:ph type="title"/>
          </p:nvPr>
        </p:nvSpPr>
        <p:spPr>
          <a:xfrm>
            <a:off x="565460" y="2260115"/>
            <a:ext cx="5046447" cy="1155783"/>
          </a:xfrm>
          <a:prstGeom prst="rect">
            <a:avLst/>
          </a:prstGeom>
        </p:spPr>
        <p:txBody>
          <a:bodyPr lIns="0" tIns="0" rIns="0" bIns="0"/>
          <a:lstStyle>
            <a:lvl1pPr>
              <a:defRPr sz="4000" b="1" i="0">
                <a:solidFill>
                  <a:schemeClr val="accent2"/>
                </a:solidFill>
                <a:latin typeface="Avenir Next LT Pro" panose="020B0504020202020204" pitchFamily="34" charset="77"/>
              </a:defRPr>
            </a:lvl1pPr>
          </a:lstStyle>
          <a:p>
            <a:r>
              <a:rPr lang="en-US"/>
              <a:t>Click to edit Master title style</a:t>
            </a:r>
          </a:p>
        </p:txBody>
      </p:sp>
      <p:sp>
        <p:nvSpPr>
          <p:cNvPr id="13" name="Text Placeholder 9">
            <a:extLst>
              <a:ext uri="{FF2B5EF4-FFF2-40B4-BE49-F238E27FC236}">
                <a16:creationId xmlns:a16="http://schemas.microsoft.com/office/drawing/2014/main" id="{9BF14781-F7C5-28CD-EA36-2EA983C7DA17}"/>
              </a:ext>
            </a:extLst>
          </p:cNvPr>
          <p:cNvSpPr>
            <a:spLocks noGrp="1"/>
          </p:cNvSpPr>
          <p:nvPr>
            <p:ph type="body" sz="quarter" idx="12" hasCustomPrompt="1"/>
          </p:nvPr>
        </p:nvSpPr>
        <p:spPr>
          <a:xfrm>
            <a:off x="549243" y="4040923"/>
            <a:ext cx="4897401"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Insert location, place, date, time etc.)</a:t>
            </a:r>
          </a:p>
        </p:txBody>
      </p:sp>
      <p:sp>
        <p:nvSpPr>
          <p:cNvPr id="18" name="Rectangle 17">
            <a:extLst>
              <a:ext uri="{FF2B5EF4-FFF2-40B4-BE49-F238E27FC236}">
                <a16:creationId xmlns:a16="http://schemas.microsoft.com/office/drawing/2014/main" id="{ECDB2EB1-C3BB-2F7C-9A24-B3829A176F0B}"/>
              </a:ext>
            </a:extLst>
          </p:cNvPr>
          <p:cNvSpPr/>
          <p:nvPr userDrawn="1"/>
        </p:nvSpPr>
        <p:spPr>
          <a:xfrm>
            <a:off x="6085761" y="3713356"/>
            <a:ext cx="6107828" cy="3144644"/>
          </a:xfrm>
          <a:prstGeom prst="rect">
            <a:avLst/>
          </a:prstGeom>
          <a:gradFill>
            <a:gsLst>
              <a:gs pos="0">
                <a:schemeClr val="accent1">
                  <a:lumMod val="0"/>
                  <a:lumOff val="100000"/>
                  <a:alpha val="0"/>
                </a:schemeClr>
              </a:gs>
              <a:gs pos="100000">
                <a:schemeClr val="bg1">
                  <a:alpha val="8524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1800" b="0" i="0">
              <a:latin typeface="Avenir Next LT Pro" panose="020B0504020202020204" pitchFamily="34" charset="77"/>
            </a:endParaRPr>
          </a:p>
        </p:txBody>
      </p:sp>
      <p:pic>
        <p:nvPicPr>
          <p:cNvPr id="28" name="Picture 27">
            <a:extLst>
              <a:ext uri="{FF2B5EF4-FFF2-40B4-BE49-F238E27FC236}">
                <a16:creationId xmlns:a16="http://schemas.microsoft.com/office/drawing/2014/main" id="{2E7FE98F-7AA5-3C6B-A5B9-FCB7C5CFC0E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085945" y="5645576"/>
            <a:ext cx="1211894" cy="577092"/>
          </a:xfrm>
          <a:prstGeom prst="rect">
            <a:avLst/>
          </a:prstGeom>
        </p:spPr>
      </p:pic>
      <p:pic>
        <p:nvPicPr>
          <p:cNvPr id="29" name="Picture 28">
            <a:extLst>
              <a:ext uri="{FF2B5EF4-FFF2-40B4-BE49-F238E27FC236}">
                <a16:creationId xmlns:a16="http://schemas.microsoft.com/office/drawing/2014/main" id="{9B718493-A516-7E41-5052-AA02E978188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9770609" y="6347075"/>
            <a:ext cx="1842566" cy="116656"/>
          </a:xfrm>
          <a:prstGeom prst="rect">
            <a:avLst/>
          </a:prstGeom>
        </p:spPr>
      </p:pic>
    </p:spTree>
    <p:extLst>
      <p:ext uri="{BB962C8B-B14F-4D97-AF65-F5344CB8AC3E}">
        <p14:creationId xmlns:p14="http://schemas.microsoft.com/office/powerpoint/2010/main" val="1751988065"/>
      </p:ext>
    </p:extLst>
  </p:cSld>
  <p:clrMapOvr>
    <a:overrideClrMapping bg1="lt1" tx1="dk1" bg2="lt2" tx2="dk2" accent1="accent1" accent2="accent2" accent3="accent3" accent4="accent4" accent5="accent5" accent6="accent6" hlink="hlink" folHlink="folHlink"/>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tart page 1">
    <p:bg>
      <p:bgPr>
        <a:solidFill>
          <a:schemeClr val="tx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CF3BE6AE-B4C2-2545-4948-D688138B96EF}"/>
              </a:ext>
            </a:extLst>
          </p:cNvPr>
          <p:cNvSpPr txBox="1"/>
          <p:nvPr userDrawn="1"/>
        </p:nvSpPr>
        <p:spPr>
          <a:xfrm>
            <a:off x="-1384357" y="4891225"/>
            <a:ext cx="1216310" cy="1606317"/>
          </a:xfrm>
          <a:prstGeom prst="rect">
            <a:avLst/>
          </a:prstGeom>
          <a:solidFill>
            <a:schemeClr val="bg1">
              <a:lumMod val="85000"/>
            </a:schemeClr>
          </a:solidFill>
        </p:spPr>
        <p:txBody>
          <a:bodyPr wrap="square" rtlCol="0">
            <a:noAutofit/>
          </a:bodyPr>
          <a:lstStyle/>
          <a:p>
            <a:pPr algn="ctr"/>
            <a:r>
              <a:rPr lang="en-GB" sz="800" noProof="0"/>
              <a:t>To insert or change the date, click ’Insert &gt; Header and footer’</a:t>
            </a:r>
          </a:p>
        </p:txBody>
      </p:sp>
      <p:sp>
        <p:nvSpPr>
          <p:cNvPr id="16" name="Picture Placeholder 15">
            <a:extLst>
              <a:ext uri="{FF2B5EF4-FFF2-40B4-BE49-F238E27FC236}">
                <a16:creationId xmlns:a16="http://schemas.microsoft.com/office/drawing/2014/main" id="{92C4920F-65A0-0869-BF5A-1F70832F6126}"/>
              </a:ext>
            </a:extLst>
          </p:cNvPr>
          <p:cNvSpPr>
            <a:spLocks noGrp="1"/>
          </p:cNvSpPr>
          <p:nvPr>
            <p:ph type="pic" sz="quarter" idx="13" hasCustomPrompt="1"/>
          </p:nvPr>
        </p:nvSpPr>
        <p:spPr>
          <a:xfrm>
            <a:off x="0" y="0"/>
            <a:ext cx="6096794" cy="6858000"/>
          </a:xfrm>
        </p:spPr>
        <p:txBody>
          <a:bodyPr tIns="504000"/>
          <a:lstStyle>
            <a:lvl1pPr marL="0" indent="0" algn="ctr">
              <a:buNone/>
              <a:defRPr>
                <a:solidFill>
                  <a:schemeClr val="bg1"/>
                </a:solidFill>
              </a:defRPr>
            </a:lvl1pPr>
          </a:lstStyle>
          <a:p>
            <a:r>
              <a:rPr lang="sv-SE" err="1"/>
              <a:t>Click</a:t>
            </a:r>
            <a:r>
              <a:rPr lang="sv-SE"/>
              <a:t> to </a:t>
            </a:r>
            <a:r>
              <a:rPr lang="sv-SE" err="1"/>
              <a:t>insert</a:t>
            </a:r>
            <a:r>
              <a:rPr lang="sv-SE"/>
              <a:t> </a:t>
            </a:r>
            <a:r>
              <a:rPr lang="sv-SE" err="1"/>
              <a:t>picture</a:t>
            </a:r>
            <a:endParaRPr lang="sv-SE"/>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6609711" y="2143128"/>
            <a:ext cx="5069460" cy="1285875"/>
          </a:xfrm>
        </p:spPr>
        <p:txBody>
          <a:bodyPr anchor="t" anchorCtr="0"/>
          <a:lstStyle>
            <a:lvl1pPr algn="l">
              <a:defRPr sz="3600">
                <a:solidFill>
                  <a:schemeClr val="accent3"/>
                </a:solidFill>
              </a:defRPr>
            </a:lvl1pPr>
          </a:lstStyle>
          <a:p>
            <a:r>
              <a:rPr lang="en-US"/>
              <a:t>Click to edit presentation title</a:t>
            </a:r>
            <a:endParaRPr lang="sv-SE"/>
          </a:p>
        </p:txBody>
      </p:sp>
      <p:sp>
        <p:nvSpPr>
          <p:cNvPr id="3" name="Subtitle 2">
            <a:extLst>
              <a:ext uri="{FF2B5EF4-FFF2-40B4-BE49-F238E27FC236}">
                <a16:creationId xmlns:a16="http://schemas.microsoft.com/office/drawing/2014/main" id="{6D0C0D5F-E11B-9D70-AEEA-29569CF12D32}"/>
              </a:ext>
            </a:extLst>
          </p:cNvPr>
          <p:cNvSpPr>
            <a:spLocks noGrp="1"/>
          </p:cNvSpPr>
          <p:nvPr>
            <p:ph type="subTitle" idx="1" hasCustomPrompt="1"/>
          </p:nvPr>
        </p:nvSpPr>
        <p:spPr>
          <a:xfrm>
            <a:off x="6609711" y="1479603"/>
            <a:ext cx="1753420" cy="361501"/>
          </a:xfrm>
          <a:prstGeom prst="roundRect">
            <a:avLst>
              <a:gd name="adj" fmla="val 50000"/>
            </a:avLst>
          </a:prstGeom>
          <a:solidFill>
            <a:schemeClr val="tx2"/>
          </a:solidFill>
        </p:spPr>
        <p:txBody>
          <a:bodyPr wrap="none" lIns="72000" tIns="54000" rIns="72000" bIns="36000" anchor="ctr" anchorCtr="0">
            <a:spAutoFit/>
          </a:bodyPr>
          <a:lstStyle>
            <a:lvl1pPr marL="0" indent="0" algn="l">
              <a:buNone/>
              <a:defRPr sz="1200" b="0" kern="0" cap="all" spc="60" baseline="0">
                <a:solidFill>
                  <a:schemeClr val="bg1"/>
                </a:solidFill>
                <a:latin typeface="Avenir Next LT Pro Demi" panose="020B0704020202020204" pitchFamily="34" charset="0"/>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US"/>
              <a:t>Supporting text</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a:xfrm>
            <a:off x="6609712" y="6312873"/>
            <a:ext cx="2743557" cy="184666"/>
          </a:xfrm>
        </p:spPr>
        <p:txBody>
          <a:bodyPr/>
          <a:lstStyle>
            <a:lvl1pPr>
              <a:defRPr sz="1200">
                <a:solidFill>
                  <a:schemeClr val="bg1"/>
                </a:solidFill>
              </a:defRPr>
            </a:lvl1pPr>
          </a:lstStyle>
          <a:p>
            <a:fld id="{FA69FF67-C5D3-41B6-A572-21DDC5921807}" type="datetime1">
              <a:rPr lang="en-US" smtClean="0"/>
              <a:t>5/13/2026</a:t>
            </a:fld>
            <a:endParaRPr lang="sv-SE"/>
          </a:p>
        </p:txBody>
      </p:sp>
      <p:sp>
        <p:nvSpPr>
          <p:cNvPr id="8" name="Text Placeholder 7">
            <a:extLst>
              <a:ext uri="{FF2B5EF4-FFF2-40B4-BE49-F238E27FC236}">
                <a16:creationId xmlns:a16="http://schemas.microsoft.com/office/drawing/2014/main" id="{D83336E9-09C3-10AD-7DD6-CF5F2E7360B7}"/>
              </a:ext>
            </a:extLst>
          </p:cNvPr>
          <p:cNvSpPr>
            <a:spLocks noGrp="1"/>
          </p:cNvSpPr>
          <p:nvPr>
            <p:ph type="body" sz="quarter" idx="11" hasCustomPrompt="1"/>
          </p:nvPr>
        </p:nvSpPr>
        <p:spPr>
          <a:xfrm>
            <a:off x="6609711" y="3912234"/>
            <a:ext cx="5069460" cy="221599"/>
          </a:xfrm>
        </p:spPr>
        <p:txBody>
          <a:bodyPr wrap="square">
            <a:spAutoFit/>
          </a:bodyPr>
          <a:lstStyle>
            <a:lvl1pPr marL="0" indent="0">
              <a:buNone/>
              <a:defRPr sz="1600">
                <a:solidFill>
                  <a:schemeClr val="bg1"/>
                </a:solidFill>
                <a:latin typeface="Avenir Next LT Pro Demi" panose="020B0704020202020204" pitchFamily="34" charset="0"/>
              </a:defRPr>
            </a:lvl1pPr>
            <a:lvl2pPr marL="266673" indent="0">
              <a:buNone/>
              <a:defRPr>
                <a:solidFill>
                  <a:schemeClr val="bg1"/>
                </a:solidFill>
              </a:defRPr>
            </a:lvl2pPr>
            <a:lvl3pPr marL="447630" indent="0">
              <a:buNone/>
              <a:defRPr>
                <a:solidFill>
                  <a:schemeClr val="bg1"/>
                </a:solidFill>
              </a:defRPr>
            </a:lvl3pPr>
            <a:lvl4pPr marL="628587" indent="0">
              <a:buNone/>
              <a:defRPr>
                <a:solidFill>
                  <a:schemeClr val="bg1"/>
                </a:solidFill>
              </a:defRPr>
            </a:lvl4pPr>
            <a:lvl5pPr marL="809544" indent="0">
              <a:buNone/>
              <a:defRPr>
                <a:solidFill>
                  <a:schemeClr val="bg1"/>
                </a:solidFill>
              </a:defRPr>
            </a:lvl5pPr>
          </a:lstStyle>
          <a:p>
            <a:pPr lvl="0"/>
            <a:r>
              <a:rPr lang="en-US"/>
              <a:t>Name</a:t>
            </a:r>
          </a:p>
        </p:txBody>
      </p:sp>
      <p:sp>
        <p:nvSpPr>
          <p:cNvPr id="9" name="Text Placeholder 7">
            <a:extLst>
              <a:ext uri="{FF2B5EF4-FFF2-40B4-BE49-F238E27FC236}">
                <a16:creationId xmlns:a16="http://schemas.microsoft.com/office/drawing/2014/main" id="{E09CE7B8-A4F6-7E0F-F1B5-60956BEEFFE5}"/>
              </a:ext>
            </a:extLst>
          </p:cNvPr>
          <p:cNvSpPr>
            <a:spLocks noGrp="1"/>
          </p:cNvSpPr>
          <p:nvPr>
            <p:ph type="body" sz="quarter" idx="12" hasCustomPrompt="1"/>
          </p:nvPr>
        </p:nvSpPr>
        <p:spPr>
          <a:xfrm>
            <a:off x="6609711" y="4364481"/>
            <a:ext cx="5069460" cy="221599"/>
          </a:xfrm>
        </p:spPr>
        <p:txBody>
          <a:bodyPr wrap="square">
            <a:spAutoFit/>
          </a:bodyPr>
          <a:lstStyle>
            <a:lvl1pPr marL="0" indent="0">
              <a:buNone/>
              <a:defRPr sz="1600">
                <a:solidFill>
                  <a:schemeClr val="bg1"/>
                </a:solidFill>
                <a:latin typeface="+mn-lt"/>
              </a:defRPr>
            </a:lvl1pPr>
            <a:lvl2pPr marL="266673" indent="0">
              <a:buNone/>
              <a:defRPr>
                <a:solidFill>
                  <a:schemeClr val="bg1"/>
                </a:solidFill>
              </a:defRPr>
            </a:lvl2pPr>
            <a:lvl3pPr marL="447630" indent="0">
              <a:buNone/>
              <a:defRPr>
                <a:solidFill>
                  <a:schemeClr val="bg1"/>
                </a:solidFill>
              </a:defRPr>
            </a:lvl3pPr>
            <a:lvl4pPr marL="628587" indent="0">
              <a:buNone/>
              <a:defRPr>
                <a:solidFill>
                  <a:schemeClr val="bg1"/>
                </a:solidFill>
              </a:defRPr>
            </a:lvl4pPr>
            <a:lvl5pPr marL="809544" indent="0">
              <a:buNone/>
              <a:defRPr>
                <a:solidFill>
                  <a:schemeClr val="bg1"/>
                </a:solidFill>
              </a:defRPr>
            </a:lvl5pPr>
          </a:lstStyle>
          <a:p>
            <a:pPr lvl="0"/>
            <a:r>
              <a:rPr lang="en-US"/>
              <a:t>Title</a:t>
            </a:r>
          </a:p>
        </p:txBody>
      </p:sp>
      <p:pic>
        <p:nvPicPr>
          <p:cNvPr id="13" name="Picture 12">
            <a:extLst>
              <a:ext uri="{FF2B5EF4-FFF2-40B4-BE49-F238E27FC236}">
                <a16:creationId xmlns:a16="http://schemas.microsoft.com/office/drawing/2014/main" id="{F032D6C2-5A3F-3978-6A61-2A851A7A24D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004740" y="5645576"/>
            <a:ext cx="1212052" cy="577092"/>
          </a:xfrm>
          <a:prstGeom prst="rect">
            <a:avLst/>
          </a:prstGeom>
        </p:spPr>
      </p:pic>
      <p:pic>
        <p:nvPicPr>
          <p:cNvPr id="14" name="Picture 13">
            <a:extLst>
              <a:ext uri="{FF2B5EF4-FFF2-40B4-BE49-F238E27FC236}">
                <a16:creationId xmlns:a16="http://schemas.microsoft.com/office/drawing/2014/main" id="{36CB25F2-40C6-D49A-8C09-2061E457B6E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9689363" y="6347075"/>
            <a:ext cx="1842806" cy="116656"/>
          </a:xfrm>
          <a:prstGeom prst="rect">
            <a:avLst/>
          </a:prstGeom>
        </p:spPr>
      </p:pic>
      <p:pic>
        <p:nvPicPr>
          <p:cNvPr id="15" name="Graphic 14">
            <a:extLst>
              <a:ext uri="{FF2B5EF4-FFF2-40B4-BE49-F238E27FC236}">
                <a16:creationId xmlns:a16="http://schemas.microsoft.com/office/drawing/2014/main" id="{4FA6FB74-C6B5-1A27-B6FE-C4F39EECF9C3}"/>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10435045" y="311152"/>
            <a:ext cx="1502053" cy="664960"/>
          </a:xfrm>
          <a:prstGeom prst="rect">
            <a:avLst/>
          </a:prstGeom>
        </p:spPr>
      </p:pic>
      <p:pic>
        <p:nvPicPr>
          <p:cNvPr id="6" name="Picture 5">
            <a:extLst>
              <a:ext uri="{FF2B5EF4-FFF2-40B4-BE49-F238E27FC236}">
                <a16:creationId xmlns:a16="http://schemas.microsoft.com/office/drawing/2014/main" id="{3C0B6099-9E17-7871-C1DA-A015FA7AA0F9}"/>
              </a:ext>
            </a:extLst>
          </p:cNvPr>
          <p:cNvPicPr>
            <a:picLocks noChangeAspect="1"/>
          </p:cNvPicPr>
          <p:nvPr userDrawn="1"/>
        </p:nvPicPr>
        <p:blipFill>
          <a:blip r:embed="rId5"/>
          <a:stretch>
            <a:fillRect/>
          </a:stretch>
        </p:blipFill>
        <p:spPr>
          <a:xfrm>
            <a:off x="-1104903" y="5487626"/>
            <a:ext cx="657403" cy="885949"/>
          </a:xfrm>
          <a:prstGeom prst="rect">
            <a:avLst/>
          </a:prstGeom>
        </p:spPr>
      </p:pic>
      <p:sp>
        <p:nvSpPr>
          <p:cNvPr id="11" name="TextBox 10">
            <a:extLst>
              <a:ext uri="{FF2B5EF4-FFF2-40B4-BE49-F238E27FC236}">
                <a16:creationId xmlns:a16="http://schemas.microsoft.com/office/drawing/2014/main" id="{9829D54A-DB0E-6DEB-60D0-C4FDDF3AF54D}"/>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26041859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tart page 2">
    <p:bg>
      <p:bgPr>
        <a:solidFill>
          <a:schemeClr val="tx2"/>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92C4920F-65A0-0869-BF5A-1F70832F6126}"/>
              </a:ext>
            </a:extLst>
          </p:cNvPr>
          <p:cNvSpPr>
            <a:spLocks noGrp="1"/>
          </p:cNvSpPr>
          <p:nvPr>
            <p:ph type="pic" sz="quarter" idx="13" hasCustomPrompt="1"/>
          </p:nvPr>
        </p:nvSpPr>
        <p:spPr>
          <a:xfrm>
            <a:off x="0" y="0"/>
            <a:ext cx="6096794" cy="6858000"/>
          </a:xfrm>
        </p:spPr>
        <p:txBody>
          <a:bodyPr tIns="504000"/>
          <a:lstStyle>
            <a:lvl1pPr marL="0" indent="0" algn="ctr">
              <a:buNone/>
              <a:defRPr>
                <a:solidFill>
                  <a:schemeClr val="bg1"/>
                </a:solidFill>
              </a:defRPr>
            </a:lvl1pPr>
          </a:lstStyle>
          <a:p>
            <a:r>
              <a:rPr lang="en-GB" noProof="0"/>
              <a:t>Click to insert picture</a:t>
            </a:r>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6609711" y="2143128"/>
            <a:ext cx="5069460" cy="1285875"/>
          </a:xfrm>
        </p:spPr>
        <p:txBody>
          <a:bodyPr anchor="t" anchorCtr="0"/>
          <a:lstStyle>
            <a:lvl1pPr algn="l">
              <a:defRPr sz="3600">
                <a:solidFill>
                  <a:schemeClr val="bg1"/>
                </a:solidFill>
              </a:defRPr>
            </a:lvl1pPr>
          </a:lstStyle>
          <a:p>
            <a:r>
              <a:rPr lang="en-US"/>
              <a:t>Click to edit presentation title</a:t>
            </a:r>
            <a:endParaRPr lang="sv-SE"/>
          </a:p>
        </p:txBody>
      </p:sp>
      <p:sp>
        <p:nvSpPr>
          <p:cNvPr id="3" name="Subtitle 2">
            <a:extLst>
              <a:ext uri="{FF2B5EF4-FFF2-40B4-BE49-F238E27FC236}">
                <a16:creationId xmlns:a16="http://schemas.microsoft.com/office/drawing/2014/main" id="{6D0C0D5F-E11B-9D70-AEEA-29569CF12D32}"/>
              </a:ext>
            </a:extLst>
          </p:cNvPr>
          <p:cNvSpPr>
            <a:spLocks noGrp="1"/>
          </p:cNvSpPr>
          <p:nvPr>
            <p:ph type="subTitle" idx="1" hasCustomPrompt="1"/>
          </p:nvPr>
        </p:nvSpPr>
        <p:spPr>
          <a:xfrm>
            <a:off x="6609711" y="1479603"/>
            <a:ext cx="1753420" cy="361501"/>
          </a:xfrm>
          <a:prstGeom prst="roundRect">
            <a:avLst>
              <a:gd name="adj" fmla="val 50000"/>
            </a:avLst>
          </a:prstGeom>
          <a:solidFill>
            <a:schemeClr val="tx1"/>
          </a:solidFill>
        </p:spPr>
        <p:txBody>
          <a:bodyPr wrap="none" lIns="72000" tIns="54000" rIns="72000" bIns="36000" anchor="ctr" anchorCtr="0">
            <a:spAutoFit/>
          </a:bodyPr>
          <a:lstStyle>
            <a:lvl1pPr marL="0" indent="0" algn="l">
              <a:buNone/>
              <a:defRPr sz="1200" b="0" kern="0" cap="all" spc="60" baseline="0">
                <a:solidFill>
                  <a:schemeClr val="bg1"/>
                </a:solidFill>
                <a:latin typeface="Avenir Next LT Pro Demi" panose="020B0704020202020204" pitchFamily="34" charset="0"/>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US"/>
              <a:t>Supporting text</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a:xfrm>
            <a:off x="6609712" y="6312873"/>
            <a:ext cx="2743557" cy="184666"/>
          </a:xfrm>
        </p:spPr>
        <p:txBody>
          <a:bodyPr/>
          <a:lstStyle>
            <a:lvl1pPr>
              <a:defRPr sz="1200">
                <a:solidFill>
                  <a:schemeClr val="bg1"/>
                </a:solidFill>
              </a:defRPr>
            </a:lvl1pPr>
          </a:lstStyle>
          <a:p>
            <a:fld id="{2EE0C489-830F-4A3A-A77A-FC5ED219ACD5}" type="datetime1">
              <a:rPr lang="en-US" smtClean="0"/>
              <a:t>5/13/2026</a:t>
            </a:fld>
            <a:endParaRPr lang="sv-SE"/>
          </a:p>
        </p:txBody>
      </p:sp>
      <p:sp>
        <p:nvSpPr>
          <p:cNvPr id="8" name="Text Placeholder 7">
            <a:extLst>
              <a:ext uri="{FF2B5EF4-FFF2-40B4-BE49-F238E27FC236}">
                <a16:creationId xmlns:a16="http://schemas.microsoft.com/office/drawing/2014/main" id="{D83336E9-09C3-10AD-7DD6-CF5F2E7360B7}"/>
              </a:ext>
            </a:extLst>
          </p:cNvPr>
          <p:cNvSpPr>
            <a:spLocks noGrp="1"/>
          </p:cNvSpPr>
          <p:nvPr>
            <p:ph type="body" sz="quarter" idx="11" hasCustomPrompt="1"/>
          </p:nvPr>
        </p:nvSpPr>
        <p:spPr>
          <a:xfrm>
            <a:off x="6609711" y="3912234"/>
            <a:ext cx="5069460" cy="221599"/>
          </a:xfrm>
        </p:spPr>
        <p:txBody>
          <a:bodyPr wrap="square">
            <a:spAutoFit/>
          </a:bodyPr>
          <a:lstStyle>
            <a:lvl1pPr marL="0" indent="0">
              <a:buNone/>
              <a:defRPr sz="1600">
                <a:solidFill>
                  <a:schemeClr val="bg1"/>
                </a:solidFill>
                <a:latin typeface="Avenir Next LT Pro Demi" panose="020B0704020202020204" pitchFamily="34" charset="0"/>
              </a:defRPr>
            </a:lvl1pPr>
            <a:lvl2pPr marL="266673" indent="0">
              <a:buNone/>
              <a:defRPr>
                <a:solidFill>
                  <a:schemeClr val="bg1"/>
                </a:solidFill>
              </a:defRPr>
            </a:lvl2pPr>
            <a:lvl3pPr marL="447630" indent="0">
              <a:buNone/>
              <a:defRPr>
                <a:solidFill>
                  <a:schemeClr val="bg1"/>
                </a:solidFill>
              </a:defRPr>
            </a:lvl3pPr>
            <a:lvl4pPr marL="628587" indent="0">
              <a:buNone/>
              <a:defRPr>
                <a:solidFill>
                  <a:schemeClr val="bg1"/>
                </a:solidFill>
              </a:defRPr>
            </a:lvl4pPr>
            <a:lvl5pPr marL="809544" indent="0">
              <a:buNone/>
              <a:defRPr>
                <a:solidFill>
                  <a:schemeClr val="bg1"/>
                </a:solidFill>
              </a:defRPr>
            </a:lvl5pPr>
          </a:lstStyle>
          <a:p>
            <a:pPr lvl="0"/>
            <a:r>
              <a:rPr lang="en-US"/>
              <a:t>Name</a:t>
            </a:r>
          </a:p>
        </p:txBody>
      </p:sp>
      <p:sp>
        <p:nvSpPr>
          <p:cNvPr id="9" name="Text Placeholder 7">
            <a:extLst>
              <a:ext uri="{FF2B5EF4-FFF2-40B4-BE49-F238E27FC236}">
                <a16:creationId xmlns:a16="http://schemas.microsoft.com/office/drawing/2014/main" id="{E09CE7B8-A4F6-7E0F-F1B5-60956BEEFFE5}"/>
              </a:ext>
            </a:extLst>
          </p:cNvPr>
          <p:cNvSpPr>
            <a:spLocks noGrp="1"/>
          </p:cNvSpPr>
          <p:nvPr>
            <p:ph type="body" sz="quarter" idx="12" hasCustomPrompt="1"/>
          </p:nvPr>
        </p:nvSpPr>
        <p:spPr>
          <a:xfrm>
            <a:off x="6609711" y="4364481"/>
            <a:ext cx="5069460" cy="221599"/>
          </a:xfrm>
        </p:spPr>
        <p:txBody>
          <a:bodyPr wrap="square">
            <a:spAutoFit/>
          </a:bodyPr>
          <a:lstStyle>
            <a:lvl1pPr marL="0" indent="0">
              <a:buNone/>
              <a:defRPr sz="1600">
                <a:solidFill>
                  <a:schemeClr val="bg1"/>
                </a:solidFill>
                <a:latin typeface="+mn-lt"/>
              </a:defRPr>
            </a:lvl1pPr>
            <a:lvl2pPr marL="266673" indent="0">
              <a:buNone/>
              <a:defRPr>
                <a:solidFill>
                  <a:schemeClr val="bg1"/>
                </a:solidFill>
              </a:defRPr>
            </a:lvl2pPr>
            <a:lvl3pPr marL="447630" indent="0">
              <a:buNone/>
              <a:defRPr>
                <a:solidFill>
                  <a:schemeClr val="bg1"/>
                </a:solidFill>
              </a:defRPr>
            </a:lvl3pPr>
            <a:lvl4pPr marL="628587" indent="0">
              <a:buNone/>
              <a:defRPr>
                <a:solidFill>
                  <a:schemeClr val="bg1"/>
                </a:solidFill>
              </a:defRPr>
            </a:lvl4pPr>
            <a:lvl5pPr marL="809544" indent="0">
              <a:buNone/>
              <a:defRPr>
                <a:solidFill>
                  <a:schemeClr val="bg1"/>
                </a:solidFill>
              </a:defRPr>
            </a:lvl5pPr>
          </a:lstStyle>
          <a:p>
            <a:pPr lvl="0"/>
            <a:r>
              <a:rPr lang="en-US"/>
              <a:t>Title</a:t>
            </a:r>
          </a:p>
        </p:txBody>
      </p:sp>
      <p:cxnSp>
        <p:nvCxnSpPr>
          <p:cNvPr id="10" name="Straight Connector 9">
            <a:extLst>
              <a:ext uri="{FF2B5EF4-FFF2-40B4-BE49-F238E27FC236}">
                <a16:creationId xmlns:a16="http://schemas.microsoft.com/office/drawing/2014/main" id="{2D343584-A67C-274D-269E-1ED60EDD1840}"/>
              </a:ext>
            </a:extLst>
          </p:cNvPr>
          <p:cNvCxnSpPr>
            <a:cxnSpLocks/>
          </p:cNvCxnSpPr>
          <p:nvPr userDrawn="1"/>
        </p:nvCxnSpPr>
        <p:spPr>
          <a:xfrm>
            <a:off x="6609712" y="4251094"/>
            <a:ext cx="792103"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A58D47C7-08B2-A71F-1565-161357FB7C8C}"/>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435045" y="311152"/>
            <a:ext cx="1502053" cy="664960"/>
          </a:xfrm>
          <a:prstGeom prst="rect">
            <a:avLst/>
          </a:prstGeom>
        </p:spPr>
      </p:pic>
      <p:sp>
        <p:nvSpPr>
          <p:cNvPr id="5" name="TextBox 4">
            <a:extLst>
              <a:ext uri="{FF2B5EF4-FFF2-40B4-BE49-F238E27FC236}">
                <a16:creationId xmlns:a16="http://schemas.microsoft.com/office/drawing/2014/main" id="{A6B91854-6689-A003-BE7E-85F7CE7BD37D}"/>
              </a:ext>
            </a:extLst>
          </p:cNvPr>
          <p:cNvSpPr txBox="1"/>
          <p:nvPr userDrawn="1"/>
        </p:nvSpPr>
        <p:spPr>
          <a:xfrm>
            <a:off x="-1384357" y="4891225"/>
            <a:ext cx="1216310" cy="1606317"/>
          </a:xfrm>
          <a:prstGeom prst="rect">
            <a:avLst/>
          </a:prstGeom>
          <a:solidFill>
            <a:schemeClr val="bg1">
              <a:lumMod val="85000"/>
            </a:schemeClr>
          </a:solidFill>
        </p:spPr>
        <p:txBody>
          <a:bodyPr wrap="square" rtlCol="0">
            <a:noAutofit/>
          </a:bodyPr>
          <a:lstStyle/>
          <a:p>
            <a:pPr algn="ctr"/>
            <a:r>
              <a:rPr lang="en-GB" sz="800" noProof="0"/>
              <a:t>To insert or change the date, click ’Insert &gt; Header and footer’</a:t>
            </a:r>
          </a:p>
        </p:txBody>
      </p:sp>
      <p:pic>
        <p:nvPicPr>
          <p:cNvPr id="6" name="Picture 5">
            <a:extLst>
              <a:ext uri="{FF2B5EF4-FFF2-40B4-BE49-F238E27FC236}">
                <a16:creationId xmlns:a16="http://schemas.microsoft.com/office/drawing/2014/main" id="{E74FE44D-4D79-EDE7-A689-C0DF878835B7}"/>
              </a:ext>
            </a:extLst>
          </p:cNvPr>
          <p:cNvPicPr>
            <a:picLocks noChangeAspect="1"/>
          </p:cNvPicPr>
          <p:nvPr userDrawn="1"/>
        </p:nvPicPr>
        <p:blipFill>
          <a:blip r:embed="rId3"/>
          <a:stretch>
            <a:fillRect/>
          </a:stretch>
        </p:blipFill>
        <p:spPr>
          <a:xfrm>
            <a:off x="-1104903" y="5487626"/>
            <a:ext cx="657403" cy="885949"/>
          </a:xfrm>
          <a:prstGeom prst="rect">
            <a:avLst/>
          </a:prstGeom>
        </p:spPr>
      </p:pic>
      <p:sp>
        <p:nvSpPr>
          <p:cNvPr id="11" name="TextBox 10">
            <a:extLst>
              <a:ext uri="{FF2B5EF4-FFF2-40B4-BE49-F238E27FC236}">
                <a16:creationId xmlns:a16="http://schemas.microsoft.com/office/drawing/2014/main" id="{A3228F3A-BC14-9B3A-389C-828E56590081}"/>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17143644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tart page 3">
    <p:bg>
      <p:bgPr>
        <a:solidFill>
          <a:schemeClr val="accent3"/>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92C4920F-65A0-0869-BF5A-1F70832F6126}"/>
              </a:ext>
            </a:extLst>
          </p:cNvPr>
          <p:cNvSpPr>
            <a:spLocks noGrp="1"/>
          </p:cNvSpPr>
          <p:nvPr>
            <p:ph type="pic" sz="quarter" idx="13" hasCustomPrompt="1"/>
          </p:nvPr>
        </p:nvSpPr>
        <p:spPr>
          <a:xfrm>
            <a:off x="0" y="0"/>
            <a:ext cx="6096794" cy="6858000"/>
          </a:xfrm>
        </p:spPr>
        <p:txBody>
          <a:bodyPr tIns="504000"/>
          <a:lstStyle>
            <a:lvl1pPr marL="0" indent="0" algn="ctr">
              <a:buNone/>
              <a:defRPr>
                <a:solidFill>
                  <a:schemeClr val="tx1"/>
                </a:solidFill>
              </a:defRPr>
            </a:lvl1pPr>
          </a:lstStyle>
          <a:p>
            <a:r>
              <a:rPr lang="en-GB" noProof="0"/>
              <a:t>Click to insert picture</a:t>
            </a:r>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6609711" y="2143128"/>
            <a:ext cx="5069460" cy="1285875"/>
          </a:xfrm>
        </p:spPr>
        <p:txBody>
          <a:bodyPr anchor="t" anchorCtr="0"/>
          <a:lstStyle>
            <a:lvl1pPr algn="l">
              <a:defRPr sz="3600">
                <a:solidFill>
                  <a:schemeClr val="tx1"/>
                </a:solidFill>
              </a:defRPr>
            </a:lvl1pPr>
          </a:lstStyle>
          <a:p>
            <a:r>
              <a:rPr lang="en-US"/>
              <a:t>Click to edit presentation title</a:t>
            </a:r>
            <a:endParaRPr lang="sv-SE"/>
          </a:p>
        </p:txBody>
      </p:sp>
      <p:sp>
        <p:nvSpPr>
          <p:cNvPr id="3" name="Subtitle 2">
            <a:extLst>
              <a:ext uri="{FF2B5EF4-FFF2-40B4-BE49-F238E27FC236}">
                <a16:creationId xmlns:a16="http://schemas.microsoft.com/office/drawing/2014/main" id="{6D0C0D5F-E11B-9D70-AEEA-29569CF12D32}"/>
              </a:ext>
            </a:extLst>
          </p:cNvPr>
          <p:cNvSpPr>
            <a:spLocks noGrp="1"/>
          </p:cNvSpPr>
          <p:nvPr>
            <p:ph type="subTitle" idx="1" hasCustomPrompt="1"/>
          </p:nvPr>
        </p:nvSpPr>
        <p:spPr>
          <a:xfrm>
            <a:off x="6609711" y="1479603"/>
            <a:ext cx="1753420" cy="361501"/>
          </a:xfrm>
          <a:prstGeom prst="roundRect">
            <a:avLst>
              <a:gd name="adj" fmla="val 50000"/>
            </a:avLst>
          </a:prstGeom>
          <a:solidFill>
            <a:schemeClr val="tx1"/>
          </a:solidFill>
        </p:spPr>
        <p:txBody>
          <a:bodyPr wrap="none" lIns="72000" tIns="54000" rIns="72000" bIns="36000" anchor="ctr" anchorCtr="0">
            <a:spAutoFit/>
          </a:bodyPr>
          <a:lstStyle>
            <a:lvl1pPr marL="0" indent="0" algn="l">
              <a:buNone/>
              <a:defRPr sz="1200" b="0" kern="0" cap="all" spc="60" baseline="0">
                <a:solidFill>
                  <a:schemeClr val="bg1"/>
                </a:solidFill>
                <a:latin typeface="Avenir Next LT Pro Demi" panose="020B0704020202020204" pitchFamily="34" charset="0"/>
              </a:defRPr>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US"/>
              <a:t>Supporting text</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a:xfrm>
            <a:off x="6609712" y="6312873"/>
            <a:ext cx="2743557" cy="184666"/>
          </a:xfrm>
        </p:spPr>
        <p:txBody>
          <a:bodyPr/>
          <a:lstStyle>
            <a:lvl1pPr>
              <a:defRPr sz="1200">
                <a:solidFill>
                  <a:schemeClr val="tx1"/>
                </a:solidFill>
              </a:defRPr>
            </a:lvl1pPr>
          </a:lstStyle>
          <a:p>
            <a:fld id="{7981B191-9FC7-407F-9000-3D79E2F5ED6F}" type="datetime1">
              <a:rPr lang="en-US" smtClean="0"/>
              <a:t>5/13/2026</a:t>
            </a:fld>
            <a:endParaRPr lang="sv-SE"/>
          </a:p>
        </p:txBody>
      </p:sp>
      <p:sp>
        <p:nvSpPr>
          <p:cNvPr id="8" name="Text Placeholder 7">
            <a:extLst>
              <a:ext uri="{FF2B5EF4-FFF2-40B4-BE49-F238E27FC236}">
                <a16:creationId xmlns:a16="http://schemas.microsoft.com/office/drawing/2014/main" id="{D83336E9-09C3-10AD-7DD6-CF5F2E7360B7}"/>
              </a:ext>
            </a:extLst>
          </p:cNvPr>
          <p:cNvSpPr>
            <a:spLocks noGrp="1"/>
          </p:cNvSpPr>
          <p:nvPr>
            <p:ph type="body" sz="quarter" idx="11" hasCustomPrompt="1"/>
          </p:nvPr>
        </p:nvSpPr>
        <p:spPr>
          <a:xfrm>
            <a:off x="6609711" y="3912234"/>
            <a:ext cx="5069460" cy="221599"/>
          </a:xfrm>
        </p:spPr>
        <p:txBody>
          <a:bodyPr wrap="square">
            <a:spAutoFit/>
          </a:bodyPr>
          <a:lstStyle>
            <a:lvl1pPr marL="0" indent="0">
              <a:buNone/>
              <a:defRPr sz="1600">
                <a:solidFill>
                  <a:schemeClr val="tx1"/>
                </a:solidFill>
                <a:latin typeface="Avenir Next LT Pro Demi" panose="020B0704020202020204" pitchFamily="34" charset="0"/>
              </a:defRPr>
            </a:lvl1pPr>
            <a:lvl2pPr marL="266673" indent="0">
              <a:buNone/>
              <a:defRPr>
                <a:solidFill>
                  <a:schemeClr val="bg1"/>
                </a:solidFill>
              </a:defRPr>
            </a:lvl2pPr>
            <a:lvl3pPr marL="447630" indent="0">
              <a:buNone/>
              <a:defRPr>
                <a:solidFill>
                  <a:schemeClr val="bg1"/>
                </a:solidFill>
              </a:defRPr>
            </a:lvl3pPr>
            <a:lvl4pPr marL="628587" indent="0">
              <a:buNone/>
              <a:defRPr>
                <a:solidFill>
                  <a:schemeClr val="bg1"/>
                </a:solidFill>
              </a:defRPr>
            </a:lvl4pPr>
            <a:lvl5pPr marL="809544" indent="0">
              <a:buNone/>
              <a:defRPr>
                <a:solidFill>
                  <a:schemeClr val="bg1"/>
                </a:solidFill>
              </a:defRPr>
            </a:lvl5pPr>
          </a:lstStyle>
          <a:p>
            <a:pPr lvl="0"/>
            <a:r>
              <a:rPr lang="en-US"/>
              <a:t>Name</a:t>
            </a:r>
          </a:p>
        </p:txBody>
      </p:sp>
      <p:sp>
        <p:nvSpPr>
          <p:cNvPr id="9" name="Text Placeholder 7">
            <a:extLst>
              <a:ext uri="{FF2B5EF4-FFF2-40B4-BE49-F238E27FC236}">
                <a16:creationId xmlns:a16="http://schemas.microsoft.com/office/drawing/2014/main" id="{E09CE7B8-A4F6-7E0F-F1B5-60956BEEFFE5}"/>
              </a:ext>
            </a:extLst>
          </p:cNvPr>
          <p:cNvSpPr>
            <a:spLocks noGrp="1"/>
          </p:cNvSpPr>
          <p:nvPr>
            <p:ph type="body" sz="quarter" idx="12" hasCustomPrompt="1"/>
          </p:nvPr>
        </p:nvSpPr>
        <p:spPr>
          <a:xfrm>
            <a:off x="6609711" y="4364481"/>
            <a:ext cx="5069460" cy="221599"/>
          </a:xfrm>
        </p:spPr>
        <p:txBody>
          <a:bodyPr wrap="square">
            <a:spAutoFit/>
          </a:bodyPr>
          <a:lstStyle>
            <a:lvl1pPr marL="0" indent="0">
              <a:buNone/>
              <a:defRPr sz="1600">
                <a:solidFill>
                  <a:schemeClr val="tx1"/>
                </a:solidFill>
                <a:latin typeface="+mn-lt"/>
              </a:defRPr>
            </a:lvl1pPr>
            <a:lvl2pPr marL="266673" indent="0">
              <a:buNone/>
              <a:defRPr>
                <a:solidFill>
                  <a:schemeClr val="bg1"/>
                </a:solidFill>
              </a:defRPr>
            </a:lvl2pPr>
            <a:lvl3pPr marL="447630" indent="0">
              <a:buNone/>
              <a:defRPr>
                <a:solidFill>
                  <a:schemeClr val="bg1"/>
                </a:solidFill>
              </a:defRPr>
            </a:lvl3pPr>
            <a:lvl4pPr marL="628587" indent="0">
              <a:buNone/>
              <a:defRPr>
                <a:solidFill>
                  <a:schemeClr val="bg1"/>
                </a:solidFill>
              </a:defRPr>
            </a:lvl4pPr>
            <a:lvl5pPr marL="809544" indent="0">
              <a:buNone/>
              <a:defRPr>
                <a:solidFill>
                  <a:schemeClr val="bg1"/>
                </a:solidFill>
              </a:defRPr>
            </a:lvl5pPr>
          </a:lstStyle>
          <a:p>
            <a:pPr lvl="0"/>
            <a:r>
              <a:rPr lang="en-US"/>
              <a:t>Title</a:t>
            </a:r>
          </a:p>
        </p:txBody>
      </p:sp>
      <p:cxnSp>
        <p:nvCxnSpPr>
          <p:cNvPr id="10" name="Straight Connector 9">
            <a:extLst>
              <a:ext uri="{FF2B5EF4-FFF2-40B4-BE49-F238E27FC236}">
                <a16:creationId xmlns:a16="http://schemas.microsoft.com/office/drawing/2014/main" id="{2D343584-A67C-274D-269E-1ED60EDD1840}"/>
              </a:ext>
            </a:extLst>
          </p:cNvPr>
          <p:cNvCxnSpPr>
            <a:cxnSpLocks/>
          </p:cNvCxnSpPr>
          <p:nvPr userDrawn="1"/>
        </p:nvCxnSpPr>
        <p:spPr>
          <a:xfrm>
            <a:off x="6609712" y="4251094"/>
            <a:ext cx="792103"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219E12C6-B648-E558-FFC2-A634EEC9FDB2}"/>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435045" y="311152"/>
            <a:ext cx="1502053" cy="664960"/>
          </a:xfrm>
          <a:prstGeom prst="rect">
            <a:avLst/>
          </a:prstGeom>
        </p:spPr>
      </p:pic>
      <p:sp>
        <p:nvSpPr>
          <p:cNvPr id="5" name="TextBox 4">
            <a:extLst>
              <a:ext uri="{FF2B5EF4-FFF2-40B4-BE49-F238E27FC236}">
                <a16:creationId xmlns:a16="http://schemas.microsoft.com/office/drawing/2014/main" id="{EA54062C-E1BE-1626-5875-4B9399BB009A}"/>
              </a:ext>
            </a:extLst>
          </p:cNvPr>
          <p:cNvSpPr txBox="1"/>
          <p:nvPr userDrawn="1"/>
        </p:nvSpPr>
        <p:spPr>
          <a:xfrm>
            <a:off x="-1384357" y="4891225"/>
            <a:ext cx="1216310" cy="1606317"/>
          </a:xfrm>
          <a:prstGeom prst="rect">
            <a:avLst/>
          </a:prstGeom>
          <a:solidFill>
            <a:schemeClr val="bg1">
              <a:lumMod val="85000"/>
            </a:schemeClr>
          </a:solidFill>
        </p:spPr>
        <p:txBody>
          <a:bodyPr wrap="square" rtlCol="0">
            <a:noAutofit/>
          </a:bodyPr>
          <a:lstStyle/>
          <a:p>
            <a:pPr algn="ctr"/>
            <a:r>
              <a:rPr lang="en-GB" sz="800" noProof="0"/>
              <a:t>To insert or change the date, click ’Insert &gt; Header and footer’</a:t>
            </a:r>
          </a:p>
        </p:txBody>
      </p:sp>
      <p:pic>
        <p:nvPicPr>
          <p:cNvPr id="6" name="Picture 5">
            <a:extLst>
              <a:ext uri="{FF2B5EF4-FFF2-40B4-BE49-F238E27FC236}">
                <a16:creationId xmlns:a16="http://schemas.microsoft.com/office/drawing/2014/main" id="{D785A678-15AF-8400-CB3E-706072663DD5}"/>
              </a:ext>
            </a:extLst>
          </p:cNvPr>
          <p:cNvPicPr>
            <a:picLocks noChangeAspect="1"/>
          </p:cNvPicPr>
          <p:nvPr userDrawn="1"/>
        </p:nvPicPr>
        <p:blipFill>
          <a:blip r:embed="rId3"/>
          <a:stretch>
            <a:fillRect/>
          </a:stretch>
        </p:blipFill>
        <p:spPr>
          <a:xfrm>
            <a:off x="-1104903" y="5487626"/>
            <a:ext cx="657403" cy="885949"/>
          </a:xfrm>
          <a:prstGeom prst="rect">
            <a:avLst/>
          </a:prstGeom>
        </p:spPr>
      </p:pic>
      <p:sp>
        <p:nvSpPr>
          <p:cNvPr id="7" name="TextBox 6">
            <a:extLst>
              <a:ext uri="{FF2B5EF4-FFF2-40B4-BE49-F238E27FC236}">
                <a16:creationId xmlns:a16="http://schemas.microsoft.com/office/drawing/2014/main" id="{B8DFA156-A569-0771-CFF9-595F5DBC79F9}"/>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6292122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able of content 1">
    <p:bg>
      <p:bgPr>
        <a:solidFill>
          <a:schemeClr val="tx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92C4920F-65A0-0869-BF5A-1F70832F6126}"/>
              </a:ext>
            </a:extLst>
          </p:cNvPr>
          <p:cNvSpPr>
            <a:spLocks noGrp="1"/>
          </p:cNvSpPr>
          <p:nvPr>
            <p:ph type="pic" sz="quarter" idx="13" hasCustomPrompt="1"/>
          </p:nvPr>
        </p:nvSpPr>
        <p:spPr>
          <a:xfrm>
            <a:off x="6096794" y="0"/>
            <a:ext cx="6096794" cy="6858000"/>
          </a:xfrm>
        </p:spPr>
        <p:txBody>
          <a:bodyPr tIns="504000"/>
          <a:lstStyle>
            <a:lvl1pPr marL="0" indent="0" algn="ctr">
              <a:buNone/>
              <a:defRPr>
                <a:solidFill>
                  <a:schemeClr val="bg1"/>
                </a:solidFill>
              </a:defRPr>
            </a:lvl1pPr>
          </a:lstStyle>
          <a:p>
            <a:r>
              <a:rPr lang="en-GB" noProof="0"/>
              <a:t>Click to insert picture</a:t>
            </a:r>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7" y="514350"/>
            <a:ext cx="5228318" cy="432802"/>
          </a:xfrm>
        </p:spPr>
        <p:txBody>
          <a:bodyPr bIns="72000" anchor="t" anchorCtr="0">
            <a:spAutoFit/>
          </a:bodyPr>
          <a:lstStyle>
            <a:lvl1pPr algn="l">
              <a:defRPr sz="2600">
                <a:solidFill>
                  <a:schemeClr val="bg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DBB16FA7-29CF-4D69-85E4-959712BFA624}" type="datetime1">
              <a:rPr lang="en-US" smtClean="0"/>
              <a:t>5/13/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5"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5" name="Text Placeholder 14">
            <a:extLst>
              <a:ext uri="{FF2B5EF4-FFF2-40B4-BE49-F238E27FC236}">
                <a16:creationId xmlns:a16="http://schemas.microsoft.com/office/drawing/2014/main" id="{5D694970-C581-5E5A-37AD-286E19629900}"/>
              </a:ext>
            </a:extLst>
          </p:cNvPr>
          <p:cNvSpPr>
            <a:spLocks noGrp="1"/>
          </p:cNvSpPr>
          <p:nvPr>
            <p:ph type="body" sz="quarter" idx="14"/>
          </p:nvPr>
        </p:nvSpPr>
        <p:spPr>
          <a:xfrm>
            <a:off x="516007" y="1800000"/>
            <a:ext cx="5228318" cy="4320000"/>
          </a:xfrm>
        </p:spPr>
        <p:txBody>
          <a:bodyPr>
            <a:noAutofit/>
          </a:bodyPr>
          <a:lstStyle>
            <a:lvl1pPr marL="266673" indent="-266673">
              <a:buSzPct val="100000"/>
              <a:buFont typeface="+mj-lt"/>
              <a:buAutoNum type="arabicPeriod"/>
              <a:defRPr sz="1600">
                <a:solidFill>
                  <a:schemeClr val="bg1"/>
                </a:solidFill>
                <a:latin typeface="Avenir Next LT Pro Demi" panose="020B0704020202020204" pitchFamily="34" charset="0"/>
              </a:defRPr>
            </a:lvl1pPr>
            <a:lvl2pPr marL="447630" indent="-180957">
              <a:spcBef>
                <a:spcPts val="700"/>
              </a:spcBef>
              <a:buFont typeface="Avenir Next LT Pro" panose="020B0504020202020204" pitchFamily="34" charset="0"/>
              <a:buChar char="+"/>
              <a:defRPr sz="16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6" name="Text Placeholder 5">
            <a:extLst>
              <a:ext uri="{FF2B5EF4-FFF2-40B4-BE49-F238E27FC236}">
                <a16:creationId xmlns:a16="http://schemas.microsoft.com/office/drawing/2014/main" id="{0031B4A2-FB64-217D-4A47-F836694955BA}"/>
              </a:ext>
            </a:extLst>
          </p:cNvPr>
          <p:cNvSpPr>
            <a:spLocks noGrp="1"/>
          </p:cNvSpPr>
          <p:nvPr>
            <p:ph type="body" sz="quarter" idx="15"/>
          </p:nvPr>
        </p:nvSpPr>
        <p:spPr>
          <a:xfrm>
            <a:off x="516007" y="947741"/>
            <a:ext cx="5228318" cy="223837"/>
          </a:xfrm>
        </p:spPr>
        <p:txBody>
          <a:bodyPr>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 name="TextBox 2">
            <a:extLst>
              <a:ext uri="{FF2B5EF4-FFF2-40B4-BE49-F238E27FC236}">
                <a16:creationId xmlns:a16="http://schemas.microsoft.com/office/drawing/2014/main" id="{B64B7E81-C666-E8AD-978B-5E268CAF1110}"/>
              </a:ext>
            </a:extLst>
          </p:cNvPr>
          <p:cNvSpPr txBox="1"/>
          <p:nvPr userDrawn="1"/>
        </p:nvSpPr>
        <p:spPr>
          <a:xfrm>
            <a:off x="-1558545"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8" name="Picture 7">
            <a:extLst>
              <a:ext uri="{FF2B5EF4-FFF2-40B4-BE49-F238E27FC236}">
                <a16:creationId xmlns:a16="http://schemas.microsoft.com/office/drawing/2014/main" id="{AC178CFD-3FD7-E78C-1DBF-EE9CF579851E}"/>
              </a:ext>
            </a:extLst>
          </p:cNvPr>
          <p:cNvPicPr>
            <a:picLocks noChangeAspect="1"/>
          </p:cNvPicPr>
          <p:nvPr userDrawn="1"/>
        </p:nvPicPr>
        <p:blipFill>
          <a:blip r:embed="rId2"/>
          <a:stretch>
            <a:fillRect/>
          </a:stretch>
        </p:blipFill>
        <p:spPr>
          <a:xfrm>
            <a:off x="-1032552" y="6043203"/>
            <a:ext cx="338511" cy="456195"/>
          </a:xfrm>
          <a:prstGeom prst="rect">
            <a:avLst/>
          </a:prstGeom>
        </p:spPr>
      </p:pic>
      <p:sp>
        <p:nvSpPr>
          <p:cNvPr id="11" name="TextBox 10">
            <a:extLst>
              <a:ext uri="{FF2B5EF4-FFF2-40B4-BE49-F238E27FC236}">
                <a16:creationId xmlns:a16="http://schemas.microsoft.com/office/drawing/2014/main" id="{0460C329-FBDA-C70C-502F-FC3A789F306D}"/>
              </a:ext>
            </a:extLst>
          </p:cNvPr>
          <p:cNvSpPr txBox="1"/>
          <p:nvPr userDrawn="1"/>
        </p:nvSpPr>
        <p:spPr>
          <a:xfrm>
            <a:off x="-1558545" y="1800000"/>
            <a:ext cx="1390500" cy="162900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p:txBody>
      </p:sp>
      <p:pic>
        <p:nvPicPr>
          <p:cNvPr id="13" name="Picture 12">
            <a:extLst>
              <a:ext uri="{FF2B5EF4-FFF2-40B4-BE49-F238E27FC236}">
                <a16:creationId xmlns:a16="http://schemas.microsoft.com/office/drawing/2014/main" id="{136D9096-4265-7DC2-AE5F-23A60CF078F6}"/>
              </a:ext>
            </a:extLst>
          </p:cNvPr>
          <p:cNvPicPr>
            <a:picLocks noChangeAspect="1"/>
          </p:cNvPicPr>
          <p:nvPr userDrawn="1"/>
        </p:nvPicPr>
        <p:blipFill>
          <a:blip r:embed="rId3"/>
          <a:stretch>
            <a:fillRect/>
          </a:stretch>
        </p:blipFill>
        <p:spPr>
          <a:xfrm>
            <a:off x="-1082303" y="2297474"/>
            <a:ext cx="438012" cy="204850"/>
          </a:xfrm>
          <a:prstGeom prst="rect">
            <a:avLst/>
          </a:prstGeom>
        </p:spPr>
      </p:pic>
      <p:pic>
        <p:nvPicPr>
          <p:cNvPr id="10" name="Picture 9">
            <a:extLst>
              <a:ext uri="{FF2B5EF4-FFF2-40B4-BE49-F238E27FC236}">
                <a16:creationId xmlns:a16="http://schemas.microsoft.com/office/drawing/2014/main" id="{CB9DBDFA-5E9C-4807-6792-79FE85934107}"/>
              </a:ext>
            </a:extLst>
          </p:cNvPr>
          <p:cNvPicPr>
            <a:picLocks noChangeAspect="1"/>
          </p:cNvPicPr>
          <p:nvPr userDrawn="1"/>
        </p:nvPicPr>
        <p:blipFill>
          <a:blip r:embed="rId4"/>
          <a:stretch>
            <a:fillRect/>
          </a:stretch>
        </p:blipFill>
        <p:spPr>
          <a:xfrm>
            <a:off x="-1310397" y="2610531"/>
            <a:ext cx="894196" cy="669697"/>
          </a:xfrm>
          <a:prstGeom prst="rect">
            <a:avLst/>
          </a:prstGeom>
        </p:spPr>
      </p:pic>
      <p:sp>
        <p:nvSpPr>
          <p:cNvPr id="9" name="TextBox 8">
            <a:extLst>
              <a:ext uri="{FF2B5EF4-FFF2-40B4-BE49-F238E27FC236}">
                <a16:creationId xmlns:a16="http://schemas.microsoft.com/office/drawing/2014/main" id="{5A4ABD3A-B959-672D-1209-ABC9FD21D131}"/>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23055083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able of content 2">
    <p:bg>
      <p:bgPr>
        <a:solidFill>
          <a:schemeClr val="tx2"/>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92C4920F-65A0-0869-BF5A-1F70832F6126}"/>
              </a:ext>
            </a:extLst>
          </p:cNvPr>
          <p:cNvSpPr>
            <a:spLocks noGrp="1"/>
          </p:cNvSpPr>
          <p:nvPr>
            <p:ph type="pic" sz="quarter" idx="13" hasCustomPrompt="1"/>
          </p:nvPr>
        </p:nvSpPr>
        <p:spPr>
          <a:xfrm>
            <a:off x="6096794" y="0"/>
            <a:ext cx="6096794" cy="6858000"/>
          </a:xfrm>
        </p:spPr>
        <p:txBody>
          <a:bodyPr tIns="504000"/>
          <a:lstStyle>
            <a:lvl1pPr marL="0" indent="0" algn="ctr">
              <a:buNone/>
              <a:defRPr>
                <a:solidFill>
                  <a:schemeClr val="bg1"/>
                </a:solidFill>
              </a:defRPr>
            </a:lvl1pPr>
          </a:lstStyle>
          <a:p>
            <a:r>
              <a:rPr lang="en-GB" noProof="0"/>
              <a:t>Click to insert picture</a:t>
            </a:r>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7" y="514350"/>
            <a:ext cx="5228318" cy="432802"/>
          </a:xfrm>
        </p:spPr>
        <p:txBody>
          <a:bodyPr bIns="72000" anchor="t" anchorCtr="0">
            <a:spAutoFit/>
          </a:bodyPr>
          <a:lstStyle>
            <a:lvl1pPr algn="l">
              <a:defRPr sz="2600">
                <a:solidFill>
                  <a:schemeClr val="bg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ABEBBA9F-DC50-46DE-AFB8-3066D1212165}" type="datetime1">
              <a:rPr lang="en-US" smtClean="0"/>
              <a:t>5/13/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5"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5" name="Text Placeholder 14">
            <a:extLst>
              <a:ext uri="{FF2B5EF4-FFF2-40B4-BE49-F238E27FC236}">
                <a16:creationId xmlns:a16="http://schemas.microsoft.com/office/drawing/2014/main" id="{5D694970-C581-5E5A-37AD-286E19629900}"/>
              </a:ext>
            </a:extLst>
          </p:cNvPr>
          <p:cNvSpPr>
            <a:spLocks noGrp="1"/>
          </p:cNvSpPr>
          <p:nvPr>
            <p:ph type="body" sz="quarter" idx="14"/>
          </p:nvPr>
        </p:nvSpPr>
        <p:spPr>
          <a:xfrm>
            <a:off x="516007" y="1799999"/>
            <a:ext cx="5228318" cy="4320000"/>
          </a:xfrm>
        </p:spPr>
        <p:txBody>
          <a:bodyPr>
            <a:noAutofit/>
          </a:bodyPr>
          <a:lstStyle>
            <a:lvl1pPr marL="266673" indent="-266673">
              <a:buClr>
                <a:schemeClr val="tx1"/>
              </a:buClr>
              <a:buSzPct val="100000"/>
              <a:buFont typeface="+mj-lt"/>
              <a:buAutoNum type="arabicPeriod"/>
              <a:defRPr sz="1600">
                <a:solidFill>
                  <a:schemeClr val="bg1"/>
                </a:solidFill>
                <a:latin typeface="Avenir Next LT Pro Demi" panose="020B0704020202020204" pitchFamily="34" charset="0"/>
              </a:defRPr>
            </a:lvl1pPr>
            <a:lvl2pPr marL="447630" indent="-180957">
              <a:spcBef>
                <a:spcPts val="700"/>
              </a:spcBef>
              <a:buClr>
                <a:schemeClr val="tx1"/>
              </a:buClr>
              <a:buFont typeface="Avenir Next LT Pro" panose="020B0504020202020204" pitchFamily="34" charset="0"/>
              <a:buChar char="+"/>
              <a:defRPr sz="16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3" name="Text Placeholder 5">
            <a:extLst>
              <a:ext uri="{FF2B5EF4-FFF2-40B4-BE49-F238E27FC236}">
                <a16:creationId xmlns:a16="http://schemas.microsoft.com/office/drawing/2014/main" id="{D428FA31-D7ED-EE0D-9968-E4E161291EBA}"/>
              </a:ext>
            </a:extLst>
          </p:cNvPr>
          <p:cNvSpPr>
            <a:spLocks noGrp="1"/>
          </p:cNvSpPr>
          <p:nvPr>
            <p:ph type="body" sz="quarter" idx="15"/>
          </p:nvPr>
        </p:nvSpPr>
        <p:spPr>
          <a:xfrm>
            <a:off x="516007" y="947741"/>
            <a:ext cx="5228318" cy="223837"/>
          </a:xfrm>
        </p:spPr>
        <p:txBody>
          <a:bodyPr>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0" name="TextBox 9">
            <a:extLst>
              <a:ext uri="{FF2B5EF4-FFF2-40B4-BE49-F238E27FC236}">
                <a16:creationId xmlns:a16="http://schemas.microsoft.com/office/drawing/2014/main" id="{14B99CD3-1F78-056E-8B34-D8FDFF95575A}"/>
              </a:ext>
            </a:extLst>
          </p:cNvPr>
          <p:cNvSpPr txBox="1"/>
          <p:nvPr userDrawn="1"/>
        </p:nvSpPr>
        <p:spPr>
          <a:xfrm>
            <a:off x="-1558545"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1" name="Picture 10">
            <a:extLst>
              <a:ext uri="{FF2B5EF4-FFF2-40B4-BE49-F238E27FC236}">
                <a16:creationId xmlns:a16="http://schemas.microsoft.com/office/drawing/2014/main" id="{10AA5217-AD05-BC9E-795B-F44284D07C36}"/>
              </a:ext>
            </a:extLst>
          </p:cNvPr>
          <p:cNvPicPr>
            <a:picLocks noChangeAspect="1"/>
          </p:cNvPicPr>
          <p:nvPr userDrawn="1"/>
        </p:nvPicPr>
        <p:blipFill>
          <a:blip r:embed="rId2"/>
          <a:stretch>
            <a:fillRect/>
          </a:stretch>
        </p:blipFill>
        <p:spPr>
          <a:xfrm>
            <a:off x="-1032552" y="6043203"/>
            <a:ext cx="338511" cy="456195"/>
          </a:xfrm>
          <a:prstGeom prst="rect">
            <a:avLst/>
          </a:prstGeom>
        </p:spPr>
      </p:pic>
      <p:sp>
        <p:nvSpPr>
          <p:cNvPr id="12" name="TextBox 11">
            <a:extLst>
              <a:ext uri="{FF2B5EF4-FFF2-40B4-BE49-F238E27FC236}">
                <a16:creationId xmlns:a16="http://schemas.microsoft.com/office/drawing/2014/main" id="{7D2F91BB-4019-1815-FF13-FDD5165A1518}"/>
              </a:ext>
            </a:extLst>
          </p:cNvPr>
          <p:cNvSpPr txBox="1"/>
          <p:nvPr userDrawn="1"/>
        </p:nvSpPr>
        <p:spPr>
          <a:xfrm>
            <a:off x="-1558545" y="1800000"/>
            <a:ext cx="1390500" cy="162900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p:txBody>
      </p:sp>
      <p:pic>
        <p:nvPicPr>
          <p:cNvPr id="13" name="Picture 12">
            <a:extLst>
              <a:ext uri="{FF2B5EF4-FFF2-40B4-BE49-F238E27FC236}">
                <a16:creationId xmlns:a16="http://schemas.microsoft.com/office/drawing/2014/main" id="{D07D2817-DE8F-3D67-8734-44BF6828B770}"/>
              </a:ext>
            </a:extLst>
          </p:cNvPr>
          <p:cNvPicPr>
            <a:picLocks noChangeAspect="1"/>
          </p:cNvPicPr>
          <p:nvPr userDrawn="1"/>
        </p:nvPicPr>
        <p:blipFill>
          <a:blip r:embed="rId3"/>
          <a:stretch>
            <a:fillRect/>
          </a:stretch>
        </p:blipFill>
        <p:spPr>
          <a:xfrm>
            <a:off x="-1082303" y="2297474"/>
            <a:ext cx="438012" cy="204850"/>
          </a:xfrm>
          <a:prstGeom prst="rect">
            <a:avLst/>
          </a:prstGeom>
        </p:spPr>
      </p:pic>
      <p:pic>
        <p:nvPicPr>
          <p:cNvPr id="14" name="Picture 13">
            <a:extLst>
              <a:ext uri="{FF2B5EF4-FFF2-40B4-BE49-F238E27FC236}">
                <a16:creationId xmlns:a16="http://schemas.microsoft.com/office/drawing/2014/main" id="{E8120077-0FAB-1B26-C8BE-2C048C4C08C0}"/>
              </a:ext>
            </a:extLst>
          </p:cNvPr>
          <p:cNvPicPr>
            <a:picLocks noChangeAspect="1"/>
          </p:cNvPicPr>
          <p:nvPr userDrawn="1"/>
        </p:nvPicPr>
        <p:blipFill>
          <a:blip r:embed="rId4"/>
          <a:stretch>
            <a:fillRect/>
          </a:stretch>
        </p:blipFill>
        <p:spPr>
          <a:xfrm>
            <a:off x="-1310397" y="2610531"/>
            <a:ext cx="894196" cy="669697"/>
          </a:xfrm>
          <a:prstGeom prst="rect">
            <a:avLst/>
          </a:prstGeom>
        </p:spPr>
      </p:pic>
      <p:sp>
        <p:nvSpPr>
          <p:cNvPr id="6" name="TextBox 5">
            <a:extLst>
              <a:ext uri="{FF2B5EF4-FFF2-40B4-BE49-F238E27FC236}">
                <a16:creationId xmlns:a16="http://schemas.microsoft.com/office/drawing/2014/main" id="{99D8B3D7-9CA0-F361-0B14-E44882450EF6}"/>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16952393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able of content 4">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7" y="514350"/>
            <a:ext cx="9667546" cy="432802"/>
          </a:xfrm>
        </p:spPr>
        <p:txBody>
          <a:bodyPr wrap="square" bIns="72000" anchor="t" anchorCtr="0">
            <a:spAutoFit/>
          </a:bodyPr>
          <a:lstStyle>
            <a:lvl1pPr algn="l">
              <a:defRPr sz="2600">
                <a:solidFill>
                  <a:schemeClr val="bg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01A4B763-855E-425E-B2CD-488E8CB2367B}" type="datetime1">
              <a:rPr lang="en-US" smtClean="0"/>
              <a:t>5/13/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283517"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5" name="Text Placeholder 14">
            <a:extLst>
              <a:ext uri="{FF2B5EF4-FFF2-40B4-BE49-F238E27FC236}">
                <a16:creationId xmlns:a16="http://schemas.microsoft.com/office/drawing/2014/main" id="{5D694970-C581-5E5A-37AD-286E19629900}"/>
              </a:ext>
            </a:extLst>
          </p:cNvPr>
          <p:cNvSpPr>
            <a:spLocks noGrp="1"/>
          </p:cNvSpPr>
          <p:nvPr>
            <p:ph type="body" sz="quarter" idx="14"/>
          </p:nvPr>
        </p:nvSpPr>
        <p:spPr>
          <a:xfrm>
            <a:off x="1090942" y="1800000"/>
            <a:ext cx="2520328" cy="1629000"/>
          </a:xfrm>
        </p:spPr>
        <p:txBody>
          <a:bodyPr>
            <a:noAutofit/>
          </a:bodyPr>
          <a:lstStyle>
            <a:lvl1pPr marL="0" indent="0">
              <a:buSzPct val="100000"/>
              <a:buFont typeface="+mj-lt"/>
              <a:buNone/>
              <a:defRPr sz="1600">
                <a:solidFill>
                  <a:schemeClr val="bg1"/>
                </a:solidFill>
                <a:latin typeface="Avenir Next LT Pro Demi" panose="020B0704020202020204" pitchFamily="34" charset="0"/>
              </a:defRPr>
            </a:lvl1pPr>
            <a:lvl2pPr marL="180957" indent="-180957">
              <a:spcBef>
                <a:spcPts val="700"/>
              </a:spcBef>
              <a:buFont typeface="Avenir Next LT Pro" panose="020B0504020202020204" pitchFamily="34" charset="0"/>
              <a:buChar char="+"/>
              <a:defRPr sz="12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8" name="Text Placeholder 7">
            <a:extLst>
              <a:ext uri="{FF2B5EF4-FFF2-40B4-BE49-F238E27FC236}">
                <a16:creationId xmlns:a16="http://schemas.microsoft.com/office/drawing/2014/main" id="{0A8EF944-AFF5-6C77-BB4C-82110695B715}"/>
              </a:ext>
            </a:extLst>
          </p:cNvPr>
          <p:cNvSpPr>
            <a:spLocks noGrp="1"/>
          </p:cNvSpPr>
          <p:nvPr>
            <p:ph type="body" sz="quarter" idx="15" hasCustomPrompt="1"/>
          </p:nvPr>
        </p:nvSpPr>
        <p:spPr>
          <a:xfrm>
            <a:off x="516005" y="1680956"/>
            <a:ext cx="432056" cy="432000"/>
          </a:xfrm>
          <a:prstGeom prst="ellipse">
            <a:avLst/>
          </a:prstGeom>
          <a:solidFill>
            <a:schemeClr val="accent3"/>
          </a:solidFill>
        </p:spPr>
        <p:txBody>
          <a:bodyPr anchor="ctr" anchorCtr="0">
            <a:noAutofit/>
          </a:bodyPr>
          <a:lstStyle>
            <a:lvl1pPr marL="0" indent="0" algn="ctr">
              <a:lnSpc>
                <a:spcPct val="100000"/>
              </a:lnSpc>
              <a:buNone/>
              <a:defRPr b="1">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10" name="Text Placeholder 14">
            <a:extLst>
              <a:ext uri="{FF2B5EF4-FFF2-40B4-BE49-F238E27FC236}">
                <a16:creationId xmlns:a16="http://schemas.microsoft.com/office/drawing/2014/main" id="{A4174AD9-BDC7-729F-70BA-BD049D15A8A3}"/>
              </a:ext>
            </a:extLst>
          </p:cNvPr>
          <p:cNvSpPr>
            <a:spLocks noGrp="1"/>
          </p:cNvSpPr>
          <p:nvPr>
            <p:ph type="body" sz="quarter" idx="16"/>
          </p:nvPr>
        </p:nvSpPr>
        <p:spPr>
          <a:xfrm>
            <a:off x="5117257" y="1800000"/>
            <a:ext cx="2520328" cy="1629000"/>
          </a:xfrm>
        </p:spPr>
        <p:txBody>
          <a:bodyPr>
            <a:noAutofit/>
          </a:bodyPr>
          <a:lstStyle>
            <a:lvl1pPr marL="0" indent="0">
              <a:buSzPct val="100000"/>
              <a:buFont typeface="+mj-lt"/>
              <a:buNone/>
              <a:defRPr sz="1600">
                <a:solidFill>
                  <a:schemeClr val="bg1"/>
                </a:solidFill>
                <a:latin typeface="Avenir Next LT Pro Demi" panose="020B0704020202020204" pitchFamily="34" charset="0"/>
              </a:defRPr>
            </a:lvl1pPr>
            <a:lvl2pPr marL="180957" indent="-180957">
              <a:spcBef>
                <a:spcPts val="700"/>
              </a:spcBef>
              <a:buFont typeface="Avenir Next LT Pro" panose="020B0504020202020204" pitchFamily="34" charset="0"/>
              <a:buChar char="+"/>
              <a:defRPr sz="12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1" name="Text Placeholder 7">
            <a:extLst>
              <a:ext uri="{FF2B5EF4-FFF2-40B4-BE49-F238E27FC236}">
                <a16:creationId xmlns:a16="http://schemas.microsoft.com/office/drawing/2014/main" id="{ADA53BC4-9960-4F48-0A31-704C90B18F13}"/>
              </a:ext>
            </a:extLst>
          </p:cNvPr>
          <p:cNvSpPr>
            <a:spLocks noGrp="1"/>
          </p:cNvSpPr>
          <p:nvPr>
            <p:ph type="body" sz="quarter" idx="17" hasCustomPrompt="1"/>
          </p:nvPr>
        </p:nvSpPr>
        <p:spPr>
          <a:xfrm>
            <a:off x="4542320" y="1680956"/>
            <a:ext cx="432056" cy="432000"/>
          </a:xfrm>
          <a:prstGeom prst="ellipse">
            <a:avLst/>
          </a:prstGeom>
          <a:solidFill>
            <a:schemeClr val="accent3"/>
          </a:solidFill>
        </p:spPr>
        <p:txBody>
          <a:bodyPr anchor="ctr" anchorCtr="0">
            <a:noAutofit/>
          </a:bodyPr>
          <a:lstStyle>
            <a:lvl1pPr marL="0" indent="0" algn="ctr">
              <a:lnSpc>
                <a:spcPct val="100000"/>
              </a:lnSpc>
              <a:buNone/>
              <a:defRPr b="1">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12" name="Text Placeholder 14">
            <a:extLst>
              <a:ext uri="{FF2B5EF4-FFF2-40B4-BE49-F238E27FC236}">
                <a16:creationId xmlns:a16="http://schemas.microsoft.com/office/drawing/2014/main" id="{3FFFAE8D-65F6-37BC-F92F-963C1481204C}"/>
              </a:ext>
            </a:extLst>
          </p:cNvPr>
          <p:cNvSpPr>
            <a:spLocks noGrp="1"/>
          </p:cNvSpPr>
          <p:nvPr>
            <p:ph type="body" sz="quarter" idx="18"/>
          </p:nvPr>
        </p:nvSpPr>
        <p:spPr>
          <a:xfrm>
            <a:off x="9157255" y="1800000"/>
            <a:ext cx="2520328" cy="1629000"/>
          </a:xfrm>
        </p:spPr>
        <p:txBody>
          <a:bodyPr>
            <a:noAutofit/>
          </a:bodyPr>
          <a:lstStyle>
            <a:lvl1pPr marL="0" indent="0">
              <a:buSzPct val="100000"/>
              <a:buFont typeface="+mj-lt"/>
              <a:buNone/>
              <a:defRPr sz="1600">
                <a:solidFill>
                  <a:schemeClr val="bg1"/>
                </a:solidFill>
                <a:latin typeface="Avenir Next LT Pro Demi" panose="020B0704020202020204" pitchFamily="34" charset="0"/>
              </a:defRPr>
            </a:lvl1pPr>
            <a:lvl2pPr marL="180957" indent="-180957">
              <a:spcBef>
                <a:spcPts val="700"/>
              </a:spcBef>
              <a:buFont typeface="Avenir Next LT Pro" panose="020B0504020202020204" pitchFamily="34" charset="0"/>
              <a:buChar char="+"/>
              <a:defRPr sz="12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3" name="Text Placeholder 7">
            <a:extLst>
              <a:ext uri="{FF2B5EF4-FFF2-40B4-BE49-F238E27FC236}">
                <a16:creationId xmlns:a16="http://schemas.microsoft.com/office/drawing/2014/main" id="{D5978DF5-3DAE-B9BA-8D87-D1CFC005D303}"/>
              </a:ext>
            </a:extLst>
          </p:cNvPr>
          <p:cNvSpPr>
            <a:spLocks noGrp="1"/>
          </p:cNvSpPr>
          <p:nvPr>
            <p:ph type="body" sz="quarter" idx="19" hasCustomPrompt="1"/>
          </p:nvPr>
        </p:nvSpPr>
        <p:spPr>
          <a:xfrm>
            <a:off x="8582318" y="1680956"/>
            <a:ext cx="432056" cy="432000"/>
          </a:xfrm>
          <a:prstGeom prst="ellipse">
            <a:avLst/>
          </a:prstGeom>
          <a:solidFill>
            <a:schemeClr val="accent3"/>
          </a:solidFill>
        </p:spPr>
        <p:txBody>
          <a:bodyPr anchor="ctr" anchorCtr="0">
            <a:noAutofit/>
          </a:bodyPr>
          <a:lstStyle>
            <a:lvl1pPr marL="0" indent="0" algn="ctr">
              <a:lnSpc>
                <a:spcPct val="100000"/>
              </a:lnSpc>
              <a:buNone/>
              <a:defRPr b="1">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18" name="Text Placeholder 14">
            <a:extLst>
              <a:ext uri="{FF2B5EF4-FFF2-40B4-BE49-F238E27FC236}">
                <a16:creationId xmlns:a16="http://schemas.microsoft.com/office/drawing/2014/main" id="{6F9E3E3C-ABEF-6AD9-9217-819D911DB196}"/>
              </a:ext>
            </a:extLst>
          </p:cNvPr>
          <p:cNvSpPr>
            <a:spLocks noGrp="1"/>
          </p:cNvSpPr>
          <p:nvPr>
            <p:ph type="body" sz="quarter" idx="20"/>
          </p:nvPr>
        </p:nvSpPr>
        <p:spPr>
          <a:xfrm>
            <a:off x="1090942" y="4078951"/>
            <a:ext cx="2520328" cy="1629000"/>
          </a:xfrm>
        </p:spPr>
        <p:txBody>
          <a:bodyPr>
            <a:noAutofit/>
          </a:bodyPr>
          <a:lstStyle>
            <a:lvl1pPr marL="0" indent="0">
              <a:buSzPct val="100000"/>
              <a:buFont typeface="+mj-lt"/>
              <a:buNone/>
              <a:defRPr sz="1600">
                <a:solidFill>
                  <a:schemeClr val="bg1"/>
                </a:solidFill>
                <a:latin typeface="Avenir Next LT Pro Demi" panose="020B0704020202020204" pitchFamily="34" charset="0"/>
              </a:defRPr>
            </a:lvl1pPr>
            <a:lvl2pPr marL="180957" indent="-180957">
              <a:spcBef>
                <a:spcPts val="700"/>
              </a:spcBef>
              <a:buFont typeface="Avenir Next LT Pro" panose="020B0504020202020204" pitchFamily="34" charset="0"/>
              <a:buChar char="+"/>
              <a:defRPr sz="12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9" name="Text Placeholder 7">
            <a:extLst>
              <a:ext uri="{FF2B5EF4-FFF2-40B4-BE49-F238E27FC236}">
                <a16:creationId xmlns:a16="http://schemas.microsoft.com/office/drawing/2014/main" id="{B3F8E139-3356-21A9-5660-AAD154B56669}"/>
              </a:ext>
            </a:extLst>
          </p:cNvPr>
          <p:cNvSpPr>
            <a:spLocks noGrp="1"/>
          </p:cNvSpPr>
          <p:nvPr>
            <p:ph type="body" sz="quarter" idx="21" hasCustomPrompt="1"/>
          </p:nvPr>
        </p:nvSpPr>
        <p:spPr>
          <a:xfrm>
            <a:off x="516005" y="3959907"/>
            <a:ext cx="432056" cy="432000"/>
          </a:xfrm>
          <a:prstGeom prst="ellipse">
            <a:avLst/>
          </a:prstGeom>
          <a:solidFill>
            <a:schemeClr val="accent3"/>
          </a:solidFill>
        </p:spPr>
        <p:txBody>
          <a:bodyPr anchor="ctr" anchorCtr="0">
            <a:noAutofit/>
          </a:bodyPr>
          <a:lstStyle>
            <a:lvl1pPr marL="0" indent="0" algn="ctr">
              <a:lnSpc>
                <a:spcPct val="100000"/>
              </a:lnSpc>
              <a:buNone/>
              <a:defRPr b="1">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20" name="Text Placeholder 14">
            <a:extLst>
              <a:ext uri="{FF2B5EF4-FFF2-40B4-BE49-F238E27FC236}">
                <a16:creationId xmlns:a16="http://schemas.microsoft.com/office/drawing/2014/main" id="{4FF479F9-2441-C917-2D55-646A95F01E35}"/>
              </a:ext>
            </a:extLst>
          </p:cNvPr>
          <p:cNvSpPr>
            <a:spLocks noGrp="1"/>
          </p:cNvSpPr>
          <p:nvPr>
            <p:ph type="body" sz="quarter" idx="22"/>
          </p:nvPr>
        </p:nvSpPr>
        <p:spPr>
          <a:xfrm>
            <a:off x="5117257" y="4078951"/>
            <a:ext cx="2520328" cy="1629000"/>
          </a:xfrm>
        </p:spPr>
        <p:txBody>
          <a:bodyPr>
            <a:noAutofit/>
          </a:bodyPr>
          <a:lstStyle>
            <a:lvl1pPr marL="0" indent="0">
              <a:buSzPct val="100000"/>
              <a:buFont typeface="+mj-lt"/>
              <a:buNone/>
              <a:defRPr sz="1600">
                <a:solidFill>
                  <a:schemeClr val="bg1"/>
                </a:solidFill>
                <a:latin typeface="Avenir Next LT Pro Demi" panose="020B0704020202020204" pitchFamily="34" charset="0"/>
              </a:defRPr>
            </a:lvl1pPr>
            <a:lvl2pPr marL="180957" indent="-180957">
              <a:spcBef>
                <a:spcPts val="700"/>
              </a:spcBef>
              <a:buFont typeface="Avenir Next LT Pro" panose="020B0504020202020204" pitchFamily="34" charset="0"/>
              <a:buChar char="+"/>
              <a:defRPr sz="12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1" name="Text Placeholder 7">
            <a:extLst>
              <a:ext uri="{FF2B5EF4-FFF2-40B4-BE49-F238E27FC236}">
                <a16:creationId xmlns:a16="http://schemas.microsoft.com/office/drawing/2014/main" id="{2F123140-E7EC-EC9C-A1DE-2E015A28FE56}"/>
              </a:ext>
            </a:extLst>
          </p:cNvPr>
          <p:cNvSpPr>
            <a:spLocks noGrp="1"/>
          </p:cNvSpPr>
          <p:nvPr>
            <p:ph type="body" sz="quarter" idx="23" hasCustomPrompt="1"/>
          </p:nvPr>
        </p:nvSpPr>
        <p:spPr>
          <a:xfrm>
            <a:off x="4542320" y="3959907"/>
            <a:ext cx="432056" cy="432000"/>
          </a:xfrm>
          <a:prstGeom prst="ellipse">
            <a:avLst/>
          </a:prstGeom>
          <a:solidFill>
            <a:schemeClr val="accent3"/>
          </a:solidFill>
        </p:spPr>
        <p:txBody>
          <a:bodyPr anchor="ctr" anchorCtr="0">
            <a:noAutofit/>
          </a:bodyPr>
          <a:lstStyle>
            <a:lvl1pPr marL="0" indent="0" algn="ctr">
              <a:lnSpc>
                <a:spcPct val="100000"/>
              </a:lnSpc>
              <a:buNone/>
              <a:defRPr b="1">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22" name="Text Placeholder 14">
            <a:extLst>
              <a:ext uri="{FF2B5EF4-FFF2-40B4-BE49-F238E27FC236}">
                <a16:creationId xmlns:a16="http://schemas.microsoft.com/office/drawing/2014/main" id="{1E41FC83-63E1-155C-2C8A-D6B800D702FC}"/>
              </a:ext>
            </a:extLst>
          </p:cNvPr>
          <p:cNvSpPr>
            <a:spLocks noGrp="1"/>
          </p:cNvSpPr>
          <p:nvPr>
            <p:ph type="body" sz="quarter" idx="24"/>
          </p:nvPr>
        </p:nvSpPr>
        <p:spPr>
          <a:xfrm>
            <a:off x="9158843" y="4078951"/>
            <a:ext cx="2520328" cy="1629000"/>
          </a:xfrm>
        </p:spPr>
        <p:txBody>
          <a:bodyPr>
            <a:noAutofit/>
          </a:bodyPr>
          <a:lstStyle>
            <a:lvl1pPr marL="0" indent="0">
              <a:buSzPct val="100000"/>
              <a:buFont typeface="+mj-lt"/>
              <a:buNone/>
              <a:defRPr sz="1600">
                <a:solidFill>
                  <a:schemeClr val="bg1"/>
                </a:solidFill>
                <a:latin typeface="Avenir Next LT Pro Demi" panose="020B0704020202020204" pitchFamily="34" charset="0"/>
              </a:defRPr>
            </a:lvl1pPr>
            <a:lvl2pPr marL="180957" indent="-180957">
              <a:spcBef>
                <a:spcPts val="700"/>
              </a:spcBef>
              <a:buFont typeface="Avenir Next LT Pro" panose="020B0504020202020204" pitchFamily="34" charset="0"/>
              <a:buChar char="+"/>
              <a:defRPr sz="12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3" name="Text Placeholder 7">
            <a:extLst>
              <a:ext uri="{FF2B5EF4-FFF2-40B4-BE49-F238E27FC236}">
                <a16:creationId xmlns:a16="http://schemas.microsoft.com/office/drawing/2014/main" id="{6F061504-E527-ABCA-5D31-738C4ACCAE82}"/>
              </a:ext>
            </a:extLst>
          </p:cNvPr>
          <p:cNvSpPr>
            <a:spLocks noGrp="1"/>
          </p:cNvSpPr>
          <p:nvPr>
            <p:ph type="body" sz="quarter" idx="25" hasCustomPrompt="1"/>
          </p:nvPr>
        </p:nvSpPr>
        <p:spPr>
          <a:xfrm>
            <a:off x="8583906" y="3959907"/>
            <a:ext cx="432056" cy="432000"/>
          </a:xfrm>
          <a:prstGeom prst="ellipse">
            <a:avLst/>
          </a:prstGeom>
          <a:solidFill>
            <a:schemeClr val="accent3"/>
          </a:solidFill>
        </p:spPr>
        <p:txBody>
          <a:bodyPr anchor="ctr" anchorCtr="0">
            <a:noAutofit/>
          </a:bodyPr>
          <a:lstStyle>
            <a:lvl1pPr marL="0" indent="0" algn="ctr">
              <a:lnSpc>
                <a:spcPct val="100000"/>
              </a:lnSpc>
              <a:buNone/>
              <a:defRPr b="1">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6" name="Text Placeholder 5">
            <a:extLst>
              <a:ext uri="{FF2B5EF4-FFF2-40B4-BE49-F238E27FC236}">
                <a16:creationId xmlns:a16="http://schemas.microsoft.com/office/drawing/2014/main" id="{FA0C40C4-8090-8426-654D-0BF8B80A2411}"/>
              </a:ext>
            </a:extLst>
          </p:cNvPr>
          <p:cNvSpPr>
            <a:spLocks noGrp="1"/>
          </p:cNvSpPr>
          <p:nvPr>
            <p:ph type="body" sz="quarter" idx="26"/>
          </p:nvPr>
        </p:nvSpPr>
        <p:spPr>
          <a:xfrm>
            <a:off x="516007" y="947741"/>
            <a:ext cx="9667546"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9" name="Graphic 8">
            <a:extLst>
              <a:ext uri="{FF2B5EF4-FFF2-40B4-BE49-F238E27FC236}">
                <a16:creationId xmlns:a16="http://schemas.microsoft.com/office/drawing/2014/main" id="{5E766443-049B-1AA9-E5EA-6486B06ABBA5}"/>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
        <p:nvSpPr>
          <p:cNvPr id="3" name="TextBox 2">
            <a:extLst>
              <a:ext uri="{FF2B5EF4-FFF2-40B4-BE49-F238E27FC236}">
                <a16:creationId xmlns:a16="http://schemas.microsoft.com/office/drawing/2014/main" id="{DFD2F99E-6A4C-F9C8-633B-723C9291C795}"/>
              </a:ext>
            </a:extLst>
          </p:cNvPr>
          <p:cNvSpPr txBox="1"/>
          <p:nvPr userDrawn="1"/>
        </p:nvSpPr>
        <p:spPr>
          <a:xfrm>
            <a:off x="-1558545"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4" name="Picture 13">
            <a:extLst>
              <a:ext uri="{FF2B5EF4-FFF2-40B4-BE49-F238E27FC236}">
                <a16:creationId xmlns:a16="http://schemas.microsoft.com/office/drawing/2014/main" id="{FFA2C3F3-AC09-279D-852A-F8E827904F59}"/>
              </a:ext>
            </a:extLst>
          </p:cNvPr>
          <p:cNvPicPr>
            <a:picLocks noChangeAspect="1"/>
          </p:cNvPicPr>
          <p:nvPr userDrawn="1"/>
        </p:nvPicPr>
        <p:blipFill>
          <a:blip r:embed="rId3"/>
          <a:stretch>
            <a:fillRect/>
          </a:stretch>
        </p:blipFill>
        <p:spPr>
          <a:xfrm>
            <a:off x="-1032552" y="6043203"/>
            <a:ext cx="338511" cy="456195"/>
          </a:xfrm>
          <a:prstGeom prst="rect">
            <a:avLst/>
          </a:prstGeom>
        </p:spPr>
      </p:pic>
      <p:sp>
        <p:nvSpPr>
          <p:cNvPr id="16" name="TextBox 15">
            <a:extLst>
              <a:ext uri="{FF2B5EF4-FFF2-40B4-BE49-F238E27FC236}">
                <a16:creationId xmlns:a16="http://schemas.microsoft.com/office/drawing/2014/main" id="{58E5A9C6-D68B-4BB1-2BC7-0A64EEC85321}"/>
              </a:ext>
            </a:extLst>
          </p:cNvPr>
          <p:cNvSpPr txBox="1"/>
          <p:nvPr userDrawn="1"/>
        </p:nvSpPr>
        <p:spPr>
          <a:xfrm>
            <a:off x="-1558545" y="1800000"/>
            <a:ext cx="1390500" cy="1677296"/>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p:txBody>
      </p:sp>
      <p:pic>
        <p:nvPicPr>
          <p:cNvPr id="17" name="Picture 16">
            <a:extLst>
              <a:ext uri="{FF2B5EF4-FFF2-40B4-BE49-F238E27FC236}">
                <a16:creationId xmlns:a16="http://schemas.microsoft.com/office/drawing/2014/main" id="{7E9EF141-F154-81CB-2874-0764867EC63C}"/>
              </a:ext>
            </a:extLst>
          </p:cNvPr>
          <p:cNvPicPr>
            <a:picLocks noChangeAspect="1"/>
          </p:cNvPicPr>
          <p:nvPr userDrawn="1"/>
        </p:nvPicPr>
        <p:blipFill>
          <a:blip r:embed="rId4"/>
          <a:stretch>
            <a:fillRect/>
          </a:stretch>
        </p:blipFill>
        <p:spPr>
          <a:xfrm>
            <a:off x="-1082303" y="2297474"/>
            <a:ext cx="438012" cy="204850"/>
          </a:xfrm>
          <a:prstGeom prst="rect">
            <a:avLst/>
          </a:prstGeom>
        </p:spPr>
      </p:pic>
      <p:pic>
        <p:nvPicPr>
          <p:cNvPr id="26" name="Picture 25">
            <a:extLst>
              <a:ext uri="{FF2B5EF4-FFF2-40B4-BE49-F238E27FC236}">
                <a16:creationId xmlns:a16="http://schemas.microsoft.com/office/drawing/2014/main" id="{8587F569-EE81-1D1F-9D4C-A08A73BF7896}"/>
              </a:ext>
            </a:extLst>
          </p:cNvPr>
          <p:cNvPicPr>
            <a:picLocks noChangeAspect="1"/>
          </p:cNvPicPr>
          <p:nvPr userDrawn="1"/>
        </p:nvPicPr>
        <p:blipFill>
          <a:blip r:embed="rId5"/>
          <a:stretch>
            <a:fillRect/>
          </a:stretch>
        </p:blipFill>
        <p:spPr>
          <a:xfrm>
            <a:off x="-1462318" y="2603467"/>
            <a:ext cx="1191829" cy="781425"/>
          </a:xfrm>
          <a:prstGeom prst="rect">
            <a:avLst/>
          </a:prstGeom>
        </p:spPr>
      </p:pic>
    </p:spTree>
    <p:extLst>
      <p:ext uri="{BB962C8B-B14F-4D97-AF65-F5344CB8AC3E}">
        <p14:creationId xmlns:p14="http://schemas.microsoft.com/office/powerpoint/2010/main" val="32509921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Left half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0" y="1"/>
            <a:ext cx="6096794" cy="2215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69" y="1924052"/>
            <a:ext cx="5266953" cy="4398433"/>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E3E4F818-3A7D-2AB5-57A3-ED45588D3948}"/>
              </a:ext>
            </a:extLst>
          </p:cNvPr>
          <p:cNvSpPr>
            <a:spLocks noGrp="1"/>
          </p:cNvSpPr>
          <p:nvPr>
            <p:ph type="title"/>
          </p:nvPr>
        </p:nvSpPr>
        <p:spPr>
          <a:xfrm>
            <a:off x="6446569" y="552715"/>
            <a:ext cx="5266953" cy="830997"/>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8A4AE163-B4FC-2BA1-4A79-5AC44435AD0C}"/>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4" name="Picture 3">
            <a:extLst>
              <a:ext uri="{FF2B5EF4-FFF2-40B4-BE49-F238E27FC236}">
                <a16:creationId xmlns:a16="http://schemas.microsoft.com/office/drawing/2014/main" id="{C7E3A211-9B52-F264-6FDC-D3E77A7D400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50197" y="204716"/>
            <a:ext cx="1358721" cy="826913"/>
          </a:xfrm>
          <a:prstGeom prst="rect">
            <a:avLst/>
          </a:prstGeom>
        </p:spPr>
      </p:pic>
      <p:pic>
        <p:nvPicPr>
          <p:cNvPr id="5" name="Picture 4">
            <a:extLst>
              <a:ext uri="{FF2B5EF4-FFF2-40B4-BE49-F238E27FC236}">
                <a16:creationId xmlns:a16="http://schemas.microsoft.com/office/drawing/2014/main" id="{1BC274B4-07B7-5DA0-DF33-F57B9851733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2597" y="357116"/>
            <a:ext cx="1358721" cy="826913"/>
          </a:xfrm>
          <a:prstGeom prst="rect">
            <a:avLst/>
          </a:prstGeom>
        </p:spPr>
      </p:pic>
      <p:sp>
        <p:nvSpPr>
          <p:cNvPr id="8" name="TextBox 7">
            <a:extLst>
              <a:ext uri="{FF2B5EF4-FFF2-40B4-BE49-F238E27FC236}">
                <a16:creationId xmlns:a16="http://schemas.microsoft.com/office/drawing/2014/main" id="{EA7DD7ED-38EA-248E-6A37-DDDBF2A49851}"/>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9" name="TextBox 8">
            <a:extLst>
              <a:ext uri="{FF2B5EF4-FFF2-40B4-BE49-F238E27FC236}">
                <a16:creationId xmlns:a16="http://schemas.microsoft.com/office/drawing/2014/main" id="{67C06B24-EBD2-9679-25F3-969411C769BD}"/>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extLst>
      <p:ext uri="{BB962C8B-B14F-4D97-AF65-F5344CB8AC3E}">
        <p14:creationId xmlns:p14="http://schemas.microsoft.com/office/powerpoint/2010/main" val="3235824833"/>
      </p:ext>
    </p:extLst>
  </p:cSld>
  <p:clrMapOvr>
    <a:masterClrMapping/>
  </p:clrMapOvr>
  <p:transition spd="slow">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able of content 5">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7" y="514350"/>
            <a:ext cx="9667546" cy="432802"/>
          </a:xfrm>
        </p:spPr>
        <p:txBody>
          <a:bodyPr wrap="square" bIns="72000" anchor="t" anchorCtr="0">
            <a:spAutoFit/>
          </a:bodyPr>
          <a:lstStyle>
            <a:lvl1pPr algn="l">
              <a:defRPr sz="2600">
                <a:solidFill>
                  <a:schemeClr val="bg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F16E5781-CF4D-48EB-9CA4-5A4996D6640A}" type="datetime1">
              <a:rPr lang="en-US" smtClean="0"/>
              <a:t>5/13/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5" y="6469905"/>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5" name="Text Placeholder 14">
            <a:extLst>
              <a:ext uri="{FF2B5EF4-FFF2-40B4-BE49-F238E27FC236}">
                <a16:creationId xmlns:a16="http://schemas.microsoft.com/office/drawing/2014/main" id="{5D694970-C581-5E5A-37AD-286E19629900}"/>
              </a:ext>
            </a:extLst>
          </p:cNvPr>
          <p:cNvSpPr>
            <a:spLocks noGrp="1"/>
          </p:cNvSpPr>
          <p:nvPr>
            <p:ph type="body" sz="quarter" idx="14"/>
          </p:nvPr>
        </p:nvSpPr>
        <p:spPr>
          <a:xfrm>
            <a:off x="1090942" y="1800000"/>
            <a:ext cx="2520328" cy="1629000"/>
          </a:xfrm>
        </p:spPr>
        <p:txBody>
          <a:bodyPr>
            <a:noAutofit/>
          </a:bodyPr>
          <a:lstStyle>
            <a:lvl1pPr marL="0" indent="0">
              <a:buSzPct val="100000"/>
              <a:buFont typeface="+mj-lt"/>
              <a:buNone/>
              <a:defRPr sz="1600">
                <a:solidFill>
                  <a:schemeClr val="bg1"/>
                </a:solidFill>
                <a:latin typeface="Avenir Next LT Pro Demi" panose="020B0704020202020204" pitchFamily="34" charset="0"/>
              </a:defRPr>
            </a:lvl1pPr>
            <a:lvl2pPr marL="180957" indent="-180957">
              <a:spcBef>
                <a:spcPts val="700"/>
              </a:spcBef>
              <a:buClr>
                <a:schemeClr val="tx1"/>
              </a:buClr>
              <a:buFont typeface="Avenir Next LT Pro" panose="020B0504020202020204" pitchFamily="34" charset="0"/>
              <a:buChar char="+"/>
              <a:defRPr sz="12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8" name="Text Placeholder 7">
            <a:extLst>
              <a:ext uri="{FF2B5EF4-FFF2-40B4-BE49-F238E27FC236}">
                <a16:creationId xmlns:a16="http://schemas.microsoft.com/office/drawing/2014/main" id="{0A8EF944-AFF5-6C77-BB4C-82110695B715}"/>
              </a:ext>
            </a:extLst>
          </p:cNvPr>
          <p:cNvSpPr>
            <a:spLocks noGrp="1"/>
          </p:cNvSpPr>
          <p:nvPr>
            <p:ph type="body" sz="quarter" idx="15" hasCustomPrompt="1"/>
          </p:nvPr>
        </p:nvSpPr>
        <p:spPr>
          <a:xfrm>
            <a:off x="516005" y="1680956"/>
            <a:ext cx="432056" cy="432000"/>
          </a:xfrm>
          <a:prstGeom prst="ellipse">
            <a:avLst/>
          </a:prstGeom>
          <a:solidFill>
            <a:schemeClr val="tx1"/>
          </a:solidFill>
        </p:spPr>
        <p:txBody>
          <a:bodyPr anchor="ctr" anchorCtr="0">
            <a:noAutofit/>
          </a:bodyPr>
          <a:lstStyle>
            <a:lvl1pPr marL="0" indent="0" algn="ctr">
              <a:lnSpc>
                <a:spcPct val="100000"/>
              </a:lnSpc>
              <a:buNone/>
              <a:defRPr b="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10" name="Text Placeholder 14">
            <a:extLst>
              <a:ext uri="{FF2B5EF4-FFF2-40B4-BE49-F238E27FC236}">
                <a16:creationId xmlns:a16="http://schemas.microsoft.com/office/drawing/2014/main" id="{A4174AD9-BDC7-729F-70BA-BD049D15A8A3}"/>
              </a:ext>
            </a:extLst>
          </p:cNvPr>
          <p:cNvSpPr>
            <a:spLocks noGrp="1"/>
          </p:cNvSpPr>
          <p:nvPr>
            <p:ph type="body" sz="quarter" idx="16"/>
          </p:nvPr>
        </p:nvSpPr>
        <p:spPr>
          <a:xfrm>
            <a:off x="5117257" y="1800000"/>
            <a:ext cx="2520328" cy="1629000"/>
          </a:xfrm>
        </p:spPr>
        <p:txBody>
          <a:bodyPr>
            <a:noAutofit/>
          </a:bodyPr>
          <a:lstStyle>
            <a:lvl1pPr marL="0" indent="0">
              <a:buSzPct val="100000"/>
              <a:buFont typeface="+mj-lt"/>
              <a:buNone/>
              <a:defRPr sz="1600">
                <a:solidFill>
                  <a:schemeClr val="bg1"/>
                </a:solidFill>
                <a:latin typeface="Avenir Next LT Pro Demi" panose="020B0704020202020204" pitchFamily="34" charset="0"/>
              </a:defRPr>
            </a:lvl1pPr>
            <a:lvl2pPr marL="180957" indent="-180957">
              <a:spcBef>
                <a:spcPts val="700"/>
              </a:spcBef>
              <a:buClr>
                <a:schemeClr val="tx1"/>
              </a:buClr>
              <a:buFont typeface="Avenir Next LT Pro" panose="020B0504020202020204" pitchFamily="34" charset="0"/>
              <a:buChar char="+"/>
              <a:defRPr sz="12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1" name="Text Placeholder 7">
            <a:extLst>
              <a:ext uri="{FF2B5EF4-FFF2-40B4-BE49-F238E27FC236}">
                <a16:creationId xmlns:a16="http://schemas.microsoft.com/office/drawing/2014/main" id="{ADA53BC4-9960-4F48-0A31-704C90B18F13}"/>
              </a:ext>
            </a:extLst>
          </p:cNvPr>
          <p:cNvSpPr>
            <a:spLocks noGrp="1"/>
          </p:cNvSpPr>
          <p:nvPr>
            <p:ph type="body" sz="quarter" idx="17" hasCustomPrompt="1"/>
          </p:nvPr>
        </p:nvSpPr>
        <p:spPr>
          <a:xfrm>
            <a:off x="4542320" y="1680956"/>
            <a:ext cx="432056" cy="432000"/>
          </a:xfrm>
          <a:prstGeom prst="ellipse">
            <a:avLst/>
          </a:prstGeom>
          <a:solidFill>
            <a:schemeClr val="tx1"/>
          </a:solidFill>
        </p:spPr>
        <p:txBody>
          <a:bodyPr anchor="ctr" anchorCtr="0">
            <a:noAutofit/>
          </a:bodyPr>
          <a:lstStyle>
            <a:lvl1pPr marL="0" indent="0" algn="ctr">
              <a:lnSpc>
                <a:spcPct val="100000"/>
              </a:lnSpc>
              <a:buNone/>
              <a:defRPr b="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12" name="Text Placeholder 14">
            <a:extLst>
              <a:ext uri="{FF2B5EF4-FFF2-40B4-BE49-F238E27FC236}">
                <a16:creationId xmlns:a16="http://schemas.microsoft.com/office/drawing/2014/main" id="{3FFFAE8D-65F6-37BC-F92F-963C1481204C}"/>
              </a:ext>
            </a:extLst>
          </p:cNvPr>
          <p:cNvSpPr>
            <a:spLocks noGrp="1"/>
          </p:cNvSpPr>
          <p:nvPr>
            <p:ph type="body" sz="quarter" idx="18"/>
          </p:nvPr>
        </p:nvSpPr>
        <p:spPr>
          <a:xfrm>
            <a:off x="9157255" y="1800000"/>
            <a:ext cx="2520328" cy="1629000"/>
          </a:xfrm>
        </p:spPr>
        <p:txBody>
          <a:bodyPr>
            <a:noAutofit/>
          </a:bodyPr>
          <a:lstStyle>
            <a:lvl1pPr marL="0" indent="0">
              <a:buSzPct val="100000"/>
              <a:buFont typeface="+mj-lt"/>
              <a:buNone/>
              <a:defRPr sz="1600">
                <a:solidFill>
                  <a:schemeClr val="bg1"/>
                </a:solidFill>
                <a:latin typeface="Avenir Next LT Pro Demi" panose="020B0704020202020204" pitchFamily="34" charset="0"/>
              </a:defRPr>
            </a:lvl1pPr>
            <a:lvl2pPr marL="180957" indent="-180957">
              <a:spcBef>
                <a:spcPts val="700"/>
              </a:spcBef>
              <a:buClr>
                <a:schemeClr val="tx1"/>
              </a:buClr>
              <a:buFont typeface="Avenir Next LT Pro" panose="020B0504020202020204" pitchFamily="34" charset="0"/>
              <a:buChar char="+"/>
              <a:defRPr sz="12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3" name="Text Placeholder 7">
            <a:extLst>
              <a:ext uri="{FF2B5EF4-FFF2-40B4-BE49-F238E27FC236}">
                <a16:creationId xmlns:a16="http://schemas.microsoft.com/office/drawing/2014/main" id="{D5978DF5-3DAE-B9BA-8D87-D1CFC005D303}"/>
              </a:ext>
            </a:extLst>
          </p:cNvPr>
          <p:cNvSpPr>
            <a:spLocks noGrp="1"/>
          </p:cNvSpPr>
          <p:nvPr>
            <p:ph type="body" sz="quarter" idx="19" hasCustomPrompt="1"/>
          </p:nvPr>
        </p:nvSpPr>
        <p:spPr>
          <a:xfrm>
            <a:off x="8582318" y="1680956"/>
            <a:ext cx="432056" cy="432000"/>
          </a:xfrm>
          <a:prstGeom prst="ellipse">
            <a:avLst/>
          </a:prstGeom>
          <a:solidFill>
            <a:schemeClr val="tx1"/>
          </a:solidFill>
        </p:spPr>
        <p:txBody>
          <a:bodyPr anchor="ctr" anchorCtr="0">
            <a:noAutofit/>
          </a:bodyPr>
          <a:lstStyle>
            <a:lvl1pPr marL="0" indent="0" algn="ctr">
              <a:lnSpc>
                <a:spcPct val="100000"/>
              </a:lnSpc>
              <a:buNone/>
              <a:defRPr b="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18" name="Text Placeholder 14">
            <a:extLst>
              <a:ext uri="{FF2B5EF4-FFF2-40B4-BE49-F238E27FC236}">
                <a16:creationId xmlns:a16="http://schemas.microsoft.com/office/drawing/2014/main" id="{6F9E3E3C-ABEF-6AD9-9217-819D911DB196}"/>
              </a:ext>
            </a:extLst>
          </p:cNvPr>
          <p:cNvSpPr>
            <a:spLocks noGrp="1"/>
          </p:cNvSpPr>
          <p:nvPr>
            <p:ph type="body" sz="quarter" idx="20"/>
          </p:nvPr>
        </p:nvSpPr>
        <p:spPr>
          <a:xfrm>
            <a:off x="1090942" y="4078951"/>
            <a:ext cx="2520328" cy="1629000"/>
          </a:xfrm>
        </p:spPr>
        <p:txBody>
          <a:bodyPr>
            <a:noAutofit/>
          </a:bodyPr>
          <a:lstStyle>
            <a:lvl1pPr marL="0" indent="0">
              <a:buSzPct val="100000"/>
              <a:buFont typeface="+mj-lt"/>
              <a:buNone/>
              <a:defRPr sz="1600">
                <a:solidFill>
                  <a:schemeClr val="bg1"/>
                </a:solidFill>
                <a:latin typeface="Avenir Next LT Pro Demi" panose="020B0704020202020204" pitchFamily="34" charset="0"/>
              </a:defRPr>
            </a:lvl1pPr>
            <a:lvl2pPr marL="180957" indent="-180957">
              <a:spcBef>
                <a:spcPts val="700"/>
              </a:spcBef>
              <a:buClr>
                <a:schemeClr val="tx1"/>
              </a:buClr>
              <a:buFont typeface="Avenir Next LT Pro" panose="020B0504020202020204" pitchFamily="34" charset="0"/>
              <a:buChar char="+"/>
              <a:defRPr sz="12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9" name="Text Placeholder 7">
            <a:extLst>
              <a:ext uri="{FF2B5EF4-FFF2-40B4-BE49-F238E27FC236}">
                <a16:creationId xmlns:a16="http://schemas.microsoft.com/office/drawing/2014/main" id="{B3F8E139-3356-21A9-5660-AAD154B56669}"/>
              </a:ext>
            </a:extLst>
          </p:cNvPr>
          <p:cNvSpPr>
            <a:spLocks noGrp="1"/>
          </p:cNvSpPr>
          <p:nvPr>
            <p:ph type="body" sz="quarter" idx="21" hasCustomPrompt="1"/>
          </p:nvPr>
        </p:nvSpPr>
        <p:spPr>
          <a:xfrm>
            <a:off x="516005" y="3959907"/>
            <a:ext cx="432056" cy="432000"/>
          </a:xfrm>
          <a:prstGeom prst="ellipse">
            <a:avLst/>
          </a:prstGeom>
          <a:solidFill>
            <a:schemeClr val="tx1"/>
          </a:solidFill>
        </p:spPr>
        <p:txBody>
          <a:bodyPr anchor="ctr" anchorCtr="0">
            <a:noAutofit/>
          </a:bodyPr>
          <a:lstStyle>
            <a:lvl1pPr marL="0" indent="0" algn="ctr">
              <a:lnSpc>
                <a:spcPct val="100000"/>
              </a:lnSpc>
              <a:buNone/>
              <a:defRPr b="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20" name="Text Placeholder 14">
            <a:extLst>
              <a:ext uri="{FF2B5EF4-FFF2-40B4-BE49-F238E27FC236}">
                <a16:creationId xmlns:a16="http://schemas.microsoft.com/office/drawing/2014/main" id="{4FF479F9-2441-C917-2D55-646A95F01E35}"/>
              </a:ext>
            </a:extLst>
          </p:cNvPr>
          <p:cNvSpPr>
            <a:spLocks noGrp="1"/>
          </p:cNvSpPr>
          <p:nvPr>
            <p:ph type="body" sz="quarter" idx="22"/>
          </p:nvPr>
        </p:nvSpPr>
        <p:spPr>
          <a:xfrm>
            <a:off x="5117257" y="4078951"/>
            <a:ext cx="2520328" cy="1629000"/>
          </a:xfrm>
        </p:spPr>
        <p:txBody>
          <a:bodyPr>
            <a:noAutofit/>
          </a:bodyPr>
          <a:lstStyle>
            <a:lvl1pPr marL="0" indent="0">
              <a:buSzPct val="100000"/>
              <a:buFont typeface="+mj-lt"/>
              <a:buNone/>
              <a:defRPr sz="1600">
                <a:solidFill>
                  <a:schemeClr val="bg1"/>
                </a:solidFill>
                <a:latin typeface="Avenir Next LT Pro Demi" panose="020B0704020202020204" pitchFamily="34" charset="0"/>
              </a:defRPr>
            </a:lvl1pPr>
            <a:lvl2pPr marL="180957" indent="-180957">
              <a:spcBef>
                <a:spcPts val="700"/>
              </a:spcBef>
              <a:buClr>
                <a:schemeClr val="tx1"/>
              </a:buClr>
              <a:buFont typeface="Avenir Next LT Pro" panose="020B0504020202020204" pitchFamily="34" charset="0"/>
              <a:buChar char="+"/>
              <a:defRPr sz="12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1" name="Text Placeholder 7">
            <a:extLst>
              <a:ext uri="{FF2B5EF4-FFF2-40B4-BE49-F238E27FC236}">
                <a16:creationId xmlns:a16="http://schemas.microsoft.com/office/drawing/2014/main" id="{2F123140-E7EC-EC9C-A1DE-2E015A28FE56}"/>
              </a:ext>
            </a:extLst>
          </p:cNvPr>
          <p:cNvSpPr>
            <a:spLocks noGrp="1"/>
          </p:cNvSpPr>
          <p:nvPr>
            <p:ph type="body" sz="quarter" idx="23" hasCustomPrompt="1"/>
          </p:nvPr>
        </p:nvSpPr>
        <p:spPr>
          <a:xfrm>
            <a:off x="4542320" y="3959907"/>
            <a:ext cx="432056" cy="432000"/>
          </a:xfrm>
          <a:prstGeom prst="ellipse">
            <a:avLst/>
          </a:prstGeom>
          <a:solidFill>
            <a:schemeClr val="tx1"/>
          </a:solidFill>
        </p:spPr>
        <p:txBody>
          <a:bodyPr anchor="ctr" anchorCtr="0">
            <a:noAutofit/>
          </a:bodyPr>
          <a:lstStyle>
            <a:lvl1pPr marL="0" indent="0" algn="ctr">
              <a:lnSpc>
                <a:spcPct val="100000"/>
              </a:lnSpc>
              <a:buNone/>
              <a:defRPr b="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22" name="Text Placeholder 14">
            <a:extLst>
              <a:ext uri="{FF2B5EF4-FFF2-40B4-BE49-F238E27FC236}">
                <a16:creationId xmlns:a16="http://schemas.microsoft.com/office/drawing/2014/main" id="{1E41FC83-63E1-155C-2C8A-D6B800D702FC}"/>
              </a:ext>
            </a:extLst>
          </p:cNvPr>
          <p:cNvSpPr>
            <a:spLocks noGrp="1"/>
          </p:cNvSpPr>
          <p:nvPr>
            <p:ph type="body" sz="quarter" idx="24"/>
          </p:nvPr>
        </p:nvSpPr>
        <p:spPr>
          <a:xfrm>
            <a:off x="9158843" y="4078951"/>
            <a:ext cx="2520328" cy="1629000"/>
          </a:xfrm>
        </p:spPr>
        <p:txBody>
          <a:bodyPr>
            <a:noAutofit/>
          </a:bodyPr>
          <a:lstStyle>
            <a:lvl1pPr marL="0" indent="0">
              <a:buSzPct val="100000"/>
              <a:buFont typeface="+mj-lt"/>
              <a:buNone/>
              <a:defRPr sz="1600">
                <a:solidFill>
                  <a:schemeClr val="bg1"/>
                </a:solidFill>
                <a:latin typeface="Avenir Next LT Pro Demi" panose="020B0704020202020204" pitchFamily="34" charset="0"/>
              </a:defRPr>
            </a:lvl1pPr>
            <a:lvl2pPr marL="180957" indent="-180957">
              <a:spcBef>
                <a:spcPts val="700"/>
              </a:spcBef>
              <a:buClr>
                <a:schemeClr val="tx1"/>
              </a:buClr>
              <a:buFont typeface="Avenir Next LT Pro" panose="020B0504020202020204" pitchFamily="34" charset="0"/>
              <a:buChar char="+"/>
              <a:defRPr sz="12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3" name="Text Placeholder 7">
            <a:extLst>
              <a:ext uri="{FF2B5EF4-FFF2-40B4-BE49-F238E27FC236}">
                <a16:creationId xmlns:a16="http://schemas.microsoft.com/office/drawing/2014/main" id="{6F061504-E527-ABCA-5D31-738C4ACCAE82}"/>
              </a:ext>
            </a:extLst>
          </p:cNvPr>
          <p:cNvSpPr>
            <a:spLocks noGrp="1"/>
          </p:cNvSpPr>
          <p:nvPr>
            <p:ph type="body" sz="quarter" idx="25" hasCustomPrompt="1"/>
          </p:nvPr>
        </p:nvSpPr>
        <p:spPr>
          <a:xfrm>
            <a:off x="8583906" y="3959907"/>
            <a:ext cx="432056" cy="432000"/>
          </a:xfrm>
          <a:prstGeom prst="ellipse">
            <a:avLst/>
          </a:prstGeom>
          <a:solidFill>
            <a:schemeClr val="tx1"/>
          </a:solidFill>
        </p:spPr>
        <p:txBody>
          <a:bodyPr anchor="ctr" anchorCtr="0">
            <a:noAutofit/>
          </a:bodyPr>
          <a:lstStyle>
            <a:lvl1pPr marL="0" indent="0" algn="ctr">
              <a:lnSpc>
                <a:spcPct val="100000"/>
              </a:lnSpc>
              <a:buNone/>
              <a:defRPr b="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6" name="Text Placeholder 5">
            <a:extLst>
              <a:ext uri="{FF2B5EF4-FFF2-40B4-BE49-F238E27FC236}">
                <a16:creationId xmlns:a16="http://schemas.microsoft.com/office/drawing/2014/main" id="{413F2DC5-8215-60F6-3354-55550437EECE}"/>
              </a:ext>
            </a:extLst>
          </p:cNvPr>
          <p:cNvSpPr>
            <a:spLocks noGrp="1"/>
          </p:cNvSpPr>
          <p:nvPr>
            <p:ph type="body" sz="quarter" idx="26"/>
          </p:nvPr>
        </p:nvSpPr>
        <p:spPr>
          <a:xfrm>
            <a:off x="516007" y="947741"/>
            <a:ext cx="9667546"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9" name="Graphic 8">
            <a:extLst>
              <a:ext uri="{FF2B5EF4-FFF2-40B4-BE49-F238E27FC236}">
                <a16:creationId xmlns:a16="http://schemas.microsoft.com/office/drawing/2014/main" id="{8CD8B2DB-2762-D0AB-A6FA-0F22DB1D50E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
        <p:nvSpPr>
          <p:cNvPr id="3" name="TextBox 2">
            <a:extLst>
              <a:ext uri="{FF2B5EF4-FFF2-40B4-BE49-F238E27FC236}">
                <a16:creationId xmlns:a16="http://schemas.microsoft.com/office/drawing/2014/main" id="{4EFED791-906A-CEC5-CACD-307EBF399883}"/>
              </a:ext>
            </a:extLst>
          </p:cNvPr>
          <p:cNvSpPr txBox="1"/>
          <p:nvPr userDrawn="1"/>
        </p:nvSpPr>
        <p:spPr>
          <a:xfrm>
            <a:off x="-1558545"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4" name="Picture 13">
            <a:extLst>
              <a:ext uri="{FF2B5EF4-FFF2-40B4-BE49-F238E27FC236}">
                <a16:creationId xmlns:a16="http://schemas.microsoft.com/office/drawing/2014/main" id="{E7BCA8EC-3633-FBC1-6C7F-1F76DBDA851A}"/>
              </a:ext>
            </a:extLst>
          </p:cNvPr>
          <p:cNvPicPr>
            <a:picLocks noChangeAspect="1"/>
          </p:cNvPicPr>
          <p:nvPr userDrawn="1"/>
        </p:nvPicPr>
        <p:blipFill>
          <a:blip r:embed="rId3"/>
          <a:stretch>
            <a:fillRect/>
          </a:stretch>
        </p:blipFill>
        <p:spPr>
          <a:xfrm>
            <a:off x="-1032552" y="6043203"/>
            <a:ext cx="338511" cy="456195"/>
          </a:xfrm>
          <a:prstGeom prst="rect">
            <a:avLst/>
          </a:prstGeom>
        </p:spPr>
      </p:pic>
      <p:sp>
        <p:nvSpPr>
          <p:cNvPr id="16" name="TextBox 15">
            <a:extLst>
              <a:ext uri="{FF2B5EF4-FFF2-40B4-BE49-F238E27FC236}">
                <a16:creationId xmlns:a16="http://schemas.microsoft.com/office/drawing/2014/main" id="{A362441C-9B79-AAC1-F754-2AE51A5E3292}"/>
              </a:ext>
            </a:extLst>
          </p:cNvPr>
          <p:cNvSpPr txBox="1"/>
          <p:nvPr userDrawn="1"/>
        </p:nvSpPr>
        <p:spPr>
          <a:xfrm>
            <a:off x="-1558545" y="1800000"/>
            <a:ext cx="1390500" cy="1677296"/>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p:txBody>
      </p:sp>
      <p:pic>
        <p:nvPicPr>
          <p:cNvPr id="17" name="Picture 16">
            <a:extLst>
              <a:ext uri="{FF2B5EF4-FFF2-40B4-BE49-F238E27FC236}">
                <a16:creationId xmlns:a16="http://schemas.microsoft.com/office/drawing/2014/main" id="{51299BD2-7DE7-5C64-25F0-8920371FE2A3}"/>
              </a:ext>
            </a:extLst>
          </p:cNvPr>
          <p:cNvPicPr>
            <a:picLocks noChangeAspect="1"/>
          </p:cNvPicPr>
          <p:nvPr userDrawn="1"/>
        </p:nvPicPr>
        <p:blipFill>
          <a:blip r:embed="rId4"/>
          <a:stretch>
            <a:fillRect/>
          </a:stretch>
        </p:blipFill>
        <p:spPr>
          <a:xfrm>
            <a:off x="-1082303" y="2297474"/>
            <a:ext cx="438012" cy="204850"/>
          </a:xfrm>
          <a:prstGeom prst="rect">
            <a:avLst/>
          </a:prstGeom>
        </p:spPr>
      </p:pic>
      <p:pic>
        <p:nvPicPr>
          <p:cNvPr id="24" name="Picture 23">
            <a:extLst>
              <a:ext uri="{FF2B5EF4-FFF2-40B4-BE49-F238E27FC236}">
                <a16:creationId xmlns:a16="http://schemas.microsoft.com/office/drawing/2014/main" id="{A397FDEA-498F-8F7C-692C-A923DA470B89}"/>
              </a:ext>
            </a:extLst>
          </p:cNvPr>
          <p:cNvPicPr>
            <a:picLocks noChangeAspect="1"/>
          </p:cNvPicPr>
          <p:nvPr userDrawn="1"/>
        </p:nvPicPr>
        <p:blipFill>
          <a:blip r:embed="rId5"/>
          <a:stretch>
            <a:fillRect/>
          </a:stretch>
        </p:blipFill>
        <p:spPr>
          <a:xfrm>
            <a:off x="-1462318" y="2603467"/>
            <a:ext cx="1191829" cy="781425"/>
          </a:xfrm>
          <a:prstGeom prst="rect">
            <a:avLst/>
          </a:prstGeom>
        </p:spPr>
      </p:pic>
    </p:spTree>
    <p:extLst>
      <p:ext uri="{BB962C8B-B14F-4D97-AF65-F5344CB8AC3E}">
        <p14:creationId xmlns:p14="http://schemas.microsoft.com/office/powerpoint/2010/main" val="36110368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able of content 6">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7" y="514350"/>
            <a:ext cx="9667546" cy="432802"/>
          </a:xfrm>
        </p:spPr>
        <p:txBody>
          <a:bodyPr wrap="square" bIns="72000" anchor="t" anchorCtr="0">
            <a:spAutoFit/>
          </a:bodyPr>
          <a:lstStyle>
            <a:lvl1pPr algn="l">
              <a:defRPr sz="2600">
                <a:solidFill>
                  <a:schemeClr val="bg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8F1AE118-C175-4168-85E6-C9927BBF822C}" type="datetime1">
              <a:rPr lang="en-US" smtClean="0"/>
              <a:t>5/13/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4472"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5" name="Text Placeholder 14">
            <a:extLst>
              <a:ext uri="{FF2B5EF4-FFF2-40B4-BE49-F238E27FC236}">
                <a16:creationId xmlns:a16="http://schemas.microsoft.com/office/drawing/2014/main" id="{5D694970-C581-5E5A-37AD-286E19629900}"/>
              </a:ext>
            </a:extLst>
          </p:cNvPr>
          <p:cNvSpPr>
            <a:spLocks noGrp="1"/>
          </p:cNvSpPr>
          <p:nvPr>
            <p:ph type="body" sz="quarter" idx="14"/>
          </p:nvPr>
        </p:nvSpPr>
        <p:spPr>
          <a:xfrm>
            <a:off x="1090943" y="2154416"/>
            <a:ext cx="2843395" cy="3381600"/>
          </a:xfrm>
        </p:spPr>
        <p:txBody>
          <a:bodyPr>
            <a:noAutofit/>
          </a:bodyPr>
          <a:lstStyle>
            <a:lvl1pPr marL="0" indent="0">
              <a:buSzPct val="100000"/>
              <a:buFont typeface="+mj-lt"/>
              <a:buNone/>
              <a:defRPr sz="1600">
                <a:solidFill>
                  <a:schemeClr val="bg1"/>
                </a:solidFill>
                <a:latin typeface="Avenir Next LT Pro Demi" panose="020B0704020202020204" pitchFamily="34" charset="0"/>
              </a:defRPr>
            </a:lvl1pPr>
            <a:lvl2pPr marL="180957" indent="-180957">
              <a:spcBef>
                <a:spcPts val="700"/>
              </a:spcBef>
              <a:buFont typeface="Avenir Next LT Pro" panose="020B0504020202020204" pitchFamily="34" charset="0"/>
              <a:buChar char="+"/>
              <a:defRPr sz="16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8" name="Text Placeholder 7">
            <a:extLst>
              <a:ext uri="{FF2B5EF4-FFF2-40B4-BE49-F238E27FC236}">
                <a16:creationId xmlns:a16="http://schemas.microsoft.com/office/drawing/2014/main" id="{0A8EF944-AFF5-6C77-BB4C-82110695B715}"/>
              </a:ext>
            </a:extLst>
          </p:cNvPr>
          <p:cNvSpPr>
            <a:spLocks noGrp="1"/>
          </p:cNvSpPr>
          <p:nvPr>
            <p:ph type="body" sz="quarter" idx="15" hasCustomPrompt="1"/>
          </p:nvPr>
        </p:nvSpPr>
        <p:spPr>
          <a:xfrm>
            <a:off x="516005" y="2035372"/>
            <a:ext cx="432056" cy="432000"/>
          </a:xfrm>
          <a:prstGeom prst="ellipse">
            <a:avLst/>
          </a:prstGeom>
          <a:solidFill>
            <a:schemeClr val="accent3"/>
          </a:solidFill>
        </p:spPr>
        <p:txBody>
          <a:bodyPr anchor="ctr" anchorCtr="0">
            <a:noAutofit/>
          </a:bodyPr>
          <a:lstStyle>
            <a:lvl1pPr marL="0" indent="0" algn="ctr">
              <a:lnSpc>
                <a:spcPct val="100000"/>
              </a:lnSpc>
              <a:buNone/>
              <a:defRPr b="1">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6" name="Text Placeholder 14">
            <a:extLst>
              <a:ext uri="{FF2B5EF4-FFF2-40B4-BE49-F238E27FC236}">
                <a16:creationId xmlns:a16="http://schemas.microsoft.com/office/drawing/2014/main" id="{E4C5452B-82E0-A714-AAFD-93532C049CD2}"/>
              </a:ext>
            </a:extLst>
          </p:cNvPr>
          <p:cNvSpPr>
            <a:spLocks noGrp="1"/>
          </p:cNvSpPr>
          <p:nvPr>
            <p:ph type="body" sz="quarter" idx="16"/>
          </p:nvPr>
        </p:nvSpPr>
        <p:spPr>
          <a:xfrm>
            <a:off x="5006228" y="2154416"/>
            <a:ext cx="2843395" cy="3381600"/>
          </a:xfrm>
        </p:spPr>
        <p:txBody>
          <a:bodyPr>
            <a:noAutofit/>
          </a:bodyPr>
          <a:lstStyle>
            <a:lvl1pPr marL="0" indent="0">
              <a:buSzPct val="100000"/>
              <a:buFont typeface="+mj-lt"/>
              <a:buNone/>
              <a:defRPr sz="1600">
                <a:solidFill>
                  <a:schemeClr val="bg1"/>
                </a:solidFill>
                <a:latin typeface="Avenir Next LT Pro Demi" panose="020B0704020202020204" pitchFamily="34" charset="0"/>
              </a:defRPr>
            </a:lvl1pPr>
            <a:lvl2pPr marL="180957" indent="-180957">
              <a:spcBef>
                <a:spcPts val="700"/>
              </a:spcBef>
              <a:buFont typeface="Avenir Next LT Pro" panose="020B0504020202020204" pitchFamily="34" charset="0"/>
              <a:buChar char="+"/>
              <a:defRPr sz="16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9" name="Text Placeholder 7">
            <a:extLst>
              <a:ext uri="{FF2B5EF4-FFF2-40B4-BE49-F238E27FC236}">
                <a16:creationId xmlns:a16="http://schemas.microsoft.com/office/drawing/2014/main" id="{898EF576-5395-8C4F-C74F-54D99097ACFF}"/>
              </a:ext>
            </a:extLst>
          </p:cNvPr>
          <p:cNvSpPr>
            <a:spLocks noGrp="1"/>
          </p:cNvSpPr>
          <p:nvPr>
            <p:ph type="body" sz="quarter" idx="17" hasCustomPrompt="1"/>
          </p:nvPr>
        </p:nvSpPr>
        <p:spPr>
          <a:xfrm>
            <a:off x="4431290" y="2035372"/>
            <a:ext cx="432056" cy="432000"/>
          </a:xfrm>
          <a:prstGeom prst="ellipse">
            <a:avLst/>
          </a:prstGeom>
          <a:solidFill>
            <a:schemeClr val="accent3"/>
          </a:solidFill>
        </p:spPr>
        <p:txBody>
          <a:bodyPr anchor="ctr" anchorCtr="0">
            <a:noAutofit/>
          </a:bodyPr>
          <a:lstStyle>
            <a:lvl1pPr marL="0" indent="0" algn="ctr">
              <a:lnSpc>
                <a:spcPct val="100000"/>
              </a:lnSpc>
              <a:buNone/>
              <a:defRPr b="1">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14" name="Text Placeholder 14">
            <a:extLst>
              <a:ext uri="{FF2B5EF4-FFF2-40B4-BE49-F238E27FC236}">
                <a16:creationId xmlns:a16="http://schemas.microsoft.com/office/drawing/2014/main" id="{629648AD-298A-5239-AE21-FBE485DC2D25}"/>
              </a:ext>
            </a:extLst>
          </p:cNvPr>
          <p:cNvSpPr>
            <a:spLocks noGrp="1"/>
          </p:cNvSpPr>
          <p:nvPr>
            <p:ph type="body" sz="quarter" idx="18"/>
          </p:nvPr>
        </p:nvSpPr>
        <p:spPr>
          <a:xfrm>
            <a:off x="8834189" y="2154416"/>
            <a:ext cx="2843395" cy="3381600"/>
          </a:xfrm>
        </p:spPr>
        <p:txBody>
          <a:bodyPr>
            <a:noAutofit/>
          </a:bodyPr>
          <a:lstStyle>
            <a:lvl1pPr marL="0" indent="0">
              <a:buSzPct val="100000"/>
              <a:buFont typeface="+mj-lt"/>
              <a:buNone/>
              <a:defRPr sz="1600">
                <a:solidFill>
                  <a:schemeClr val="bg1"/>
                </a:solidFill>
                <a:latin typeface="Avenir Next LT Pro Demi" panose="020B0704020202020204" pitchFamily="34" charset="0"/>
              </a:defRPr>
            </a:lvl1pPr>
            <a:lvl2pPr marL="180957" indent="-180957">
              <a:spcBef>
                <a:spcPts val="700"/>
              </a:spcBef>
              <a:buFont typeface="Avenir Next LT Pro" panose="020B0504020202020204" pitchFamily="34" charset="0"/>
              <a:buChar char="+"/>
              <a:defRPr sz="16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6" name="Text Placeholder 7">
            <a:extLst>
              <a:ext uri="{FF2B5EF4-FFF2-40B4-BE49-F238E27FC236}">
                <a16:creationId xmlns:a16="http://schemas.microsoft.com/office/drawing/2014/main" id="{2ED841C9-15B6-202C-88C6-AC84821C628D}"/>
              </a:ext>
            </a:extLst>
          </p:cNvPr>
          <p:cNvSpPr>
            <a:spLocks noGrp="1"/>
          </p:cNvSpPr>
          <p:nvPr>
            <p:ph type="body" sz="quarter" idx="19" hasCustomPrompt="1"/>
          </p:nvPr>
        </p:nvSpPr>
        <p:spPr>
          <a:xfrm>
            <a:off x="8259252" y="2035372"/>
            <a:ext cx="432056" cy="432000"/>
          </a:xfrm>
          <a:prstGeom prst="ellipse">
            <a:avLst/>
          </a:prstGeom>
          <a:solidFill>
            <a:schemeClr val="accent3"/>
          </a:solidFill>
        </p:spPr>
        <p:txBody>
          <a:bodyPr anchor="ctr" anchorCtr="0">
            <a:noAutofit/>
          </a:bodyPr>
          <a:lstStyle>
            <a:lvl1pPr marL="0" indent="0" algn="ctr">
              <a:lnSpc>
                <a:spcPct val="100000"/>
              </a:lnSpc>
              <a:buNone/>
              <a:defRPr b="1">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10" name="Text Placeholder 5">
            <a:extLst>
              <a:ext uri="{FF2B5EF4-FFF2-40B4-BE49-F238E27FC236}">
                <a16:creationId xmlns:a16="http://schemas.microsoft.com/office/drawing/2014/main" id="{2DCB2262-1C72-8AB2-D4DA-EE3D47D60332}"/>
              </a:ext>
            </a:extLst>
          </p:cNvPr>
          <p:cNvSpPr>
            <a:spLocks noGrp="1"/>
          </p:cNvSpPr>
          <p:nvPr>
            <p:ph type="body" sz="quarter" idx="26"/>
          </p:nvPr>
        </p:nvSpPr>
        <p:spPr>
          <a:xfrm>
            <a:off x="516007" y="947741"/>
            <a:ext cx="9667546"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1" name="Graphic 10">
            <a:extLst>
              <a:ext uri="{FF2B5EF4-FFF2-40B4-BE49-F238E27FC236}">
                <a16:creationId xmlns:a16="http://schemas.microsoft.com/office/drawing/2014/main" id="{59FE907F-C7F8-21FA-F731-DF6BAB6F9A0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
        <p:nvSpPr>
          <p:cNvPr id="3" name="TextBox 2">
            <a:extLst>
              <a:ext uri="{FF2B5EF4-FFF2-40B4-BE49-F238E27FC236}">
                <a16:creationId xmlns:a16="http://schemas.microsoft.com/office/drawing/2014/main" id="{046332E6-505C-80FF-1A29-356576BC1482}"/>
              </a:ext>
            </a:extLst>
          </p:cNvPr>
          <p:cNvSpPr txBox="1"/>
          <p:nvPr userDrawn="1"/>
        </p:nvSpPr>
        <p:spPr>
          <a:xfrm>
            <a:off x="-1558545"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2" name="Picture 11">
            <a:extLst>
              <a:ext uri="{FF2B5EF4-FFF2-40B4-BE49-F238E27FC236}">
                <a16:creationId xmlns:a16="http://schemas.microsoft.com/office/drawing/2014/main" id="{FA1B4864-6A77-3320-E604-C4D3F7F5405A}"/>
              </a:ext>
            </a:extLst>
          </p:cNvPr>
          <p:cNvPicPr>
            <a:picLocks noChangeAspect="1"/>
          </p:cNvPicPr>
          <p:nvPr userDrawn="1"/>
        </p:nvPicPr>
        <p:blipFill>
          <a:blip r:embed="rId3"/>
          <a:stretch>
            <a:fillRect/>
          </a:stretch>
        </p:blipFill>
        <p:spPr>
          <a:xfrm>
            <a:off x="-1032552" y="6043203"/>
            <a:ext cx="338511" cy="456195"/>
          </a:xfrm>
          <a:prstGeom prst="rect">
            <a:avLst/>
          </a:prstGeom>
        </p:spPr>
      </p:pic>
      <p:sp>
        <p:nvSpPr>
          <p:cNvPr id="13" name="TextBox 12">
            <a:extLst>
              <a:ext uri="{FF2B5EF4-FFF2-40B4-BE49-F238E27FC236}">
                <a16:creationId xmlns:a16="http://schemas.microsoft.com/office/drawing/2014/main" id="{A8BC82D3-34DE-3EF8-DC96-C0A188D2A758}"/>
              </a:ext>
            </a:extLst>
          </p:cNvPr>
          <p:cNvSpPr txBox="1"/>
          <p:nvPr userDrawn="1"/>
        </p:nvSpPr>
        <p:spPr>
          <a:xfrm>
            <a:off x="-1558545" y="2154416"/>
            <a:ext cx="1390500" cy="1677296"/>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p:txBody>
      </p:sp>
      <p:pic>
        <p:nvPicPr>
          <p:cNvPr id="17" name="Picture 16">
            <a:extLst>
              <a:ext uri="{FF2B5EF4-FFF2-40B4-BE49-F238E27FC236}">
                <a16:creationId xmlns:a16="http://schemas.microsoft.com/office/drawing/2014/main" id="{053870D0-8F40-5254-8AAD-FCCF393DC787}"/>
              </a:ext>
            </a:extLst>
          </p:cNvPr>
          <p:cNvPicPr>
            <a:picLocks noChangeAspect="1"/>
          </p:cNvPicPr>
          <p:nvPr userDrawn="1"/>
        </p:nvPicPr>
        <p:blipFill>
          <a:blip r:embed="rId4"/>
          <a:stretch>
            <a:fillRect/>
          </a:stretch>
        </p:blipFill>
        <p:spPr>
          <a:xfrm>
            <a:off x="-1082303" y="2651890"/>
            <a:ext cx="438012" cy="204850"/>
          </a:xfrm>
          <a:prstGeom prst="rect">
            <a:avLst/>
          </a:prstGeom>
        </p:spPr>
      </p:pic>
      <p:pic>
        <p:nvPicPr>
          <p:cNvPr id="18" name="Picture 17">
            <a:extLst>
              <a:ext uri="{FF2B5EF4-FFF2-40B4-BE49-F238E27FC236}">
                <a16:creationId xmlns:a16="http://schemas.microsoft.com/office/drawing/2014/main" id="{3BEDC2C9-1877-CA87-66EC-683DA45924ED}"/>
              </a:ext>
            </a:extLst>
          </p:cNvPr>
          <p:cNvPicPr>
            <a:picLocks noChangeAspect="1"/>
          </p:cNvPicPr>
          <p:nvPr userDrawn="1"/>
        </p:nvPicPr>
        <p:blipFill>
          <a:blip r:embed="rId5"/>
          <a:stretch>
            <a:fillRect/>
          </a:stretch>
        </p:blipFill>
        <p:spPr>
          <a:xfrm>
            <a:off x="-1462318" y="2957883"/>
            <a:ext cx="1191829" cy="781425"/>
          </a:xfrm>
          <a:prstGeom prst="rect">
            <a:avLst/>
          </a:prstGeom>
        </p:spPr>
      </p:pic>
    </p:spTree>
    <p:extLst>
      <p:ext uri="{BB962C8B-B14F-4D97-AF65-F5344CB8AC3E}">
        <p14:creationId xmlns:p14="http://schemas.microsoft.com/office/powerpoint/2010/main" val="36349206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able of content 7">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7" y="514350"/>
            <a:ext cx="9667546" cy="432802"/>
          </a:xfrm>
        </p:spPr>
        <p:txBody>
          <a:bodyPr wrap="square" bIns="72000" anchor="t" anchorCtr="0">
            <a:spAutoFit/>
          </a:bodyPr>
          <a:lstStyle>
            <a:lvl1pPr algn="l">
              <a:defRPr sz="2600">
                <a:solidFill>
                  <a:schemeClr val="bg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7294035E-33F4-49F5-8155-BF93E69697FC}" type="datetime1">
              <a:rPr lang="en-US" smtClean="0"/>
              <a:t>5/13/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5"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5" name="Text Placeholder 14">
            <a:extLst>
              <a:ext uri="{FF2B5EF4-FFF2-40B4-BE49-F238E27FC236}">
                <a16:creationId xmlns:a16="http://schemas.microsoft.com/office/drawing/2014/main" id="{5D694970-C581-5E5A-37AD-286E19629900}"/>
              </a:ext>
            </a:extLst>
          </p:cNvPr>
          <p:cNvSpPr>
            <a:spLocks noGrp="1"/>
          </p:cNvSpPr>
          <p:nvPr>
            <p:ph type="body" sz="quarter" idx="14"/>
          </p:nvPr>
        </p:nvSpPr>
        <p:spPr>
          <a:xfrm>
            <a:off x="1090943" y="2154416"/>
            <a:ext cx="2843395" cy="3381600"/>
          </a:xfrm>
        </p:spPr>
        <p:txBody>
          <a:bodyPr>
            <a:noAutofit/>
          </a:bodyPr>
          <a:lstStyle>
            <a:lvl1pPr marL="0" indent="0">
              <a:buSzPct val="100000"/>
              <a:buFont typeface="+mj-lt"/>
              <a:buNone/>
              <a:defRPr sz="1600">
                <a:solidFill>
                  <a:schemeClr val="bg1"/>
                </a:solidFill>
                <a:latin typeface="Avenir Next LT Pro Demi" panose="020B0704020202020204" pitchFamily="34" charset="0"/>
              </a:defRPr>
            </a:lvl1pPr>
            <a:lvl2pPr marL="180957" indent="-180957">
              <a:spcBef>
                <a:spcPts val="700"/>
              </a:spcBef>
              <a:buClr>
                <a:schemeClr val="tx1"/>
              </a:buClr>
              <a:buFont typeface="Avenir Next LT Pro" panose="020B0504020202020204" pitchFamily="34" charset="0"/>
              <a:buChar char="+"/>
              <a:defRPr sz="16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8" name="Text Placeholder 7">
            <a:extLst>
              <a:ext uri="{FF2B5EF4-FFF2-40B4-BE49-F238E27FC236}">
                <a16:creationId xmlns:a16="http://schemas.microsoft.com/office/drawing/2014/main" id="{0A8EF944-AFF5-6C77-BB4C-82110695B715}"/>
              </a:ext>
            </a:extLst>
          </p:cNvPr>
          <p:cNvSpPr>
            <a:spLocks noGrp="1"/>
          </p:cNvSpPr>
          <p:nvPr>
            <p:ph type="body" sz="quarter" idx="15" hasCustomPrompt="1"/>
          </p:nvPr>
        </p:nvSpPr>
        <p:spPr>
          <a:xfrm>
            <a:off x="516005" y="2035372"/>
            <a:ext cx="432056" cy="432000"/>
          </a:xfrm>
          <a:prstGeom prst="ellipse">
            <a:avLst/>
          </a:prstGeom>
          <a:solidFill>
            <a:schemeClr val="tx1"/>
          </a:solidFill>
        </p:spPr>
        <p:txBody>
          <a:bodyPr anchor="ctr" anchorCtr="0">
            <a:noAutofit/>
          </a:bodyPr>
          <a:lstStyle>
            <a:lvl1pPr marL="0" indent="0" algn="ctr">
              <a:lnSpc>
                <a:spcPct val="100000"/>
              </a:lnSpc>
              <a:buNone/>
              <a:defRPr b="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6" name="Text Placeholder 14">
            <a:extLst>
              <a:ext uri="{FF2B5EF4-FFF2-40B4-BE49-F238E27FC236}">
                <a16:creationId xmlns:a16="http://schemas.microsoft.com/office/drawing/2014/main" id="{E4C5452B-82E0-A714-AAFD-93532C049CD2}"/>
              </a:ext>
            </a:extLst>
          </p:cNvPr>
          <p:cNvSpPr>
            <a:spLocks noGrp="1"/>
          </p:cNvSpPr>
          <p:nvPr>
            <p:ph type="body" sz="quarter" idx="16"/>
          </p:nvPr>
        </p:nvSpPr>
        <p:spPr>
          <a:xfrm>
            <a:off x="5006228" y="2154416"/>
            <a:ext cx="2843395" cy="3381600"/>
          </a:xfrm>
        </p:spPr>
        <p:txBody>
          <a:bodyPr>
            <a:noAutofit/>
          </a:bodyPr>
          <a:lstStyle>
            <a:lvl1pPr marL="0" indent="0">
              <a:buSzPct val="100000"/>
              <a:buFont typeface="+mj-lt"/>
              <a:buNone/>
              <a:defRPr sz="1600">
                <a:solidFill>
                  <a:schemeClr val="bg1"/>
                </a:solidFill>
                <a:latin typeface="Avenir Next LT Pro Demi" panose="020B0704020202020204" pitchFamily="34" charset="0"/>
              </a:defRPr>
            </a:lvl1pPr>
            <a:lvl2pPr marL="180957" indent="-180957">
              <a:spcBef>
                <a:spcPts val="700"/>
              </a:spcBef>
              <a:buClr>
                <a:schemeClr val="tx1"/>
              </a:buClr>
              <a:buFont typeface="Avenir Next LT Pro" panose="020B0504020202020204" pitchFamily="34" charset="0"/>
              <a:buChar char="+"/>
              <a:defRPr sz="16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9" name="Text Placeholder 7">
            <a:extLst>
              <a:ext uri="{FF2B5EF4-FFF2-40B4-BE49-F238E27FC236}">
                <a16:creationId xmlns:a16="http://schemas.microsoft.com/office/drawing/2014/main" id="{898EF576-5395-8C4F-C74F-54D99097ACFF}"/>
              </a:ext>
            </a:extLst>
          </p:cNvPr>
          <p:cNvSpPr>
            <a:spLocks noGrp="1"/>
          </p:cNvSpPr>
          <p:nvPr>
            <p:ph type="body" sz="quarter" idx="17" hasCustomPrompt="1"/>
          </p:nvPr>
        </p:nvSpPr>
        <p:spPr>
          <a:xfrm>
            <a:off x="4431290" y="2035372"/>
            <a:ext cx="432056" cy="432000"/>
          </a:xfrm>
          <a:prstGeom prst="ellipse">
            <a:avLst/>
          </a:prstGeom>
          <a:solidFill>
            <a:schemeClr val="tx1"/>
          </a:solidFill>
        </p:spPr>
        <p:txBody>
          <a:bodyPr anchor="ctr" anchorCtr="0">
            <a:noAutofit/>
          </a:bodyPr>
          <a:lstStyle>
            <a:lvl1pPr marL="0" indent="0" algn="ctr">
              <a:lnSpc>
                <a:spcPct val="100000"/>
              </a:lnSpc>
              <a:buNone/>
              <a:defRPr b="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14" name="Text Placeholder 14">
            <a:extLst>
              <a:ext uri="{FF2B5EF4-FFF2-40B4-BE49-F238E27FC236}">
                <a16:creationId xmlns:a16="http://schemas.microsoft.com/office/drawing/2014/main" id="{629648AD-298A-5239-AE21-FBE485DC2D25}"/>
              </a:ext>
            </a:extLst>
          </p:cNvPr>
          <p:cNvSpPr>
            <a:spLocks noGrp="1"/>
          </p:cNvSpPr>
          <p:nvPr>
            <p:ph type="body" sz="quarter" idx="18"/>
          </p:nvPr>
        </p:nvSpPr>
        <p:spPr>
          <a:xfrm>
            <a:off x="8834189" y="2154416"/>
            <a:ext cx="2843395" cy="3381600"/>
          </a:xfrm>
        </p:spPr>
        <p:txBody>
          <a:bodyPr>
            <a:noAutofit/>
          </a:bodyPr>
          <a:lstStyle>
            <a:lvl1pPr marL="0" indent="0">
              <a:buSzPct val="100000"/>
              <a:buFont typeface="+mj-lt"/>
              <a:buNone/>
              <a:defRPr sz="1600">
                <a:solidFill>
                  <a:schemeClr val="bg1"/>
                </a:solidFill>
                <a:latin typeface="Avenir Next LT Pro Demi" panose="020B0704020202020204" pitchFamily="34" charset="0"/>
              </a:defRPr>
            </a:lvl1pPr>
            <a:lvl2pPr marL="180957" indent="-180957">
              <a:spcBef>
                <a:spcPts val="700"/>
              </a:spcBef>
              <a:buClr>
                <a:schemeClr val="tx1"/>
              </a:buClr>
              <a:buFont typeface="Avenir Next LT Pro" panose="020B0504020202020204" pitchFamily="34" charset="0"/>
              <a:buChar char="+"/>
              <a:defRPr sz="16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6" name="Text Placeholder 7">
            <a:extLst>
              <a:ext uri="{FF2B5EF4-FFF2-40B4-BE49-F238E27FC236}">
                <a16:creationId xmlns:a16="http://schemas.microsoft.com/office/drawing/2014/main" id="{2ED841C9-15B6-202C-88C6-AC84821C628D}"/>
              </a:ext>
            </a:extLst>
          </p:cNvPr>
          <p:cNvSpPr>
            <a:spLocks noGrp="1"/>
          </p:cNvSpPr>
          <p:nvPr>
            <p:ph type="body" sz="quarter" idx="19" hasCustomPrompt="1"/>
          </p:nvPr>
        </p:nvSpPr>
        <p:spPr>
          <a:xfrm>
            <a:off x="8259252" y="2035372"/>
            <a:ext cx="432056" cy="432000"/>
          </a:xfrm>
          <a:prstGeom prst="ellipse">
            <a:avLst/>
          </a:prstGeom>
          <a:solidFill>
            <a:schemeClr val="tx1"/>
          </a:solidFill>
        </p:spPr>
        <p:txBody>
          <a:bodyPr anchor="ctr" anchorCtr="0">
            <a:noAutofit/>
          </a:bodyPr>
          <a:lstStyle>
            <a:lvl1pPr marL="0" indent="0" algn="ctr">
              <a:lnSpc>
                <a:spcPct val="100000"/>
              </a:lnSpc>
              <a:buNone/>
              <a:defRPr b="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10" name="Text Placeholder 5">
            <a:extLst>
              <a:ext uri="{FF2B5EF4-FFF2-40B4-BE49-F238E27FC236}">
                <a16:creationId xmlns:a16="http://schemas.microsoft.com/office/drawing/2014/main" id="{6C5DE6FB-8BA1-761F-DA7D-395BFD79DCF0}"/>
              </a:ext>
            </a:extLst>
          </p:cNvPr>
          <p:cNvSpPr>
            <a:spLocks noGrp="1"/>
          </p:cNvSpPr>
          <p:nvPr>
            <p:ph type="body" sz="quarter" idx="26"/>
          </p:nvPr>
        </p:nvSpPr>
        <p:spPr>
          <a:xfrm>
            <a:off x="516007" y="947741"/>
            <a:ext cx="9667546"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1" name="Graphic 10">
            <a:extLst>
              <a:ext uri="{FF2B5EF4-FFF2-40B4-BE49-F238E27FC236}">
                <a16:creationId xmlns:a16="http://schemas.microsoft.com/office/drawing/2014/main" id="{E596552F-D493-84D7-22F1-B20D422449A2}"/>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
        <p:nvSpPr>
          <p:cNvPr id="19" name="TextBox 18">
            <a:extLst>
              <a:ext uri="{FF2B5EF4-FFF2-40B4-BE49-F238E27FC236}">
                <a16:creationId xmlns:a16="http://schemas.microsoft.com/office/drawing/2014/main" id="{C6B861EB-3D76-8FD0-4CCD-118BFB341AE3}"/>
              </a:ext>
            </a:extLst>
          </p:cNvPr>
          <p:cNvSpPr txBox="1"/>
          <p:nvPr userDrawn="1"/>
        </p:nvSpPr>
        <p:spPr>
          <a:xfrm>
            <a:off x="-1558545"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20" name="Picture 19">
            <a:extLst>
              <a:ext uri="{FF2B5EF4-FFF2-40B4-BE49-F238E27FC236}">
                <a16:creationId xmlns:a16="http://schemas.microsoft.com/office/drawing/2014/main" id="{C0BB4B51-473C-E053-8FE2-7992D53EDC4C}"/>
              </a:ext>
            </a:extLst>
          </p:cNvPr>
          <p:cNvPicPr>
            <a:picLocks noChangeAspect="1"/>
          </p:cNvPicPr>
          <p:nvPr userDrawn="1"/>
        </p:nvPicPr>
        <p:blipFill>
          <a:blip r:embed="rId3"/>
          <a:stretch>
            <a:fillRect/>
          </a:stretch>
        </p:blipFill>
        <p:spPr>
          <a:xfrm>
            <a:off x="-1032552" y="6043203"/>
            <a:ext cx="338511" cy="456195"/>
          </a:xfrm>
          <a:prstGeom prst="rect">
            <a:avLst/>
          </a:prstGeom>
        </p:spPr>
      </p:pic>
      <p:sp>
        <p:nvSpPr>
          <p:cNvPr id="21" name="TextBox 20">
            <a:extLst>
              <a:ext uri="{FF2B5EF4-FFF2-40B4-BE49-F238E27FC236}">
                <a16:creationId xmlns:a16="http://schemas.microsoft.com/office/drawing/2014/main" id="{F456A3C2-8C54-0E41-D69D-91B69B636B6A}"/>
              </a:ext>
            </a:extLst>
          </p:cNvPr>
          <p:cNvSpPr txBox="1"/>
          <p:nvPr userDrawn="1"/>
        </p:nvSpPr>
        <p:spPr>
          <a:xfrm>
            <a:off x="-1558545" y="2154416"/>
            <a:ext cx="1390500" cy="1677296"/>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p:txBody>
      </p:sp>
      <p:pic>
        <p:nvPicPr>
          <p:cNvPr id="22" name="Picture 21">
            <a:extLst>
              <a:ext uri="{FF2B5EF4-FFF2-40B4-BE49-F238E27FC236}">
                <a16:creationId xmlns:a16="http://schemas.microsoft.com/office/drawing/2014/main" id="{8D15C5DB-D81B-1CC6-7AE3-72D9718ABD8A}"/>
              </a:ext>
            </a:extLst>
          </p:cNvPr>
          <p:cNvPicPr>
            <a:picLocks noChangeAspect="1"/>
          </p:cNvPicPr>
          <p:nvPr userDrawn="1"/>
        </p:nvPicPr>
        <p:blipFill>
          <a:blip r:embed="rId4"/>
          <a:stretch>
            <a:fillRect/>
          </a:stretch>
        </p:blipFill>
        <p:spPr>
          <a:xfrm>
            <a:off x="-1082303" y="2651890"/>
            <a:ext cx="438012" cy="204850"/>
          </a:xfrm>
          <a:prstGeom prst="rect">
            <a:avLst/>
          </a:prstGeom>
        </p:spPr>
      </p:pic>
      <p:pic>
        <p:nvPicPr>
          <p:cNvPr id="23" name="Picture 22">
            <a:extLst>
              <a:ext uri="{FF2B5EF4-FFF2-40B4-BE49-F238E27FC236}">
                <a16:creationId xmlns:a16="http://schemas.microsoft.com/office/drawing/2014/main" id="{FE6F7D5B-03A6-501E-E352-7AC02D5C922A}"/>
              </a:ext>
            </a:extLst>
          </p:cNvPr>
          <p:cNvPicPr>
            <a:picLocks noChangeAspect="1"/>
          </p:cNvPicPr>
          <p:nvPr userDrawn="1"/>
        </p:nvPicPr>
        <p:blipFill>
          <a:blip r:embed="rId5"/>
          <a:stretch>
            <a:fillRect/>
          </a:stretch>
        </p:blipFill>
        <p:spPr>
          <a:xfrm>
            <a:off x="-1462318" y="2957883"/>
            <a:ext cx="1191829" cy="781425"/>
          </a:xfrm>
          <a:prstGeom prst="rect">
            <a:avLst/>
          </a:prstGeom>
        </p:spPr>
      </p:pic>
    </p:spTree>
    <p:extLst>
      <p:ext uri="{BB962C8B-B14F-4D97-AF65-F5344CB8AC3E}">
        <p14:creationId xmlns:p14="http://schemas.microsoft.com/office/powerpoint/2010/main" val="13163487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Title &amp; text 1">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BEAF0-B4D2-2AEC-2160-B6313352B674}"/>
              </a:ext>
            </a:extLst>
          </p:cNvPr>
          <p:cNvSpPr txBox="1">
            <a:spLocks noGrp="1"/>
          </p:cNvSpPr>
          <p:nvPr>
            <p:ph type="title"/>
          </p:nvPr>
        </p:nvSpPr>
        <p:spPr>
          <a:xfrm>
            <a:off x="516008" y="514353"/>
            <a:ext cx="9667545" cy="432803"/>
          </a:xfrm>
        </p:spPr>
        <p:txBody>
          <a:bodyPr bIns="71999" anchor="t">
            <a:spAutoFit/>
          </a:bodyPr>
          <a:lstStyle>
            <a:lvl1pPr>
              <a:defRPr sz="2600"/>
            </a:lvl1pPr>
          </a:lstStyle>
          <a:p>
            <a:pPr lvl="0"/>
            <a:r>
              <a:rPr lang="en-US"/>
              <a:t>Click to edit title</a:t>
            </a:r>
            <a:endParaRPr lang="sv-SE"/>
          </a:p>
        </p:txBody>
      </p:sp>
      <p:sp>
        <p:nvSpPr>
          <p:cNvPr id="3" name="Date Placeholder 3">
            <a:extLst>
              <a:ext uri="{FF2B5EF4-FFF2-40B4-BE49-F238E27FC236}">
                <a16:creationId xmlns:a16="http://schemas.microsoft.com/office/drawing/2014/main" id="{A4F2ED64-CF94-A7AA-414B-835B9FFB77D5}"/>
              </a:ext>
            </a:extLst>
          </p:cNvPr>
          <p:cNvSpPr txBox="1">
            <a:spLocks noGrp="1"/>
          </p:cNvSpPr>
          <p:nvPr>
            <p:ph type="dt" sz="half" idx="7"/>
          </p:nvPr>
        </p:nvSpPr>
        <p:spPr/>
        <p:txBody>
          <a:bodyPr/>
          <a:lstStyle>
            <a:lvl1pPr>
              <a:defRPr/>
            </a:lvl1pPr>
          </a:lstStyle>
          <a:p>
            <a:pPr lvl="0"/>
            <a:fld id="{0544E347-4354-485F-B173-36068FD4C9D5}" type="datetime1">
              <a:rPr lang="en-US" smtClean="0"/>
              <a:t>5/13/2026</a:t>
            </a:fld>
            <a:endParaRPr lang="sv-SE"/>
          </a:p>
        </p:txBody>
      </p:sp>
      <p:sp>
        <p:nvSpPr>
          <p:cNvPr id="4" name="Footer Placeholder 4">
            <a:extLst>
              <a:ext uri="{FF2B5EF4-FFF2-40B4-BE49-F238E27FC236}">
                <a16:creationId xmlns:a16="http://schemas.microsoft.com/office/drawing/2014/main" id="{69D7A6D8-EB70-316C-381C-0C2B28D04119}"/>
              </a:ext>
            </a:extLst>
          </p:cNvPr>
          <p:cNvSpPr txBox="1">
            <a:spLocks noGrp="1"/>
          </p:cNvSpPr>
          <p:nvPr>
            <p:ph type="ftr" sz="quarter" idx="9"/>
          </p:nvPr>
        </p:nvSpPr>
        <p:spPr/>
        <p:txBody>
          <a:bodyPr/>
          <a:lstStyle>
            <a:lvl1pPr>
              <a:defRPr lang="sv-SE"/>
            </a:lvl1pPr>
          </a:lstStyle>
          <a:p>
            <a:pPr lvl="0"/>
            <a:endParaRPr lang="sv-SE"/>
          </a:p>
        </p:txBody>
      </p:sp>
      <p:sp>
        <p:nvSpPr>
          <p:cNvPr id="6" name="Text Placeholder 10">
            <a:extLst>
              <a:ext uri="{FF2B5EF4-FFF2-40B4-BE49-F238E27FC236}">
                <a16:creationId xmlns:a16="http://schemas.microsoft.com/office/drawing/2014/main" id="{707F0D78-CAC3-7D51-8100-2EC0D2ADD026}"/>
              </a:ext>
            </a:extLst>
          </p:cNvPr>
          <p:cNvSpPr txBox="1">
            <a:spLocks noGrp="1"/>
          </p:cNvSpPr>
          <p:nvPr>
            <p:ph type="body" idx="4294967295"/>
          </p:nvPr>
        </p:nvSpPr>
        <p:spPr>
          <a:xfrm>
            <a:off x="516010" y="1440000"/>
            <a:ext cx="11161577" cy="4679999"/>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7" name="Text Placeholder 5">
            <a:extLst>
              <a:ext uri="{FF2B5EF4-FFF2-40B4-BE49-F238E27FC236}">
                <a16:creationId xmlns:a16="http://schemas.microsoft.com/office/drawing/2014/main" id="{886B7CF2-1DF7-2DA8-E404-E612F2A7F04D}"/>
              </a:ext>
            </a:extLst>
          </p:cNvPr>
          <p:cNvSpPr txBox="1">
            <a:spLocks noGrp="1"/>
          </p:cNvSpPr>
          <p:nvPr>
            <p:ph type="body" idx="4294967295"/>
          </p:nvPr>
        </p:nvSpPr>
        <p:spPr>
          <a:xfrm>
            <a:off x="516008" y="947742"/>
            <a:ext cx="9667545" cy="223835"/>
          </a:xfrm>
        </p:spPr>
        <p:txBody>
          <a:bodyPr>
            <a:spAutoFit/>
          </a:bodyPr>
          <a:lstStyle>
            <a:lvl1pPr marL="0" indent="0">
              <a:buNone/>
              <a:defRPr sz="1600">
                <a:solidFill>
                  <a:srgbClr val="2878FF"/>
                </a:solidFill>
              </a:defRPr>
            </a:lvl1pPr>
          </a:lstStyle>
          <a:p>
            <a:pPr lvl="0"/>
            <a:r>
              <a:rPr lang="en-US"/>
              <a:t>Click to edit Master text styles</a:t>
            </a:r>
            <a:endParaRPr lang="sv-SE"/>
          </a:p>
        </p:txBody>
      </p:sp>
      <p:pic>
        <p:nvPicPr>
          <p:cNvPr id="8" name="Graphic 2">
            <a:extLst>
              <a:ext uri="{FF2B5EF4-FFF2-40B4-BE49-F238E27FC236}">
                <a16:creationId xmlns:a16="http://schemas.microsoft.com/office/drawing/2014/main" id="{ACE1E239-806D-B950-B08A-6D17FA02D459}"/>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692257" y="311155"/>
            <a:ext cx="986922" cy="469901"/>
          </a:xfrm>
          <a:prstGeom prst="rect">
            <a:avLst/>
          </a:prstGeom>
          <a:noFill/>
          <a:ln cap="flat">
            <a:noFill/>
          </a:ln>
        </p:spPr>
      </p:pic>
      <p:sp>
        <p:nvSpPr>
          <p:cNvPr id="10" name="TextBox 9">
            <a:extLst>
              <a:ext uri="{FF2B5EF4-FFF2-40B4-BE49-F238E27FC236}">
                <a16:creationId xmlns:a16="http://schemas.microsoft.com/office/drawing/2014/main" id="{09F8E0C4-9560-4EAD-DF7E-0A0DF2AA0FDA}"/>
              </a:ext>
            </a:extLst>
          </p:cNvPr>
          <p:cNvSpPr txBox="1"/>
          <p:nvPr userDrawn="1"/>
        </p:nvSpPr>
        <p:spPr>
          <a:xfrm>
            <a:off x="11594381" y="6399575"/>
            <a:ext cx="276027" cy="153888"/>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27692F5A-FC14-4E83-B4CC-18F6C2D780A4}" type="slidenum">
              <a:rPr kumimoji="0" lang="en-US" sz="1000" b="0" i="0" u="none" strike="noStrike" kern="0" cap="none" spc="40" normalizeH="0" baseline="0" noProof="0" smtClean="0">
                <a:ln>
                  <a:noFill/>
                </a:ln>
                <a:solidFill>
                  <a:srgbClr val="2878FF"/>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0" lang="en-US" sz="1000" b="0" i="0" u="none" strike="noStrike" kern="0" cap="none" spc="40" normalizeH="0" baseline="0" noProof="0">
              <a:ln>
                <a:noFill/>
              </a:ln>
              <a:solidFill>
                <a:srgbClr val="2878FF"/>
              </a:solidFill>
              <a:effectLst/>
              <a:uLnTx/>
              <a:uFillTx/>
            </a:endParaRPr>
          </a:p>
        </p:txBody>
      </p:sp>
    </p:spTree>
    <p:extLst>
      <p:ext uri="{BB962C8B-B14F-4D97-AF65-F5344CB8AC3E}">
        <p14:creationId xmlns:p14="http://schemas.microsoft.com/office/powerpoint/2010/main" val="34565563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BEAF0-B4D2-2AEC-2160-B6313352B674}"/>
              </a:ext>
            </a:extLst>
          </p:cNvPr>
          <p:cNvSpPr txBox="1">
            <a:spLocks noGrp="1"/>
          </p:cNvSpPr>
          <p:nvPr>
            <p:ph type="title"/>
          </p:nvPr>
        </p:nvSpPr>
        <p:spPr>
          <a:xfrm>
            <a:off x="516008" y="514353"/>
            <a:ext cx="9667545" cy="432803"/>
          </a:xfrm>
        </p:spPr>
        <p:txBody>
          <a:bodyPr bIns="71999" anchor="t">
            <a:spAutoFit/>
          </a:bodyPr>
          <a:lstStyle>
            <a:lvl1pPr>
              <a:defRPr sz="2600"/>
            </a:lvl1pPr>
          </a:lstStyle>
          <a:p>
            <a:pPr lvl="0"/>
            <a:r>
              <a:rPr lang="en-US"/>
              <a:t>Click to edit title</a:t>
            </a:r>
            <a:endParaRPr lang="sv-SE"/>
          </a:p>
        </p:txBody>
      </p:sp>
      <p:sp>
        <p:nvSpPr>
          <p:cNvPr id="3" name="Date Placeholder 3">
            <a:extLst>
              <a:ext uri="{FF2B5EF4-FFF2-40B4-BE49-F238E27FC236}">
                <a16:creationId xmlns:a16="http://schemas.microsoft.com/office/drawing/2014/main" id="{A4F2ED64-CF94-A7AA-414B-835B9FFB77D5}"/>
              </a:ext>
            </a:extLst>
          </p:cNvPr>
          <p:cNvSpPr txBox="1">
            <a:spLocks noGrp="1"/>
          </p:cNvSpPr>
          <p:nvPr>
            <p:ph type="dt" sz="half" idx="7"/>
          </p:nvPr>
        </p:nvSpPr>
        <p:spPr/>
        <p:txBody>
          <a:bodyPr/>
          <a:lstStyle>
            <a:lvl1pPr>
              <a:defRPr/>
            </a:lvl1pPr>
          </a:lstStyle>
          <a:p>
            <a:pPr lvl="0"/>
            <a:fld id="{0544E347-4354-485F-B173-36068FD4C9D5}" type="datetime1">
              <a:rPr lang="en-US" smtClean="0"/>
              <a:t>5/13/2026</a:t>
            </a:fld>
            <a:endParaRPr lang="sv-SE"/>
          </a:p>
        </p:txBody>
      </p:sp>
      <p:sp>
        <p:nvSpPr>
          <p:cNvPr id="4" name="Footer Placeholder 4">
            <a:extLst>
              <a:ext uri="{FF2B5EF4-FFF2-40B4-BE49-F238E27FC236}">
                <a16:creationId xmlns:a16="http://schemas.microsoft.com/office/drawing/2014/main" id="{69D7A6D8-EB70-316C-381C-0C2B28D04119}"/>
              </a:ext>
            </a:extLst>
          </p:cNvPr>
          <p:cNvSpPr txBox="1">
            <a:spLocks noGrp="1"/>
          </p:cNvSpPr>
          <p:nvPr>
            <p:ph type="ftr" sz="quarter" idx="9"/>
          </p:nvPr>
        </p:nvSpPr>
        <p:spPr/>
        <p:txBody>
          <a:bodyPr/>
          <a:lstStyle>
            <a:lvl1pPr>
              <a:defRPr lang="sv-SE"/>
            </a:lvl1pPr>
          </a:lstStyle>
          <a:p>
            <a:pPr lvl="0"/>
            <a:endParaRPr lang="sv-SE"/>
          </a:p>
        </p:txBody>
      </p:sp>
      <p:sp>
        <p:nvSpPr>
          <p:cNvPr id="5" name="Slide Number Placeholder 5">
            <a:extLst>
              <a:ext uri="{FF2B5EF4-FFF2-40B4-BE49-F238E27FC236}">
                <a16:creationId xmlns:a16="http://schemas.microsoft.com/office/drawing/2014/main" id="{6A5E2F65-67C8-E0E1-E695-3475013C243F}"/>
              </a:ext>
            </a:extLst>
          </p:cNvPr>
          <p:cNvSpPr txBox="1">
            <a:spLocks noGrp="1"/>
          </p:cNvSpPr>
          <p:nvPr>
            <p:ph type="sldNum" sz="quarter" idx="8"/>
          </p:nvPr>
        </p:nvSpPr>
        <p:spPr/>
        <p:txBody>
          <a:bodyPr/>
          <a:lstStyle>
            <a:lvl1pPr>
              <a:defRPr lang="en-US"/>
            </a:lvl1pPr>
          </a:lstStyle>
          <a:p>
            <a:pPr lvl="0"/>
            <a:fld id="{B1B0FF74-0F75-4625-9A6C-78EF9314E72E}" type="slidenum">
              <a:t>‹#›</a:t>
            </a:fld>
            <a:endParaRPr lang="en-US"/>
          </a:p>
        </p:txBody>
      </p:sp>
      <p:sp>
        <p:nvSpPr>
          <p:cNvPr id="7" name="Text Placeholder 5">
            <a:extLst>
              <a:ext uri="{FF2B5EF4-FFF2-40B4-BE49-F238E27FC236}">
                <a16:creationId xmlns:a16="http://schemas.microsoft.com/office/drawing/2014/main" id="{886B7CF2-1DF7-2DA8-E404-E612F2A7F04D}"/>
              </a:ext>
            </a:extLst>
          </p:cNvPr>
          <p:cNvSpPr txBox="1">
            <a:spLocks noGrp="1"/>
          </p:cNvSpPr>
          <p:nvPr>
            <p:ph type="body" idx="4294967295"/>
          </p:nvPr>
        </p:nvSpPr>
        <p:spPr>
          <a:xfrm>
            <a:off x="516008" y="947742"/>
            <a:ext cx="9667545" cy="223835"/>
          </a:xfrm>
        </p:spPr>
        <p:txBody>
          <a:bodyPr>
            <a:spAutoFit/>
          </a:bodyPr>
          <a:lstStyle>
            <a:lvl1pPr marL="0" indent="0">
              <a:buNone/>
              <a:defRPr sz="1600">
                <a:solidFill>
                  <a:srgbClr val="2878FF"/>
                </a:solidFill>
              </a:defRPr>
            </a:lvl1pPr>
          </a:lstStyle>
          <a:p>
            <a:pPr lvl="0"/>
            <a:r>
              <a:rPr lang="en-US"/>
              <a:t>Click to edit Master text styles</a:t>
            </a:r>
            <a:endParaRPr lang="sv-SE"/>
          </a:p>
        </p:txBody>
      </p:sp>
      <p:pic>
        <p:nvPicPr>
          <p:cNvPr id="8" name="Graphic 2">
            <a:extLst>
              <a:ext uri="{FF2B5EF4-FFF2-40B4-BE49-F238E27FC236}">
                <a16:creationId xmlns:a16="http://schemas.microsoft.com/office/drawing/2014/main" id="{ACE1E239-806D-B950-B08A-6D17FA02D459}"/>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692257" y="311155"/>
            <a:ext cx="986922" cy="469901"/>
          </a:xfrm>
          <a:prstGeom prst="rect">
            <a:avLst/>
          </a:prstGeom>
          <a:noFill/>
          <a:ln cap="flat">
            <a:noFill/>
          </a:ln>
        </p:spPr>
      </p:pic>
      <p:sp>
        <p:nvSpPr>
          <p:cNvPr id="9" name="TextBox 7">
            <a:extLst>
              <a:ext uri="{FF2B5EF4-FFF2-40B4-BE49-F238E27FC236}">
                <a16:creationId xmlns:a16="http://schemas.microsoft.com/office/drawing/2014/main" id="{179FB573-AFD5-3B97-5709-07FCFEC558CF}"/>
              </a:ext>
            </a:extLst>
          </p:cNvPr>
          <p:cNvSpPr txBox="1"/>
          <p:nvPr/>
        </p:nvSpPr>
        <p:spPr>
          <a:xfrm>
            <a:off x="-1558548" y="5525036"/>
            <a:ext cx="1390498" cy="1123797"/>
          </a:xfrm>
          <a:prstGeom prst="rect">
            <a:avLst/>
          </a:prstGeom>
          <a:solidFill>
            <a:srgbClr val="D9D9D9"/>
          </a:solidFill>
          <a:ln cap="flat">
            <a:noFill/>
          </a:ln>
        </p:spPr>
        <p:txBody>
          <a:bodyPr vert="horz" wrap="square" lIns="91428" tIns="45714" rIns="91428" bIns="45714" anchor="t" anchorCtr="1" compatLnSpc="1">
            <a:noAutofit/>
          </a:bodyPr>
          <a:lstStyle/>
          <a:p>
            <a:pPr marL="0" marR="0" lvl="0" indent="0" algn="ctr" defTabSz="914309"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800" b="0" i="0" u="none" strike="noStrike" kern="1200" cap="none" spc="0" baseline="0">
                <a:solidFill>
                  <a:srgbClr val="001965"/>
                </a:solidFill>
                <a:uFillTx/>
                <a:latin typeface="Avenir Next LT Pro"/>
              </a:rPr>
              <a:t>To insert or change footer elements, click ’Insert &gt; Header and footer’</a:t>
            </a:r>
          </a:p>
        </p:txBody>
      </p:sp>
      <p:pic>
        <p:nvPicPr>
          <p:cNvPr id="10" name="Picture 8">
            <a:extLst>
              <a:ext uri="{FF2B5EF4-FFF2-40B4-BE49-F238E27FC236}">
                <a16:creationId xmlns:a16="http://schemas.microsoft.com/office/drawing/2014/main" id="{13192C4B-8969-5957-D648-DC87531E5436}"/>
              </a:ext>
            </a:extLst>
          </p:cNvPr>
          <p:cNvPicPr>
            <a:picLocks noChangeAspect="1"/>
          </p:cNvPicPr>
          <p:nvPr/>
        </p:nvPicPr>
        <p:blipFill>
          <a:blip r:embed="rId3"/>
          <a:stretch>
            <a:fillRect/>
          </a:stretch>
        </p:blipFill>
        <p:spPr>
          <a:xfrm>
            <a:off x="-1032554" y="6043196"/>
            <a:ext cx="338509" cy="456194"/>
          </a:xfrm>
          <a:prstGeom prst="rect">
            <a:avLst/>
          </a:prstGeom>
          <a:noFill/>
          <a:ln cap="flat">
            <a:noFill/>
          </a:ln>
        </p:spPr>
      </p:pic>
      <p:sp>
        <p:nvSpPr>
          <p:cNvPr id="11" name="TextBox 13">
            <a:extLst>
              <a:ext uri="{FF2B5EF4-FFF2-40B4-BE49-F238E27FC236}">
                <a16:creationId xmlns:a16="http://schemas.microsoft.com/office/drawing/2014/main" id="{A467D66F-F38D-CCF8-B14E-2F71C45DF54D}"/>
              </a:ext>
            </a:extLst>
          </p:cNvPr>
          <p:cNvSpPr txBox="1"/>
          <p:nvPr/>
        </p:nvSpPr>
        <p:spPr>
          <a:xfrm>
            <a:off x="-1558548" y="1440000"/>
            <a:ext cx="1390498" cy="2476679"/>
          </a:xfrm>
          <a:prstGeom prst="rect">
            <a:avLst/>
          </a:prstGeom>
          <a:solidFill>
            <a:srgbClr val="D9D9D9"/>
          </a:solidFill>
          <a:ln cap="flat">
            <a:noFill/>
          </a:ln>
        </p:spPr>
        <p:txBody>
          <a:bodyPr vert="horz" wrap="square" lIns="91428" tIns="45714" rIns="91428" bIns="45714" anchor="t" anchorCtr="1" compatLnSpc="1">
            <a:noAutofit/>
          </a:bodyPr>
          <a:lstStyle/>
          <a:p>
            <a:pPr marL="0" marR="0" lvl="0" indent="0" algn="ctr" defTabSz="914309"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800" b="0" i="0" u="none" strike="noStrike" kern="1200" cap="none" spc="0" baseline="0">
                <a:solidFill>
                  <a:srgbClr val="001965"/>
                </a:solidFill>
                <a:uFillTx/>
                <a:latin typeface="Avenir Next LT Pro"/>
              </a:rPr>
              <a:t>To change level in the bullet list click ’Increase or Decrease List Level’</a:t>
            </a:r>
          </a:p>
          <a:p>
            <a:pPr marL="0" marR="0" lvl="0" indent="0" algn="ctr" defTabSz="914309"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800" b="0" i="0" u="none" strike="noStrike" kern="1200" cap="none" spc="0" baseline="0">
              <a:solidFill>
                <a:srgbClr val="001965"/>
              </a:solidFill>
              <a:uFillTx/>
              <a:latin typeface="Avenir Next LT Pro"/>
            </a:endParaRPr>
          </a:p>
          <a:p>
            <a:pPr marL="0" marR="0" lvl="0" indent="0" algn="ctr" defTabSz="914309"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800" b="0" i="0" u="none" strike="noStrike" kern="1200" cap="none" spc="0" baseline="0">
              <a:solidFill>
                <a:srgbClr val="001965"/>
              </a:solidFill>
              <a:uFillTx/>
              <a:latin typeface="Avenir Next LT Pro"/>
            </a:endParaRPr>
          </a:p>
          <a:p>
            <a:pPr marL="0" marR="0" lvl="0" indent="0" algn="ctr" defTabSz="914309"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800" b="0" i="0" u="none" strike="noStrike" kern="1200" cap="none" spc="0" baseline="0">
              <a:solidFill>
                <a:srgbClr val="001965"/>
              </a:solidFill>
              <a:uFillTx/>
              <a:latin typeface="Avenir Next LT Pro"/>
            </a:endParaRPr>
          </a:p>
          <a:p>
            <a:pPr marL="0" marR="0" lvl="0" indent="0" algn="ctr" defTabSz="914309"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800" b="0" i="0" u="none" strike="noStrike" kern="1200" cap="none" spc="0" baseline="0">
                <a:solidFill>
                  <a:srgbClr val="001965"/>
                </a:solidFill>
                <a:uFillTx/>
                <a:latin typeface="Avenir Next LT Pro"/>
              </a:rPr>
              <a:t>For normal body text format click ’Bullets’ to remove bullets.</a:t>
            </a:r>
          </a:p>
        </p:txBody>
      </p:sp>
      <p:pic>
        <p:nvPicPr>
          <p:cNvPr id="12" name="Picture 11">
            <a:extLst>
              <a:ext uri="{FF2B5EF4-FFF2-40B4-BE49-F238E27FC236}">
                <a16:creationId xmlns:a16="http://schemas.microsoft.com/office/drawing/2014/main" id="{0D44F5B6-4913-99A2-8CB7-D83F5034ED19}"/>
              </a:ext>
            </a:extLst>
          </p:cNvPr>
          <p:cNvPicPr>
            <a:picLocks noChangeAspect="1"/>
          </p:cNvPicPr>
          <p:nvPr/>
        </p:nvPicPr>
        <p:blipFill>
          <a:blip r:embed="rId4"/>
          <a:srcRect t="32177"/>
          <a:stretch>
            <a:fillRect/>
          </a:stretch>
        </p:blipFill>
        <p:spPr>
          <a:xfrm>
            <a:off x="-1404591" y="2958349"/>
            <a:ext cx="1082589" cy="836054"/>
          </a:xfrm>
          <a:prstGeom prst="rect">
            <a:avLst/>
          </a:prstGeom>
          <a:noFill/>
          <a:ln cap="flat">
            <a:noFill/>
          </a:ln>
        </p:spPr>
      </p:pic>
      <p:pic>
        <p:nvPicPr>
          <p:cNvPr id="13" name="Picture 14">
            <a:extLst>
              <a:ext uri="{FF2B5EF4-FFF2-40B4-BE49-F238E27FC236}">
                <a16:creationId xmlns:a16="http://schemas.microsoft.com/office/drawing/2014/main" id="{A21A56B1-E9A0-B155-2372-F1AB78E2C380}"/>
              </a:ext>
            </a:extLst>
          </p:cNvPr>
          <p:cNvPicPr>
            <a:picLocks noChangeAspect="1"/>
          </p:cNvPicPr>
          <p:nvPr/>
        </p:nvPicPr>
        <p:blipFill>
          <a:blip r:embed="rId5"/>
          <a:stretch>
            <a:fillRect/>
          </a:stretch>
        </p:blipFill>
        <p:spPr>
          <a:xfrm>
            <a:off x="-1082303" y="1940633"/>
            <a:ext cx="438008" cy="204853"/>
          </a:xfrm>
          <a:prstGeom prst="rect">
            <a:avLst/>
          </a:prstGeom>
          <a:noFill/>
          <a:ln cap="flat">
            <a:noFill/>
          </a:ln>
        </p:spPr>
      </p:pic>
      <p:pic>
        <p:nvPicPr>
          <p:cNvPr id="14" name="Picture 16">
            <a:extLst>
              <a:ext uri="{FF2B5EF4-FFF2-40B4-BE49-F238E27FC236}">
                <a16:creationId xmlns:a16="http://schemas.microsoft.com/office/drawing/2014/main" id="{5196D1B5-F559-399F-207C-BCEF131112E8}"/>
              </a:ext>
            </a:extLst>
          </p:cNvPr>
          <p:cNvPicPr>
            <a:picLocks noChangeAspect="1"/>
          </p:cNvPicPr>
          <p:nvPr/>
        </p:nvPicPr>
        <p:blipFill>
          <a:blip r:embed="rId6"/>
          <a:stretch>
            <a:fillRect/>
          </a:stretch>
        </p:blipFill>
        <p:spPr>
          <a:xfrm>
            <a:off x="-1019632" y="2663650"/>
            <a:ext cx="312656" cy="201689"/>
          </a:xfrm>
          <a:prstGeom prst="rect">
            <a:avLst/>
          </a:prstGeom>
          <a:noFill/>
          <a:ln cap="flat">
            <a:noFill/>
          </a:ln>
        </p:spPr>
      </p:pic>
    </p:spTree>
    <p:extLst>
      <p:ext uri="{BB962C8B-B14F-4D97-AF65-F5344CB8AC3E}">
        <p14:creationId xmlns:p14="http://schemas.microsoft.com/office/powerpoint/2010/main" val="33681286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2_Page break V1">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2AE8FC-6456-61B8-BCCB-BFE57938E32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77" r="1737" b="141"/>
          <a:stretch/>
        </p:blipFill>
        <p:spPr>
          <a:xfrm>
            <a:off x="6086299" y="0"/>
            <a:ext cx="6107291" cy="6889150"/>
          </a:xfrm>
          <a:prstGeom prst="rect">
            <a:avLst/>
          </a:prstGeom>
        </p:spPr>
      </p:pic>
      <p:sp>
        <p:nvSpPr>
          <p:cNvPr id="3" name="Rectangle 2">
            <a:extLst>
              <a:ext uri="{FF2B5EF4-FFF2-40B4-BE49-F238E27FC236}">
                <a16:creationId xmlns:a16="http://schemas.microsoft.com/office/drawing/2014/main" id="{22072A0B-6CEB-8372-0E4B-C50E805F639C}"/>
              </a:ext>
            </a:extLst>
          </p:cNvPr>
          <p:cNvSpPr/>
          <p:nvPr userDrawn="1"/>
        </p:nvSpPr>
        <p:spPr>
          <a:xfrm>
            <a:off x="-10239" y="0"/>
            <a:ext cx="6096003" cy="688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1800" b="0" i="0">
              <a:latin typeface="Avenir Next LT Pro" panose="020B0504020202020204" pitchFamily="34" charset="77"/>
            </a:endParaRPr>
          </a:p>
        </p:txBody>
      </p:sp>
      <p:sp>
        <p:nvSpPr>
          <p:cNvPr id="7" name="Title 1">
            <a:extLst>
              <a:ext uri="{FF2B5EF4-FFF2-40B4-BE49-F238E27FC236}">
                <a16:creationId xmlns:a16="http://schemas.microsoft.com/office/drawing/2014/main" id="{9D4739E0-E6E1-6140-F3C4-BEA8E8F41085}"/>
              </a:ext>
            </a:extLst>
          </p:cNvPr>
          <p:cNvSpPr>
            <a:spLocks noGrp="1"/>
          </p:cNvSpPr>
          <p:nvPr>
            <p:ph type="title"/>
          </p:nvPr>
        </p:nvSpPr>
        <p:spPr>
          <a:xfrm>
            <a:off x="565461" y="2260114"/>
            <a:ext cx="5046447" cy="941796"/>
          </a:xfrm>
          <a:prstGeom prst="rect">
            <a:avLst/>
          </a:prstGeom>
        </p:spPr>
        <p:txBody>
          <a:bodyPr lIns="0" tIns="0" rIns="0" bIns="0"/>
          <a:lstStyle>
            <a:lvl1pPr>
              <a:defRPr sz="3400" b="1" i="0">
                <a:solidFill>
                  <a:schemeClr val="tx1"/>
                </a:solidFill>
                <a:latin typeface="Avenir Next LT Pro" panose="020B0504020202020204" pitchFamily="34" charset="77"/>
              </a:defRPr>
            </a:lvl1pPr>
          </a:lstStyle>
          <a:p>
            <a:r>
              <a:rPr lang="en-US"/>
              <a:t>Click to edit Master title style</a:t>
            </a:r>
          </a:p>
        </p:txBody>
      </p:sp>
      <p:sp>
        <p:nvSpPr>
          <p:cNvPr id="9" name="Text Placeholder 9">
            <a:extLst>
              <a:ext uri="{FF2B5EF4-FFF2-40B4-BE49-F238E27FC236}">
                <a16:creationId xmlns:a16="http://schemas.microsoft.com/office/drawing/2014/main" id="{EE8102FD-A9B1-BC43-6055-625B881F036F}"/>
              </a:ext>
            </a:extLst>
          </p:cNvPr>
          <p:cNvSpPr>
            <a:spLocks noGrp="1"/>
          </p:cNvSpPr>
          <p:nvPr>
            <p:ph type="body" sz="quarter" idx="12" hasCustomPrompt="1"/>
          </p:nvPr>
        </p:nvSpPr>
        <p:spPr>
          <a:xfrm>
            <a:off x="549244" y="4040923"/>
            <a:ext cx="4897401"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Insert location, place, date, time etc.)</a:t>
            </a:r>
          </a:p>
        </p:txBody>
      </p:sp>
    </p:spTree>
    <p:extLst>
      <p:ext uri="{BB962C8B-B14F-4D97-AF65-F5344CB8AC3E}">
        <p14:creationId xmlns:p14="http://schemas.microsoft.com/office/powerpoint/2010/main" val="2747569904"/>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3 boxes + large circles">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F7AD35-07BE-675A-5EE9-EB28FA6DBF79}"/>
              </a:ext>
            </a:extLst>
          </p:cNvPr>
          <p:cNvSpPr/>
          <p:nvPr userDrawn="1"/>
        </p:nvSpPr>
        <p:spPr>
          <a:xfrm>
            <a:off x="0" y="1440000"/>
            <a:ext cx="12193588" cy="541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7" y="514350"/>
            <a:ext cx="9667546" cy="432802"/>
          </a:xfrm>
        </p:spPr>
        <p:txBody>
          <a:bodyPr wrap="square" bIns="72000" anchor="t" anchorCtr="0">
            <a:spAutoFit/>
          </a:bodyPr>
          <a:lstStyle>
            <a:lvl1pPr algn="l">
              <a:defRPr sz="2600">
                <a:solidFill>
                  <a:schemeClr val="tx1"/>
                </a:solidFill>
              </a:defRPr>
            </a:lvl1pPr>
          </a:lstStyle>
          <a:p>
            <a:r>
              <a:rPr lang="en-US"/>
              <a:t>Click to edit title</a:t>
            </a:r>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7" y="947741"/>
            <a:ext cx="9667546"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4" name="Date Placeholder 3">
            <a:extLst>
              <a:ext uri="{FF2B5EF4-FFF2-40B4-BE49-F238E27FC236}">
                <a16:creationId xmlns:a16="http://schemas.microsoft.com/office/drawing/2014/main" id="{3217D4F0-D118-BF80-782F-C2B0EFD77A4D}"/>
              </a:ext>
            </a:extLst>
          </p:cNvPr>
          <p:cNvSpPr>
            <a:spLocks noGrp="1"/>
          </p:cNvSpPr>
          <p:nvPr>
            <p:ph type="dt" sz="half" idx="10"/>
          </p:nvPr>
        </p:nvSpPr>
        <p:spPr>
          <a:xfrm>
            <a:off x="516005" y="6328263"/>
            <a:ext cx="2743557" cy="153888"/>
          </a:xfrm>
        </p:spPr>
        <p:txBody>
          <a:bodyPr/>
          <a:lstStyle>
            <a:lvl1pPr>
              <a:defRPr>
                <a:solidFill>
                  <a:schemeClr val="bg1"/>
                </a:solidFill>
              </a:defRPr>
            </a:lvl1pPr>
          </a:lstStyle>
          <a:p>
            <a:fld id="{DDD7D132-638F-41F0-95BC-CDA6B2D23780}" type="datetime1">
              <a:rPr lang="en-US" smtClean="0"/>
              <a:t>5/13/2026</a:t>
            </a:fld>
            <a:endParaRPr lang="sv-SE"/>
          </a:p>
        </p:txBody>
      </p:sp>
      <p:sp>
        <p:nvSpPr>
          <p:cNvPr id="9" name="Footer Placeholder 4">
            <a:extLst>
              <a:ext uri="{FF2B5EF4-FFF2-40B4-BE49-F238E27FC236}">
                <a16:creationId xmlns:a16="http://schemas.microsoft.com/office/drawing/2014/main" id="{9BA80840-8482-85A8-375B-DE27722F0F0C}"/>
              </a:ext>
            </a:extLst>
          </p:cNvPr>
          <p:cNvSpPr>
            <a:spLocks noGrp="1"/>
          </p:cNvSpPr>
          <p:nvPr>
            <p:ph type="ftr" sz="quarter" idx="11"/>
          </p:nvPr>
        </p:nvSpPr>
        <p:spPr>
          <a:xfrm>
            <a:off x="516005" y="6494949"/>
            <a:ext cx="4115336" cy="153888"/>
          </a:xfrm>
        </p:spPr>
        <p:txBody>
          <a:bodyPr/>
          <a:lstStyle>
            <a:lvl1pPr>
              <a:defRPr sz="1000">
                <a:solidFill>
                  <a:schemeClr val="tx2">
                    <a:lumMod val="60000"/>
                    <a:lumOff val="40000"/>
                  </a:schemeClr>
                </a:solidFill>
              </a:defRPr>
            </a:lvl1pPr>
          </a:lstStyle>
          <a:p>
            <a:endParaRPr lang="sv-SE"/>
          </a:p>
        </p:txBody>
      </p:sp>
      <p:sp>
        <p:nvSpPr>
          <p:cNvPr id="26" name="Text Placeholder 25">
            <a:extLst>
              <a:ext uri="{FF2B5EF4-FFF2-40B4-BE49-F238E27FC236}">
                <a16:creationId xmlns:a16="http://schemas.microsoft.com/office/drawing/2014/main" id="{6EFD76C7-FAB9-8D87-94CE-6BA48681C46A}"/>
              </a:ext>
            </a:extLst>
          </p:cNvPr>
          <p:cNvSpPr>
            <a:spLocks noGrp="1"/>
          </p:cNvSpPr>
          <p:nvPr>
            <p:ph type="body" sz="quarter" idx="44" hasCustomPrompt="1"/>
          </p:nvPr>
        </p:nvSpPr>
        <p:spPr>
          <a:xfrm>
            <a:off x="1428183" y="1933578"/>
            <a:ext cx="2160281" cy="2159999"/>
          </a:xfrm>
          <a:prstGeom prst="ellipse">
            <a:avLst/>
          </a:prstGeom>
          <a:solidFill>
            <a:schemeClr val="tx2"/>
          </a:solidFill>
        </p:spPr>
        <p:txBody>
          <a:bodyPr lIns="0" tIns="324000" anchor="t">
            <a:noAutofit/>
          </a:bodyPr>
          <a:lstStyle>
            <a:lvl1pPr marL="0" indent="0" algn="ctr">
              <a:buNone/>
              <a:defRPr sz="4800" b="1">
                <a:solidFill>
                  <a:schemeClr val="tx1"/>
                </a:solidFill>
                <a:latin typeface="+mj-lt"/>
              </a:defRPr>
            </a:lvl1pPr>
          </a:lstStyle>
          <a:p>
            <a:pPr lvl="0"/>
            <a:r>
              <a:rPr lang="en-US"/>
              <a:t>X</a:t>
            </a:r>
          </a:p>
        </p:txBody>
      </p:sp>
      <p:sp>
        <p:nvSpPr>
          <p:cNvPr id="29" name="Text Placeholder 5">
            <a:extLst>
              <a:ext uri="{FF2B5EF4-FFF2-40B4-BE49-F238E27FC236}">
                <a16:creationId xmlns:a16="http://schemas.microsoft.com/office/drawing/2014/main" id="{6E4FDC72-3AB8-9689-2751-1F40A5ED460A}"/>
              </a:ext>
            </a:extLst>
          </p:cNvPr>
          <p:cNvSpPr>
            <a:spLocks noGrp="1"/>
          </p:cNvSpPr>
          <p:nvPr>
            <p:ph type="body" sz="quarter" idx="45"/>
          </p:nvPr>
        </p:nvSpPr>
        <p:spPr>
          <a:xfrm>
            <a:off x="1715605" y="3249316"/>
            <a:ext cx="1585442" cy="844261"/>
          </a:xfrm>
        </p:spPr>
        <p:txBody>
          <a:bodyPr wrap="square">
            <a:noAutofit/>
          </a:bodyPr>
          <a:lstStyle>
            <a:lvl1pPr marL="0" indent="0" algn="ctr">
              <a:buNone/>
              <a:defRPr sz="1200">
                <a:solidFill>
                  <a:schemeClr val="tx1"/>
                </a:solidFill>
                <a:latin typeface="Avenir Next LT Pro Demi" panose="020B07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pic>
        <p:nvPicPr>
          <p:cNvPr id="59" name="Graphic 58">
            <a:extLst>
              <a:ext uri="{FF2B5EF4-FFF2-40B4-BE49-F238E27FC236}">
                <a16:creationId xmlns:a16="http://schemas.microsoft.com/office/drawing/2014/main" id="{0510866D-8FD2-7047-F8F7-0F9C94014B9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
        <p:nvSpPr>
          <p:cNvPr id="3" name="Slide Number Placeholder 5">
            <a:extLst>
              <a:ext uri="{FF2B5EF4-FFF2-40B4-BE49-F238E27FC236}">
                <a16:creationId xmlns:a16="http://schemas.microsoft.com/office/drawing/2014/main" id="{74840B9E-D6BD-9626-BEF3-CD7A213528F3}"/>
              </a:ext>
            </a:extLst>
          </p:cNvPr>
          <p:cNvSpPr>
            <a:spLocks noGrp="1"/>
          </p:cNvSpPr>
          <p:nvPr>
            <p:ph type="sldNum" sz="quarter" idx="12"/>
          </p:nvPr>
        </p:nvSpPr>
        <p:spPr>
          <a:xfrm>
            <a:off x="11304472" y="6494949"/>
            <a:ext cx="374699" cy="153888"/>
          </a:xfrm>
        </p:spPr>
        <p:txBody>
          <a:bodyPr/>
          <a:lstStyle>
            <a:lvl1pPr algn="r">
              <a:defRPr sz="1000">
                <a:solidFill>
                  <a:schemeClr val="tx2">
                    <a:lumMod val="60000"/>
                    <a:lumOff val="40000"/>
                  </a:schemeClr>
                </a:solidFill>
              </a:defRPr>
            </a:lvl1pPr>
          </a:lstStyle>
          <a:p>
            <a:fld id="{C2F92818-9D0C-420B-84CB-20E21C25F84F}" type="slidenum">
              <a:rPr lang="sv-SE" smtClean="0"/>
              <a:pPr/>
              <a:t>‹#›</a:t>
            </a:fld>
            <a:endParaRPr lang="sv-SE"/>
          </a:p>
        </p:txBody>
      </p:sp>
      <p:sp>
        <p:nvSpPr>
          <p:cNvPr id="5" name="Text Placeholder 25">
            <a:extLst>
              <a:ext uri="{FF2B5EF4-FFF2-40B4-BE49-F238E27FC236}">
                <a16:creationId xmlns:a16="http://schemas.microsoft.com/office/drawing/2014/main" id="{A6CF08BB-CF85-C5E2-3853-E1B3D02CE336}"/>
              </a:ext>
            </a:extLst>
          </p:cNvPr>
          <p:cNvSpPr>
            <a:spLocks noGrp="1"/>
          </p:cNvSpPr>
          <p:nvPr>
            <p:ph type="body" sz="quarter" idx="50" hasCustomPrompt="1"/>
          </p:nvPr>
        </p:nvSpPr>
        <p:spPr>
          <a:xfrm>
            <a:off x="5016647" y="1933578"/>
            <a:ext cx="2160281" cy="2159999"/>
          </a:xfrm>
          <a:prstGeom prst="ellipse">
            <a:avLst/>
          </a:prstGeom>
          <a:solidFill>
            <a:schemeClr val="accent3"/>
          </a:solidFill>
        </p:spPr>
        <p:txBody>
          <a:bodyPr lIns="0" tIns="324000" anchor="t">
            <a:noAutofit/>
          </a:bodyPr>
          <a:lstStyle>
            <a:lvl1pPr marL="0" indent="0" algn="ctr">
              <a:buNone/>
              <a:defRPr sz="4800" b="1">
                <a:solidFill>
                  <a:schemeClr val="tx1"/>
                </a:solidFill>
                <a:latin typeface="+mj-lt"/>
              </a:defRPr>
            </a:lvl1pPr>
          </a:lstStyle>
          <a:p>
            <a:pPr lvl="0"/>
            <a:r>
              <a:rPr lang="en-US"/>
              <a:t>X</a:t>
            </a:r>
          </a:p>
        </p:txBody>
      </p:sp>
      <p:sp>
        <p:nvSpPr>
          <p:cNvPr id="50" name="Text Placeholder 5">
            <a:extLst>
              <a:ext uri="{FF2B5EF4-FFF2-40B4-BE49-F238E27FC236}">
                <a16:creationId xmlns:a16="http://schemas.microsoft.com/office/drawing/2014/main" id="{D2BC5407-668D-8B0D-1734-E8412B9038C1}"/>
              </a:ext>
            </a:extLst>
          </p:cNvPr>
          <p:cNvSpPr>
            <a:spLocks noGrp="1"/>
          </p:cNvSpPr>
          <p:nvPr>
            <p:ph type="body" sz="quarter" idx="47"/>
          </p:nvPr>
        </p:nvSpPr>
        <p:spPr>
          <a:xfrm>
            <a:off x="5304073" y="3249316"/>
            <a:ext cx="1585442" cy="844261"/>
          </a:xfrm>
        </p:spPr>
        <p:txBody>
          <a:bodyPr wrap="square">
            <a:noAutofit/>
          </a:bodyPr>
          <a:lstStyle>
            <a:lvl1pPr marL="0" indent="0" algn="ctr">
              <a:buNone/>
              <a:defRPr sz="1200">
                <a:solidFill>
                  <a:schemeClr val="tx1"/>
                </a:solidFill>
                <a:latin typeface="Avenir Next LT Pro Demi" panose="020B07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7" name="Text Placeholder 25">
            <a:extLst>
              <a:ext uri="{FF2B5EF4-FFF2-40B4-BE49-F238E27FC236}">
                <a16:creationId xmlns:a16="http://schemas.microsoft.com/office/drawing/2014/main" id="{F38C0C5C-4A2C-CC6C-DA55-3D56BEF21502}"/>
              </a:ext>
            </a:extLst>
          </p:cNvPr>
          <p:cNvSpPr>
            <a:spLocks noGrp="1"/>
          </p:cNvSpPr>
          <p:nvPr>
            <p:ph type="body" sz="quarter" idx="51" hasCustomPrompt="1"/>
          </p:nvPr>
        </p:nvSpPr>
        <p:spPr>
          <a:xfrm>
            <a:off x="8605125" y="1933578"/>
            <a:ext cx="2160281" cy="2159999"/>
          </a:xfrm>
          <a:prstGeom prst="ellipse">
            <a:avLst/>
          </a:prstGeom>
          <a:solidFill>
            <a:schemeClr val="accent4"/>
          </a:solidFill>
        </p:spPr>
        <p:txBody>
          <a:bodyPr lIns="0" tIns="324000" anchor="t">
            <a:noAutofit/>
          </a:bodyPr>
          <a:lstStyle>
            <a:lvl1pPr marL="0" indent="0" algn="ctr">
              <a:buNone/>
              <a:defRPr sz="4800" b="1">
                <a:solidFill>
                  <a:schemeClr val="tx1"/>
                </a:solidFill>
                <a:latin typeface="+mj-lt"/>
              </a:defRPr>
            </a:lvl1pPr>
          </a:lstStyle>
          <a:p>
            <a:pPr lvl="0"/>
            <a:r>
              <a:rPr lang="en-US"/>
              <a:t>X</a:t>
            </a:r>
          </a:p>
        </p:txBody>
      </p:sp>
      <p:sp>
        <p:nvSpPr>
          <p:cNvPr id="52" name="Text Placeholder 5">
            <a:extLst>
              <a:ext uri="{FF2B5EF4-FFF2-40B4-BE49-F238E27FC236}">
                <a16:creationId xmlns:a16="http://schemas.microsoft.com/office/drawing/2014/main" id="{9C64AA69-69AD-0060-B8B1-EF715BC7C22F}"/>
              </a:ext>
            </a:extLst>
          </p:cNvPr>
          <p:cNvSpPr>
            <a:spLocks noGrp="1"/>
          </p:cNvSpPr>
          <p:nvPr>
            <p:ph type="body" sz="quarter" idx="49"/>
          </p:nvPr>
        </p:nvSpPr>
        <p:spPr>
          <a:xfrm>
            <a:off x="8892539" y="3249316"/>
            <a:ext cx="1585442" cy="844261"/>
          </a:xfrm>
        </p:spPr>
        <p:txBody>
          <a:bodyPr wrap="square">
            <a:noAutofit/>
          </a:bodyPr>
          <a:lstStyle>
            <a:lvl1pPr marL="0" indent="0" algn="ctr">
              <a:buNone/>
              <a:defRPr sz="1200">
                <a:solidFill>
                  <a:schemeClr val="tx1"/>
                </a:solidFill>
                <a:latin typeface="Avenir Next LT Pro Demi" panose="020B07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10" name="TextBox 9">
            <a:extLst>
              <a:ext uri="{FF2B5EF4-FFF2-40B4-BE49-F238E27FC236}">
                <a16:creationId xmlns:a16="http://schemas.microsoft.com/office/drawing/2014/main" id="{3DB0768E-8E4B-0C55-5A41-CBD819AA5C46}"/>
              </a:ext>
            </a:extLst>
          </p:cNvPr>
          <p:cNvSpPr txBox="1"/>
          <p:nvPr userDrawn="1"/>
        </p:nvSpPr>
        <p:spPr>
          <a:xfrm>
            <a:off x="-1558545"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1" name="Picture 10">
            <a:extLst>
              <a:ext uri="{FF2B5EF4-FFF2-40B4-BE49-F238E27FC236}">
                <a16:creationId xmlns:a16="http://schemas.microsoft.com/office/drawing/2014/main" id="{5C2BCF57-77E1-331F-BCA9-40E09349CF2D}"/>
              </a:ext>
            </a:extLst>
          </p:cNvPr>
          <p:cNvPicPr>
            <a:picLocks noChangeAspect="1"/>
          </p:cNvPicPr>
          <p:nvPr userDrawn="1"/>
        </p:nvPicPr>
        <p:blipFill>
          <a:blip r:embed="rId3"/>
          <a:stretch>
            <a:fillRect/>
          </a:stretch>
        </p:blipFill>
        <p:spPr>
          <a:xfrm>
            <a:off x="-1032552" y="6043203"/>
            <a:ext cx="338511" cy="456195"/>
          </a:xfrm>
          <a:prstGeom prst="rect">
            <a:avLst/>
          </a:prstGeom>
        </p:spPr>
      </p:pic>
      <p:sp>
        <p:nvSpPr>
          <p:cNvPr id="15" name="Text Placeholder 10">
            <a:extLst>
              <a:ext uri="{FF2B5EF4-FFF2-40B4-BE49-F238E27FC236}">
                <a16:creationId xmlns:a16="http://schemas.microsoft.com/office/drawing/2014/main" id="{9DBB1B7F-758F-3C37-A924-D17275053856}"/>
              </a:ext>
            </a:extLst>
          </p:cNvPr>
          <p:cNvSpPr>
            <a:spLocks noGrp="1"/>
          </p:cNvSpPr>
          <p:nvPr>
            <p:ph type="body" sz="quarter" idx="52"/>
          </p:nvPr>
        </p:nvSpPr>
        <p:spPr>
          <a:xfrm>
            <a:off x="1068140" y="4473528"/>
            <a:ext cx="2894426" cy="1601693"/>
          </a:xfrm>
          <a:noFill/>
        </p:spPr>
        <p:txBody>
          <a:bodyPr lIns="0" tIns="0" rIns="0" bIns="0">
            <a:normAutofit/>
          </a:bodyPr>
          <a:lstStyle>
            <a:lvl1pPr marL="0" indent="0">
              <a:buClr>
                <a:schemeClr val="tx2"/>
              </a:buClr>
              <a:buNone/>
              <a:defRPr sz="1200">
                <a:solidFill>
                  <a:schemeClr val="bg1"/>
                </a:solidFill>
                <a:latin typeface="Avenir Next LT Pro Demi" panose="020B0704020202020204" pitchFamily="34" charset="0"/>
              </a:defRPr>
            </a:lvl1pPr>
            <a:lvl2pPr marL="180957" indent="-180957">
              <a:buClr>
                <a:schemeClr val="tx2"/>
              </a:buClr>
              <a:buFont typeface="Avenir Next LT Pro" panose="020B0504020202020204" pitchFamily="34" charset="0"/>
              <a:buChar char="+"/>
              <a:defRPr sz="1200">
                <a:solidFill>
                  <a:schemeClr val="bg1"/>
                </a:solidFill>
              </a:defRPr>
            </a:lvl2pPr>
            <a:lvl3pPr>
              <a:buClr>
                <a:schemeClr val="tx2"/>
              </a:buClr>
              <a:defRPr sz="1200">
                <a:solidFill>
                  <a:schemeClr val="tx1"/>
                </a:solidFill>
              </a:defRPr>
            </a:lvl3pPr>
            <a:lvl4pPr>
              <a:buClr>
                <a:schemeClr val="tx2"/>
              </a:buClr>
              <a:defRPr sz="1200">
                <a:solidFill>
                  <a:schemeClr val="tx1"/>
                </a:solidFill>
              </a:defRPr>
            </a:lvl4pPr>
            <a:lvl5pPr>
              <a:buClr>
                <a:schemeClr val="tx2"/>
              </a:buClr>
              <a:defRPr sz="1200">
                <a:solidFill>
                  <a:schemeClr val="tx1"/>
                </a:solidFill>
              </a:defRPr>
            </a:lvl5pPr>
          </a:lstStyle>
          <a:p>
            <a:pPr lvl="0"/>
            <a:r>
              <a:rPr lang="en-US"/>
              <a:t>Click to edit Master text styles</a:t>
            </a:r>
          </a:p>
          <a:p>
            <a:pPr lvl="1"/>
            <a:r>
              <a:rPr lang="en-US"/>
              <a:t>Second level</a:t>
            </a:r>
          </a:p>
        </p:txBody>
      </p:sp>
      <p:sp>
        <p:nvSpPr>
          <p:cNvPr id="16" name="Text Placeholder 10">
            <a:extLst>
              <a:ext uri="{FF2B5EF4-FFF2-40B4-BE49-F238E27FC236}">
                <a16:creationId xmlns:a16="http://schemas.microsoft.com/office/drawing/2014/main" id="{F1327E35-F614-A4A6-9F6C-279AECCDB2EB}"/>
              </a:ext>
            </a:extLst>
          </p:cNvPr>
          <p:cNvSpPr>
            <a:spLocks noGrp="1"/>
          </p:cNvSpPr>
          <p:nvPr>
            <p:ph type="body" sz="quarter" idx="53"/>
          </p:nvPr>
        </p:nvSpPr>
        <p:spPr>
          <a:xfrm>
            <a:off x="4649576" y="4473528"/>
            <a:ext cx="2894426" cy="1601693"/>
          </a:xfrm>
          <a:noFill/>
        </p:spPr>
        <p:txBody>
          <a:bodyPr lIns="0" tIns="0" rIns="0" bIns="0">
            <a:normAutofit/>
          </a:bodyPr>
          <a:lstStyle>
            <a:lvl1pPr marL="0" indent="0">
              <a:buClr>
                <a:schemeClr val="tx2"/>
              </a:buClr>
              <a:buNone/>
              <a:defRPr sz="1200">
                <a:solidFill>
                  <a:schemeClr val="bg1"/>
                </a:solidFill>
                <a:latin typeface="Avenir Next LT Pro Demi" panose="020B0704020202020204" pitchFamily="34" charset="0"/>
              </a:defRPr>
            </a:lvl1pPr>
            <a:lvl2pPr marL="180957" indent="-180957">
              <a:buClr>
                <a:schemeClr val="tx2"/>
              </a:buClr>
              <a:buFont typeface="Avenir Next LT Pro" panose="020B0504020202020204" pitchFamily="34" charset="0"/>
              <a:buChar char="+"/>
              <a:defRPr sz="1200">
                <a:solidFill>
                  <a:schemeClr val="bg1"/>
                </a:solidFill>
              </a:defRPr>
            </a:lvl2pPr>
            <a:lvl3pPr>
              <a:buClr>
                <a:schemeClr val="tx2"/>
              </a:buClr>
              <a:defRPr sz="1200">
                <a:solidFill>
                  <a:schemeClr val="tx1"/>
                </a:solidFill>
              </a:defRPr>
            </a:lvl3pPr>
            <a:lvl4pPr>
              <a:buClr>
                <a:schemeClr val="tx2"/>
              </a:buClr>
              <a:defRPr sz="1200">
                <a:solidFill>
                  <a:schemeClr val="tx1"/>
                </a:solidFill>
              </a:defRPr>
            </a:lvl4pPr>
            <a:lvl5pPr>
              <a:buClr>
                <a:schemeClr val="tx2"/>
              </a:buClr>
              <a:defRPr sz="1200">
                <a:solidFill>
                  <a:schemeClr val="tx1"/>
                </a:solidFill>
              </a:defRPr>
            </a:lvl5pPr>
          </a:lstStyle>
          <a:p>
            <a:pPr lvl="0"/>
            <a:r>
              <a:rPr lang="en-US"/>
              <a:t>Click to edit Master text styles</a:t>
            </a:r>
          </a:p>
          <a:p>
            <a:pPr lvl="1"/>
            <a:r>
              <a:rPr lang="en-US"/>
              <a:t>Second level</a:t>
            </a:r>
          </a:p>
        </p:txBody>
      </p:sp>
      <p:sp>
        <p:nvSpPr>
          <p:cNvPr id="23" name="Text Placeholder 10">
            <a:extLst>
              <a:ext uri="{FF2B5EF4-FFF2-40B4-BE49-F238E27FC236}">
                <a16:creationId xmlns:a16="http://schemas.microsoft.com/office/drawing/2014/main" id="{333ADDAA-D623-1455-C722-55540E779828}"/>
              </a:ext>
            </a:extLst>
          </p:cNvPr>
          <p:cNvSpPr>
            <a:spLocks noGrp="1"/>
          </p:cNvSpPr>
          <p:nvPr>
            <p:ph type="body" sz="quarter" idx="54"/>
          </p:nvPr>
        </p:nvSpPr>
        <p:spPr>
          <a:xfrm>
            <a:off x="8238047" y="4473528"/>
            <a:ext cx="2894426" cy="1601693"/>
          </a:xfrm>
          <a:noFill/>
        </p:spPr>
        <p:txBody>
          <a:bodyPr lIns="0" tIns="0" rIns="0" bIns="0">
            <a:normAutofit/>
          </a:bodyPr>
          <a:lstStyle>
            <a:lvl1pPr marL="0" indent="0">
              <a:buClr>
                <a:schemeClr val="tx2"/>
              </a:buClr>
              <a:buNone/>
              <a:defRPr sz="1200">
                <a:solidFill>
                  <a:schemeClr val="bg1"/>
                </a:solidFill>
                <a:latin typeface="Avenir Next LT Pro Demi" panose="020B0704020202020204" pitchFamily="34" charset="0"/>
              </a:defRPr>
            </a:lvl1pPr>
            <a:lvl2pPr marL="180957" indent="-180957">
              <a:buClr>
                <a:schemeClr val="tx2"/>
              </a:buClr>
              <a:buFont typeface="Avenir Next LT Pro" panose="020B0504020202020204" pitchFamily="34" charset="0"/>
              <a:buChar char="+"/>
              <a:defRPr sz="1200">
                <a:solidFill>
                  <a:schemeClr val="bg1"/>
                </a:solidFill>
              </a:defRPr>
            </a:lvl2pPr>
            <a:lvl3pPr>
              <a:buClr>
                <a:schemeClr val="tx2"/>
              </a:buClr>
              <a:defRPr sz="1200">
                <a:solidFill>
                  <a:schemeClr val="tx1"/>
                </a:solidFill>
              </a:defRPr>
            </a:lvl3pPr>
            <a:lvl4pPr>
              <a:buClr>
                <a:schemeClr val="tx2"/>
              </a:buClr>
              <a:defRPr sz="1200">
                <a:solidFill>
                  <a:schemeClr val="tx1"/>
                </a:solidFill>
              </a:defRPr>
            </a:lvl4pPr>
            <a:lvl5pPr>
              <a:buClr>
                <a:schemeClr val="tx2"/>
              </a:buClr>
              <a:defRPr sz="1200">
                <a:solidFill>
                  <a:schemeClr val="tx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056118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Title &amp; text light background">
    <p:bg>
      <p:bgPr>
        <a:solidFill>
          <a:srgbClr val="FFFFFF"/>
        </a:solidFill>
        <a:effectLst/>
      </p:bgPr>
    </p:bg>
    <p:spTree>
      <p:nvGrpSpPr>
        <p:cNvPr id="1" name=""/>
        <p:cNvGrpSpPr/>
        <p:nvPr/>
      </p:nvGrpSpPr>
      <p:grpSpPr>
        <a:xfrm>
          <a:off x="0" y="0"/>
          <a:ext cx="0" cy="0"/>
          <a:chOff x="0" y="0"/>
          <a:chExt cx="0" cy="0"/>
        </a:xfrm>
      </p:grpSpPr>
      <p:sp>
        <p:nvSpPr>
          <p:cNvPr id="2" name="Rectangle 7">
            <a:extLst>
              <a:ext uri="{FF2B5EF4-FFF2-40B4-BE49-F238E27FC236}">
                <a16:creationId xmlns:a16="http://schemas.microsoft.com/office/drawing/2014/main" id="{5F6A7590-3A29-C8BD-B26D-B290921FCE06}"/>
              </a:ext>
            </a:extLst>
          </p:cNvPr>
          <p:cNvSpPr/>
          <p:nvPr/>
        </p:nvSpPr>
        <p:spPr>
          <a:xfrm>
            <a:off x="0" y="1439997"/>
            <a:ext cx="12193584" cy="5418002"/>
          </a:xfrm>
          <a:prstGeom prst="rect">
            <a:avLst/>
          </a:prstGeom>
          <a:solidFill>
            <a:srgbClr val="EBF1F5"/>
          </a:solidFill>
          <a:ln cap="flat">
            <a:noFill/>
            <a:prstDash val="solid"/>
          </a:ln>
        </p:spPr>
        <p:txBody>
          <a:bodyPr vert="horz" wrap="square" lIns="91428" tIns="45714" rIns="91428" bIns="45714" anchor="ctr" anchorCtr="1" compatLnSpc="1">
            <a:noAutofit/>
          </a:bodyPr>
          <a:lstStyle/>
          <a:p>
            <a:pPr marL="0" marR="0" lvl="0" indent="0" algn="ctr" defTabSz="914309"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sv-SE" sz="1800" b="0" i="0" u="none" strike="noStrike" kern="1200" cap="none" spc="0" baseline="0">
              <a:solidFill>
                <a:srgbClr val="FFFFFF"/>
              </a:solidFill>
              <a:uFillTx/>
              <a:latin typeface="Avenir Next LT Pro"/>
            </a:endParaRPr>
          </a:p>
        </p:txBody>
      </p:sp>
      <p:sp>
        <p:nvSpPr>
          <p:cNvPr id="3" name="Title 1">
            <a:extLst>
              <a:ext uri="{FF2B5EF4-FFF2-40B4-BE49-F238E27FC236}">
                <a16:creationId xmlns:a16="http://schemas.microsoft.com/office/drawing/2014/main" id="{26E9CAD6-E90B-29D9-8567-8103C7843955}"/>
              </a:ext>
            </a:extLst>
          </p:cNvPr>
          <p:cNvSpPr txBox="1">
            <a:spLocks noGrp="1"/>
          </p:cNvSpPr>
          <p:nvPr>
            <p:ph type="title"/>
          </p:nvPr>
        </p:nvSpPr>
        <p:spPr>
          <a:xfrm>
            <a:off x="516008" y="514353"/>
            <a:ext cx="9667545" cy="432803"/>
          </a:xfrm>
        </p:spPr>
        <p:txBody>
          <a:bodyPr bIns="71999" anchor="t">
            <a:spAutoFit/>
          </a:bodyPr>
          <a:lstStyle>
            <a:lvl1pPr>
              <a:defRPr sz="2600"/>
            </a:lvl1pPr>
          </a:lstStyle>
          <a:p>
            <a:pPr lvl="0"/>
            <a:r>
              <a:rPr lang="en-US"/>
              <a:t>Click to edit title</a:t>
            </a:r>
            <a:endParaRPr lang="sv-SE"/>
          </a:p>
        </p:txBody>
      </p:sp>
      <p:sp>
        <p:nvSpPr>
          <p:cNvPr id="4" name="Date Placeholder 3">
            <a:extLst>
              <a:ext uri="{FF2B5EF4-FFF2-40B4-BE49-F238E27FC236}">
                <a16:creationId xmlns:a16="http://schemas.microsoft.com/office/drawing/2014/main" id="{E80F04AA-B831-CE8C-3FC6-A2BE5A44FB9C}"/>
              </a:ext>
            </a:extLst>
          </p:cNvPr>
          <p:cNvSpPr txBox="1">
            <a:spLocks noGrp="1"/>
          </p:cNvSpPr>
          <p:nvPr>
            <p:ph type="dt" sz="half" idx="7"/>
          </p:nvPr>
        </p:nvSpPr>
        <p:spPr/>
        <p:txBody>
          <a:bodyPr/>
          <a:lstStyle>
            <a:lvl1pPr>
              <a:defRPr/>
            </a:lvl1pPr>
          </a:lstStyle>
          <a:p>
            <a:pPr lvl="0"/>
            <a:fld id="{F6AC2644-C654-4605-91FB-BA8AFDB0551C}" type="datetime1">
              <a:rPr lang="en-US" smtClean="0"/>
              <a:t>5/13/2026</a:t>
            </a:fld>
            <a:endParaRPr lang="sv-SE"/>
          </a:p>
        </p:txBody>
      </p:sp>
      <p:sp>
        <p:nvSpPr>
          <p:cNvPr id="5" name="Footer Placeholder 4">
            <a:extLst>
              <a:ext uri="{FF2B5EF4-FFF2-40B4-BE49-F238E27FC236}">
                <a16:creationId xmlns:a16="http://schemas.microsoft.com/office/drawing/2014/main" id="{428629DB-85B5-1012-5A7B-408A350852A0}"/>
              </a:ext>
            </a:extLst>
          </p:cNvPr>
          <p:cNvSpPr txBox="1">
            <a:spLocks noGrp="1"/>
          </p:cNvSpPr>
          <p:nvPr>
            <p:ph type="ftr" sz="quarter" idx="9"/>
          </p:nvPr>
        </p:nvSpPr>
        <p:spPr/>
        <p:txBody>
          <a:bodyPr/>
          <a:lstStyle>
            <a:lvl1pPr>
              <a:defRPr lang="sv-SE"/>
            </a:lvl1pPr>
          </a:lstStyle>
          <a:p>
            <a:pPr lvl="0"/>
            <a:endParaRPr lang="sv-SE"/>
          </a:p>
        </p:txBody>
      </p:sp>
      <p:sp>
        <p:nvSpPr>
          <p:cNvPr id="6" name="Slide Number Placeholder 5">
            <a:extLst>
              <a:ext uri="{FF2B5EF4-FFF2-40B4-BE49-F238E27FC236}">
                <a16:creationId xmlns:a16="http://schemas.microsoft.com/office/drawing/2014/main" id="{4FD86C4B-7726-B6E0-69C8-A0A13C2DEA9B}"/>
              </a:ext>
            </a:extLst>
          </p:cNvPr>
          <p:cNvSpPr txBox="1">
            <a:spLocks noGrp="1"/>
          </p:cNvSpPr>
          <p:nvPr>
            <p:ph type="sldNum" sz="quarter" idx="8"/>
          </p:nvPr>
        </p:nvSpPr>
        <p:spPr/>
        <p:txBody>
          <a:bodyPr/>
          <a:lstStyle>
            <a:lvl1pPr>
              <a:defRPr lang="en-US"/>
            </a:lvl1pPr>
          </a:lstStyle>
          <a:p>
            <a:pPr lvl="0"/>
            <a:fld id="{2D70A3AC-A32C-43F3-992D-4E5DA8502787}" type="slidenum">
              <a:t>‹#›</a:t>
            </a:fld>
            <a:endParaRPr lang="en-US"/>
          </a:p>
        </p:txBody>
      </p:sp>
      <p:sp>
        <p:nvSpPr>
          <p:cNvPr id="7" name="Text Placeholder 10">
            <a:extLst>
              <a:ext uri="{FF2B5EF4-FFF2-40B4-BE49-F238E27FC236}">
                <a16:creationId xmlns:a16="http://schemas.microsoft.com/office/drawing/2014/main" id="{5F2D91E3-0653-0D1E-C1D3-770AAC3A2563}"/>
              </a:ext>
            </a:extLst>
          </p:cNvPr>
          <p:cNvSpPr txBox="1">
            <a:spLocks noGrp="1"/>
          </p:cNvSpPr>
          <p:nvPr>
            <p:ph type="body" idx="4294967295"/>
          </p:nvPr>
        </p:nvSpPr>
        <p:spPr>
          <a:xfrm>
            <a:off x="516010" y="1655996"/>
            <a:ext cx="11161577" cy="4464000"/>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8" name="Text Placeholder 5">
            <a:extLst>
              <a:ext uri="{FF2B5EF4-FFF2-40B4-BE49-F238E27FC236}">
                <a16:creationId xmlns:a16="http://schemas.microsoft.com/office/drawing/2014/main" id="{A371C309-0082-6660-6A96-4BA557BD977B}"/>
              </a:ext>
            </a:extLst>
          </p:cNvPr>
          <p:cNvSpPr txBox="1">
            <a:spLocks noGrp="1"/>
          </p:cNvSpPr>
          <p:nvPr>
            <p:ph type="body" idx="4294967295"/>
          </p:nvPr>
        </p:nvSpPr>
        <p:spPr>
          <a:xfrm>
            <a:off x="516008" y="947742"/>
            <a:ext cx="9667545" cy="223835"/>
          </a:xfrm>
        </p:spPr>
        <p:txBody>
          <a:bodyPr>
            <a:spAutoFit/>
          </a:bodyPr>
          <a:lstStyle>
            <a:lvl1pPr marL="0" indent="0">
              <a:buNone/>
              <a:defRPr sz="1600">
                <a:solidFill>
                  <a:srgbClr val="2878FF"/>
                </a:solidFill>
              </a:defRPr>
            </a:lvl1pPr>
          </a:lstStyle>
          <a:p>
            <a:pPr lvl="0"/>
            <a:r>
              <a:rPr lang="en-US"/>
              <a:t>Click to edit Master text styles</a:t>
            </a:r>
            <a:endParaRPr lang="sv-SE"/>
          </a:p>
        </p:txBody>
      </p:sp>
      <p:pic>
        <p:nvPicPr>
          <p:cNvPr id="9" name="Graphic 8">
            <a:extLst>
              <a:ext uri="{FF2B5EF4-FFF2-40B4-BE49-F238E27FC236}">
                <a16:creationId xmlns:a16="http://schemas.microsoft.com/office/drawing/2014/main" id="{9BE9D095-EF75-D381-5056-EF78B99DA702}"/>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692257" y="311155"/>
            <a:ext cx="986922" cy="469901"/>
          </a:xfrm>
          <a:prstGeom prst="rect">
            <a:avLst/>
          </a:prstGeom>
          <a:noFill/>
          <a:ln cap="flat">
            <a:noFill/>
          </a:ln>
        </p:spPr>
      </p:pic>
      <p:sp>
        <p:nvSpPr>
          <p:cNvPr id="10" name="TextBox 10">
            <a:extLst>
              <a:ext uri="{FF2B5EF4-FFF2-40B4-BE49-F238E27FC236}">
                <a16:creationId xmlns:a16="http://schemas.microsoft.com/office/drawing/2014/main" id="{097D2D0C-567B-833F-AA8C-CDF5A8F72ECD}"/>
              </a:ext>
            </a:extLst>
          </p:cNvPr>
          <p:cNvSpPr txBox="1"/>
          <p:nvPr/>
        </p:nvSpPr>
        <p:spPr>
          <a:xfrm>
            <a:off x="-1558548" y="5525036"/>
            <a:ext cx="1390498" cy="1123797"/>
          </a:xfrm>
          <a:prstGeom prst="rect">
            <a:avLst/>
          </a:prstGeom>
          <a:solidFill>
            <a:srgbClr val="D9D9D9"/>
          </a:solidFill>
          <a:ln cap="flat">
            <a:noFill/>
          </a:ln>
        </p:spPr>
        <p:txBody>
          <a:bodyPr vert="horz" wrap="square" lIns="91428" tIns="45714" rIns="91428" bIns="45714" anchor="t" anchorCtr="1" compatLnSpc="1">
            <a:noAutofit/>
          </a:bodyPr>
          <a:lstStyle/>
          <a:p>
            <a:pPr marL="0" marR="0" lvl="0" indent="0" algn="ctr" defTabSz="914309"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800" b="0" i="0" u="none" strike="noStrike" kern="1200" cap="none" spc="0" baseline="0">
                <a:solidFill>
                  <a:srgbClr val="001965"/>
                </a:solidFill>
                <a:uFillTx/>
                <a:latin typeface="Avenir Next LT Pro"/>
              </a:rPr>
              <a:t>To insert or change footer elements, click ’Insert &gt; Header and footer’</a:t>
            </a:r>
          </a:p>
        </p:txBody>
      </p:sp>
      <p:pic>
        <p:nvPicPr>
          <p:cNvPr id="11" name="Picture 11">
            <a:extLst>
              <a:ext uri="{FF2B5EF4-FFF2-40B4-BE49-F238E27FC236}">
                <a16:creationId xmlns:a16="http://schemas.microsoft.com/office/drawing/2014/main" id="{90A3BB8B-7B74-3AF9-44C8-E89332B2EFAF}"/>
              </a:ext>
            </a:extLst>
          </p:cNvPr>
          <p:cNvPicPr>
            <a:picLocks noChangeAspect="1"/>
          </p:cNvPicPr>
          <p:nvPr/>
        </p:nvPicPr>
        <p:blipFill>
          <a:blip r:embed="rId3"/>
          <a:stretch>
            <a:fillRect/>
          </a:stretch>
        </p:blipFill>
        <p:spPr>
          <a:xfrm>
            <a:off x="-1032554" y="6043196"/>
            <a:ext cx="338509" cy="456194"/>
          </a:xfrm>
          <a:prstGeom prst="rect">
            <a:avLst/>
          </a:prstGeom>
          <a:noFill/>
          <a:ln cap="flat">
            <a:noFill/>
          </a:ln>
        </p:spPr>
      </p:pic>
      <p:sp>
        <p:nvSpPr>
          <p:cNvPr id="12" name="TextBox 12">
            <a:extLst>
              <a:ext uri="{FF2B5EF4-FFF2-40B4-BE49-F238E27FC236}">
                <a16:creationId xmlns:a16="http://schemas.microsoft.com/office/drawing/2014/main" id="{756899F0-DB6B-4E11-6078-1AB5DE94960E}"/>
              </a:ext>
            </a:extLst>
          </p:cNvPr>
          <p:cNvSpPr txBox="1"/>
          <p:nvPr/>
        </p:nvSpPr>
        <p:spPr>
          <a:xfrm>
            <a:off x="-1558548" y="1440000"/>
            <a:ext cx="1390498" cy="2476679"/>
          </a:xfrm>
          <a:prstGeom prst="rect">
            <a:avLst/>
          </a:prstGeom>
          <a:solidFill>
            <a:srgbClr val="D9D9D9"/>
          </a:solidFill>
          <a:ln cap="flat">
            <a:noFill/>
          </a:ln>
        </p:spPr>
        <p:txBody>
          <a:bodyPr vert="horz" wrap="square" lIns="91428" tIns="45714" rIns="91428" bIns="45714" anchor="t" anchorCtr="1" compatLnSpc="1">
            <a:noAutofit/>
          </a:bodyPr>
          <a:lstStyle/>
          <a:p>
            <a:pPr marL="0" marR="0" lvl="0" indent="0" algn="ctr" defTabSz="914309"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800" b="0" i="0" u="none" strike="noStrike" kern="1200" cap="none" spc="0" baseline="0">
                <a:solidFill>
                  <a:srgbClr val="001965"/>
                </a:solidFill>
                <a:uFillTx/>
                <a:latin typeface="Avenir Next LT Pro"/>
              </a:rPr>
              <a:t>To change level in the bullet list click ’Increase or Decrease List Level’</a:t>
            </a:r>
          </a:p>
          <a:p>
            <a:pPr marL="0" marR="0" lvl="0" indent="0" algn="ctr" defTabSz="914309"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800" b="0" i="0" u="none" strike="noStrike" kern="1200" cap="none" spc="0" baseline="0">
              <a:solidFill>
                <a:srgbClr val="001965"/>
              </a:solidFill>
              <a:uFillTx/>
              <a:latin typeface="Avenir Next LT Pro"/>
            </a:endParaRPr>
          </a:p>
          <a:p>
            <a:pPr marL="0" marR="0" lvl="0" indent="0" algn="ctr" defTabSz="914309"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800" b="0" i="0" u="none" strike="noStrike" kern="1200" cap="none" spc="0" baseline="0">
              <a:solidFill>
                <a:srgbClr val="001965"/>
              </a:solidFill>
              <a:uFillTx/>
              <a:latin typeface="Avenir Next LT Pro"/>
            </a:endParaRPr>
          </a:p>
          <a:p>
            <a:pPr marL="0" marR="0" lvl="0" indent="0" algn="ctr" defTabSz="914309"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800" b="0" i="0" u="none" strike="noStrike" kern="1200" cap="none" spc="0" baseline="0">
              <a:solidFill>
                <a:srgbClr val="001965"/>
              </a:solidFill>
              <a:uFillTx/>
              <a:latin typeface="Avenir Next LT Pro"/>
            </a:endParaRPr>
          </a:p>
          <a:p>
            <a:pPr marL="0" marR="0" lvl="0" indent="0" algn="ctr" defTabSz="914309"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800" b="0" i="0" u="none" strike="noStrike" kern="1200" cap="none" spc="0" baseline="0">
                <a:solidFill>
                  <a:srgbClr val="001965"/>
                </a:solidFill>
                <a:uFillTx/>
                <a:latin typeface="Avenir Next LT Pro"/>
              </a:rPr>
              <a:t>For normal body text format click ’Bullets’ to remove bullets.</a:t>
            </a:r>
          </a:p>
        </p:txBody>
      </p:sp>
      <p:pic>
        <p:nvPicPr>
          <p:cNvPr id="13" name="Picture 13">
            <a:extLst>
              <a:ext uri="{FF2B5EF4-FFF2-40B4-BE49-F238E27FC236}">
                <a16:creationId xmlns:a16="http://schemas.microsoft.com/office/drawing/2014/main" id="{95173F10-D716-38D1-6355-65BA5611D138}"/>
              </a:ext>
            </a:extLst>
          </p:cNvPr>
          <p:cNvPicPr>
            <a:picLocks noChangeAspect="1"/>
          </p:cNvPicPr>
          <p:nvPr/>
        </p:nvPicPr>
        <p:blipFill>
          <a:blip r:embed="rId4"/>
          <a:srcRect t="32177"/>
          <a:stretch>
            <a:fillRect/>
          </a:stretch>
        </p:blipFill>
        <p:spPr>
          <a:xfrm>
            <a:off x="-1404591" y="2958349"/>
            <a:ext cx="1082589" cy="836054"/>
          </a:xfrm>
          <a:prstGeom prst="rect">
            <a:avLst/>
          </a:prstGeom>
          <a:noFill/>
          <a:ln cap="flat">
            <a:noFill/>
          </a:ln>
        </p:spPr>
      </p:pic>
      <p:pic>
        <p:nvPicPr>
          <p:cNvPr id="14" name="Picture 14">
            <a:extLst>
              <a:ext uri="{FF2B5EF4-FFF2-40B4-BE49-F238E27FC236}">
                <a16:creationId xmlns:a16="http://schemas.microsoft.com/office/drawing/2014/main" id="{11DE845F-1BD8-95F3-AFB2-ACDA3C22D15E}"/>
              </a:ext>
            </a:extLst>
          </p:cNvPr>
          <p:cNvPicPr>
            <a:picLocks noChangeAspect="1"/>
          </p:cNvPicPr>
          <p:nvPr/>
        </p:nvPicPr>
        <p:blipFill>
          <a:blip r:embed="rId5"/>
          <a:stretch>
            <a:fillRect/>
          </a:stretch>
        </p:blipFill>
        <p:spPr>
          <a:xfrm>
            <a:off x="-1082303" y="1940633"/>
            <a:ext cx="438008" cy="204853"/>
          </a:xfrm>
          <a:prstGeom prst="rect">
            <a:avLst/>
          </a:prstGeom>
          <a:noFill/>
          <a:ln cap="flat">
            <a:noFill/>
          </a:ln>
        </p:spPr>
      </p:pic>
      <p:pic>
        <p:nvPicPr>
          <p:cNvPr id="15" name="Picture 15">
            <a:extLst>
              <a:ext uri="{FF2B5EF4-FFF2-40B4-BE49-F238E27FC236}">
                <a16:creationId xmlns:a16="http://schemas.microsoft.com/office/drawing/2014/main" id="{3FF5CDB0-4FC7-7B75-A43A-165C1CD3B22A}"/>
              </a:ext>
            </a:extLst>
          </p:cNvPr>
          <p:cNvPicPr>
            <a:picLocks noChangeAspect="1"/>
          </p:cNvPicPr>
          <p:nvPr/>
        </p:nvPicPr>
        <p:blipFill>
          <a:blip r:embed="rId6"/>
          <a:stretch>
            <a:fillRect/>
          </a:stretch>
        </p:blipFill>
        <p:spPr>
          <a:xfrm>
            <a:off x="-1019632" y="2663650"/>
            <a:ext cx="312656" cy="201689"/>
          </a:xfrm>
          <a:prstGeom prst="rect">
            <a:avLst/>
          </a:prstGeom>
          <a:noFill/>
          <a:ln cap="flat">
            <a:noFill/>
          </a:ln>
        </p:spPr>
      </p:pic>
    </p:spTree>
    <p:extLst>
      <p:ext uri="{BB962C8B-B14F-4D97-AF65-F5344CB8AC3E}">
        <p14:creationId xmlns:p14="http://schemas.microsoft.com/office/powerpoint/2010/main" val="350208100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Frontpage V1">
    <p:bg>
      <p:bgPr>
        <a:solidFill>
          <a:schemeClr val="bg1"/>
        </a:solidFill>
        <a:effectLst/>
      </p:bgPr>
    </p:bg>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F743A93A-5C12-3CB4-C00E-E7C2F7B03A02}"/>
              </a:ext>
            </a:extLst>
          </p:cNvPr>
          <p:cNvSpPr>
            <a:spLocks noGrp="1"/>
          </p:cNvSpPr>
          <p:nvPr>
            <p:ph sz="half" idx="1" hasCustomPrompt="1"/>
          </p:nvPr>
        </p:nvSpPr>
        <p:spPr>
          <a:xfrm>
            <a:off x="565459" y="1520709"/>
            <a:ext cx="4084600" cy="3816585"/>
          </a:xfrm>
        </p:spPr>
        <p:txBody>
          <a:bodyPr>
            <a:normAutofit fontScale="92500" lnSpcReduction="20000"/>
          </a:bodyPr>
          <a:lstStyle>
            <a:lvl1pPr marL="0" indent="0" defTabSz="898525">
              <a:buNone/>
              <a:defRPr>
                <a:solidFill>
                  <a:schemeClr val="tx1"/>
                </a:solidFill>
              </a:defRPr>
            </a:lvl1pPr>
            <a:lvl2pPr>
              <a:defRPr>
                <a:solidFill>
                  <a:schemeClr val="tx1"/>
                </a:solidFill>
              </a:defRPr>
            </a:lvl2pPr>
          </a:lstStyle>
          <a:p>
            <a:pPr marL="0" indent="0" defTabSz="889000">
              <a:buNone/>
            </a:pPr>
            <a:r>
              <a:rPr lang="en-GB" b="1"/>
              <a:t>01  </a:t>
            </a:r>
            <a:r>
              <a:rPr lang="en-GB"/>
              <a:t>xxx</a:t>
            </a:r>
          </a:p>
          <a:p>
            <a:pPr marL="0" indent="0" defTabSz="889000">
              <a:buNone/>
            </a:pPr>
            <a:r>
              <a:rPr lang="en-GB" b="1"/>
              <a:t>02</a:t>
            </a:r>
            <a:r>
              <a:rPr lang="en-GB"/>
              <a:t>  xxx</a:t>
            </a:r>
          </a:p>
          <a:p>
            <a:pPr lvl="1" defTabSz="888911"/>
            <a:r>
              <a:rPr lang="en-GB" err="1"/>
              <a:t>xxxx</a:t>
            </a:r>
            <a:endParaRPr lang="en-GB"/>
          </a:p>
          <a:p>
            <a:pPr lvl="1" defTabSz="888911"/>
            <a:r>
              <a:rPr lang="en-GB"/>
              <a:t>xxx</a:t>
            </a:r>
          </a:p>
          <a:p>
            <a:pPr lvl="1" defTabSz="888911"/>
            <a:r>
              <a:rPr lang="en-GB"/>
              <a:t>xxx</a:t>
            </a:r>
          </a:p>
          <a:p>
            <a:pPr marL="0" indent="0" defTabSz="898525">
              <a:buNone/>
            </a:pPr>
            <a:r>
              <a:rPr lang="en-GB" b="1"/>
              <a:t>03</a:t>
            </a:r>
            <a:r>
              <a:rPr lang="en-GB"/>
              <a:t>  xxx</a:t>
            </a:r>
          </a:p>
          <a:p>
            <a:pPr marL="0" indent="0" defTabSz="898525">
              <a:buNone/>
            </a:pPr>
            <a:r>
              <a:rPr lang="en-GB" b="1"/>
              <a:t>04</a:t>
            </a:r>
            <a:r>
              <a:rPr lang="en-GB"/>
              <a:t>  xxx</a:t>
            </a:r>
          </a:p>
        </p:txBody>
      </p:sp>
      <p:sp>
        <p:nvSpPr>
          <p:cNvPr id="6" name="Title 1">
            <a:extLst>
              <a:ext uri="{FF2B5EF4-FFF2-40B4-BE49-F238E27FC236}">
                <a16:creationId xmlns:a16="http://schemas.microsoft.com/office/drawing/2014/main" id="{49FB2BD3-6474-3179-E074-EAF6DC6C38EE}"/>
              </a:ext>
            </a:extLst>
          </p:cNvPr>
          <p:cNvSpPr>
            <a:spLocks noGrp="1"/>
          </p:cNvSpPr>
          <p:nvPr>
            <p:ph type="title" hasCustomPrompt="1"/>
          </p:nvPr>
        </p:nvSpPr>
        <p:spPr>
          <a:xfrm>
            <a:off x="565460" y="552715"/>
            <a:ext cx="4084600" cy="430112"/>
          </a:xfrm>
        </p:spPr>
        <p:txBody>
          <a:bodyPr/>
          <a:lstStyle>
            <a:lvl1pPr>
              <a:defRPr>
                <a:solidFill>
                  <a:schemeClr val="tx1"/>
                </a:solidFill>
              </a:defRPr>
            </a:lvl1pPr>
          </a:lstStyle>
          <a:p>
            <a:r>
              <a:rPr lang="en-US"/>
              <a:t>Agenda for today</a:t>
            </a:r>
          </a:p>
        </p:txBody>
      </p:sp>
      <p:sp>
        <p:nvSpPr>
          <p:cNvPr id="2" name="TextBox 1">
            <a:extLst>
              <a:ext uri="{FF2B5EF4-FFF2-40B4-BE49-F238E27FC236}">
                <a16:creationId xmlns:a16="http://schemas.microsoft.com/office/drawing/2014/main" id="{D7B4C8E3-589E-BAF7-1374-B6C0353999D7}"/>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4" name="TextBox 3">
            <a:extLst>
              <a:ext uri="{FF2B5EF4-FFF2-40B4-BE49-F238E27FC236}">
                <a16:creationId xmlns:a16="http://schemas.microsoft.com/office/drawing/2014/main" id="{1FFBDFB2-7277-B7A3-4EB9-52A2334C44FC}"/>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extLst>
      <p:ext uri="{BB962C8B-B14F-4D97-AF65-F5344CB8AC3E}">
        <p14:creationId xmlns:p14="http://schemas.microsoft.com/office/powerpoint/2010/main" val="620562190"/>
      </p:ext>
    </p:extLst>
  </p:cSld>
  <p:clrMapOvr>
    <a:masterClrMapping/>
  </p:clrMapOvr>
  <p:transition spd="slow">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
        <p:nvSpPr>
          <p:cNvPr id="6" name="Title 8"/>
          <p:cNvSpPr>
            <a:spLocks noGrp="1"/>
          </p:cNvSpPr>
          <p:nvPr>
            <p:ph type="title"/>
          </p:nvPr>
        </p:nvSpPr>
        <p:spPr>
          <a:xfrm>
            <a:off x="838309" y="2385601"/>
            <a:ext cx="10516970" cy="415498"/>
          </a:xfrm>
        </p:spPr>
        <p:txBody>
          <a:bodyPr/>
          <a:lstStyle>
            <a:lvl1pPr algn="ctr">
              <a:defRPr>
                <a:solidFill>
                  <a:schemeClr val="tx2"/>
                </a:solidFill>
              </a:defRPr>
            </a:lvl1pPr>
          </a:lstStyle>
          <a:p>
            <a:r>
              <a:rPr lang="en-US"/>
              <a:t>Click to edit Master title style</a:t>
            </a:r>
          </a:p>
        </p:txBody>
      </p:sp>
      <p:sp>
        <p:nvSpPr>
          <p:cNvPr id="9" name="Text Placeholder 3"/>
          <p:cNvSpPr>
            <a:spLocks noGrp="1"/>
          </p:cNvSpPr>
          <p:nvPr>
            <p:ph type="body" sz="quarter" idx="11"/>
          </p:nvPr>
        </p:nvSpPr>
        <p:spPr>
          <a:xfrm>
            <a:off x="838309" y="3025861"/>
            <a:ext cx="10516970" cy="249299"/>
          </a:xfrm>
          <a:prstGeom prst="rect">
            <a:avLst/>
          </a:prstGeom>
        </p:spPr>
        <p:txBody>
          <a:bodyPr/>
          <a:lstStyle>
            <a:lvl1pPr marL="0" indent="0" algn="ctr">
              <a:buNone/>
              <a:defRPr b="0" i="0">
                <a:solidFill>
                  <a:schemeClr val="tx1"/>
                </a:solidFill>
                <a:latin typeface="Avenir Next LT Pro" panose="020B0504020202020204" pitchFamily="34" charset="77"/>
              </a:defRPr>
            </a:lvl1pPr>
          </a:lstStyle>
          <a:p>
            <a:pPr lvl="0"/>
            <a:r>
              <a:rPr lang="en-US"/>
              <a:t>Click to edit Master text styles</a:t>
            </a:r>
          </a:p>
        </p:txBody>
      </p:sp>
    </p:spTree>
    <p:extLst>
      <p:ext uri="{BB962C8B-B14F-4D97-AF65-F5344CB8AC3E}">
        <p14:creationId xmlns:p14="http://schemas.microsoft.com/office/powerpoint/2010/main" val="461163070"/>
      </p:ext>
    </p:extLst>
  </p:cSld>
  <p:clrMapOvr>
    <a:masterClrMapping/>
  </p:clrMapOvr>
  <p:transition spd="slow">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eft half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F95D9BF-B5A2-7247-9F4C-290817CA94AF}"/>
              </a:ext>
            </a:extLst>
          </p:cNvPr>
          <p:cNvSpPr/>
          <p:nvPr userDrawn="1"/>
        </p:nvSpPr>
        <p:spPr>
          <a:xfrm>
            <a:off x="6096794" y="0"/>
            <a:ext cx="609679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7" name="Picture Placeholder 3"/>
          <p:cNvSpPr>
            <a:spLocks noGrp="1"/>
          </p:cNvSpPr>
          <p:nvPr>
            <p:ph type="pic" sz="quarter" idx="10"/>
          </p:nvPr>
        </p:nvSpPr>
        <p:spPr>
          <a:xfrm>
            <a:off x="0" y="1"/>
            <a:ext cx="6096794" cy="2215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69" y="1924052"/>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4" name="Title 1">
            <a:extLst>
              <a:ext uri="{FF2B5EF4-FFF2-40B4-BE49-F238E27FC236}">
                <a16:creationId xmlns:a16="http://schemas.microsoft.com/office/drawing/2014/main" id="{DA047FE9-9C49-EB6D-2238-A8736778D9BF}"/>
              </a:ext>
            </a:extLst>
          </p:cNvPr>
          <p:cNvSpPr>
            <a:spLocks noGrp="1"/>
          </p:cNvSpPr>
          <p:nvPr>
            <p:ph type="title"/>
          </p:nvPr>
        </p:nvSpPr>
        <p:spPr>
          <a:xfrm>
            <a:off x="6446569" y="552715"/>
            <a:ext cx="5266953" cy="830997"/>
          </a:xfrm>
        </p:spPr>
        <p:txBody>
          <a:bodyPr/>
          <a:lstStyle>
            <a:lvl1pPr>
              <a:defRPr>
                <a:solidFill>
                  <a:schemeClr val="bg1"/>
                </a:solidFill>
              </a:defRPr>
            </a:lvl1pPr>
          </a:lstStyle>
          <a:p>
            <a:r>
              <a:rPr lang="en-US"/>
              <a:t>Click to edit Master title style</a:t>
            </a:r>
          </a:p>
        </p:txBody>
      </p:sp>
      <p:sp>
        <p:nvSpPr>
          <p:cNvPr id="5" name="Text Placeholder 9">
            <a:extLst>
              <a:ext uri="{FF2B5EF4-FFF2-40B4-BE49-F238E27FC236}">
                <a16:creationId xmlns:a16="http://schemas.microsoft.com/office/drawing/2014/main" id="{DEB7BC04-5F36-58FD-B27A-C6E6E6064FD4}"/>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2DC6463-53AF-2341-D32C-EDEAE3A3F7C8}"/>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bg1"/>
                </a:solidFill>
                <a:latin typeface="Avenir Next LT Pro" panose="020B0504020202020204" pitchFamily="34" charset="77"/>
              </a:rPr>
              <a:pPr algn="r"/>
              <a:t>‹#›</a:t>
            </a:fld>
            <a:endParaRPr lang="en-US" sz="1000" b="0" i="0" spc="40" baseline="0">
              <a:solidFill>
                <a:schemeClr val="bg1"/>
              </a:solidFill>
              <a:latin typeface="Avenir Next LT Pro" panose="020B0504020202020204" pitchFamily="34" charset="77"/>
            </a:endParaRPr>
          </a:p>
        </p:txBody>
      </p:sp>
    </p:spTree>
  </p:cSld>
  <p:clrMapOvr>
    <a:masterClrMapping/>
  </p:clrMapOvr>
  <p:transition spd="slow">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itles only">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2" name="Title 1">
            <a:extLst>
              <a:ext uri="{FF2B5EF4-FFF2-40B4-BE49-F238E27FC236}">
                <a16:creationId xmlns:a16="http://schemas.microsoft.com/office/drawing/2014/main" id="{083E5FDF-E153-FB83-59F8-C3342050DE2D}"/>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9DD7CAFE-A12E-5475-CF59-1899CB4CCFB7}"/>
              </a:ext>
            </a:extLst>
          </p:cNvPr>
          <p:cNvSpPr>
            <a:spLocks noGrp="1"/>
          </p:cNvSpPr>
          <p:nvPr>
            <p:ph type="body" sz="quarter" idx="11"/>
          </p:nvPr>
        </p:nvSpPr>
        <p:spPr>
          <a:xfrm>
            <a:off x="565460"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F2A6583E-996E-9E75-7882-FF852DCA2D48}"/>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Picture 5">
            <a:extLst>
              <a:ext uri="{FF2B5EF4-FFF2-40B4-BE49-F238E27FC236}">
                <a16:creationId xmlns:a16="http://schemas.microsoft.com/office/drawing/2014/main" id="{E2EAFABD-A834-1219-E14E-2E1C48DE5E5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Tree>
    <p:extLst>
      <p:ext uri="{BB962C8B-B14F-4D97-AF65-F5344CB8AC3E}">
        <p14:creationId xmlns:p14="http://schemas.microsoft.com/office/powerpoint/2010/main" val="1503259716"/>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7" name="Rectangle 6">
            <a:extLst>
              <a:ext uri="{FF2B5EF4-FFF2-40B4-BE49-F238E27FC236}">
                <a16:creationId xmlns:a16="http://schemas.microsoft.com/office/drawing/2014/main" id="{9DB270F1-B40D-2246-A956-F1D47E227370}"/>
              </a:ext>
            </a:extLst>
          </p:cNvPr>
          <p:cNvSpPr/>
          <p:nvPr userDrawn="1"/>
        </p:nvSpPr>
        <p:spPr>
          <a:xfrm>
            <a:off x="0" y="1458000"/>
            <a:ext cx="12193588" cy="540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2" name="Title 1">
            <a:extLst>
              <a:ext uri="{FF2B5EF4-FFF2-40B4-BE49-F238E27FC236}">
                <a16:creationId xmlns:a16="http://schemas.microsoft.com/office/drawing/2014/main" id="{C48E50A3-CD8F-C800-8D64-A2446E516B96}"/>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BEEB4D7A-3FF8-2422-96A4-39526DE5BA7E}"/>
              </a:ext>
            </a:extLst>
          </p:cNvPr>
          <p:cNvSpPr>
            <a:spLocks noGrp="1"/>
          </p:cNvSpPr>
          <p:nvPr>
            <p:ph type="body" sz="quarter" idx="11"/>
          </p:nvPr>
        </p:nvSpPr>
        <p:spPr>
          <a:xfrm>
            <a:off x="565460"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CC426A7C-39F7-A545-D883-51CB79E99304}"/>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Picture 5">
            <a:extLst>
              <a:ext uri="{FF2B5EF4-FFF2-40B4-BE49-F238E27FC236}">
                <a16:creationId xmlns:a16="http://schemas.microsoft.com/office/drawing/2014/main" id="{7E4A1A02-4E75-2321-8F02-7C54C820D6C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Tree>
    <p:extLst>
      <p:ext uri="{BB962C8B-B14F-4D97-AF65-F5344CB8AC3E}">
        <p14:creationId xmlns:p14="http://schemas.microsoft.com/office/powerpoint/2010/main" val="3072800645"/>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_Titles only">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2" name="Rectangle 1">
            <a:extLst>
              <a:ext uri="{FF2B5EF4-FFF2-40B4-BE49-F238E27FC236}">
                <a16:creationId xmlns:a16="http://schemas.microsoft.com/office/drawing/2014/main" id="{13782217-6487-F6BB-01E4-499FC8E30A1F}"/>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3" name="Title 1">
            <a:extLst>
              <a:ext uri="{FF2B5EF4-FFF2-40B4-BE49-F238E27FC236}">
                <a16:creationId xmlns:a16="http://schemas.microsoft.com/office/drawing/2014/main" id="{89549BBD-E8E8-2346-3D50-48B478C393EF}"/>
              </a:ext>
            </a:extLst>
          </p:cNvPr>
          <p:cNvSpPr>
            <a:spLocks noGrp="1"/>
          </p:cNvSpPr>
          <p:nvPr>
            <p:ph type="title"/>
          </p:nvPr>
        </p:nvSpPr>
        <p:spPr>
          <a:xfrm>
            <a:off x="565460" y="552717"/>
            <a:ext cx="10245477" cy="360099"/>
          </a:xfrm>
        </p:spPr>
        <p:txBody>
          <a:bodyPr/>
          <a:lstStyle>
            <a:lvl1pPr>
              <a:defRPr sz="2600">
                <a:solidFill>
                  <a:schemeClr val="tx1"/>
                </a:solidFill>
              </a:defRPr>
            </a:lvl1pPr>
          </a:lstStyle>
          <a:p>
            <a:r>
              <a:rPr lang="en-US"/>
              <a:t>Click to edit Master title style</a:t>
            </a:r>
          </a:p>
        </p:txBody>
      </p:sp>
      <p:sp>
        <p:nvSpPr>
          <p:cNvPr id="4" name="Text Placeholder 9">
            <a:extLst>
              <a:ext uri="{FF2B5EF4-FFF2-40B4-BE49-F238E27FC236}">
                <a16:creationId xmlns:a16="http://schemas.microsoft.com/office/drawing/2014/main" id="{18774A25-19A6-95AF-8FB4-98DFE8F1382B}"/>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9027F306-9D8C-2F25-FD18-D6EB3DE8FC5D}"/>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Tree>
    <p:extLst>
      <p:ext uri="{BB962C8B-B14F-4D97-AF65-F5344CB8AC3E}">
        <p14:creationId xmlns:p14="http://schemas.microsoft.com/office/powerpoint/2010/main" val="553043284"/>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s + text">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2" name="Text Placeholder 5"/>
          <p:cNvSpPr>
            <a:spLocks noGrp="1"/>
          </p:cNvSpPr>
          <p:nvPr>
            <p:ph type="body" sz="quarter" idx="12"/>
          </p:nvPr>
        </p:nvSpPr>
        <p:spPr>
          <a:xfrm>
            <a:off x="565459" y="1634068"/>
            <a:ext cx="11029035" cy="84843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3" name="Title 1">
            <a:extLst>
              <a:ext uri="{FF2B5EF4-FFF2-40B4-BE49-F238E27FC236}">
                <a16:creationId xmlns:a16="http://schemas.microsoft.com/office/drawing/2014/main" id="{4320D004-6754-4910-E736-BD1ADFAF98CC}"/>
              </a:ext>
            </a:extLst>
          </p:cNvPr>
          <p:cNvSpPr>
            <a:spLocks noGrp="1"/>
          </p:cNvSpPr>
          <p:nvPr>
            <p:ph type="title"/>
          </p:nvPr>
        </p:nvSpPr>
        <p:spPr>
          <a:xfrm>
            <a:off x="565460" y="552715"/>
            <a:ext cx="10098869"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39C08247-062F-0676-8498-BA3B732A36AC}"/>
              </a:ext>
            </a:extLst>
          </p:cNvPr>
          <p:cNvSpPr>
            <a:spLocks noGrp="1"/>
          </p:cNvSpPr>
          <p:nvPr>
            <p:ph type="body" sz="quarter" idx="11"/>
          </p:nvPr>
        </p:nvSpPr>
        <p:spPr>
          <a:xfrm>
            <a:off x="565460"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151A6EC8-761A-C152-2663-47D998769EFC}"/>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5" name="Picture 4">
            <a:extLst>
              <a:ext uri="{FF2B5EF4-FFF2-40B4-BE49-F238E27FC236}">
                <a16:creationId xmlns:a16="http://schemas.microsoft.com/office/drawing/2014/main" id="{DF5DAF3B-026C-A6E0-2B3B-6A8045BED3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Tree>
    <p:extLst>
      <p:ext uri="{BB962C8B-B14F-4D97-AF65-F5344CB8AC3E}">
        <p14:creationId xmlns:p14="http://schemas.microsoft.com/office/powerpoint/2010/main" val="51463621"/>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4_Titles +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5DCBE4-2474-E18F-D85B-AD8A02BDAB2C}"/>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3" name="Title 1">
            <a:extLst>
              <a:ext uri="{FF2B5EF4-FFF2-40B4-BE49-F238E27FC236}">
                <a16:creationId xmlns:a16="http://schemas.microsoft.com/office/drawing/2014/main" id="{E0A6DB9D-E6AB-6967-43E9-EE1FC0BE859A}"/>
              </a:ext>
            </a:extLst>
          </p:cNvPr>
          <p:cNvSpPr>
            <a:spLocks noGrp="1"/>
          </p:cNvSpPr>
          <p:nvPr>
            <p:ph type="title"/>
          </p:nvPr>
        </p:nvSpPr>
        <p:spPr>
          <a:xfrm>
            <a:off x="565460" y="552717"/>
            <a:ext cx="10098869" cy="360099"/>
          </a:xfrm>
        </p:spPr>
        <p:txBody>
          <a:bodyPr/>
          <a:lstStyle>
            <a:lvl1pPr>
              <a:defRPr sz="2600">
                <a:solidFill>
                  <a:schemeClr val="tx1"/>
                </a:solidFill>
              </a:defRPr>
            </a:lvl1pPr>
          </a:lstStyle>
          <a:p>
            <a:r>
              <a:rPr lang="en-US"/>
              <a:t>Click to edit Master title style</a:t>
            </a:r>
          </a:p>
        </p:txBody>
      </p:sp>
      <p:sp>
        <p:nvSpPr>
          <p:cNvPr id="4" name="Text Placeholder 9">
            <a:extLst>
              <a:ext uri="{FF2B5EF4-FFF2-40B4-BE49-F238E27FC236}">
                <a16:creationId xmlns:a16="http://schemas.microsoft.com/office/drawing/2014/main" id="{286C8244-E396-CD67-B252-189D777C81BE}"/>
              </a:ext>
            </a:extLst>
          </p:cNvPr>
          <p:cNvSpPr>
            <a:spLocks noGrp="1"/>
          </p:cNvSpPr>
          <p:nvPr>
            <p:ph type="body" sz="quarter" idx="11"/>
          </p:nvPr>
        </p:nvSpPr>
        <p:spPr>
          <a:xfrm>
            <a:off x="565460"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12" name="Text Placeholder 5"/>
          <p:cNvSpPr>
            <a:spLocks noGrp="1"/>
          </p:cNvSpPr>
          <p:nvPr>
            <p:ph type="body" sz="quarter" idx="12"/>
          </p:nvPr>
        </p:nvSpPr>
        <p:spPr>
          <a:xfrm>
            <a:off x="565459" y="1634068"/>
            <a:ext cx="11029035" cy="84843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5" name="TextBox 4">
            <a:extLst>
              <a:ext uri="{FF2B5EF4-FFF2-40B4-BE49-F238E27FC236}">
                <a16:creationId xmlns:a16="http://schemas.microsoft.com/office/drawing/2014/main" id="{9AE4B553-B7AB-8210-F80F-5BEF4CCCCF0C}"/>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7" name="Picture 6">
            <a:extLst>
              <a:ext uri="{FF2B5EF4-FFF2-40B4-BE49-F238E27FC236}">
                <a16:creationId xmlns:a16="http://schemas.microsoft.com/office/drawing/2014/main" id="{983BA646-354B-0013-CA72-2C2F36029C2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Tree>
    <p:extLst>
      <p:ext uri="{BB962C8B-B14F-4D97-AF65-F5344CB8AC3E}">
        <p14:creationId xmlns:p14="http://schemas.microsoft.com/office/powerpoint/2010/main" val="3130481761"/>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itles +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5DCBE4-2474-E18F-D85B-AD8A02BDAB2C}"/>
              </a:ext>
            </a:extLst>
          </p:cNvPr>
          <p:cNvSpPr/>
          <p:nvPr userDrawn="1"/>
        </p:nvSpPr>
        <p:spPr>
          <a:xfrm>
            <a:off x="0" y="1458000"/>
            <a:ext cx="12193588" cy="540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3" name="Title 1">
            <a:extLst>
              <a:ext uri="{FF2B5EF4-FFF2-40B4-BE49-F238E27FC236}">
                <a16:creationId xmlns:a16="http://schemas.microsoft.com/office/drawing/2014/main" id="{E0A6DB9D-E6AB-6967-43E9-EE1FC0BE859A}"/>
              </a:ext>
            </a:extLst>
          </p:cNvPr>
          <p:cNvSpPr>
            <a:spLocks noGrp="1"/>
          </p:cNvSpPr>
          <p:nvPr>
            <p:ph type="title"/>
          </p:nvPr>
        </p:nvSpPr>
        <p:spPr>
          <a:xfrm>
            <a:off x="565460" y="552717"/>
            <a:ext cx="10098869" cy="360099"/>
          </a:xfrm>
        </p:spPr>
        <p:txBody>
          <a:bodyPr/>
          <a:lstStyle>
            <a:lvl1pPr>
              <a:defRPr sz="2600">
                <a:solidFill>
                  <a:schemeClr val="tx1"/>
                </a:solidFill>
              </a:defRPr>
            </a:lvl1pPr>
          </a:lstStyle>
          <a:p>
            <a:r>
              <a:rPr lang="en-US"/>
              <a:t>Click to edit Master title style</a:t>
            </a:r>
          </a:p>
        </p:txBody>
      </p:sp>
      <p:sp>
        <p:nvSpPr>
          <p:cNvPr id="4" name="Text Placeholder 9">
            <a:extLst>
              <a:ext uri="{FF2B5EF4-FFF2-40B4-BE49-F238E27FC236}">
                <a16:creationId xmlns:a16="http://schemas.microsoft.com/office/drawing/2014/main" id="{286C8244-E396-CD67-B252-189D777C81BE}"/>
              </a:ext>
            </a:extLst>
          </p:cNvPr>
          <p:cNvSpPr>
            <a:spLocks noGrp="1"/>
          </p:cNvSpPr>
          <p:nvPr>
            <p:ph type="body" sz="quarter" idx="11"/>
          </p:nvPr>
        </p:nvSpPr>
        <p:spPr>
          <a:xfrm>
            <a:off x="565460"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9AE4B553-B7AB-8210-F80F-5BEF4CCCCF0C}"/>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7" name="Picture 6">
            <a:extLst>
              <a:ext uri="{FF2B5EF4-FFF2-40B4-BE49-F238E27FC236}">
                <a16:creationId xmlns:a16="http://schemas.microsoft.com/office/drawing/2014/main" id="{983BA646-354B-0013-CA72-2C2F36029C2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Tree>
    <p:extLst>
      <p:ext uri="{BB962C8B-B14F-4D97-AF65-F5344CB8AC3E}">
        <p14:creationId xmlns:p14="http://schemas.microsoft.com/office/powerpoint/2010/main" val="3235525300"/>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with logo">
    <p:spTree>
      <p:nvGrpSpPr>
        <p:cNvPr id="1" name=""/>
        <p:cNvGrpSpPr/>
        <p:nvPr/>
      </p:nvGrpSpPr>
      <p:grpSpPr>
        <a:xfrm>
          <a:off x="0" y="0"/>
          <a:ext cx="0" cy="0"/>
          <a:chOff x="0" y="0"/>
          <a:chExt cx="0" cy="0"/>
        </a:xfrm>
      </p:grpSpPr>
      <p:sp>
        <p:nvSpPr>
          <p:cNvPr id="11" name="TextBox 10"/>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3" name="TextBox 2">
            <a:extLst>
              <a:ext uri="{FF2B5EF4-FFF2-40B4-BE49-F238E27FC236}">
                <a16:creationId xmlns:a16="http://schemas.microsoft.com/office/drawing/2014/main" id="{74007645-3940-90E7-9372-244CB8868E17}"/>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4" name="TextBox 3">
            <a:extLst>
              <a:ext uri="{FF2B5EF4-FFF2-40B4-BE49-F238E27FC236}">
                <a16:creationId xmlns:a16="http://schemas.microsoft.com/office/drawing/2014/main" id="{24BABFC5-BDD2-FF8A-6D55-428C6DA89640}"/>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5" name="Picture 4">
            <a:extLst>
              <a:ext uri="{FF2B5EF4-FFF2-40B4-BE49-F238E27FC236}">
                <a16:creationId xmlns:a16="http://schemas.microsoft.com/office/drawing/2014/main" id="{BC771D4F-F148-8782-BD85-C1149E046D7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Tree>
    <p:extLst>
      <p:ext uri="{BB962C8B-B14F-4D97-AF65-F5344CB8AC3E}">
        <p14:creationId xmlns:p14="http://schemas.microsoft.com/office/powerpoint/2010/main" val="641016106"/>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74764"/>
      </p:ext>
    </p:extLst>
  </p:cSld>
  <p:clrMapOvr>
    <a:masterClrMapping/>
  </p:clrMapOvr>
  <p:transition spd="slow">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 image + description">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5" name="Text Placeholder 4"/>
          <p:cNvSpPr>
            <a:spLocks noGrp="1"/>
          </p:cNvSpPr>
          <p:nvPr>
            <p:ph type="body" sz="quarter" idx="15"/>
          </p:nvPr>
        </p:nvSpPr>
        <p:spPr>
          <a:xfrm>
            <a:off x="2600684" y="5753952"/>
            <a:ext cx="6992222"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7" name="Content Placeholder 6"/>
          <p:cNvSpPr>
            <a:spLocks noGrp="1"/>
          </p:cNvSpPr>
          <p:nvPr>
            <p:ph sz="quarter" idx="18" hasCustomPrompt="1"/>
          </p:nvPr>
        </p:nvSpPr>
        <p:spPr>
          <a:xfrm>
            <a:off x="2600684" y="1614956"/>
            <a:ext cx="6992223" cy="3904102"/>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 name="Title 1">
            <a:extLst>
              <a:ext uri="{FF2B5EF4-FFF2-40B4-BE49-F238E27FC236}">
                <a16:creationId xmlns:a16="http://schemas.microsoft.com/office/drawing/2014/main" id="{9E7E88F5-D369-B5E8-346F-19CD58348CD4}"/>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C1A5512B-5BEA-917E-32FE-EA67BB6D091E}"/>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675A382E-848B-532C-6EE1-4DAC99A77161}"/>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8" name="TextBox 7">
            <a:extLst>
              <a:ext uri="{FF2B5EF4-FFF2-40B4-BE49-F238E27FC236}">
                <a16:creationId xmlns:a16="http://schemas.microsoft.com/office/drawing/2014/main" id="{56325CAD-D2AD-A4CC-7581-280CBE85E670}"/>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9" name="Picture 8">
            <a:extLst>
              <a:ext uri="{FF2B5EF4-FFF2-40B4-BE49-F238E27FC236}">
                <a16:creationId xmlns:a16="http://schemas.microsoft.com/office/drawing/2014/main" id="{74E50CC7-DFA0-B925-FB5C-C63AA1A6F81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Tree>
    <p:extLst>
      <p:ext uri="{BB962C8B-B14F-4D97-AF65-F5344CB8AC3E}">
        <p14:creationId xmlns:p14="http://schemas.microsoft.com/office/powerpoint/2010/main" val="3376900716"/>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 images + description">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5" name="Text Placeholder 4"/>
          <p:cNvSpPr>
            <a:spLocks noGrp="1"/>
          </p:cNvSpPr>
          <p:nvPr>
            <p:ph type="body" sz="quarter" idx="15"/>
          </p:nvPr>
        </p:nvSpPr>
        <p:spPr>
          <a:xfrm>
            <a:off x="565459" y="5689758"/>
            <a:ext cx="5342777"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7" name="Content Placeholder 6"/>
          <p:cNvSpPr>
            <a:spLocks noGrp="1"/>
          </p:cNvSpPr>
          <p:nvPr>
            <p:ph sz="quarter" idx="18" hasCustomPrompt="1"/>
          </p:nvPr>
        </p:nvSpPr>
        <p:spPr>
          <a:xfrm>
            <a:off x="565459" y="1614957"/>
            <a:ext cx="5342776" cy="3864451"/>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2" name="Text Placeholder 4"/>
          <p:cNvSpPr>
            <a:spLocks noGrp="1"/>
          </p:cNvSpPr>
          <p:nvPr>
            <p:ph type="body" sz="quarter" idx="19"/>
          </p:nvPr>
        </p:nvSpPr>
        <p:spPr>
          <a:xfrm>
            <a:off x="6251605" y="5689758"/>
            <a:ext cx="5342777"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33" name="Content Placeholder 6"/>
          <p:cNvSpPr>
            <a:spLocks noGrp="1"/>
          </p:cNvSpPr>
          <p:nvPr>
            <p:ph sz="quarter" idx="20" hasCustomPrompt="1"/>
          </p:nvPr>
        </p:nvSpPr>
        <p:spPr>
          <a:xfrm>
            <a:off x="6251605" y="1614957"/>
            <a:ext cx="5342776" cy="3864451"/>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 name="Title 1">
            <a:extLst>
              <a:ext uri="{FF2B5EF4-FFF2-40B4-BE49-F238E27FC236}">
                <a16:creationId xmlns:a16="http://schemas.microsoft.com/office/drawing/2014/main" id="{90E6320A-1F87-8EA3-F808-3E4EC991B123}"/>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9A5852C2-3026-2B9A-A292-E9D26B2874D0}"/>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C6B656C-52BA-08CB-942C-1AAFEA03D6B7}"/>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8" name="TextBox 7">
            <a:extLst>
              <a:ext uri="{FF2B5EF4-FFF2-40B4-BE49-F238E27FC236}">
                <a16:creationId xmlns:a16="http://schemas.microsoft.com/office/drawing/2014/main" id="{5406B0B8-DE6A-5EA0-6734-73B95E9FB636}"/>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9" name="Picture 8">
            <a:extLst>
              <a:ext uri="{FF2B5EF4-FFF2-40B4-BE49-F238E27FC236}">
                <a16:creationId xmlns:a16="http://schemas.microsoft.com/office/drawing/2014/main" id="{20BBBEDD-2A4F-0AB6-3950-439655AC0F7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Tree>
    <p:extLst>
      <p:ext uri="{BB962C8B-B14F-4D97-AF65-F5344CB8AC3E}">
        <p14:creationId xmlns:p14="http://schemas.microsoft.com/office/powerpoint/2010/main" val="2426349156"/>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Left half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F95D9BF-B5A2-7247-9F4C-290817CA94AF}"/>
              </a:ext>
            </a:extLst>
          </p:cNvPr>
          <p:cNvSpPr/>
          <p:nvPr userDrawn="1"/>
        </p:nvSpPr>
        <p:spPr>
          <a:xfrm>
            <a:off x="6096794" y="0"/>
            <a:ext cx="6096794" cy="6858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7" name="Picture Placeholder 3"/>
          <p:cNvSpPr>
            <a:spLocks noGrp="1"/>
          </p:cNvSpPr>
          <p:nvPr>
            <p:ph type="pic" sz="quarter" idx="10"/>
          </p:nvPr>
        </p:nvSpPr>
        <p:spPr>
          <a:xfrm>
            <a:off x="0" y="1"/>
            <a:ext cx="6096794" cy="2215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69" y="1924052"/>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4" name="Title 1">
            <a:extLst>
              <a:ext uri="{FF2B5EF4-FFF2-40B4-BE49-F238E27FC236}">
                <a16:creationId xmlns:a16="http://schemas.microsoft.com/office/drawing/2014/main" id="{DA047FE9-9C49-EB6D-2238-A8736778D9BF}"/>
              </a:ext>
            </a:extLst>
          </p:cNvPr>
          <p:cNvSpPr>
            <a:spLocks noGrp="1"/>
          </p:cNvSpPr>
          <p:nvPr>
            <p:ph type="title"/>
          </p:nvPr>
        </p:nvSpPr>
        <p:spPr>
          <a:xfrm>
            <a:off x="6446569" y="552715"/>
            <a:ext cx="5266953" cy="830997"/>
          </a:xfrm>
        </p:spPr>
        <p:txBody>
          <a:bodyPr/>
          <a:lstStyle>
            <a:lvl1pPr>
              <a:defRPr>
                <a:solidFill>
                  <a:schemeClr val="bg1"/>
                </a:solidFill>
              </a:defRPr>
            </a:lvl1pPr>
          </a:lstStyle>
          <a:p>
            <a:r>
              <a:rPr lang="en-US"/>
              <a:t>Click to edit Master title style</a:t>
            </a:r>
          </a:p>
        </p:txBody>
      </p:sp>
      <p:sp>
        <p:nvSpPr>
          <p:cNvPr id="5" name="Text Placeholder 9">
            <a:extLst>
              <a:ext uri="{FF2B5EF4-FFF2-40B4-BE49-F238E27FC236}">
                <a16:creationId xmlns:a16="http://schemas.microsoft.com/office/drawing/2014/main" id="{DEB7BC04-5F36-58FD-B27A-C6E6E6064FD4}"/>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2DC6463-53AF-2341-D32C-EDEAE3A3F7C8}"/>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1"/>
                </a:solidFill>
                <a:latin typeface="Avenir Next LT Pro" panose="020B0504020202020204" pitchFamily="34" charset="77"/>
              </a:rPr>
              <a:pPr algn="r"/>
              <a:t>‹#›</a:t>
            </a:fld>
            <a:endParaRPr lang="en-US" sz="1000" b="0" i="0" spc="40" baseline="0">
              <a:solidFill>
                <a:schemeClr val="tx1"/>
              </a:solidFill>
              <a:latin typeface="Avenir Next LT Pro" panose="020B0504020202020204" pitchFamily="34" charset="77"/>
            </a:endParaRPr>
          </a:p>
        </p:txBody>
      </p:sp>
    </p:spTree>
    <p:extLst>
      <p:ext uri="{BB962C8B-B14F-4D97-AF65-F5344CB8AC3E}">
        <p14:creationId xmlns:p14="http://schemas.microsoft.com/office/powerpoint/2010/main" val="1869724773"/>
      </p:ext>
    </p:extLst>
  </p:cSld>
  <p:clrMapOvr>
    <a:masterClrMapping/>
  </p:clrMapOvr>
  <p:transition spd="slow">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3 images + descri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887A79-7AC5-5C4A-503C-92DC098B758E}"/>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4" name="Content Placeholder 3"/>
          <p:cNvSpPr>
            <a:spLocks noGrp="1"/>
          </p:cNvSpPr>
          <p:nvPr>
            <p:ph sz="quarter" idx="18" hasCustomPrompt="1"/>
          </p:nvPr>
        </p:nvSpPr>
        <p:spPr>
          <a:xfrm>
            <a:off x="565460"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5" name="Text Placeholder 4"/>
          <p:cNvSpPr>
            <a:spLocks noGrp="1"/>
          </p:cNvSpPr>
          <p:nvPr>
            <p:ph type="body" sz="quarter" idx="15"/>
          </p:nvPr>
        </p:nvSpPr>
        <p:spPr>
          <a:xfrm>
            <a:off x="551938" y="5098408"/>
            <a:ext cx="3529869"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26" name="Content Placeholder 3">
            <a:extLst>
              <a:ext uri="{FF2B5EF4-FFF2-40B4-BE49-F238E27FC236}">
                <a16:creationId xmlns:a16="http://schemas.microsoft.com/office/drawing/2014/main" id="{9E472C2D-B119-1348-ABB7-4B27DBE81FC4}"/>
              </a:ext>
            </a:extLst>
          </p:cNvPr>
          <p:cNvSpPr>
            <a:spLocks noGrp="1"/>
          </p:cNvSpPr>
          <p:nvPr>
            <p:ph sz="quarter" idx="19" hasCustomPrompt="1"/>
          </p:nvPr>
        </p:nvSpPr>
        <p:spPr>
          <a:xfrm>
            <a:off x="4315588"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7" name="Text Placeholder 4">
            <a:extLst>
              <a:ext uri="{FF2B5EF4-FFF2-40B4-BE49-F238E27FC236}">
                <a16:creationId xmlns:a16="http://schemas.microsoft.com/office/drawing/2014/main" id="{6B86DBF1-6757-494E-BB09-B02F75D7942F}"/>
              </a:ext>
            </a:extLst>
          </p:cNvPr>
          <p:cNvSpPr>
            <a:spLocks noGrp="1"/>
          </p:cNvSpPr>
          <p:nvPr>
            <p:ph type="body" sz="quarter" idx="20"/>
          </p:nvPr>
        </p:nvSpPr>
        <p:spPr>
          <a:xfrm>
            <a:off x="4315589" y="5098408"/>
            <a:ext cx="3529869"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28" name="Content Placeholder 3">
            <a:extLst>
              <a:ext uri="{FF2B5EF4-FFF2-40B4-BE49-F238E27FC236}">
                <a16:creationId xmlns:a16="http://schemas.microsoft.com/office/drawing/2014/main" id="{9D47F0CA-7587-3F49-929E-E48CC948FFEF}"/>
              </a:ext>
            </a:extLst>
          </p:cNvPr>
          <p:cNvSpPr>
            <a:spLocks noGrp="1"/>
          </p:cNvSpPr>
          <p:nvPr>
            <p:ph sz="quarter" idx="21" hasCustomPrompt="1"/>
          </p:nvPr>
        </p:nvSpPr>
        <p:spPr>
          <a:xfrm>
            <a:off x="8065717"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9" name="Text Placeholder 4">
            <a:extLst>
              <a:ext uri="{FF2B5EF4-FFF2-40B4-BE49-F238E27FC236}">
                <a16:creationId xmlns:a16="http://schemas.microsoft.com/office/drawing/2014/main" id="{C231C06B-3EE2-A348-A91C-CAFBBAF74FA0}"/>
              </a:ext>
            </a:extLst>
          </p:cNvPr>
          <p:cNvSpPr>
            <a:spLocks noGrp="1"/>
          </p:cNvSpPr>
          <p:nvPr>
            <p:ph type="body" sz="quarter" idx="22"/>
          </p:nvPr>
        </p:nvSpPr>
        <p:spPr>
          <a:xfrm>
            <a:off x="8065718" y="5098408"/>
            <a:ext cx="3529869"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3" name="Title 1">
            <a:extLst>
              <a:ext uri="{FF2B5EF4-FFF2-40B4-BE49-F238E27FC236}">
                <a16:creationId xmlns:a16="http://schemas.microsoft.com/office/drawing/2014/main" id="{DBF411DD-945C-4A72-1FBB-BC99017FA8F9}"/>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6" name="Text Placeholder 9">
            <a:extLst>
              <a:ext uri="{FF2B5EF4-FFF2-40B4-BE49-F238E27FC236}">
                <a16:creationId xmlns:a16="http://schemas.microsoft.com/office/drawing/2014/main" id="{7945EEC3-B051-A336-D42E-3BB3BFCED291}"/>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8" name="TextBox 7">
            <a:extLst>
              <a:ext uri="{FF2B5EF4-FFF2-40B4-BE49-F238E27FC236}">
                <a16:creationId xmlns:a16="http://schemas.microsoft.com/office/drawing/2014/main" id="{18E0ADA8-4CE7-A0B6-7DF3-AD8AA6E44AE0}"/>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9" name="Picture 8">
            <a:extLst>
              <a:ext uri="{FF2B5EF4-FFF2-40B4-BE49-F238E27FC236}">
                <a16:creationId xmlns:a16="http://schemas.microsoft.com/office/drawing/2014/main" id="{03C53C6D-BE95-096A-931C-6D40934EBBE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Tree>
    <p:extLst>
      <p:ext uri="{BB962C8B-B14F-4D97-AF65-F5344CB8AC3E}">
        <p14:creationId xmlns:p14="http://schemas.microsoft.com/office/powerpoint/2010/main" val="1276952471"/>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3 images + 2 descriptions">
    <p:spTree>
      <p:nvGrpSpPr>
        <p:cNvPr id="1" name=""/>
        <p:cNvGrpSpPr/>
        <p:nvPr/>
      </p:nvGrpSpPr>
      <p:grpSpPr>
        <a:xfrm>
          <a:off x="0" y="0"/>
          <a:ext cx="0" cy="0"/>
          <a:chOff x="0" y="0"/>
          <a:chExt cx="0" cy="0"/>
        </a:xfrm>
      </p:grpSpPr>
      <p:sp>
        <p:nvSpPr>
          <p:cNvPr id="39" name="Content Placeholder 3">
            <a:extLst>
              <a:ext uri="{FF2B5EF4-FFF2-40B4-BE49-F238E27FC236}">
                <a16:creationId xmlns:a16="http://schemas.microsoft.com/office/drawing/2014/main" id="{C5556837-BDFE-E242-99D1-8166180F539B}"/>
              </a:ext>
            </a:extLst>
          </p:cNvPr>
          <p:cNvSpPr>
            <a:spLocks noGrp="1"/>
          </p:cNvSpPr>
          <p:nvPr>
            <p:ph sz="quarter" idx="18" hasCustomPrompt="1"/>
          </p:nvPr>
        </p:nvSpPr>
        <p:spPr>
          <a:xfrm>
            <a:off x="565460" y="1643744"/>
            <a:ext cx="5813569" cy="4241088"/>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40" name="TextBox 39">
            <a:extLst>
              <a:ext uri="{FF2B5EF4-FFF2-40B4-BE49-F238E27FC236}">
                <a16:creationId xmlns:a16="http://schemas.microsoft.com/office/drawing/2014/main" id="{0048BF0C-D14A-7E47-833B-85CE24AA521B}"/>
              </a:ext>
            </a:extLst>
          </p:cNvPr>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41" name="Text Placeholder 4">
            <a:extLst>
              <a:ext uri="{FF2B5EF4-FFF2-40B4-BE49-F238E27FC236}">
                <a16:creationId xmlns:a16="http://schemas.microsoft.com/office/drawing/2014/main" id="{58350936-F007-3344-A8E4-C14AC8D0D88A}"/>
              </a:ext>
            </a:extLst>
          </p:cNvPr>
          <p:cNvSpPr>
            <a:spLocks noGrp="1"/>
          </p:cNvSpPr>
          <p:nvPr>
            <p:ph type="body" sz="quarter" idx="15"/>
          </p:nvPr>
        </p:nvSpPr>
        <p:spPr>
          <a:xfrm>
            <a:off x="551938" y="6137047"/>
            <a:ext cx="5827091" cy="152349"/>
          </a:xfrm>
          <a:prstGeom prst="rect">
            <a:avLst/>
          </a:prstGeom>
        </p:spPr>
        <p:txBody>
          <a:bodyPr lIns="0" tIns="0" rIns="0" bIns="0"/>
          <a:lstStyle>
            <a:lvl1pPr marL="0" indent="0">
              <a:buNone/>
              <a:defRPr sz="1100" b="0" i="0">
                <a:solidFill>
                  <a:schemeClr val="tx1"/>
                </a:solidFill>
                <a:latin typeface="Avenir Next LT Pro" panose="020B0504020202020204" pitchFamily="34" charset="77"/>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48" name="Content Placeholder 3">
            <a:extLst>
              <a:ext uri="{FF2B5EF4-FFF2-40B4-BE49-F238E27FC236}">
                <a16:creationId xmlns:a16="http://schemas.microsoft.com/office/drawing/2014/main" id="{1E636B30-B043-AE40-B4D1-1440A233CF1B}"/>
              </a:ext>
            </a:extLst>
          </p:cNvPr>
          <p:cNvSpPr>
            <a:spLocks noGrp="1"/>
          </p:cNvSpPr>
          <p:nvPr>
            <p:ph sz="quarter" idx="21" hasCustomPrompt="1"/>
          </p:nvPr>
        </p:nvSpPr>
        <p:spPr>
          <a:xfrm>
            <a:off x="6760029" y="1643746"/>
            <a:ext cx="4822372" cy="2015999"/>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49" name="Text Placeholder 4">
            <a:extLst>
              <a:ext uri="{FF2B5EF4-FFF2-40B4-BE49-F238E27FC236}">
                <a16:creationId xmlns:a16="http://schemas.microsoft.com/office/drawing/2014/main" id="{13317509-5BA7-7B49-B291-1D234B9200C0}"/>
              </a:ext>
            </a:extLst>
          </p:cNvPr>
          <p:cNvSpPr>
            <a:spLocks noGrp="1"/>
          </p:cNvSpPr>
          <p:nvPr>
            <p:ph type="body" sz="quarter" idx="22"/>
          </p:nvPr>
        </p:nvSpPr>
        <p:spPr>
          <a:xfrm>
            <a:off x="6760029" y="6137047"/>
            <a:ext cx="4834352" cy="152349"/>
          </a:xfrm>
          <a:prstGeom prst="rect">
            <a:avLst/>
          </a:prstGeom>
        </p:spPr>
        <p:txBody>
          <a:bodyPr lIns="0" tIns="0" rIns="0" bIns="0"/>
          <a:lstStyle>
            <a:lvl1pPr marL="0" indent="0">
              <a:buNone/>
              <a:defRPr sz="1100" b="0" i="0">
                <a:solidFill>
                  <a:schemeClr val="tx1"/>
                </a:solidFill>
                <a:latin typeface="Avenir Next LT Pro" panose="020B0504020202020204" pitchFamily="34" charset="77"/>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17" name="Content Placeholder 3">
            <a:extLst>
              <a:ext uri="{FF2B5EF4-FFF2-40B4-BE49-F238E27FC236}">
                <a16:creationId xmlns:a16="http://schemas.microsoft.com/office/drawing/2014/main" id="{555198F4-2AED-4042-90ED-D3C7174E0906}"/>
              </a:ext>
            </a:extLst>
          </p:cNvPr>
          <p:cNvSpPr>
            <a:spLocks noGrp="1"/>
          </p:cNvSpPr>
          <p:nvPr>
            <p:ph sz="quarter" idx="23" hasCustomPrompt="1"/>
          </p:nvPr>
        </p:nvSpPr>
        <p:spPr>
          <a:xfrm>
            <a:off x="6760029" y="3868835"/>
            <a:ext cx="4822372" cy="2015999"/>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 name="Title 1">
            <a:extLst>
              <a:ext uri="{FF2B5EF4-FFF2-40B4-BE49-F238E27FC236}">
                <a16:creationId xmlns:a16="http://schemas.microsoft.com/office/drawing/2014/main" id="{A1C802F1-24AD-3A78-7C86-064CB6E48912}"/>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855BFB9C-1F29-A563-18B2-BD4359EBF425}"/>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473329C1-6E5B-4C40-9A11-15766FF1966D}"/>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292EA12C-5836-B803-B30F-EF095C838C0B}"/>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7" name="Picture 6">
            <a:extLst>
              <a:ext uri="{FF2B5EF4-FFF2-40B4-BE49-F238E27FC236}">
                <a16:creationId xmlns:a16="http://schemas.microsoft.com/office/drawing/2014/main" id="{162D8297-DA39-E2DC-C7EC-480937EBAD0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Tree>
    <p:extLst>
      <p:ext uri="{BB962C8B-B14F-4D97-AF65-F5344CB8AC3E}">
        <p14:creationId xmlns:p14="http://schemas.microsoft.com/office/powerpoint/2010/main" val="979988479"/>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4 images + 2 descriptions">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3F2B81F-6CDB-F24D-8286-75432400221E}"/>
              </a:ext>
            </a:extLst>
          </p:cNvPr>
          <p:cNvSpPr/>
          <p:nvPr userDrawn="1"/>
        </p:nvSpPr>
        <p:spPr>
          <a:xfrm>
            <a:off x="0" y="1378193"/>
            <a:ext cx="12193588" cy="554256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14" name="Content Placeholder 3">
            <a:extLst>
              <a:ext uri="{FF2B5EF4-FFF2-40B4-BE49-F238E27FC236}">
                <a16:creationId xmlns:a16="http://schemas.microsoft.com/office/drawing/2014/main" id="{78184602-ED9E-A547-B64C-B428E9D1E2BA}"/>
              </a:ext>
            </a:extLst>
          </p:cNvPr>
          <p:cNvSpPr>
            <a:spLocks noGrp="1"/>
          </p:cNvSpPr>
          <p:nvPr>
            <p:ph sz="quarter" idx="18" hasCustomPrompt="1"/>
          </p:nvPr>
        </p:nvSpPr>
        <p:spPr>
          <a:xfrm>
            <a:off x="553155" y="157268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3" name="Text Placeholder 4">
            <a:extLst>
              <a:ext uri="{FF2B5EF4-FFF2-40B4-BE49-F238E27FC236}">
                <a16:creationId xmlns:a16="http://schemas.microsoft.com/office/drawing/2014/main" id="{6D9F47C3-F248-E446-A670-634F129672B4}"/>
              </a:ext>
            </a:extLst>
          </p:cNvPr>
          <p:cNvSpPr>
            <a:spLocks noGrp="1"/>
          </p:cNvSpPr>
          <p:nvPr>
            <p:ph type="body" sz="quarter" idx="15"/>
          </p:nvPr>
        </p:nvSpPr>
        <p:spPr>
          <a:xfrm>
            <a:off x="553156" y="6170725"/>
            <a:ext cx="5388150"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29" name="Content Placeholder 3">
            <a:extLst>
              <a:ext uri="{FF2B5EF4-FFF2-40B4-BE49-F238E27FC236}">
                <a16:creationId xmlns:a16="http://schemas.microsoft.com/office/drawing/2014/main" id="{DBFE4DB6-4FEC-C543-9EB1-5F14AB473EFC}"/>
              </a:ext>
            </a:extLst>
          </p:cNvPr>
          <p:cNvSpPr>
            <a:spLocks noGrp="1"/>
          </p:cNvSpPr>
          <p:nvPr>
            <p:ph sz="quarter" idx="19" hasCustomPrompt="1"/>
          </p:nvPr>
        </p:nvSpPr>
        <p:spPr>
          <a:xfrm>
            <a:off x="553155" y="386957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0" name="Content Placeholder 3">
            <a:extLst>
              <a:ext uri="{FF2B5EF4-FFF2-40B4-BE49-F238E27FC236}">
                <a16:creationId xmlns:a16="http://schemas.microsoft.com/office/drawing/2014/main" id="{6990879E-A79F-3046-820F-0ED3521D3FBF}"/>
              </a:ext>
            </a:extLst>
          </p:cNvPr>
          <p:cNvSpPr>
            <a:spLocks noGrp="1"/>
          </p:cNvSpPr>
          <p:nvPr>
            <p:ph sz="quarter" idx="20" hasCustomPrompt="1"/>
          </p:nvPr>
        </p:nvSpPr>
        <p:spPr>
          <a:xfrm>
            <a:off x="6224614" y="157268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1" name="Text Placeholder 4">
            <a:extLst>
              <a:ext uri="{FF2B5EF4-FFF2-40B4-BE49-F238E27FC236}">
                <a16:creationId xmlns:a16="http://schemas.microsoft.com/office/drawing/2014/main" id="{D0AD178D-3412-A242-9FCD-611D216F2C6A}"/>
              </a:ext>
            </a:extLst>
          </p:cNvPr>
          <p:cNvSpPr>
            <a:spLocks noGrp="1"/>
          </p:cNvSpPr>
          <p:nvPr>
            <p:ph type="body" sz="quarter" idx="21"/>
          </p:nvPr>
        </p:nvSpPr>
        <p:spPr>
          <a:xfrm>
            <a:off x="6224614" y="6170725"/>
            <a:ext cx="5388150"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32" name="Content Placeholder 3">
            <a:extLst>
              <a:ext uri="{FF2B5EF4-FFF2-40B4-BE49-F238E27FC236}">
                <a16:creationId xmlns:a16="http://schemas.microsoft.com/office/drawing/2014/main" id="{F102D9E7-8CD9-FF47-BD72-00062EAA2C8C}"/>
              </a:ext>
            </a:extLst>
          </p:cNvPr>
          <p:cNvSpPr>
            <a:spLocks noGrp="1"/>
          </p:cNvSpPr>
          <p:nvPr>
            <p:ph sz="quarter" idx="22" hasCustomPrompt="1"/>
          </p:nvPr>
        </p:nvSpPr>
        <p:spPr>
          <a:xfrm>
            <a:off x="6224614" y="386957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 name="Title 1">
            <a:extLst>
              <a:ext uri="{FF2B5EF4-FFF2-40B4-BE49-F238E27FC236}">
                <a16:creationId xmlns:a16="http://schemas.microsoft.com/office/drawing/2014/main" id="{2F104133-4D7E-D456-337C-AAD749B9AF56}"/>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482525F2-8639-91D5-5A92-E03A1FA83782}"/>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1649404D-A47B-3834-7A04-D3603B3FE1B2}"/>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968A5D60-F214-33D8-BE42-D68156BF52C8}"/>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7" name="Picture 6">
            <a:extLst>
              <a:ext uri="{FF2B5EF4-FFF2-40B4-BE49-F238E27FC236}">
                <a16:creationId xmlns:a16="http://schemas.microsoft.com/office/drawing/2014/main" id="{6BFA5878-F4EF-4CA2-4A90-2D6211BA7FD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Tree>
    <p:extLst>
      <p:ext uri="{BB962C8B-B14F-4D97-AF65-F5344CB8AC3E}">
        <p14:creationId xmlns:p14="http://schemas.microsoft.com/office/powerpoint/2010/main" val="1692309218"/>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6 images + 3 descriptions">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033F5C5-16D7-5349-8E7D-96E1C3D759DD}"/>
              </a:ext>
            </a:extLst>
          </p:cNvPr>
          <p:cNvSpPr/>
          <p:nvPr userDrawn="1"/>
        </p:nvSpPr>
        <p:spPr>
          <a:xfrm>
            <a:off x="0" y="1378193"/>
            <a:ext cx="12193588" cy="554256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14" name="Content Placeholder 3">
            <a:extLst>
              <a:ext uri="{FF2B5EF4-FFF2-40B4-BE49-F238E27FC236}">
                <a16:creationId xmlns:a16="http://schemas.microsoft.com/office/drawing/2014/main" id="{48548963-850E-7645-960B-31854F07CC34}"/>
              </a:ext>
            </a:extLst>
          </p:cNvPr>
          <p:cNvSpPr>
            <a:spLocks noGrp="1"/>
          </p:cNvSpPr>
          <p:nvPr>
            <p:ph sz="quarter" idx="18" hasCustomPrompt="1"/>
          </p:nvPr>
        </p:nvSpPr>
        <p:spPr>
          <a:xfrm>
            <a:off x="553156" y="157268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3" name="Text Placeholder 4">
            <a:extLst>
              <a:ext uri="{FF2B5EF4-FFF2-40B4-BE49-F238E27FC236}">
                <a16:creationId xmlns:a16="http://schemas.microsoft.com/office/drawing/2014/main" id="{0C8C808D-06BD-6347-9DEF-E094B0E9857F}"/>
              </a:ext>
            </a:extLst>
          </p:cNvPr>
          <p:cNvSpPr>
            <a:spLocks noGrp="1"/>
          </p:cNvSpPr>
          <p:nvPr>
            <p:ph type="body" sz="quarter" idx="15"/>
          </p:nvPr>
        </p:nvSpPr>
        <p:spPr>
          <a:xfrm>
            <a:off x="553156" y="6170725"/>
            <a:ext cx="3403643"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25" name="Text Placeholder 4">
            <a:extLst>
              <a:ext uri="{FF2B5EF4-FFF2-40B4-BE49-F238E27FC236}">
                <a16:creationId xmlns:a16="http://schemas.microsoft.com/office/drawing/2014/main" id="{204D55EA-A258-1E4C-A2FC-05363299092D}"/>
              </a:ext>
            </a:extLst>
          </p:cNvPr>
          <p:cNvSpPr>
            <a:spLocks noGrp="1"/>
          </p:cNvSpPr>
          <p:nvPr>
            <p:ph type="body" sz="quarter" idx="16"/>
          </p:nvPr>
        </p:nvSpPr>
        <p:spPr>
          <a:xfrm>
            <a:off x="4363864" y="6170725"/>
            <a:ext cx="3403643"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26" name="Text Placeholder 4">
            <a:extLst>
              <a:ext uri="{FF2B5EF4-FFF2-40B4-BE49-F238E27FC236}">
                <a16:creationId xmlns:a16="http://schemas.microsoft.com/office/drawing/2014/main" id="{71EFA00C-64E9-F849-BD3C-AACA0E678F63}"/>
              </a:ext>
            </a:extLst>
          </p:cNvPr>
          <p:cNvSpPr>
            <a:spLocks noGrp="1"/>
          </p:cNvSpPr>
          <p:nvPr>
            <p:ph type="body" sz="quarter" idx="17"/>
          </p:nvPr>
        </p:nvSpPr>
        <p:spPr>
          <a:xfrm>
            <a:off x="8174574" y="6170725"/>
            <a:ext cx="3403643"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31" name="Content Placeholder 3">
            <a:extLst>
              <a:ext uri="{FF2B5EF4-FFF2-40B4-BE49-F238E27FC236}">
                <a16:creationId xmlns:a16="http://schemas.microsoft.com/office/drawing/2014/main" id="{4CCC79FF-C617-C74F-BF72-F5C76E459D28}"/>
              </a:ext>
            </a:extLst>
          </p:cNvPr>
          <p:cNvSpPr>
            <a:spLocks noGrp="1"/>
          </p:cNvSpPr>
          <p:nvPr>
            <p:ph sz="quarter" idx="19" hasCustomPrompt="1"/>
          </p:nvPr>
        </p:nvSpPr>
        <p:spPr>
          <a:xfrm>
            <a:off x="553156" y="386957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2" name="Content Placeholder 3">
            <a:extLst>
              <a:ext uri="{FF2B5EF4-FFF2-40B4-BE49-F238E27FC236}">
                <a16:creationId xmlns:a16="http://schemas.microsoft.com/office/drawing/2014/main" id="{C862AF82-E3E8-4149-8264-3D55C0745FF3}"/>
              </a:ext>
            </a:extLst>
          </p:cNvPr>
          <p:cNvSpPr>
            <a:spLocks noGrp="1"/>
          </p:cNvSpPr>
          <p:nvPr>
            <p:ph sz="quarter" idx="20" hasCustomPrompt="1"/>
          </p:nvPr>
        </p:nvSpPr>
        <p:spPr>
          <a:xfrm>
            <a:off x="4363864" y="157268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3" name="Content Placeholder 3">
            <a:extLst>
              <a:ext uri="{FF2B5EF4-FFF2-40B4-BE49-F238E27FC236}">
                <a16:creationId xmlns:a16="http://schemas.microsoft.com/office/drawing/2014/main" id="{89C9B33E-10C8-3E4B-B48E-B7D88ED06055}"/>
              </a:ext>
            </a:extLst>
          </p:cNvPr>
          <p:cNvSpPr>
            <a:spLocks noGrp="1"/>
          </p:cNvSpPr>
          <p:nvPr>
            <p:ph sz="quarter" idx="21" hasCustomPrompt="1"/>
          </p:nvPr>
        </p:nvSpPr>
        <p:spPr>
          <a:xfrm>
            <a:off x="4363864" y="386957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4" name="Content Placeholder 3">
            <a:extLst>
              <a:ext uri="{FF2B5EF4-FFF2-40B4-BE49-F238E27FC236}">
                <a16:creationId xmlns:a16="http://schemas.microsoft.com/office/drawing/2014/main" id="{5635AEBB-B1FB-6840-ADCC-1597D1AF3F91}"/>
              </a:ext>
            </a:extLst>
          </p:cNvPr>
          <p:cNvSpPr>
            <a:spLocks noGrp="1"/>
          </p:cNvSpPr>
          <p:nvPr>
            <p:ph sz="quarter" idx="22" hasCustomPrompt="1"/>
          </p:nvPr>
        </p:nvSpPr>
        <p:spPr>
          <a:xfrm>
            <a:off x="8174573" y="157268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5" name="Content Placeholder 3">
            <a:extLst>
              <a:ext uri="{FF2B5EF4-FFF2-40B4-BE49-F238E27FC236}">
                <a16:creationId xmlns:a16="http://schemas.microsoft.com/office/drawing/2014/main" id="{9E3CF042-61F1-6B48-A9AB-9D779D5930C7}"/>
              </a:ext>
            </a:extLst>
          </p:cNvPr>
          <p:cNvSpPr>
            <a:spLocks noGrp="1"/>
          </p:cNvSpPr>
          <p:nvPr>
            <p:ph sz="quarter" idx="23" hasCustomPrompt="1"/>
          </p:nvPr>
        </p:nvSpPr>
        <p:spPr>
          <a:xfrm>
            <a:off x="8174573" y="386957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 name="Title 1">
            <a:extLst>
              <a:ext uri="{FF2B5EF4-FFF2-40B4-BE49-F238E27FC236}">
                <a16:creationId xmlns:a16="http://schemas.microsoft.com/office/drawing/2014/main" id="{112FB729-071E-1871-BA5E-79483A528C42}"/>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500D1A7D-D4EF-9BAB-1744-2BE5E43E5FFA}"/>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6D13B62E-1EE5-3622-9E0A-519228BE4E07}"/>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B61B4EC2-6396-6CE8-6AB5-5F7C04DA813A}"/>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7" name="Picture 6">
            <a:extLst>
              <a:ext uri="{FF2B5EF4-FFF2-40B4-BE49-F238E27FC236}">
                <a16:creationId xmlns:a16="http://schemas.microsoft.com/office/drawing/2014/main" id="{74D4A773-5FE9-4DA9-8A23-C35FA6CD5D8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Tree>
    <p:extLst>
      <p:ext uri="{BB962C8B-B14F-4D97-AF65-F5344CB8AC3E}">
        <p14:creationId xmlns:p14="http://schemas.microsoft.com/office/powerpoint/2010/main" val="1650617914"/>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image left + text right">
    <p:spTree>
      <p:nvGrpSpPr>
        <p:cNvPr id="1" name=""/>
        <p:cNvGrpSpPr/>
        <p:nvPr/>
      </p:nvGrpSpPr>
      <p:grpSpPr>
        <a:xfrm>
          <a:off x="0" y="0"/>
          <a:ext cx="0" cy="0"/>
          <a:chOff x="0" y="0"/>
          <a:chExt cx="0" cy="0"/>
        </a:xfrm>
      </p:grpSpPr>
      <p:sp>
        <p:nvSpPr>
          <p:cNvPr id="17" name="TextBox 16"/>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1" name="Content Placeholder 6"/>
          <p:cNvSpPr>
            <a:spLocks noGrp="1"/>
          </p:cNvSpPr>
          <p:nvPr>
            <p:ph sz="quarter" idx="18" hasCustomPrompt="1"/>
          </p:nvPr>
        </p:nvSpPr>
        <p:spPr>
          <a:xfrm>
            <a:off x="565458" y="1676608"/>
            <a:ext cx="5719896" cy="4519943"/>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15" name="Text Placeholder 2"/>
          <p:cNvSpPr>
            <a:spLocks noGrp="1"/>
          </p:cNvSpPr>
          <p:nvPr>
            <p:ph type="body" sz="quarter" idx="12"/>
          </p:nvPr>
        </p:nvSpPr>
        <p:spPr>
          <a:xfrm>
            <a:off x="6631291" y="1676609"/>
            <a:ext cx="4963090" cy="84843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80CD31E6-457F-345A-584B-4FD13F51130D}"/>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4376E91E-6700-6F11-61ED-B6004D3C6C8D}"/>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FDDA0F93-8A90-0112-0786-678344CFE135}"/>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FA7DFE73-B464-BFF4-B6FB-7DBE2B3902B4}"/>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7" name="Picture 6">
            <a:extLst>
              <a:ext uri="{FF2B5EF4-FFF2-40B4-BE49-F238E27FC236}">
                <a16:creationId xmlns:a16="http://schemas.microsoft.com/office/drawing/2014/main" id="{AE012E18-3537-3DCD-630C-4FAC7D14C64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Tree>
    <p:extLst>
      <p:ext uri="{BB962C8B-B14F-4D97-AF65-F5344CB8AC3E}">
        <p14:creationId xmlns:p14="http://schemas.microsoft.com/office/powerpoint/2010/main" val="1498349078"/>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image right + text left">
    <p:spTree>
      <p:nvGrpSpPr>
        <p:cNvPr id="1" name=""/>
        <p:cNvGrpSpPr/>
        <p:nvPr/>
      </p:nvGrpSpPr>
      <p:grpSpPr>
        <a:xfrm>
          <a:off x="0" y="0"/>
          <a:ext cx="0" cy="0"/>
          <a:chOff x="0" y="0"/>
          <a:chExt cx="0" cy="0"/>
        </a:xfrm>
      </p:grpSpPr>
      <p:sp>
        <p:nvSpPr>
          <p:cNvPr id="17" name="TextBox 16"/>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3" name="Content Placeholder 6"/>
          <p:cNvSpPr>
            <a:spLocks noGrp="1"/>
          </p:cNvSpPr>
          <p:nvPr>
            <p:ph sz="quarter" idx="18" hasCustomPrompt="1"/>
          </p:nvPr>
        </p:nvSpPr>
        <p:spPr>
          <a:xfrm>
            <a:off x="5868400" y="1676608"/>
            <a:ext cx="5719896" cy="4519943"/>
          </a:xfrm>
          <a:prstGeom prst="rect">
            <a:avLst/>
          </a:prstGeom>
        </p:spPr>
        <p:txBody>
          <a:bodyPr>
            <a:normAutofit/>
          </a:bodyPr>
          <a:lstStyle>
            <a:lvl1pPr marL="0" indent="0">
              <a:buFont typeface="Arial" charset="0"/>
              <a:buNone/>
              <a:defRPr sz="2000"/>
            </a:lvl1pPr>
          </a:lstStyle>
          <a:p>
            <a:r>
              <a:rPr lang="en-US"/>
              <a:t>Insert graph </a:t>
            </a:r>
            <a:r>
              <a:rPr lang="mr-IN"/>
              <a:t>–</a:t>
            </a:r>
            <a:r>
              <a:rPr lang="en-US"/>
              <a:t> Drag picture to placeholder or click on icon </a:t>
            </a:r>
          </a:p>
        </p:txBody>
      </p:sp>
      <p:sp>
        <p:nvSpPr>
          <p:cNvPr id="16" name="Text Placeholder 2"/>
          <p:cNvSpPr>
            <a:spLocks noGrp="1"/>
          </p:cNvSpPr>
          <p:nvPr>
            <p:ph type="body" sz="quarter" idx="12"/>
          </p:nvPr>
        </p:nvSpPr>
        <p:spPr>
          <a:xfrm>
            <a:off x="565460" y="1676609"/>
            <a:ext cx="4963090" cy="84843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C20DAD90-B4BF-1D5F-D032-10D4F3E8D123}"/>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4D63374E-93AD-26A8-FE04-9A6DBDFE1C4D}"/>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1B07A46E-BDD6-9B21-DCA5-8D8A02B85D1F}"/>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3FE8C249-9948-5463-D195-11DD65F4A81D}"/>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7" name="Picture 6">
            <a:extLst>
              <a:ext uri="{FF2B5EF4-FFF2-40B4-BE49-F238E27FC236}">
                <a16:creationId xmlns:a16="http://schemas.microsoft.com/office/drawing/2014/main" id="{22EED076-C708-8CDC-9A99-6C05040A13D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Tree>
    <p:extLst>
      <p:ext uri="{BB962C8B-B14F-4D97-AF65-F5344CB8AC3E}">
        <p14:creationId xmlns:p14="http://schemas.microsoft.com/office/powerpoint/2010/main" val="1508057043"/>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Right half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6096794" y="3"/>
            <a:ext cx="6096794" cy="221599"/>
          </a:xfrm>
          <a:prstGeom prst="rect">
            <a:avLst/>
          </a:prstGeom>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10" name="Text Placeholder 2"/>
          <p:cNvSpPr>
            <a:spLocks noGrp="1"/>
          </p:cNvSpPr>
          <p:nvPr>
            <p:ph type="body" sz="quarter" idx="12"/>
          </p:nvPr>
        </p:nvSpPr>
        <p:spPr>
          <a:xfrm>
            <a:off x="565225" y="1997777"/>
            <a:ext cx="5266953" cy="84843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616C7696-1129-ACBF-CBE9-7B0D8A3F8509}"/>
              </a:ext>
            </a:extLst>
          </p:cNvPr>
          <p:cNvSpPr>
            <a:spLocks noGrp="1"/>
          </p:cNvSpPr>
          <p:nvPr>
            <p:ph type="title"/>
          </p:nvPr>
        </p:nvSpPr>
        <p:spPr>
          <a:xfrm>
            <a:off x="565460" y="552716"/>
            <a:ext cx="5064376" cy="830997"/>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6422030B-6CEB-0FAB-8779-819BEDC3ED89}"/>
              </a:ext>
            </a:extLst>
          </p:cNvPr>
          <p:cNvSpPr>
            <a:spLocks noGrp="1"/>
          </p:cNvSpPr>
          <p:nvPr>
            <p:ph type="body" sz="quarter" idx="11"/>
          </p:nvPr>
        </p:nvSpPr>
        <p:spPr>
          <a:xfrm>
            <a:off x="565460" y="1021031"/>
            <a:ext cx="5064377" cy="207134"/>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4" name="Picture 3">
            <a:extLst>
              <a:ext uri="{FF2B5EF4-FFF2-40B4-BE49-F238E27FC236}">
                <a16:creationId xmlns:a16="http://schemas.microsoft.com/office/drawing/2014/main" id="{F95D5B66-2802-F64D-CA99-4B338D62B48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83170" y="204718"/>
            <a:ext cx="1358721" cy="826913"/>
          </a:xfrm>
          <a:prstGeom prst="rect">
            <a:avLst/>
          </a:prstGeom>
        </p:spPr>
      </p:pic>
      <p:sp>
        <p:nvSpPr>
          <p:cNvPr id="5" name="TextBox 4">
            <a:extLst>
              <a:ext uri="{FF2B5EF4-FFF2-40B4-BE49-F238E27FC236}">
                <a16:creationId xmlns:a16="http://schemas.microsoft.com/office/drawing/2014/main" id="{6BD23979-BEBD-2BF8-17AE-82B147276BF9}"/>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CA7883C1-F457-9ACB-4755-8CC5D9084EBB}"/>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extLst>
      <p:ext uri="{BB962C8B-B14F-4D97-AF65-F5344CB8AC3E}">
        <p14:creationId xmlns:p14="http://schemas.microsoft.com/office/powerpoint/2010/main" val="3456263983"/>
      </p:ext>
    </p:extLst>
  </p:cSld>
  <p:clrMapOvr>
    <a:masterClrMapping/>
  </p:clrMapOvr>
  <p:transition spd="slow">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Right half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8DEE52-360F-D14A-9CAE-7B1FA2B9C68A}"/>
              </a:ext>
            </a:extLst>
          </p:cNvPr>
          <p:cNvSpPr/>
          <p:nvPr userDrawn="1"/>
        </p:nvSpPr>
        <p:spPr>
          <a:xfrm>
            <a:off x="0" y="0"/>
            <a:ext cx="609679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1800" b="0" i="0">
              <a:latin typeface="Avenir Next LT Pro" panose="020B0504020202020204" pitchFamily="34" charset="77"/>
            </a:endParaRPr>
          </a:p>
        </p:txBody>
      </p:sp>
      <p:sp>
        <p:nvSpPr>
          <p:cNvPr id="7" name="Picture Placeholder 3"/>
          <p:cNvSpPr>
            <a:spLocks noGrp="1"/>
          </p:cNvSpPr>
          <p:nvPr>
            <p:ph type="pic" sz="quarter" idx="10"/>
          </p:nvPr>
        </p:nvSpPr>
        <p:spPr>
          <a:xfrm>
            <a:off x="6096794" y="3"/>
            <a:ext cx="6096794" cy="221599"/>
          </a:xfrm>
          <a:prstGeom prst="rect">
            <a:avLst/>
          </a:prstGeom>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10" name="Text Placeholder 2"/>
          <p:cNvSpPr>
            <a:spLocks noGrp="1"/>
          </p:cNvSpPr>
          <p:nvPr>
            <p:ph type="body" sz="quarter" idx="12"/>
          </p:nvPr>
        </p:nvSpPr>
        <p:spPr>
          <a:xfrm>
            <a:off x="565225" y="1997778"/>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Title 1">
            <a:extLst>
              <a:ext uri="{FF2B5EF4-FFF2-40B4-BE49-F238E27FC236}">
                <a16:creationId xmlns:a16="http://schemas.microsoft.com/office/drawing/2014/main" id="{E12170D0-3B32-A0D7-A2D9-F64DF9CDD823}"/>
              </a:ext>
            </a:extLst>
          </p:cNvPr>
          <p:cNvSpPr>
            <a:spLocks noGrp="1"/>
          </p:cNvSpPr>
          <p:nvPr>
            <p:ph type="title"/>
          </p:nvPr>
        </p:nvSpPr>
        <p:spPr>
          <a:xfrm>
            <a:off x="565460" y="552716"/>
            <a:ext cx="5046447" cy="830997"/>
          </a:xfrm>
        </p:spPr>
        <p:txBody>
          <a:bodyPr/>
          <a:lstStyle>
            <a:lvl1pPr>
              <a:defRPr>
                <a:solidFill>
                  <a:schemeClr val="bg1"/>
                </a:solidFill>
              </a:defRPr>
            </a:lvl1pPr>
          </a:lstStyle>
          <a:p>
            <a:r>
              <a:rPr lang="en-US"/>
              <a:t>Click to edit Master title style</a:t>
            </a:r>
          </a:p>
        </p:txBody>
      </p:sp>
      <p:sp>
        <p:nvSpPr>
          <p:cNvPr id="4" name="Text Placeholder 9">
            <a:extLst>
              <a:ext uri="{FF2B5EF4-FFF2-40B4-BE49-F238E27FC236}">
                <a16:creationId xmlns:a16="http://schemas.microsoft.com/office/drawing/2014/main" id="{7C789ED9-BED9-7CDF-19E0-DA293B36E478}"/>
              </a:ext>
            </a:extLst>
          </p:cNvPr>
          <p:cNvSpPr>
            <a:spLocks noGrp="1"/>
          </p:cNvSpPr>
          <p:nvPr>
            <p:ph type="body" sz="quarter" idx="11"/>
          </p:nvPr>
        </p:nvSpPr>
        <p:spPr>
          <a:xfrm>
            <a:off x="565460" y="1021031"/>
            <a:ext cx="5040194"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5" name="Picture 4">
            <a:extLst>
              <a:ext uri="{FF2B5EF4-FFF2-40B4-BE49-F238E27FC236}">
                <a16:creationId xmlns:a16="http://schemas.microsoft.com/office/drawing/2014/main" id="{CD570D53-D6A9-8B3D-6294-1654E6CB465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83170" y="204718"/>
            <a:ext cx="1358721" cy="826913"/>
          </a:xfrm>
          <a:prstGeom prst="rect">
            <a:avLst/>
          </a:prstGeom>
        </p:spPr>
      </p:pic>
      <p:sp>
        <p:nvSpPr>
          <p:cNvPr id="6" name="TextBox 5">
            <a:extLst>
              <a:ext uri="{FF2B5EF4-FFF2-40B4-BE49-F238E27FC236}">
                <a16:creationId xmlns:a16="http://schemas.microsoft.com/office/drawing/2014/main" id="{6E8EDD47-C182-51B1-2C87-4F506A84C49D}"/>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8" name="TextBox 7">
            <a:extLst>
              <a:ext uri="{FF2B5EF4-FFF2-40B4-BE49-F238E27FC236}">
                <a16:creationId xmlns:a16="http://schemas.microsoft.com/office/drawing/2014/main" id="{81601D58-CDAD-05EF-75AA-FDE4E24526DD}"/>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extLst>
      <p:ext uri="{BB962C8B-B14F-4D97-AF65-F5344CB8AC3E}">
        <p14:creationId xmlns:p14="http://schemas.microsoft.com/office/powerpoint/2010/main" val="979260929"/>
      </p:ext>
    </p:extLst>
  </p:cSld>
  <p:clrMapOvr>
    <a:masterClrMapping/>
  </p:clrMapOvr>
  <p:transition spd="slow">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_Right half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8DEE52-360F-D14A-9CAE-7B1FA2B9C68A}"/>
              </a:ext>
            </a:extLst>
          </p:cNvPr>
          <p:cNvSpPr/>
          <p:nvPr userDrawn="1"/>
        </p:nvSpPr>
        <p:spPr>
          <a:xfrm>
            <a:off x="0" y="0"/>
            <a:ext cx="60967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1800" b="0" i="0">
              <a:latin typeface="Avenir Next LT Pro" panose="020B0504020202020204" pitchFamily="34" charset="77"/>
            </a:endParaRPr>
          </a:p>
        </p:txBody>
      </p:sp>
      <p:sp>
        <p:nvSpPr>
          <p:cNvPr id="7" name="Picture Placeholder 3"/>
          <p:cNvSpPr>
            <a:spLocks noGrp="1"/>
          </p:cNvSpPr>
          <p:nvPr>
            <p:ph type="pic" sz="quarter" idx="10"/>
          </p:nvPr>
        </p:nvSpPr>
        <p:spPr>
          <a:xfrm>
            <a:off x="6096794" y="3"/>
            <a:ext cx="6096794" cy="221599"/>
          </a:xfrm>
          <a:prstGeom prst="rect">
            <a:avLst/>
          </a:prstGeom>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10" name="Text Placeholder 2"/>
          <p:cNvSpPr>
            <a:spLocks noGrp="1"/>
          </p:cNvSpPr>
          <p:nvPr>
            <p:ph type="body" sz="quarter" idx="12"/>
          </p:nvPr>
        </p:nvSpPr>
        <p:spPr>
          <a:xfrm>
            <a:off x="565225" y="1997778"/>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Title 1">
            <a:extLst>
              <a:ext uri="{FF2B5EF4-FFF2-40B4-BE49-F238E27FC236}">
                <a16:creationId xmlns:a16="http://schemas.microsoft.com/office/drawing/2014/main" id="{E12170D0-3B32-A0D7-A2D9-F64DF9CDD823}"/>
              </a:ext>
            </a:extLst>
          </p:cNvPr>
          <p:cNvSpPr>
            <a:spLocks noGrp="1"/>
          </p:cNvSpPr>
          <p:nvPr>
            <p:ph type="title"/>
          </p:nvPr>
        </p:nvSpPr>
        <p:spPr>
          <a:xfrm>
            <a:off x="565460" y="552716"/>
            <a:ext cx="5046447" cy="830997"/>
          </a:xfrm>
        </p:spPr>
        <p:txBody>
          <a:bodyPr/>
          <a:lstStyle>
            <a:lvl1pPr>
              <a:defRPr>
                <a:solidFill>
                  <a:schemeClr val="bg1"/>
                </a:solidFill>
              </a:defRPr>
            </a:lvl1pPr>
          </a:lstStyle>
          <a:p>
            <a:r>
              <a:rPr lang="en-US"/>
              <a:t>Click to edit Master title style</a:t>
            </a:r>
          </a:p>
        </p:txBody>
      </p:sp>
      <p:sp>
        <p:nvSpPr>
          <p:cNvPr id="4" name="Text Placeholder 9">
            <a:extLst>
              <a:ext uri="{FF2B5EF4-FFF2-40B4-BE49-F238E27FC236}">
                <a16:creationId xmlns:a16="http://schemas.microsoft.com/office/drawing/2014/main" id="{7C789ED9-BED9-7CDF-19E0-DA293B36E478}"/>
              </a:ext>
            </a:extLst>
          </p:cNvPr>
          <p:cNvSpPr>
            <a:spLocks noGrp="1"/>
          </p:cNvSpPr>
          <p:nvPr>
            <p:ph type="body" sz="quarter" idx="11"/>
          </p:nvPr>
        </p:nvSpPr>
        <p:spPr>
          <a:xfrm>
            <a:off x="565460" y="1021031"/>
            <a:ext cx="5040194"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5" name="Picture 4">
            <a:extLst>
              <a:ext uri="{FF2B5EF4-FFF2-40B4-BE49-F238E27FC236}">
                <a16:creationId xmlns:a16="http://schemas.microsoft.com/office/drawing/2014/main" id="{CD570D53-D6A9-8B3D-6294-1654E6CB465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83170" y="204718"/>
            <a:ext cx="1358721" cy="826913"/>
          </a:xfrm>
          <a:prstGeom prst="rect">
            <a:avLst/>
          </a:prstGeom>
        </p:spPr>
      </p:pic>
      <p:sp>
        <p:nvSpPr>
          <p:cNvPr id="6" name="TextBox 5">
            <a:extLst>
              <a:ext uri="{FF2B5EF4-FFF2-40B4-BE49-F238E27FC236}">
                <a16:creationId xmlns:a16="http://schemas.microsoft.com/office/drawing/2014/main" id="{6E8EDD47-C182-51B1-2C87-4F506A84C49D}"/>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8" name="TextBox 7">
            <a:extLst>
              <a:ext uri="{FF2B5EF4-FFF2-40B4-BE49-F238E27FC236}">
                <a16:creationId xmlns:a16="http://schemas.microsoft.com/office/drawing/2014/main" id="{81601D58-CDAD-05EF-75AA-FDE4E24526DD}"/>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extLst>
      <p:ext uri="{BB962C8B-B14F-4D97-AF65-F5344CB8AC3E}">
        <p14:creationId xmlns:p14="http://schemas.microsoft.com/office/powerpoint/2010/main" val="3995938909"/>
      </p:ext>
    </p:extLst>
  </p:cSld>
  <p:clrMapOvr>
    <a:masterClrMapping/>
  </p:clrMapOvr>
  <p:transition spd="slow">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1_Left half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0" y="3"/>
            <a:ext cx="6096794" cy="2215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70" y="1924054"/>
            <a:ext cx="5266953" cy="84843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E3E4F818-3A7D-2AB5-57A3-ED45588D3948}"/>
              </a:ext>
            </a:extLst>
          </p:cNvPr>
          <p:cNvSpPr>
            <a:spLocks noGrp="1"/>
          </p:cNvSpPr>
          <p:nvPr>
            <p:ph type="title"/>
          </p:nvPr>
        </p:nvSpPr>
        <p:spPr>
          <a:xfrm>
            <a:off x="6446570" y="552716"/>
            <a:ext cx="5266953" cy="830997"/>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8A4AE163-B4FC-2BA1-4A79-5AC44435AD0C}"/>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4" name="Picture 3">
            <a:extLst>
              <a:ext uri="{FF2B5EF4-FFF2-40B4-BE49-F238E27FC236}">
                <a16:creationId xmlns:a16="http://schemas.microsoft.com/office/drawing/2014/main" id="{C7E3A211-9B52-F264-6FDC-D3E77A7D400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50198" y="204718"/>
            <a:ext cx="1358721" cy="826913"/>
          </a:xfrm>
          <a:prstGeom prst="rect">
            <a:avLst/>
          </a:prstGeom>
        </p:spPr>
      </p:pic>
      <p:pic>
        <p:nvPicPr>
          <p:cNvPr id="5" name="Picture 4">
            <a:extLst>
              <a:ext uri="{FF2B5EF4-FFF2-40B4-BE49-F238E27FC236}">
                <a16:creationId xmlns:a16="http://schemas.microsoft.com/office/drawing/2014/main" id="{1BC274B4-07B7-5DA0-DF33-F57B9851733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2597" y="357118"/>
            <a:ext cx="1358721" cy="826913"/>
          </a:xfrm>
          <a:prstGeom prst="rect">
            <a:avLst/>
          </a:prstGeom>
        </p:spPr>
      </p:pic>
      <p:sp>
        <p:nvSpPr>
          <p:cNvPr id="8" name="TextBox 7">
            <a:extLst>
              <a:ext uri="{FF2B5EF4-FFF2-40B4-BE49-F238E27FC236}">
                <a16:creationId xmlns:a16="http://schemas.microsoft.com/office/drawing/2014/main" id="{EA7DD7ED-38EA-248E-6A37-DDDBF2A49851}"/>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9" name="TextBox 8">
            <a:extLst>
              <a:ext uri="{FF2B5EF4-FFF2-40B4-BE49-F238E27FC236}">
                <a16:creationId xmlns:a16="http://schemas.microsoft.com/office/drawing/2014/main" id="{67C06B24-EBD2-9679-25F3-969411C769BD}"/>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extLst>
      <p:ext uri="{BB962C8B-B14F-4D97-AF65-F5344CB8AC3E}">
        <p14:creationId xmlns:p14="http://schemas.microsoft.com/office/powerpoint/2010/main" val="1656106695"/>
      </p:ext>
    </p:extLst>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_Left half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F95D9BF-B5A2-7247-9F4C-290817CA94AF}"/>
              </a:ext>
            </a:extLst>
          </p:cNvPr>
          <p:cNvSpPr/>
          <p:nvPr userDrawn="1"/>
        </p:nvSpPr>
        <p:spPr>
          <a:xfrm>
            <a:off x="6096794" y="0"/>
            <a:ext cx="6096794"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7" name="Picture Placeholder 3"/>
          <p:cNvSpPr>
            <a:spLocks noGrp="1"/>
          </p:cNvSpPr>
          <p:nvPr>
            <p:ph type="pic" sz="quarter" idx="10"/>
          </p:nvPr>
        </p:nvSpPr>
        <p:spPr>
          <a:xfrm>
            <a:off x="0" y="1"/>
            <a:ext cx="6096794" cy="2215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69" y="1924052"/>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4" name="Title 1">
            <a:extLst>
              <a:ext uri="{FF2B5EF4-FFF2-40B4-BE49-F238E27FC236}">
                <a16:creationId xmlns:a16="http://schemas.microsoft.com/office/drawing/2014/main" id="{DA047FE9-9C49-EB6D-2238-A8736778D9BF}"/>
              </a:ext>
            </a:extLst>
          </p:cNvPr>
          <p:cNvSpPr>
            <a:spLocks noGrp="1"/>
          </p:cNvSpPr>
          <p:nvPr>
            <p:ph type="title"/>
          </p:nvPr>
        </p:nvSpPr>
        <p:spPr>
          <a:xfrm>
            <a:off x="6446569" y="552715"/>
            <a:ext cx="5266953" cy="830997"/>
          </a:xfrm>
        </p:spPr>
        <p:txBody>
          <a:bodyPr/>
          <a:lstStyle>
            <a:lvl1pPr>
              <a:defRPr>
                <a:solidFill>
                  <a:schemeClr val="bg1"/>
                </a:solidFill>
              </a:defRPr>
            </a:lvl1pPr>
          </a:lstStyle>
          <a:p>
            <a:r>
              <a:rPr lang="en-US"/>
              <a:t>Click to edit Master title style</a:t>
            </a:r>
          </a:p>
        </p:txBody>
      </p:sp>
      <p:sp>
        <p:nvSpPr>
          <p:cNvPr id="5" name="Text Placeholder 9">
            <a:extLst>
              <a:ext uri="{FF2B5EF4-FFF2-40B4-BE49-F238E27FC236}">
                <a16:creationId xmlns:a16="http://schemas.microsoft.com/office/drawing/2014/main" id="{DEB7BC04-5F36-58FD-B27A-C6E6E6064FD4}"/>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2DC6463-53AF-2341-D32C-EDEAE3A3F7C8}"/>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1"/>
                </a:solidFill>
                <a:latin typeface="Avenir Next LT Pro" panose="020B0504020202020204" pitchFamily="34" charset="77"/>
              </a:rPr>
              <a:pPr algn="r"/>
              <a:t>‹#›</a:t>
            </a:fld>
            <a:endParaRPr lang="en-US" sz="1000" b="0" i="0" spc="40" baseline="0">
              <a:solidFill>
                <a:schemeClr val="tx1"/>
              </a:solidFill>
              <a:latin typeface="Avenir Next LT Pro" panose="020B0504020202020204" pitchFamily="34" charset="77"/>
            </a:endParaRPr>
          </a:p>
        </p:txBody>
      </p:sp>
    </p:spTree>
    <p:extLst>
      <p:ext uri="{BB962C8B-B14F-4D97-AF65-F5344CB8AC3E}">
        <p14:creationId xmlns:p14="http://schemas.microsoft.com/office/powerpoint/2010/main" val="3630094027"/>
      </p:ext>
    </p:extLst>
  </p:cSld>
  <p:clrMapOvr>
    <a:masterClrMapping/>
  </p:clrMapOvr>
  <p:transition spd="slow">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Left half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F95D9BF-B5A2-7247-9F4C-290817CA94AF}"/>
              </a:ext>
            </a:extLst>
          </p:cNvPr>
          <p:cNvSpPr/>
          <p:nvPr userDrawn="1"/>
        </p:nvSpPr>
        <p:spPr>
          <a:xfrm>
            <a:off x="6096794" y="0"/>
            <a:ext cx="609679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1800" b="0" i="0">
              <a:latin typeface="Avenir Next LT Pro" panose="020B0504020202020204" pitchFamily="34" charset="77"/>
            </a:endParaRPr>
          </a:p>
        </p:txBody>
      </p:sp>
      <p:sp>
        <p:nvSpPr>
          <p:cNvPr id="7" name="Picture Placeholder 3"/>
          <p:cNvSpPr>
            <a:spLocks noGrp="1"/>
          </p:cNvSpPr>
          <p:nvPr>
            <p:ph type="pic" sz="quarter" idx="10"/>
          </p:nvPr>
        </p:nvSpPr>
        <p:spPr>
          <a:xfrm>
            <a:off x="0" y="3"/>
            <a:ext cx="6096794" cy="2215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70" y="1924054"/>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4" name="Title 1">
            <a:extLst>
              <a:ext uri="{FF2B5EF4-FFF2-40B4-BE49-F238E27FC236}">
                <a16:creationId xmlns:a16="http://schemas.microsoft.com/office/drawing/2014/main" id="{DA047FE9-9C49-EB6D-2238-A8736778D9BF}"/>
              </a:ext>
            </a:extLst>
          </p:cNvPr>
          <p:cNvSpPr>
            <a:spLocks noGrp="1"/>
          </p:cNvSpPr>
          <p:nvPr>
            <p:ph type="title"/>
          </p:nvPr>
        </p:nvSpPr>
        <p:spPr>
          <a:xfrm>
            <a:off x="6446570" y="552716"/>
            <a:ext cx="5266953" cy="830997"/>
          </a:xfrm>
        </p:spPr>
        <p:txBody>
          <a:bodyPr/>
          <a:lstStyle>
            <a:lvl1pPr>
              <a:defRPr>
                <a:solidFill>
                  <a:schemeClr val="bg1"/>
                </a:solidFill>
              </a:defRPr>
            </a:lvl1pPr>
          </a:lstStyle>
          <a:p>
            <a:r>
              <a:rPr lang="en-US"/>
              <a:t>Click to edit Master title style</a:t>
            </a:r>
          </a:p>
        </p:txBody>
      </p:sp>
      <p:sp>
        <p:nvSpPr>
          <p:cNvPr id="5" name="Text Placeholder 9">
            <a:extLst>
              <a:ext uri="{FF2B5EF4-FFF2-40B4-BE49-F238E27FC236}">
                <a16:creationId xmlns:a16="http://schemas.microsoft.com/office/drawing/2014/main" id="{DEB7BC04-5F36-58FD-B27A-C6E6E6064FD4}"/>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2DC6463-53AF-2341-D32C-EDEAE3A3F7C8}"/>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bg1"/>
                </a:solidFill>
                <a:latin typeface="Avenir Next LT Pro" panose="020B0504020202020204" pitchFamily="34" charset="77"/>
              </a:rPr>
              <a:pPr algn="r"/>
              <a:t>‹#›</a:t>
            </a:fld>
            <a:endParaRPr lang="en-US" sz="1000" b="0" i="0" spc="40" baseline="0">
              <a:solidFill>
                <a:schemeClr val="bg1"/>
              </a:solidFill>
              <a:latin typeface="Avenir Next LT Pro" panose="020B0504020202020204" pitchFamily="34" charset="77"/>
            </a:endParaRPr>
          </a:p>
        </p:txBody>
      </p:sp>
    </p:spTree>
    <p:extLst>
      <p:ext uri="{BB962C8B-B14F-4D97-AF65-F5344CB8AC3E}">
        <p14:creationId xmlns:p14="http://schemas.microsoft.com/office/powerpoint/2010/main" val="2987614343"/>
      </p:ext>
    </p:extLst>
  </p:cSld>
  <p:clrMapOvr>
    <a:masterClrMapping/>
  </p:clrMapOvr>
  <p:transition spd="slow">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2_Left half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F95D9BF-B5A2-7247-9F4C-290817CA94AF}"/>
              </a:ext>
            </a:extLst>
          </p:cNvPr>
          <p:cNvSpPr/>
          <p:nvPr userDrawn="1"/>
        </p:nvSpPr>
        <p:spPr>
          <a:xfrm>
            <a:off x="6096794" y="0"/>
            <a:ext cx="6096794" cy="6858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1800" b="0" i="0">
              <a:latin typeface="Avenir Next LT Pro" panose="020B0504020202020204" pitchFamily="34" charset="77"/>
            </a:endParaRPr>
          </a:p>
        </p:txBody>
      </p:sp>
      <p:sp>
        <p:nvSpPr>
          <p:cNvPr id="7" name="Picture Placeholder 3"/>
          <p:cNvSpPr>
            <a:spLocks noGrp="1"/>
          </p:cNvSpPr>
          <p:nvPr>
            <p:ph type="pic" sz="quarter" idx="10"/>
          </p:nvPr>
        </p:nvSpPr>
        <p:spPr>
          <a:xfrm>
            <a:off x="0" y="3"/>
            <a:ext cx="6096794" cy="2215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70" y="1924054"/>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4" name="Title 1">
            <a:extLst>
              <a:ext uri="{FF2B5EF4-FFF2-40B4-BE49-F238E27FC236}">
                <a16:creationId xmlns:a16="http://schemas.microsoft.com/office/drawing/2014/main" id="{DA047FE9-9C49-EB6D-2238-A8736778D9BF}"/>
              </a:ext>
            </a:extLst>
          </p:cNvPr>
          <p:cNvSpPr>
            <a:spLocks noGrp="1"/>
          </p:cNvSpPr>
          <p:nvPr>
            <p:ph type="title"/>
          </p:nvPr>
        </p:nvSpPr>
        <p:spPr>
          <a:xfrm>
            <a:off x="6446570" y="552716"/>
            <a:ext cx="5266953" cy="830997"/>
          </a:xfrm>
        </p:spPr>
        <p:txBody>
          <a:bodyPr/>
          <a:lstStyle>
            <a:lvl1pPr>
              <a:defRPr>
                <a:solidFill>
                  <a:schemeClr val="bg1"/>
                </a:solidFill>
              </a:defRPr>
            </a:lvl1pPr>
          </a:lstStyle>
          <a:p>
            <a:r>
              <a:rPr lang="en-US"/>
              <a:t>Click to edit Master title style</a:t>
            </a:r>
          </a:p>
        </p:txBody>
      </p:sp>
      <p:sp>
        <p:nvSpPr>
          <p:cNvPr id="5" name="Text Placeholder 9">
            <a:extLst>
              <a:ext uri="{FF2B5EF4-FFF2-40B4-BE49-F238E27FC236}">
                <a16:creationId xmlns:a16="http://schemas.microsoft.com/office/drawing/2014/main" id="{DEB7BC04-5F36-58FD-B27A-C6E6E6064FD4}"/>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2DC6463-53AF-2341-D32C-EDEAE3A3F7C8}"/>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1"/>
                </a:solidFill>
                <a:latin typeface="Avenir Next LT Pro" panose="020B0504020202020204" pitchFamily="34" charset="77"/>
              </a:rPr>
              <a:pPr algn="r"/>
              <a:t>‹#›</a:t>
            </a:fld>
            <a:endParaRPr lang="en-US" sz="1000" b="0" i="0" spc="40" baseline="0">
              <a:solidFill>
                <a:schemeClr val="tx1"/>
              </a:solidFill>
              <a:latin typeface="Avenir Next LT Pro" panose="020B0504020202020204" pitchFamily="34" charset="77"/>
            </a:endParaRPr>
          </a:p>
        </p:txBody>
      </p:sp>
    </p:spTree>
    <p:extLst>
      <p:ext uri="{BB962C8B-B14F-4D97-AF65-F5344CB8AC3E}">
        <p14:creationId xmlns:p14="http://schemas.microsoft.com/office/powerpoint/2010/main" val="3815267282"/>
      </p:ext>
    </p:extLst>
  </p:cSld>
  <p:clrMapOvr>
    <a:masterClrMapping/>
  </p:clrMapOvr>
  <p:transition spd="slow">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3_Left half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F95D9BF-B5A2-7247-9F4C-290817CA94AF}"/>
              </a:ext>
            </a:extLst>
          </p:cNvPr>
          <p:cNvSpPr/>
          <p:nvPr userDrawn="1"/>
        </p:nvSpPr>
        <p:spPr>
          <a:xfrm>
            <a:off x="6096794" y="0"/>
            <a:ext cx="6096794"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1800" b="0" i="0">
              <a:latin typeface="Avenir Next LT Pro" panose="020B0504020202020204" pitchFamily="34" charset="77"/>
            </a:endParaRPr>
          </a:p>
        </p:txBody>
      </p:sp>
      <p:sp>
        <p:nvSpPr>
          <p:cNvPr id="7" name="Picture Placeholder 3"/>
          <p:cNvSpPr>
            <a:spLocks noGrp="1"/>
          </p:cNvSpPr>
          <p:nvPr>
            <p:ph type="pic" sz="quarter" idx="10"/>
          </p:nvPr>
        </p:nvSpPr>
        <p:spPr>
          <a:xfrm>
            <a:off x="0" y="3"/>
            <a:ext cx="6096794" cy="2215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70" y="1924054"/>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4" name="Title 1">
            <a:extLst>
              <a:ext uri="{FF2B5EF4-FFF2-40B4-BE49-F238E27FC236}">
                <a16:creationId xmlns:a16="http://schemas.microsoft.com/office/drawing/2014/main" id="{DA047FE9-9C49-EB6D-2238-A8736778D9BF}"/>
              </a:ext>
            </a:extLst>
          </p:cNvPr>
          <p:cNvSpPr>
            <a:spLocks noGrp="1"/>
          </p:cNvSpPr>
          <p:nvPr>
            <p:ph type="title"/>
          </p:nvPr>
        </p:nvSpPr>
        <p:spPr>
          <a:xfrm>
            <a:off x="6446570" y="552716"/>
            <a:ext cx="5266953" cy="830997"/>
          </a:xfrm>
        </p:spPr>
        <p:txBody>
          <a:bodyPr/>
          <a:lstStyle>
            <a:lvl1pPr>
              <a:defRPr>
                <a:solidFill>
                  <a:schemeClr val="bg1"/>
                </a:solidFill>
              </a:defRPr>
            </a:lvl1pPr>
          </a:lstStyle>
          <a:p>
            <a:r>
              <a:rPr lang="en-US"/>
              <a:t>Click to edit Master title style</a:t>
            </a:r>
          </a:p>
        </p:txBody>
      </p:sp>
      <p:sp>
        <p:nvSpPr>
          <p:cNvPr id="5" name="Text Placeholder 9">
            <a:extLst>
              <a:ext uri="{FF2B5EF4-FFF2-40B4-BE49-F238E27FC236}">
                <a16:creationId xmlns:a16="http://schemas.microsoft.com/office/drawing/2014/main" id="{DEB7BC04-5F36-58FD-B27A-C6E6E6064FD4}"/>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2DC6463-53AF-2341-D32C-EDEAE3A3F7C8}"/>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1"/>
                </a:solidFill>
                <a:latin typeface="Avenir Next LT Pro" panose="020B0504020202020204" pitchFamily="34" charset="77"/>
              </a:rPr>
              <a:pPr algn="r"/>
              <a:t>‹#›</a:t>
            </a:fld>
            <a:endParaRPr lang="en-US" sz="1000" b="0" i="0" spc="40" baseline="0">
              <a:solidFill>
                <a:schemeClr val="tx1"/>
              </a:solidFill>
              <a:latin typeface="Avenir Next LT Pro" panose="020B0504020202020204" pitchFamily="34" charset="77"/>
            </a:endParaRPr>
          </a:p>
        </p:txBody>
      </p:sp>
    </p:spTree>
    <p:extLst>
      <p:ext uri="{BB962C8B-B14F-4D97-AF65-F5344CB8AC3E}">
        <p14:creationId xmlns:p14="http://schemas.microsoft.com/office/powerpoint/2010/main" val="2616222671"/>
      </p:ext>
    </p:extLst>
  </p:cSld>
  <p:clrMapOvr>
    <a:masterClrMapping/>
  </p:clrMapOvr>
  <p:transition spd="slow">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18_Page break V1">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AD348AC-6CB6-9787-9690-FCC0ED20C326}"/>
              </a:ext>
            </a:extLst>
          </p:cNvPr>
          <p:cNvSpPr/>
          <p:nvPr userDrawn="1"/>
        </p:nvSpPr>
        <p:spPr>
          <a:xfrm>
            <a:off x="-10240" y="0"/>
            <a:ext cx="12203829" cy="6889150"/>
          </a:xfrm>
          <a:prstGeom prst="rect">
            <a:avLst/>
          </a:prstGeom>
          <a:solidFill>
            <a:srgbClr val="0019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1800" b="0" i="0">
              <a:latin typeface="Avenir Next LT Pro" panose="020B0504020202020204" pitchFamily="34" charset="77"/>
            </a:endParaRPr>
          </a:p>
        </p:txBody>
      </p:sp>
      <p:pic>
        <p:nvPicPr>
          <p:cNvPr id="2" name="Picture 1">
            <a:extLst>
              <a:ext uri="{FF2B5EF4-FFF2-40B4-BE49-F238E27FC236}">
                <a16:creationId xmlns:a16="http://schemas.microsoft.com/office/drawing/2014/main" id="{D7C762A7-EBC0-6ABE-0508-69B00A1A7B7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
        <p:nvSpPr>
          <p:cNvPr id="5" name="Title 1">
            <a:extLst>
              <a:ext uri="{FF2B5EF4-FFF2-40B4-BE49-F238E27FC236}">
                <a16:creationId xmlns:a16="http://schemas.microsoft.com/office/drawing/2014/main" id="{32815878-B5E4-F12D-4AED-850BCEA8F7CB}"/>
              </a:ext>
            </a:extLst>
          </p:cNvPr>
          <p:cNvSpPr>
            <a:spLocks noGrp="1"/>
          </p:cNvSpPr>
          <p:nvPr>
            <p:ph type="title"/>
          </p:nvPr>
        </p:nvSpPr>
        <p:spPr>
          <a:xfrm>
            <a:off x="565459" y="552715"/>
            <a:ext cx="10017711" cy="415498"/>
          </a:xfrm>
        </p:spPr>
        <p:txBody>
          <a:bodyPr/>
          <a:lstStyle>
            <a:lvl1pPr>
              <a:defRPr>
                <a:solidFill>
                  <a:schemeClr val="bg1"/>
                </a:solidFill>
              </a:defRPr>
            </a:lvl1pPr>
          </a:lstStyle>
          <a:p>
            <a:r>
              <a:rPr lang="en-US"/>
              <a:t>Click to edit Master title style</a:t>
            </a:r>
          </a:p>
        </p:txBody>
      </p:sp>
      <p:sp>
        <p:nvSpPr>
          <p:cNvPr id="6" name="Text Placeholder 9">
            <a:extLst>
              <a:ext uri="{FF2B5EF4-FFF2-40B4-BE49-F238E27FC236}">
                <a16:creationId xmlns:a16="http://schemas.microsoft.com/office/drawing/2014/main" id="{2DCEFB29-3102-A477-5698-738DA1D8AC21}"/>
              </a:ext>
            </a:extLst>
          </p:cNvPr>
          <p:cNvSpPr>
            <a:spLocks noGrp="1"/>
          </p:cNvSpPr>
          <p:nvPr>
            <p:ph type="body" sz="quarter" idx="11"/>
          </p:nvPr>
        </p:nvSpPr>
        <p:spPr>
          <a:xfrm>
            <a:off x="565460"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3" name="TextBox 2">
            <a:extLst>
              <a:ext uri="{FF2B5EF4-FFF2-40B4-BE49-F238E27FC236}">
                <a16:creationId xmlns:a16="http://schemas.microsoft.com/office/drawing/2014/main" id="{784D6875-EC0A-AA0E-48FF-39AF8972079A}"/>
              </a:ext>
            </a:extLst>
          </p:cNvPr>
          <p:cNvSpPr txBox="1"/>
          <p:nvPr userDrawn="1"/>
        </p:nvSpPr>
        <p:spPr>
          <a:xfrm>
            <a:off x="11692356" y="645400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bg1"/>
                </a:solidFill>
                <a:latin typeface="Avenir Next LT Pro" panose="020B0504020202020204" pitchFamily="34" charset="77"/>
              </a:rPr>
              <a:pPr algn="r"/>
              <a:t>‹#›</a:t>
            </a:fld>
            <a:endParaRPr lang="en-US" sz="1000" b="0" i="0" spc="40" baseline="0">
              <a:solidFill>
                <a:schemeClr val="bg1"/>
              </a:solidFill>
              <a:latin typeface="Avenir Next LT Pro" panose="020B0504020202020204" pitchFamily="34" charset="77"/>
            </a:endParaRPr>
          </a:p>
        </p:txBody>
      </p:sp>
    </p:spTree>
    <p:extLst>
      <p:ext uri="{BB962C8B-B14F-4D97-AF65-F5344CB8AC3E}">
        <p14:creationId xmlns:p14="http://schemas.microsoft.com/office/powerpoint/2010/main" val="1562521163"/>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13_Page break V1">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4620260-3DA9-5AE3-1C8A-4CDFA2FD8360}"/>
              </a:ext>
            </a:extLst>
          </p:cNvPr>
          <p:cNvSpPr/>
          <p:nvPr userDrawn="1"/>
        </p:nvSpPr>
        <p:spPr>
          <a:xfrm>
            <a:off x="-10240" y="0"/>
            <a:ext cx="6096003" cy="6889150"/>
          </a:xfrm>
          <a:prstGeom prst="rect">
            <a:avLst/>
          </a:prstGeom>
          <a:solidFill>
            <a:srgbClr val="0019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1800" b="0" i="0">
              <a:latin typeface="Avenir Next LT Pro" panose="020B0504020202020204" pitchFamily="34" charset="77"/>
            </a:endParaRPr>
          </a:p>
        </p:txBody>
      </p:sp>
      <p:sp>
        <p:nvSpPr>
          <p:cNvPr id="11" name="Title 1">
            <a:extLst>
              <a:ext uri="{FF2B5EF4-FFF2-40B4-BE49-F238E27FC236}">
                <a16:creationId xmlns:a16="http://schemas.microsoft.com/office/drawing/2014/main" id="{217B33A1-77D1-BA89-A17B-305986D5621F}"/>
              </a:ext>
            </a:extLst>
          </p:cNvPr>
          <p:cNvSpPr>
            <a:spLocks noGrp="1"/>
          </p:cNvSpPr>
          <p:nvPr>
            <p:ph type="title"/>
          </p:nvPr>
        </p:nvSpPr>
        <p:spPr>
          <a:xfrm>
            <a:off x="565460" y="2260114"/>
            <a:ext cx="5046447" cy="941796"/>
          </a:xfrm>
          <a:prstGeom prst="rect">
            <a:avLst/>
          </a:prstGeom>
        </p:spPr>
        <p:txBody>
          <a:bodyPr lIns="0" tIns="0" rIns="0" bIns="0"/>
          <a:lstStyle>
            <a:lvl1pPr>
              <a:defRPr sz="3400" b="1" i="0">
                <a:solidFill>
                  <a:schemeClr val="accent2"/>
                </a:solidFill>
                <a:latin typeface="Avenir Next LT Pro" panose="020B0504020202020204" pitchFamily="34" charset="77"/>
              </a:defRPr>
            </a:lvl1pPr>
          </a:lstStyle>
          <a:p>
            <a:r>
              <a:rPr lang="en-US"/>
              <a:t>Click to edit Master title style</a:t>
            </a:r>
          </a:p>
        </p:txBody>
      </p:sp>
      <p:sp>
        <p:nvSpPr>
          <p:cNvPr id="13" name="Text Placeholder 9">
            <a:extLst>
              <a:ext uri="{FF2B5EF4-FFF2-40B4-BE49-F238E27FC236}">
                <a16:creationId xmlns:a16="http://schemas.microsoft.com/office/drawing/2014/main" id="{9BF14781-F7C5-28CD-EA36-2EA983C7DA17}"/>
              </a:ext>
            </a:extLst>
          </p:cNvPr>
          <p:cNvSpPr>
            <a:spLocks noGrp="1"/>
          </p:cNvSpPr>
          <p:nvPr>
            <p:ph type="body" sz="quarter" idx="12" hasCustomPrompt="1"/>
          </p:nvPr>
        </p:nvSpPr>
        <p:spPr>
          <a:xfrm>
            <a:off x="549243" y="4040923"/>
            <a:ext cx="4897401"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Insert location, place, date, time etc.)</a:t>
            </a:r>
          </a:p>
        </p:txBody>
      </p:sp>
    </p:spTree>
    <p:extLst>
      <p:ext uri="{BB962C8B-B14F-4D97-AF65-F5344CB8AC3E}">
        <p14:creationId xmlns:p14="http://schemas.microsoft.com/office/powerpoint/2010/main" val="336956815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5_Titles only">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2" name="Title 1">
            <a:extLst>
              <a:ext uri="{FF2B5EF4-FFF2-40B4-BE49-F238E27FC236}">
                <a16:creationId xmlns:a16="http://schemas.microsoft.com/office/drawing/2014/main" id="{083E5FDF-E153-FB83-59F8-C3342050DE2D}"/>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9DD7CAFE-A12E-5475-CF59-1899CB4CCFB7}"/>
              </a:ext>
            </a:extLst>
          </p:cNvPr>
          <p:cNvSpPr>
            <a:spLocks noGrp="1"/>
          </p:cNvSpPr>
          <p:nvPr>
            <p:ph type="body" sz="quarter" idx="11"/>
          </p:nvPr>
        </p:nvSpPr>
        <p:spPr>
          <a:xfrm>
            <a:off x="565460"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F2A6583E-996E-9E75-7882-FF852DCA2D48}"/>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0AD12B55-5B5E-CC98-9236-6E85084425FA}"/>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7" name="Picture 6">
            <a:extLst>
              <a:ext uri="{FF2B5EF4-FFF2-40B4-BE49-F238E27FC236}">
                <a16:creationId xmlns:a16="http://schemas.microsoft.com/office/drawing/2014/main" id="{EB801F14-353F-6EFC-99BA-7CD3602561C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Tree>
    <p:extLst>
      <p:ext uri="{BB962C8B-B14F-4D97-AF65-F5344CB8AC3E}">
        <p14:creationId xmlns:p14="http://schemas.microsoft.com/office/powerpoint/2010/main" val="3685368556"/>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_Titles only">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7" name="Rectangle 6">
            <a:extLst>
              <a:ext uri="{FF2B5EF4-FFF2-40B4-BE49-F238E27FC236}">
                <a16:creationId xmlns:a16="http://schemas.microsoft.com/office/drawing/2014/main" id="{9DB270F1-B40D-2246-A956-F1D47E227370}"/>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2" name="Title 1">
            <a:extLst>
              <a:ext uri="{FF2B5EF4-FFF2-40B4-BE49-F238E27FC236}">
                <a16:creationId xmlns:a16="http://schemas.microsoft.com/office/drawing/2014/main" id="{C48E50A3-CD8F-C800-8D64-A2446E516B96}"/>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BEEB4D7A-3FF8-2422-96A4-39526DE5BA7E}"/>
              </a:ext>
            </a:extLst>
          </p:cNvPr>
          <p:cNvSpPr>
            <a:spLocks noGrp="1"/>
          </p:cNvSpPr>
          <p:nvPr>
            <p:ph type="body" sz="quarter" idx="11"/>
          </p:nvPr>
        </p:nvSpPr>
        <p:spPr>
          <a:xfrm>
            <a:off x="565460"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CC426A7C-39F7-A545-D883-51CB79E99304}"/>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Picture 5">
            <a:extLst>
              <a:ext uri="{FF2B5EF4-FFF2-40B4-BE49-F238E27FC236}">
                <a16:creationId xmlns:a16="http://schemas.microsoft.com/office/drawing/2014/main" id="{15B95CED-4ABA-CF4D-B5DB-6C1EF5E7F45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Tree>
    <p:extLst>
      <p:ext uri="{BB962C8B-B14F-4D97-AF65-F5344CB8AC3E}">
        <p14:creationId xmlns:p14="http://schemas.microsoft.com/office/powerpoint/2010/main" val="2019946408"/>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3_Titles only">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2" name="Rectangle 1">
            <a:extLst>
              <a:ext uri="{FF2B5EF4-FFF2-40B4-BE49-F238E27FC236}">
                <a16:creationId xmlns:a16="http://schemas.microsoft.com/office/drawing/2014/main" id="{13782217-6487-F6BB-01E4-499FC8E30A1F}"/>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3" name="Title 1">
            <a:extLst>
              <a:ext uri="{FF2B5EF4-FFF2-40B4-BE49-F238E27FC236}">
                <a16:creationId xmlns:a16="http://schemas.microsoft.com/office/drawing/2014/main" id="{89549BBD-E8E8-2346-3D50-48B478C393EF}"/>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18774A25-19A6-95AF-8FB4-98DFE8F1382B}"/>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9027F306-9D8C-2F25-FD18-D6EB3DE8FC5D}"/>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382D8668-7E35-E451-A960-F5E235DC9D98}"/>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extLst>
      <p:ext uri="{BB962C8B-B14F-4D97-AF65-F5344CB8AC3E}">
        <p14:creationId xmlns:p14="http://schemas.microsoft.com/office/powerpoint/2010/main" val="1829670064"/>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3_Titles + text">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2" name="Text Placeholder 5"/>
          <p:cNvSpPr>
            <a:spLocks noGrp="1"/>
          </p:cNvSpPr>
          <p:nvPr>
            <p:ph type="body" sz="quarter" idx="12"/>
          </p:nvPr>
        </p:nvSpPr>
        <p:spPr>
          <a:xfrm>
            <a:off x="565459" y="1634068"/>
            <a:ext cx="11029035" cy="84843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3" name="Title 1">
            <a:extLst>
              <a:ext uri="{FF2B5EF4-FFF2-40B4-BE49-F238E27FC236}">
                <a16:creationId xmlns:a16="http://schemas.microsoft.com/office/drawing/2014/main" id="{4320D004-6754-4910-E736-BD1ADFAF98CC}"/>
              </a:ext>
            </a:extLst>
          </p:cNvPr>
          <p:cNvSpPr>
            <a:spLocks noGrp="1"/>
          </p:cNvSpPr>
          <p:nvPr>
            <p:ph type="title"/>
          </p:nvPr>
        </p:nvSpPr>
        <p:spPr>
          <a:xfrm>
            <a:off x="565460" y="552715"/>
            <a:ext cx="10098869"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39C08247-062F-0676-8498-BA3B732A36AC}"/>
              </a:ext>
            </a:extLst>
          </p:cNvPr>
          <p:cNvSpPr>
            <a:spLocks noGrp="1"/>
          </p:cNvSpPr>
          <p:nvPr>
            <p:ph type="body" sz="quarter" idx="11"/>
          </p:nvPr>
        </p:nvSpPr>
        <p:spPr>
          <a:xfrm>
            <a:off x="565460"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151A6EC8-761A-C152-2663-47D998769EFC}"/>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5" name="Picture 4">
            <a:extLst>
              <a:ext uri="{FF2B5EF4-FFF2-40B4-BE49-F238E27FC236}">
                <a16:creationId xmlns:a16="http://schemas.microsoft.com/office/drawing/2014/main" id="{E1507790-C304-A42D-D906-6F62B621536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Tree>
    <p:extLst>
      <p:ext uri="{BB962C8B-B14F-4D97-AF65-F5344CB8AC3E}">
        <p14:creationId xmlns:p14="http://schemas.microsoft.com/office/powerpoint/2010/main" val="2079921701"/>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_Titles +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5DCBE4-2474-E18F-D85B-AD8A02BDAB2C}"/>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3" name="Title 1">
            <a:extLst>
              <a:ext uri="{FF2B5EF4-FFF2-40B4-BE49-F238E27FC236}">
                <a16:creationId xmlns:a16="http://schemas.microsoft.com/office/drawing/2014/main" id="{E0A6DB9D-E6AB-6967-43E9-EE1FC0BE859A}"/>
              </a:ext>
            </a:extLst>
          </p:cNvPr>
          <p:cNvSpPr>
            <a:spLocks noGrp="1"/>
          </p:cNvSpPr>
          <p:nvPr>
            <p:ph type="title"/>
          </p:nvPr>
        </p:nvSpPr>
        <p:spPr>
          <a:xfrm>
            <a:off x="565460" y="552715"/>
            <a:ext cx="10098869"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286C8244-E396-CD67-B252-189D777C81BE}"/>
              </a:ext>
            </a:extLst>
          </p:cNvPr>
          <p:cNvSpPr>
            <a:spLocks noGrp="1"/>
          </p:cNvSpPr>
          <p:nvPr>
            <p:ph type="body" sz="quarter" idx="11"/>
          </p:nvPr>
        </p:nvSpPr>
        <p:spPr>
          <a:xfrm>
            <a:off x="565460"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12" name="Text Placeholder 5"/>
          <p:cNvSpPr>
            <a:spLocks noGrp="1"/>
          </p:cNvSpPr>
          <p:nvPr>
            <p:ph type="body" sz="quarter" idx="12"/>
          </p:nvPr>
        </p:nvSpPr>
        <p:spPr>
          <a:xfrm>
            <a:off x="565459" y="1634068"/>
            <a:ext cx="11029035" cy="84843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5" name="TextBox 4">
            <a:extLst>
              <a:ext uri="{FF2B5EF4-FFF2-40B4-BE49-F238E27FC236}">
                <a16:creationId xmlns:a16="http://schemas.microsoft.com/office/drawing/2014/main" id="{9AE4B553-B7AB-8210-F80F-5BEF4CCCCF0C}"/>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7" name="Picture 6">
            <a:extLst>
              <a:ext uri="{FF2B5EF4-FFF2-40B4-BE49-F238E27FC236}">
                <a16:creationId xmlns:a16="http://schemas.microsoft.com/office/drawing/2014/main" id="{B668D5BC-9FB8-C9BD-3E3D-C2D197949E7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Tree>
    <p:extLst>
      <p:ext uri="{BB962C8B-B14F-4D97-AF65-F5344CB8AC3E}">
        <p14:creationId xmlns:p14="http://schemas.microsoft.com/office/powerpoint/2010/main" val="3127562884"/>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3_Page break V1">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4620260-3DA9-5AE3-1C8A-4CDFA2FD8360}"/>
              </a:ext>
            </a:extLst>
          </p:cNvPr>
          <p:cNvSpPr/>
          <p:nvPr userDrawn="1"/>
        </p:nvSpPr>
        <p:spPr>
          <a:xfrm>
            <a:off x="-10241" y="0"/>
            <a:ext cx="6096003" cy="6889150"/>
          </a:xfrm>
          <a:prstGeom prst="rect">
            <a:avLst/>
          </a:prstGeom>
          <a:solidFill>
            <a:srgbClr val="0019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11" name="Title 1">
            <a:extLst>
              <a:ext uri="{FF2B5EF4-FFF2-40B4-BE49-F238E27FC236}">
                <a16:creationId xmlns:a16="http://schemas.microsoft.com/office/drawing/2014/main" id="{217B33A1-77D1-BA89-A17B-305986D5621F}"/>
              </a:ext>
            </a:extLst>
          </p:cNvPr>
          <p:cNvSpPr>
            <a:spLocks noGrp="1"/>
          </p:cNvSpPr>
          <p:nvPr>
            <p:ph type="title"/>
          </p:nvPr>
        </p:nvSpPr>
        <p:spPr>
          <a:xfrm>
            <a:off x="565459" y="2260113"/>
            <a:ext cx="5046447" cy="1155783"/>
          </a:xfrm>
          <a:prstGeom prst="rect">
            <a:avLst/>
          </a:prstGeom>
        </p:spPr>
        <p:txBody>
          <a:bodyPr lIns="0" tIns="0" rIns="0" bIns="0"/>
          <a:lstStyle>
            <a:lvl1pPr>
              <a:defRPr sz="3400" b="1" i="0">
                <a:solidFill>
                  <a:schemeClr val="accent2"/>
                </a:solidFill>
                <a:latin typeface="Avenir Next LT Pro" panose="020B0504020202020204" pitchFamily="34" charset="77"/>
              </a:defRPr>
            </a:lvl1pPr>
          </a:lstStyle>
          <a:p>
            <a:r>
              <a:rPr lang="en-US"/>
              <a:t>Click to edit Master title style</a:t>
            </a:r>
          </a:p>
        </p:txBody>
      </p:sp>
      <p:sp>
        <p:nvSpPr>
          <p:cNvPr id="13" name="Text Placeholder 9">
            <a:extLst>
              <a:ext uri="{FF2B5EF4-FFF2-40B4-BE49-F238E27FC236}">
                <a16:creationId xmlns:a16="http://schemas.microsoft.com/office/drawing/2014/main" id="{9BF14781-F7C5-28CD-EA36-2EA983C7DA17}"/>
              </a:ext>
            </a:extLst>
          </p:cNvPr>
          <p:cNvSpPr>
            <a:spLocks noGrp="1"/>
          </p:cNvSpPr>
          <p:nvPr>
            <p:ph type="body" sz="quarter" idx="12" hasCustomPrompt="1"/>
          </p:nvPr>
        </p:nvSpPr>
        <p:spPr>
          <a:xfrm>
            <a:off x="549242" y="4040923"/>
            <a:ext cx="4897401"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Insert location, place, date, time etc.)</a:t>
            </a:r>
          </a:p>
        </p:txBody>
      </p:sp>
    </p:spTree>
    <p:extLst>
      <p:ext uri="{BB962C8B-B14F-4D97-AF65-F5344CB8AC3E}">
        <p14:creationId xmlns:p14="http://schemas.microsoft.com/office/powerpoint/2010/main" val="2603640093"/>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3 images + descri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887A79-7AC5-5C4A-503C-92DC098B758E}"/>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4" name="Content Placeholder 3"/>
          <p:cNvSpPr>
            <a:spLocks noGrp="1"/>
          </p:cNvSpPr>
          <p:nvPr>
            <p:ph sz="quarter" idx="18" hasCustomPrompt="1"/>
          </p:nvPr>
        </p:nvSpPr>
        <p:spPr>
          <a:xfrm>
            <a:off x="565460"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5" name="Text Placeholder 4"/>
          <p:cNvSpPr>
            <a:spLocks noGrp="1"/>
          </p:cNvSpPr>
          <p:nvPr>
            <p:ph type="body" sz="quarter" idx="15"/>
          </p:nvPr>
        </p:nvSpPr>
        <p:spPr>
          <a:xfrm>
            <a:off x="551938" y="5098408"/>
            <a:ext cx="3529869"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26" name="Content Placeholder 3">
            <a:extLst>
              <a:ext uri="{FF2B5EF4-FFF2-40B4-BE49-F238E27FC236}">
                <a16:creationId xmlns:a16="http://schemas.microsoft.com/office/drawing/2014/main" id="{9E472C2D-B119-1348-ABB7-4B27DBE81FC4}"/>
              </a:ext>
            </a:extLst>
          </p:cNvPr>
          <p:cNvSpPr>
            <a:spLocks noGrp="1"/>
          </p:cNvSpPr>
          <p:nvPr>
            <p:ph sz="quarter" idx="19" hasCustomPrompt="1"/>
          </p:nvPr>
        </p:nvSpPr>
        <p:spPr>
          <a:xfrm>
            <a:off x="4315588"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7" name="Text Placeholder 4">
            <a:extLst>
              <a:ext uri="{FF2B5EF4-FFF2-40B4-BE49-F238E27FC236}">
                <a16:creationId xmlns:a16="http://schemas.microsoft.com/office/drawing/2014/main" id="{6B86DBF1-6757-494E-BB09-B02F75D7942F}"/>
              </a:ext>
            </a:extLst>
          </p:cNvPr>
          <p:cNvSpPr>
            <a:spLocks noGrp="1"/>
          </p:cNvSpPr>
          <p:nvPr>
            <p:ph type="body" sz="quarter" idx="20"/>
          </p:nvPr>
        </p:nvSpPr>
        <p:spPr>
          <a:xfrm>
            <a:off x="4315589" y="5098408"/>
            <a:ext cx="3529869"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28" name="Content Placeholder 3">
            <a:extLst>
              <a:ext uri="{FF2B5EF4-FFF2-40B4-BE49-F238E27FC236}">
                <a16:creationId xmlns:a16="http://schemas.microsoft.com/office/drawing/2014/main" id="{9D47F0CA-7587-3F49-929E-E48CC948FFEF}"/>
              </a:ext>
            </a:extLst>
          </p:cNvPr>
          <p:cNvSpPr>
            <a:spLocks noGrp="1"/>
          </p:cNvSpPr>
          <p:nvPr>
            <p:ph sz="quarter" idx="21" hasCustomPrompt="1"/>
          </p:nvPr>
        </p:nvSpPr>
        <p:spPr>
          <a:xfrm>
            <a:off x="8065717"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9" name="Text Placeholder 4">
            <a:extLst>
              <a:ext uri="{FF2B5EF4-FFF2-40B4-BE49-F238E27FC236}">
                <a16:creationId xmlns:a16="http://schemas.microsoft.com/office/drawing/2014/main" id="{C231C06B-3EE2-A348-A91C-CAFBBAF74FA0}"/>
              </a:ext>
            </a:extLst>
          </p:cNvPr>
          <p:cNvSpPr>
            <a:spLocks noGrp="1"/>
          </p:cNvSpPr>
          <p:nvPr>
            <p:ph type="body" sz="quarter" idx="22"/>
          </p:nvPr>
        </p:nvSpPr>
        <p:spPr>
          <a:xfrm>
            <a:off x="8065718" y="5098408"/>
            <a:ext cx="3529869"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3" name="Title 1">
            <a:extLst>
              <a:ext uri="{FF2B5EF4-FFF2-40B4-BE49-F238E27FC236}">
                <a16:creationId xmlns:a16="http://schemas.microsoft.com/office/drawing/2014/main" id="{DBF411DD-945C-4A72-1FBB-BC99017FA8F9}"/>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6" name="Text Placeholder 9">
            <a:extLst>
              <a:ext uri="{FF2B5EF4-FFF2-40B4-BE49-F238E27FC236}">
                <a16:creationId xmlns:a16="http://schemas.microsoft.com/office/drawing/2014/main" id="{7945EEC3-B051-A336-D42E-3BB3BFCED291}"/>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8" name="TextBox 7">
            <a:extLst>
              <a:ext uri="{FF2B5EF4-FFF2-40B4-BE49-F238E27FC236}">
                <a16:creationId xmlns:a16="http://schemas.microsoft.com/office/drawing/2014/main" id="{18E0ADA8-4CE7-A0B6-7DF3-AD8AA6E44AE0}"/>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9" name="TextBox 8">
            <a:extLst>
              <a:ext uri="{FF2B5EF4-FFF2-40B4-BE49-F238E27FC236}">
                <a16:creationId xmlns:a16="http://schemas.microsoft.com/office/drawing/2014/main" id="{97EFE607-1873-412D-8757-FB24DA34D8B2}"/>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10" name="Picture 9">
            <a:extLst>
              <a:ext uri="{FF2B5EF4-FFF2-40B4-BE49-F238E27FC236}">
                <a16:creationId xmlns:a16="http://schemas.microsoft.com/office/drawing/2014/main" id="{5BDCC9A6-66E7-FFA5-C1DB-20460A8A363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Tree>
    <p:extLst>
      <p:ext uri="{BB962C8B-B14F-4D97-AF65-F5344CB8AC3E}">
        <p14:creationId xmlns:p14="http://schemas.microsoft.com/office/powerpoint/2010/main" val="122919185"/>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5_Left half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F95D9BF-B5A2-7247-9F4C-290817CA94AF}"/>
              </a:ext>
            </a:extLst>
          </p:cNvPr>
          <p:cNvSpPr/>
          <p:nvPr userDrawn="1"/>
        </p:nvSpPr>
        <p:spPr>
          <a:xfrm>
            <a:off x="6096794" y="0"/>
            <a:ext cx="609679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1800" b="0" i="0">
              <a:latin typeface="Avenir Next LT Pro" panose="020B0504020202020204" pitchFamily="34" charset="77"/>
            </a:endParaRPr>
          </a:p>
        </p:txBody>
      </p:sp>
      <p:sp>
        <p:nvSpPr>
          <p:cNvPr id="7" name="Picture Placeholder 3"/>
          <p:cNvSpPr>
            <a:spLocks noGrp="1"/>
          </p:cNvSpPr>
          <p:nvPr>
            <p:ph type="pic" sz="quarter" idx="10"/>
          </p:nvPr>
        </p:nvSpPr>
        <p:spPr>
          <a:xfrm>
            <a:off x="0" y="3"/>
            <a:ext cx="6096794" cy="2215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70" y="1924054"/>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4" name="Title 1">
            <a:extLst>
              <a:ext uri="{FF2B5EF4-FFF2-40B4-BE49-F238E27FC236}">
                <a16:creationId xmlns:a16="http://schemas.microsoft.com/office/drawing/2014/main" id="{DA047FE9-9C49-EB6D-2238-A8736778D9BF}"/>
              </a:ext>
            </a:extLst>
          </p:cNvPr>
          <p:cNvSpPr>
            <a:spLocks noGrp="1"/>
          </p:cNvSpPr>
          <p:nvPr>
            <p:ph type="title"/>
          </p:nvPr>
        </p:nvSpPr>
        <p:spPr>
          <a:xfrm>
            <a:off x="6446570" y="552716"/>
            <a:ext cx="5266953" cy="830997"/>
          </a:xfrm>
        </p:spPr>
        <p:txBody>
          <a:bodyPr/>
          <a:lstStyle>
            <a:lvl1pPr>
              <a:defRPr>
                <a:solidFill>
                  <a:schemeClr val="bg1"/>
                </a:solidFill>
              </a:defRPr>
            </a:lvl1pPr>
          </a:lstStyle>
          <a:p>
            <a:r>
              <a:rPr lang="en-US"/>
              <a:t>Click to edit Master title style</a:t>
            </a:r>
          </a:p>
        </p:txBody>
      </p:sp>
      <p:sp>
        <p:nvSpPr>
          <p:cNvPr id="5" name="Text Placeholder 9">
            <a:extLst>
              <a:ext uri="{FF2B5EF4-FFF2-40B4-BE49-F238E27FC236}">
                <a16:creationId xmlns:a16="http://schemas.microsoft.com/office/drawing/2014/main" id="{DEB7BC04-5F36-58FD-B27A-C6E6E6064FD4}"/>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2DC6463-53AF-2341-D32C-EDEAE3A3F7C8}"/>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1"/>
                </a:solidFill>
                <a:latin typeface="Avenir Next LT Pro" panose="020B0504020202020204" pitchFamily="34" charset="77"/>
              </a:rPr>
              <a:pPr algn="r"/>
              <a:t>‹#›</a:t>
            </a:fld>
            <a:endParaRPr lang="en-US" sz="1000" b="0" i="0" spc="40" baseline="0">
              <a:solidFill>
                <a:schemeClr val="tx1"/>
              </a:solidFill>
              <a:latin typeface="Avenir Next LT Pro" panose="020B0504020202020204" pitchFamily="34" charset="77"/>
            </a:endParaRPr>
          </a:p>
        </p:txBody>
      </p:sp>
    </p:spTree>
    <p:extLst>
      <p:ext uri="{BB962C8B-B14F-4D97-AF65-F5344CB8AC3E}">
        <p14:creationId xmlns:p14="http://schemas.microsoft.com/office/powerpoint/2010/main" val="3201593148"/>
      </p:ext>
    </p:extLst>
  </p:cSld>
  <p:clrMapOvr>
    <a:masterClrMapping/>
  </p:clrMapOvr>
  <p:transition spd="slow">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19_Page break V1">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AD348AC-6CB6-9787-9690-FCC0ED20C326}"/>
              </a:ext>
            </a:extLst>
          </p:cNvPr>
          <p:cNvSpPr/>
          <p:nvPr userDrawn="1"/>
        </p:nvSpPr>
        <p:spPr>
          <a:xfrm>
            <a:off x="-10240" y="0"/>
            <a:ext cx="12203829" cy="6889150"/>
          </a:xfrm>
          <a:prstGeom prst="rect">
            <a:avLst/>
          </a:prstGeom>
          <a:solidFill>
            <a:srgbClr val="0019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1800" b="0" i="0">
              <a:latin typeface="Avenir Next LT Pro" panose="020B0504020202020204" pitchFamily="34" charset="77"/>
            </a:endParaRPr>
          </a:p>
        </p:txBody>
      </p:sp>
      <p:pic>
        <p:nvPicPr>
          <p:cNvPr id="2" name="Picture 1">
            <a:extLst>
              <a:ext uri="{FF2B5EF4-FFF2-40B4-BE49-F238E27FC236}">
                <a16:creationId xmlns:a16="http://schemas.microsoft.com/office/drawing/2014/main" id="{D7C762A7-EBC0-6ABE-0508-69B00A1A7B7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
        <p:nvSpPr>
          <p:cNvPr id="5" name="Title 1">
            <a:extLst>
              <a:ext uri="{FF2B5EF4-FFF2-40B4-BE49-F238E27FC236}">
                <a16:creationId xmlns:a16="http://schemas.microsoft.com/office/drawing/2014/main" id="{32815878-B5E4-F12D-4AED-850BCEA8F7CB}"/>
              </a:ext>
            </a:extLst>
          </p:cNvPr>
          <p:cNvSpPr>
            <a:spLocks noGrp="1"/>
          </p:cNvSpPr>
          <p:nvPr>
            <p:ph type="title"/>
          </p:nvPr>
        </p:nvSpPr>
        <p:spPr>
          <a:xfrm>
            <a:off x="565459" y="552715"/>
            <a:ext cx="10017711" cy="415498"/>
          </a:xfrm>
        </p:spPr>
        <p:txBody>
          <a:bodyPr/>
          <a:lstStyle>
            <a:lvl1pPr>
              <a:defRPr>
                <a:solidFill>
                  <a:schemeClr val="bg1"/>
                </a:solidFill>
              </a:defRPr>
            </a:lvl1pPr>
          </a:lstStyle>
          <a:p>
            <a:r>
              <a:rPr lang="en-US"/>
              <a:t>Click to edit Master title style</a:t>
            </a:r>
          </a:p>
        </p:txBody>
      </p:sp>
      <p:sp>
        <p:nvSpPr>
          <p:cNvPr id="6" name="Text Placeholder 9">
            <a:extLst>
              <a:ext uri="{FF2B5EF4-FFF2-40B4-BE49-F238E27FC236}">
                <a16:creationId xmlns:a16="http://schemas.microsoft.com/office/drawing/2014/main" id="{2DCEFB29-3102-A477-5698-738DA1D8AC21}"/>
              </a:ext>
            </a:extLst>
          </p:cNvPr>
          <p:cNvSpPr>
            <a:spLocks noGrp="1"/>
          </p:cNvSpPr>
          <p:nvPr>
            <p:ph type="body" sz="quarter" idx="11"/>
          </p:nvPr>
        </p:nvSpPr>
        <p:spPr>
          <a:xfrm>
            <a:off x="565460"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3" name="TextBox 2">
            <a:extLst>
              <a:ext uri="{FF2B5EF4-FFF2-40B4-BE49-F238E27FC236}">
                <a16:creationId xmlns:a16="http://schemas.microsoft.com/office/drawing/2014/main" id="{784D6875-EC0A-AA0E-48FF-39AF8972079A}"/>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bg1"/>
                </a:solidFill>
                <a:latin typeface="Avenir Next LT Pro" panose="020B0504020202020204" pitchFamily="34" charset="77"/>
              </a:rPr>
              <a:pPr algn="r"/>
              <a:t>‹#›</a:t>
            </a:fld>
            <a:endParaRPr lang="en-US" sz="1000" b="0" i="0" spc="40" baseline="0">
              <a:solidFill>
                <a:schemeClr val="bg1"/>
              </a:solidFill>
              <a:latin typeface="Avenir Next LT Pro" panose="020B0504020202020204" pitchFamily="34" charset="77"/>
            </a:endParaRPr>
          </a:p>
        </p:txBody>
      </p:sp>
    </p:spTree>
    <p:extLst>
      <p:ext uri="{BB962C8B-B14F-4D97-AF65-F5344CB8AC3E}">
        <p14:creationId xmlns:p14="http://schemas.microsoft.com/office/powerpoint/2010/main" val="1806785856"/>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14_Page break V1">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BEBDAF5-8848-D89E-558B-E4CA4D265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 t="1730" r="1736"/>
          <a:stretch/>
        </p:blipFill>
        <p:spPr>
          <a:xfrm>
            <a:off x="6085761" y="0"/>
            <a:ext cx="6107826" cy="6858000"/>
          </a:xfrm>
          <a:prstGeom prst="rect">
            <a:avLst/>
          </a:prstGeom>
        </p:spPr>
      </p:pic>
      <p:sp>
        <p:nvSpPr>
          <p:cNvPr id="3" name="Rectangle 2">
            <a:extLst>
              <a:ext uri="{FF2B5EF4-FFF2-40B4-BE49-F238E27FC236}">
                <a16:creationId xmlns:a16="http://schemas.microsoft.com/office/drawing/2014/main" id="{94620260-3DA9-5AE3-1C8A-4CDFA2FD8360}"/>
              </a:ext>
            </a:extLst>
          </p:cNvPr>
          <p:cNvSpPr/>
          <p:nvPr userDrawn="1"/>
        </p:nvSpPr>
        <p:spPr>
          <a:xfrm>
            <a:off x="-10240" y="0"/>
            <a:ext cx="6096003" cy="6889150"/>
          </a:xfrm>
          <a:prstGeom prst="rect">
            <a:avLst/>
          </a:prstGeom>
          <a:solidFill>
            <a:srgbClr val="0019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1800" b="0" i="0">
              <a:latin typeface="Avenir Next LT Pro" panose="020B0504020202020204" pitchFamily="34" charset="77"/>
            </a:endParaRPr>
          </a:p>
        </p:txBody>
      </p:sp>
      <p:sp>
        <p:nvSpPr>
          <p:cNvPr id="11" name="Title 1">
            <a:extLst>
              <a:ext uri="{FF2B5EF4-FFF2-40B4-BE49-F238E27FC236}">
                <a16:creationId xmlns:a16="http://schemas.microsoft.com/office/drawing/2014/main" id="{217B33A1-77D1-BA89-A17B-305986D5621F}"/>
              </a:ext>
            </a:extLst>
          </p:cNvPr>
          <p:cNvSpPr>
            <a:spLocks noGrp="1"/>
          </p:cNvSpPr>
          <p:nvPr>
            <p:ph type="title"/>
          </p:nvPr>
        </p:nvSpPr>
        <p:spPr>
          <a:xfrm>
            <a:off x="565460" y="2260114"/>
            <a:ext cx="5046447" cy="941796"/>
          </a:xfrm>
          <a:prstGeom prst="rect">
            <a:avLst/>
          </a:prstGeom>
        </p:spPr>
        <p:txBody>
          <a:bodyPr lIns="0" tIns="0" rIns="0" bIns="0"/>
          <a:lstStyle>
            <a:lvl1pPr>
              <a:defRPr sz="3400" b="1" i="0">
                <a:solidFill>
                  <a:schemeClr val="accent2"/>
                </a:solidFill>
                <a:latin typeface="Avenir Next LT Pro" panose="020B0504020202020204" pitchFamily="34" charset="77"/>
              </a:defRPr>
            </a:lvl1pPr>
          </a:lstStyle>
          <a:p>
            <a:r>
              <a:rPr lang="en-US"/>
              <a:t>Click to edit Master title style</a:t>
            </a:r>
          </a:p>
        </p:txBody>
      </p:sp>
      <p:sp>
        <p:nvSpPr>
          <p:cNvPr id="13" name="Text Placeholder 9">
            <a:extLst>
              <a:ext uri="{FF2B5EF4-FFF2-40B4-BE49-F238E27FC236}">
                <a16:creationId xmlns:a16="http://schemas.microsoft.com/office/drawing/2014/main" id="{9BF14781-F7C5-28CD-EA36-2EA983C7DA17}"/>
              </a:ext>
            </a:extLst>
          </p:cNvPr>
          <p:cNvSpPr>
            <a:spLocks noGrp="1"/>
          </p:cNvSpPr>
          <p:nvPr>
            <p:ph type="body" sz="quarter" idx="12" hasCustomPrompt="1"/>
          </p:nvPr>
        </p:nvSpPr>
        <p:spPr>
          <a:xfrm>
            <a:off x="549243" y="4040923"/>
            <a:ext cx="4897401"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Insert location, place, date, time etc.)</a:t>
            </a:r>
          </a:p>
        </p:txBody>
      </p:sp>
    </p:spTree>
    <p:extLst>
      <p:ext uri="{BB962C8B-B14F-4D97-AF65-F5344CB8AC3E}">
        <p14:creationId xmlns:p14="http://schemas.microsoft.com/office/powerpoint/2010/main" val="88785858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mp; text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9667546" cy="432802"/>
          </a:xfrm>
        </p:spPr>
        <p:txBody>
          <a:bodyPr wrap="square" bIns="72000" anchor="t" anchorCtr="0">
            <a:spAutoFit/>
          </a:bodyPr>
          <a:lstStyle>
            <a:lvl1pPr algn="l">
              <a:defRPr sz="2600">
                <a:solidFill>
                  <a:schemeClr val="tx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tx1"/>
                </a:solidFill>
              </a:defRPr>
            </a:lvl1pPr>
          </a:lstStyle>
          <a:p>
            <a:fld id="{FB5EB296-D374-4321-ACF8-5D4B14704F40}" type="datetime1">
              <a:rPr lang="en-US" smtClean="0"/>
              <a:t>5/13/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6" y="1440000"/>
            <a:ext cx="11161579" cy="468000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6" y="947739"/>
            <a:ext cx="9667546"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pic>
        <p:nvPicPr>
          <p:cNvPr id="3" name="Graphic 2">
            <a:extLst>
              <a:ext uri="{FF2B5EF4-FFF2-40B4-BE49-F238E27FC236}">
                <a16:creationId xmlns:a16="http://schemas.microsoft.com/office/drawing/2014/main" id="{40519E47-9F3F-F3A9-31AE-904A777C7B5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8" name="TextBox 7">
            <a:extLst>
              <a:ext uri="{FF2B5EF4-FFF2-40B4-BE49-F238E27FC236}">
                <a16:creationId xmlns:a16="http://schemas.microsoft.com/office/drawing/2014/main" id="{13EAAA98-9F42-89EB-251F-E2407BF0E1EF}"/>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E2D03E0E-C886-B852-DBBC-B1EE67E02FD6}"/>
              </a:ext>
            </a:extLst>
          </p:cNvPr>
          <p:cNvPicPr>
            <a:picLocks noChangeAspect="1"/>
          </p:cNvPicPr>
          <p:nvPr userDrawn="1"/>
        </p:nvPicPr>
        <p:blipFill>
          <a:blip r:embed="rId3"/>
          <a:stretch>
            <a:fillRect/>
          </a:stretch>
        </p:blipFill>
        <p:spPr>
          <a:xfrm>
            <a:off x="-1032553" y="6043201"/>
            <a:ext cx="338511" cy="456195"/>
          </a:xfrm>
          <a:prstGeom prst="rect">
            <a:avLst/>
          </a:prstGeom>
        </p:spPr>
      </p:pic>
      <p:sp>
        <p:nvSpPr>
          <p:cNvPr id="14" name="TextBox 13">
            <a:extLst>
              <a:ext uri="{FF2B5EF4-FFF2-40B4-BE49-F238E27FC236}">
                <a16:creationId xmlns:a16="http://schemas.microsoft.com/office/drawing/2014/main" id="{278E1554-C664-C8F8-7A19-57AFDE1048A6}"/>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BDCE4B87-659B-36EF-6909-134CE2CFF556}"/>
              </a:ext>
            </a:extLst>
          </p:cNvPr>
          <p:cNvPicPr>
            <a:picLocks noChangeAspect="1"/>
          </p:cNvPicPr>
          <p:nvPr userDrawn="1"/>
        </p:nvPicPr>
        <p:blipFill>
          <a:blip r:embed="rId4"/>
          <a:srcRect t="32177"/>
          <a:stretch/>
        </p:blipFill>
        <p:spPr>
          <a:xfrm>
            <a:off x="-1404595" y="2958349"/>
            <a:ext cx="1082591" cy="836058"/>
          </a:xfrm>
          <a:prstGeom prst="rect">
            <a:avLst/>
          </a:prstGeom>
        </p:spPr>
      </p:pic>
      <p:pic>
        <p:nvPicPr>
          <p:cNvPr id="15" name="Picture 14">
            <a:extLst>
              <a:ext uri="{FF2B5EF4-FFF2-40B4-BE49-F238E27FC236}">
                <a16:creationId xmlns:a16="http://schemas.microsoft.com/office/drawing/2014/main" id="{9E7A2BE9-DBC3-CA1C-0529-1BCE90B2F59A}"/>
              </a:ext>
            </a:extLst>
          </p:cNvPr>
          <p:cNvPicPr>
            <a:picLocks noChangeAspect="1"/>
          </p:cNvPicPr>
          <p:nvPr userDrawn="1"/>
        </p:nvPicPr>
        <p:blipFill>
          <a:blip r:embed="rId5"/>
          <a:stretch>
            <a:fillRect/>
          </a:stretch>
        </p:blipFill>
        <p:spPr>
          <a:xfrm>
            <a:off x="-1082304" y="1940632"/>
            <a:ext cx="438012" cy="204850"/>
          </a:xfrm>
          <a:prstGeom prst="rect">
            <a:avLst/>
          </a:prstGeom>
        </p:spPr>
      </p:pic>
      <p:pic>
        <p:nvPicPr>
          <p:cNvPr id="17" name="Picture 16">
            <a:extLst>
              <a:ext uri="{FF2B5EF4-FFF2-40B4-BE49-F238E27FC236}">
                <a16:creationId xmlns:a16="http://schemas.microsoft.com/office/drawing/2014/main" id="{E35482C6-11FC-E6BA-23B1-6E14ACC8F99D}"/>
              </a:ext>
            </a:extLst>
          </p:cNvPr>
          <p:cNvPicPr>
            <a:picLocks noChangeAspect="1"/>
          </p:cNvPicPr>
          <p:nvPr userDrawn="1"/>
        </p:nvPicPr>
        <p:blipFill>
          <a:blip r:embed="rId6"/>
          <a:stretch>
            <a:fillRect/>
          </a:stretch>
        </p:blipFill>
        <p:spPr>
          <a:xfrm>
            <a:off x="-1019629" y="2663645"/>
            <a:ext cx="312660" cy="201690"/>
          </a:xfrm>
          <a:prstGeom prst="rect">
            <a:avLst/>
          </a:prstGeom>
        </p:spPr>
      </p:pic>
    </p:spTree>
    <p:extLst>
      <p:ext uri="{BB962C8B-B14F-4D97-AF65-F5344CB8AC3E}">
        <p14:creationId xmlns:p14="http://schemas.microsoft.com/office/powerpoint/2010/main" val="12847977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mp; text 2">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9667546" cy="432802"/>
          </a:xfrm>
        </p:spPr>
        <p:txBody>
          <a:bodyPr wrap="square" bIns="72000" anchor="t" anchorCtr="0">
            <a:spAutoFit/>
          </a:bodyPr>
          <a:lstStyle>
            <a:lvl1pPr algn="l">
              <a:defRPr sz="2600">
                <a:solidFill>
                  <a:schemeClr val="bg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7EC1679F-D22C-44E8-AD67-BDFEDEC84B97}" type="datetime1">
              <a:rPr lang="en-US" smtClean="0"/>
              <a:t>5/13/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4472"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6" y="1440000"/>
            <a:ext cx="11161579" cy="4680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516006" y="947739"/>
            <a:ext cx="9667546"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pic>
        <p:nvPicPr>
          <p:cNvPr id="8" name="Graphic 7">
            <a:extLst>
              <a:ext uri="{FF2B5EF4-FFF2-40B4-BE49-F238E27FC236}">
                <a16:creationId xmlns:a16="http://schemas.microsoft.com/office/drawing/2014/main" id="{DE7E9ABE-598A-ADF0-2DA4-1C6D485A9CD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3" name="TextBox 2">
            <a:extLst>
              <a:ext uri="{FF2B5EF4-FFF2-40B4-BE49-F238E27FC236}">
                <a16:creationId xmlns:a16="http://schemas.microsoft.com/office/drawing/2014/main" id="{63EA4070-EB43-9D65-30CA-C9804AD5109C}"/>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BC0BED3F-3613-064C-77FD-BC16E5E940E7}"/>
              </a:ext>
            </a:extLst>
          </p:cNvPr>
          <p:cNvPicPr>
            <a:picLocks noChangeAspect="1"/>
          </p:cNvPicPr>
          <p:nvPr userDrawn="1"/>
        </p:nvPicPr>
        <p:blipFill>
          <a:blip r:embed="rId3"/>
          <a:stretch>
            <a:fillRect/>
          </a:stretch>
        </p:blipFill>
        <p:spPr>
          <a:xfrm>
            <a:off x="-1032553" y="6043201"/>
            <a:ext cx="338511" cy="456195"/>
          </a:xfrm>
          <a:prstGeom prst="rect">
            <a:avLst/>
          </a:prstGeom>
        </p:spPr>
      </p:pic>
      <p:sp>
        <p:nvSpPr>
          <p:cNvPr id="11" name="TextBox 10">
            <a:extLst>
              <a:ext uri="{FF2B5EF4-FFF2-40B4-BE49-F238E27FC236}">
                <a16:creationId xmlns:a16="http://schemas.microsoft.com/office/drawing/2014/main" id="{35C00226-C226-7DF7-ECE7-E6D8FC036F2C}"/>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0DF3BFF0-19D0-BB88-0AA7-8B56A4FFCEB7}"/>
              </a:ext>
            </a:extLst>
          </p:cNvPr>
          <p:cNvPicPr>
            <a:picLocks noChangeAspect="1"/>
          </p:cNvPicPr>
          <p:nvPr userDrawn="1"/>
        </p:nvPicPr>
        <p:blipFill>
          <a:blip r:embed="rId4"/>
          <a:srcRect t="32177"/>
          <a:stretch/>
        </p:blipFill>
        <p:spPr>
          <a:xfrm>
            <a:off x="-1404595" y="2958349"/>
            <a:ext cx="1082591" cy="836058"/>
          </a:xfrm>
          <a:prstGeom prst="rect">
            <a:avLst/>
          </a:prstGeom>
        </p:spPr>
      </p:pic>
      <p:pic>
        <p:nvPicPr>
          <p:cNvPr id="13" name="Picture 12">
            <a:extLst>
              <a:ext uri="{FF2B5EF4-FFF2-40B4-BE49-F238E27FC236}">
                <a16:creationId xmlns:a16="http://schemas.microsoft.com/office/drawing/2014/main" id="{65C70C1D-B830-BBAF-886E-F45D6EA63ED2}"/>
              </a:ext>
            </a:extLst>
          </p:cNvPr>
          <p:cNvPicPr>
            <a:picLocks noChangeAspect="1"/>
          </p:cNvPicPr>
          <p:nvPr userDrawn="1"/>
        </p:nvPicPr>
        <p:blipFill>
          <a:blip r:embed="rId5"/>
          <a:stretch>
            <a:fillRect/>
          </a:stretch>
        </p:blipFill>
        <p:spPr>
          <a:xfrm>
            <a:off x="-1082304" y="1940632"/>
            <a:ext cx="438012" cy="204850"/>
          </a:xfrm>
          <a:prstGeom prst="rect">
            <a:avLst/>
          </a:prstGeom>
        </p:spPr>
      </p:pic>
      <p:pic>
        <p:nvPicPr>
          <p:cNvPr id="14" name="Picture 13">
            <a:extLst>
              <a:ext uri="{FF2B5EF4-FFF2-40B4-BE49-F238E27FC236}">
                <a16:creationId xmlns:a16="http://schemas.microsoft.com/office/drawing/2014/main" id="{A4181AD0-0906-1111-C77B-CAF9C557BB50}"/>
              </a:ext>
            </a:extLst>
          </p:cNvPr>
          <p:cNvPicPr>
            <a:picLocks noChangeAspect="1"/>
          </p:cNvPicPr>
          <p:nvPr userDrawn="1"/>
        </p:nvPicPr>
        <p:blipFill>
          <a:blip r:embed="rId6"/>
          <a:stretch>
            <a:fillRect/>
          </a:stretch>
        </p:blipFill>
        <p:spPr>
          <a:xfrm>
            <a:off x="-1019629" y="2663645"/>
            <a:ext cx="312660" cy="201690"/>
          </a:xfrm>
          <a:prstGeom prst="rect">
            <a:avLst/>
          </a:prstGeom>
        </p:spPr>
      </p:pic>
    </p:spTree>
    <p:extLst>
      <p:ext uri="{BB962C8B-B14F-4D97-AF65-F5344CB8AC3E}">
        <p14:creationId xmlns:p14="http://schemas.microsoft.com/office/powerpoint/2010/main" val="18263178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mp; text 3">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9667546" cy="432802"/>
          </a:xfrm>
        </p:spPr>
        <p:txBody>
          <a:bodyPr wrap="square" bIns="72000" anchor="t" anchorCtr="0">
            <a:spAutoFit/>
          </a:bodyPr>
          <a:lstStyle>
            <a:lvl1pPr algn="l">
              <a:defRPr sz="2600">
                <a:solidFill>
                  <a:schemeClr val="bg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09493FB7-790C-4CDC-8181-070A2D31664A}" type="datetime1">
              <a:rPr lang="en-US" smtClean="0"/>
              <a:t>5/13/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1" name="Text Placeholder 10">
            <a:extLst>
              <a:ext uri="{FF2B5EF4-FFF2-40B4-BE49-F238E27FC236}">
                <a16:creationId xmlns:a16="http://schemas.microsoft.com/office/drawing/2014/main" id="{16F6AF8C-CD28-9B1A-89E5-3665A88580D0}"/>
              </a:ext>
            </a:extLst>
          </p:cNvPr>
          <p:cNvSpPr>
            <a:spLocks noGrp="1"/>
          </p:cNvSpPr>
          <p:nvPr>
            <p:ph type="body" sz="quarter" idx="13"/>
          </p:nvPr>
        </p:nvSpPr>
        <p:spPr>
          <a:xfrm>
            <a:off x="516006" y="1440000"/>
            <a:ext cx="11161579" cy="4680000"/>
          </a:xfrm>
        </p:spPr>
        <p:txBody>
          <a:bodyPr/>
          <a:lstStyle>
            <a:lvl1pPr>
              <a:buClr>
                <a:schemeClr val="tx1"/>
              </a:buClr>
              <a:defRPr>
                <a:solidFill>
                  <a:schemeClr val="bg1"/>
                </a:solidFill>
              </a:defRPr>
            </a:lvl1pPr>
            <a:lvl2pPr>
              <a:buClr>
                <a:schemeClr val="tx1"/>
              </a:buClr>
              <a:defRPr>
                <a:solidFill>
                  <a:schemeClr val="bg1"/>
                </a:solidFill>
              </a:defRPr>
            </a:lvl2pPr>
            <a:lvl3pPr>
              <a:buClr>
                <a:schemeClr val="tx1"/>
              </a:buClr>
              <a:defRPr>
                <a:solidFill>
                  <a:schemeClr val="bg1"/>
                </a:solidFill>
              </a:defRPr>
            </a:lvl3pPr>
            <a:lvl4pPr>
              <a:buClr>
                <a:schemeClr val="tx1"/>
              </a:buClr>
              <a:defRPr>
                <a:solidFill>
                  <a:schemeClr val="bg1"/>
                </a:solidFill>
              </a:defRPr>
            </a:lvl4pPr>
            <a:lvl5pPr>
              <a:buClr>
                <a:schemeClr val="tx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B1AB3C8C-2F94-C86A-B5FF-5E7CBC8CB745}"/>
              </a:ext>
            </a:extLst>
          </p:cNvPr>
          <p:cNvSpPr>
            <a:spLocks noGrp="1"/>
          </p:cNvSpPr>
          <p:nvPr>
            <p:ph type="body" sz="quarter" idx="26"/>
          </p:nvPr>
        </p:nvSpPr>
        <p:spPr>
          <a:xfrm>
            <a:off x="516006" y="947739"/>
            <a:ext cx="9667546"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pic>
        <p:nvPicPr>
          <p:cNvPr id="8" name="Graphic 7">
            <a:extLst>
              <a:ext uri="{FF2B5EF4-FFF2-40B4-BE49-F238E27FC236}">
                <a16:creationId xmlns:a16="http://schemas.microsoft.com/office/drawing/2014/main" id="{15154D05-DD09-C85A-C5F4-855D6176103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3" name="TextBox 2">
            <a:extLst>
              <a:ext uri="{FF2B5EF4-FFF2-40B4-BE49-F238E27FC236}">
                <a16:creationId xmlns:a16="http://schemas.microsoft.com/office/drawing/2014/main" id="{ABED896B-940B-AE04-DC24-B6C52854C6CE}"/>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4D294566-014C-C114-AC32-857B49B28663}"/>
              </a:ext>
            </a:extLst>
          </p:cNvPr>
          <p:cNvPicPr>
            <a:picLocks noChangeAspect="1"/>
          </p:cNvPicPr>
          <p:nvPr userDrawn="1"/>
        </p:nvPicPr>
        <p:blipFill>
          <a:blip r:embed="rId3"/>
          <a:stretch>
            <a:fillRect/>
          </a:stretch>
        </p:blipFill>
        <p:spPr>
          <a:xfrm>
            <a:off x="-1032553" y="6043201"/>
            <a:ext cx="338511" cy="456195"/>
          </a:xfrm>
          <a:prstGeom prst="rect">
            <a:avLst/>
          </a:prstGeom>
        </p:spPr>
      </p:pic>
      <p:sp>
        <p:nvSpPr>
          <p:cNvPr id="10" name="TextBox 9">
            <a:extLst>
              <a:ext uri="{FF2B5EF4-FFF2-40B4-BE49-F238E27FC236}">
                <a16:creationId xmlns:a16="http://schemas.microsoft.com/office/drawing/2014/main" id="{6A14CC65-8058-744F-A6E3-E81F03C00EDD}"/>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B8379C14-E914-F294-1D65-FE5AA348ADFC}"/>
              </a:ext>
            </a:extLst>
          </p:cNvPr>
          <p:cNvPicPr>
            <a:picLocks noChangeAspect="1"/>
          </p:cNvPicPr>
          <p:nvPr userDrawn="1"/>
        </p:nvPicPr>
        <p:blipFill>
          <a:blip r:embed="rId4"/>
          <a:srcRect t="32177"/>
          <a:stretch/>
        </p:blipFill>
        <p:spPr>
          <a:xfrm>
            <a:off x="-1404595" y="2958349"/>
            <a:ext cx="1082591" cy="836058"/>
          </a:xfrm>
          <a:prstGeom prst="rect">
            <a:avLst/>
          </a:prstGeom>
        </p:spPr>
      </p:pic>
      <p:pic>
        <p:nvPicPr>
          <p:cNvPr id="13" name="Picture 12">
            <a:extLst>
              <a:ext uri="{FF2B5EF4-FFF2-40B4-BE49-F238E27FC236}">
                <a16:creationId xmlns:a16="http://schemas.microsoft.com/office/drawing/2014/main" id="{EB152BD5-62EB-312E-EBF9-F5B9B6047F49}"/>
              </a:ext>
            </a:extLst>
          </p:cNvPr>
          <p:cNvPicPr>
            <a:picLocks noChangeAspect="1"/>
          </p:cNvPicPr>
          <p:nvPr userDrawn="1"/>
        </p:nvPicPr>
        <p:blipFill>
          <a:blip r:embed="rId5"/>
          <a:stretch>
            <a:fillRect/>
          </a:stretch>
        </p:blipFill>
        <p:spPr>
          <a:xfrm>
            <a:off x="-1082304" y="1940632"/>
            <a:ext cx="438012" cy="204850"/>
          </a:xfrm>
          <a:prstGeom prst="rect">
            <a:avLst/>
          </a:prstGeom>
        </p:spPr>
      </p:pic>
      <p:pic>
        <p:nvPicPr>
          <p:cNvPr id="14" name="Picture 13">
            <a:extLst>
              <a:ext uri="{FF2B5EF4-FFF2-40B4-BE49-F238E27FC236}">
                <a16:creationId xmlns:a16="http://schemas.microsoft.com/office/drawing/2014/main" id="{E3E243A9-EC1B-6902-4A12-DF0C224D86A4}"/>
              </a:ext>
            </a:extLst>
          </p:cNvPr>
          <p:cNvPicPr>
            <a:picLocks noChangeAspect="1"/>
          </p:cNvPicPr>
          <p:nvPr userDrawn="1"/>
        </p:nvPicPr>
        <p:blipFill>
          <a:blip r:embed="rId6"/>
          <a:stretch>
            <a:fillRect/>
          </a:stretch>
        </p:blipFill>
        <p:spPr>
          <a:xfrm>
            <a:off x="-1019629" y="2663645"/>
            <a:ext cx="312660" cy="201690"/>
          </a:xfrm>
          <a:prstGeom prst="rect">
            <a:avLst/>
          </a:prstGeom>
        </p:spPr>
      </p:pic>
    </p:spTree>
    <p:extLst>
      <p:ext uri="{BB962C8B-B14F-4D97-AF65-F5344CB8AC3E}">
        <p14:creationId xmlns:p14="http://schemas.microsoft.com/office/powerpoint/2010/main" val="39922233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mp; text - light backgroun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F7AD35-07BE-675A-5EE9-EB28FA6DBF79}"/>
              </a:ext>
            </a:extLst>
          </p:cNvPr>
          <p:cNvSpPr/>
          <p:nvPr userDrawn="1"/>
        </p:nvSpPr>
        <p:spPr>
          <a:xfrm>
            <a:off x="0" y="1440000"/>
            <a:ext cx="12193588" cy="5418000"/>
          </a:xfrm>
          <a:prstGeom prst="rect">
            <a:avLst/>
          </a:prstGeom>
          <a:solidFill>
            <a:srgbClr val="EBF1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9667546" cy="432802"/>
          </a:xfrm>
        </p:spPr>
        <p:txBody>
          <a:bodyPr wrap="square" bIns="72000" anchor="t" anchorCtr="0">
            <a:spAutoFit/>
          </a:bodyPr>
          <a:lstStyle>
            <a:lvl1pPr algn="l">
              <a:defRPr sz="2600">
                <a:solidFill>
                  <a:schemeClr val="tx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tx1"/>
                </a:solidFill>
              </a:defRPr>
            </a:lvl1pPr>
          </a:lstStyle>
          <a:p>
            <a:fld id="{65E492F5-87FF-452D-A2C2-DE878D09D810}" type="datetime1">
              <a:rPr lang="en-US" smtClean="0"/>
              <a:t>5/13/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6" y="1656000"/>
            <a:ext cx="11161579" cy="446400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6" y="947739"/>
            <a:ext cx="9667546"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pic>
        <p:nvPicPr>
          <p:cNvPr id="9" name="Graphic 8">
            <a:extLst>
              <a:ext uri="{FF2B5EF4-FFF2-40B4-BE49-F238E27FC236}">
                <a16:creationId xmlns:a16="http://schemas.microsoft.com/office/drawing/2014/main" id="{39DC7169-8B85-CEDE-7370-051A4A5BF2F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11" name="TextBox 10">
            <a:extLst>
              <a:ext uri="{FF2B5EF4-FFF2-40B4-BE49-F238E27FC236}">
                <a16:creationId xmlns:a16="http://schemas.microsoft.com/office/drawing/2014/main" id="{DAC1EDCE-9759-281B-ABFC-9696AC7C51F9}"/>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2" name="Picture 11">
            <a:extLst>
              <a:ext uri="{FF2B5EF4-FFF2-40B4-BE49-F238E27FC236}">
                <a16:creationId xmlns:a16="http://schemas.microsoft.com/office/drawing/2014/main" id="{C8F224C3-3685-9F99-D43B-C0F2BAF60B8E}"/>
              </a:ext>
            </a:extLst>
          </p:cNvPr>
          <p:cNvPicPr>
            <a:picLocks noChangeAspect="1"/>
          </p:cNvPicPr>
          <p:nvPr userDrawn="1"/>
        </p:nvPicPr>
        <p:blipFill>
          <a:blip r:embed="rId3"/>
          <a:stretch>
            <a:fillRect/>
          </a:stretch>
        </p:blipFill>
        <p:spPr>
          <a:xfrm>
            <a:off x="-1032553" y="6043201"/>
            <a:ext cx="338511" cy="456195"/>
          </a:xfrm>
          <a:prstGeom prst="rect">
            <a:avLst/>
          </a:prstGeom>
        </p:spPr>
      </p:pic>
      <p:sp>
        <p:nvSpPr>
          <p:cNvPr id="13" name="TextBox 12">
            <a:extLst>
              <a:ext uri="{FF2B5EF4-FFF2-40B4-BE49-F238E27FC236}">
                <a16:creationId xmlns:a16="http://schemas.microsoft.com/office/drawing/2014/main" id="{30503A48-5461-7D08-431F-02542CD126A9}"/>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4" name="Picture 13">
            <a:extLst>
              <a:ext uri="{FF2B5EF4-FFF2-40B4-BE49-F238E27FC236}">
                <a16:creationId xmlns:a16="http://schemas.microsoft.com/office/drawing/2014/main" id="{FBFE9543-7CBF-0289-67C7-7B848680BBBF}"/>
              </a:ext>
            </a:extLst>
          </p:cNvPr>
          <p:cNvPicPr>
            <a:picLocks noChangeAspect="1"/>
          </p:cNvPicPr>
          <p:nvPr userDrawn="1"/>
        </p:nvPicPr>
        <p:blipFill>
          <a:blip r:embed="rId4"/>
          <a:srcRect t="32177"/>
          <a:stretch/>
        </p:blipFill>
        <p:spPr>
          <a:xfrm>
            <a:off x="-1404595" y="2958349"/>
            <a:ext cx="1082591" cy="836058"/>
          </a:xfrm>
          <a:prstGeom prst="rect">
            <a:avLst/>
          </a:prstGeom>
        </p:spPr>
      </p:pic>
      <p:pic>
        <p:nvPicPr>
          <p:cNvPr id="15" name="Picture 14">
            <a:extLst>
              <a:ext uri="{FF2B5EF4-FFF2-40B4-BE49-F238E27FC236}">
                <a16:creationId xmlns:a16="http://schemas.microsoft.com/office/drawing/2014/main" id="{2636F492-53C9-6EF4-F9F8-F0677B25A423}"/>
              </a:ext>
            </a:extLst>
          </p:cNvPr>
          <p:cNvPicPr>
            <a:picLocks noChangeAspect="1"/>
          </p:cNvPicPr>
          <p:nvPr userDrawn="1"/>
        </p:nvPicPr>
        <p:blipFill>
          <a:blip r:embed="rId5"/>
          <a:stretch>
            <a:fillRect/>
          </a:stretch>
        </p:blipFill>
        <p:spPr>
          <a:xfrm>
            <a:off x="-1082304" y="1940632"/>
            <a:ext cx="438012" cy="204850"/>
          </a:xfrm>
          <a:prstGeom prst="rect">
            <a:avLst/>
          </a:prstGeom>
        </p:spPr>
      </p:pic>
      <p:pic>
        <p:nvPicPr>
          <p:cNvPr id="16" name="Picture 15">
            <a:extLst>
              <a:ext uri="{FF2B5EF4-FFF2-40B4-BE49-F238E27FC236}">
                <a16:creationId xmlns:a16="http://schemas.microsoft.com/office/drawing/2014/main" id="{4FE64523-E296-B93F-4467-10EE00D6D7A7}"/>
              </a:ext>
            </a:extLst>
          </p:cNvPr>
          <p:cNvPicPr>
            <a:picLocks noChangeAspect="1"/>
          </p:cNvPicPr>
          <p:nvPr userDrawn="1"/>
        </p:nvPicPr>
        <p:blipFill>
          <a:blip r:embed="rId6"/>
          <a:stretch>
            <a:fillRect/>
          </a:stretch>
        </p:blipFill>
        <p:spPr>
          <a:xfrm>
            <a:off x="-1019629" y="2663645"/>
            <a:ext cx="312660" cy="201690"/>
          </a:xfrm>
          <a:prstGeom prst="rect">
            <a:avLst/>
          </a:prstGeom>
        </p:spPr>
      </p:pic>
    </p:spTree>
    <p:extLst>
      <p:ext uri="{BB962C8B-B14F-4D97-AF65-F5344CB8AC3E}">
        <p14:creationId xmlns:p14="http://schemas.microsoft.com/office/powerpoint/2010/main" val="23085761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mp; text - dark backgroun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F7AD35-07BE-675A-5EE9-EB28FA6DBF79}"/>
              </a:ext>
            </a:extLst>
          </p:cNvPr>
          <p:cNvSpPr/>
          <p:nvPr userDrawn="1"/>
        </p:nvSpPr>
        <p:spPr>
          <a:xfrm>
            <a:off x="0" y="1440000"/>
            <a:ext cx="12193588" cy="541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9667546" cy="432802"/>
          </a:xfrm>
        </p:spPr>
        <p:txBody>
          <a:bodyPr wrap="square" bIns="72000" anchor="t" anchorCtr="0">
            <a:spAutoFit/>
          </a:bodyPr>
          <a:lstStyle>
            <a:lvl1pPr algn="l">
              <a:defRPr sz="2600">
                <a:solidFill>
                  <a:schemeClr val="tx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3845813B-62B4-4BF6-BD31-C35585B08784}" type="datetime1">
              <a:rPr lang="en-US" smtClean="0"/>
              <a:t>5/13/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4472" y="6494949"/>
            <a:ext cx="374699" cy="153888"/>
          </a:xfrm>
        </p:spPr>
        <p:txBody>
          <a:bodyPr/>
          <a:lstStyle>
            <a:lvl1pPr algn="r">
              <a:defRPr>
                <a:solidFill>
                  <a:schemeClr val="tx2">
                    <a:lumMod val="60000"/>
                    <a:lumOff val="40000"/>
                  </a:schemeClr>
                </a:solidFill>
              </a:defRPr>
            </a:lvl1pPr>
          </a:lstStyle>
          <a:p>
            <a:fld id="{C2F92818-9D0C-420B-84CB-20E21C25F84F}" type="slidenum">
              <a:rPr lang="sv-SE" smtClean="0"/>
              <a:pPr/>
              <a:t>‹#›</a:t>
            </a:fld>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6" y="1656000"/>
            <a:ext cx="11161579" cy="4464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6" y="947739"/>
            <a:ext cx="9667546"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pic>
        <p:nvPicPr>
          <p:cNvPr id="11" name="Graphic 10">
            <a:extLst>
              <a:ext uri="{FF2B5EF4-FFF2-40B4-BE49-F238E27FC236}">
                <a16:creationId xmlns:a16="http://schemas.microsoft.com/office/drawing/2014/main" id="{ADC0A9E1-1549-C303-148D-86A70CA050FA}"/>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9" name="TextBox 8">
            <a:extLst>
              <a:ext uri="{FF2B5EF4-FFF2-40B4-BE49-F238E27FC236}">
                <a16:creationId xmlns:a16="http://schemas.microsoft.com/office/drawing/2014/main" id="{74C06C06-FBD5-68AB-93E0-39E6BAF78AE4}"/>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2" name="Picture 11">
            <a:extLst>
              <a:ext uri="{FF2B5EF4-FFF2-40B4-BE49-F238E27FC236}">
                <a16:creationId xmlns:a16="http://schemas.microsoft.com/office/drawing/2014/main" id="{25CB06FE-F5E5-80F2-05D3-827D75F5B745}"/>
              </a:ext>
            </a:extLst>
          </p:cNvPr>
          <p:cNvPicPr>
            <a:picLocks noChangeAspect="1"/>
          </p:cNvPicPr>
          <p:nvPr userDrawn="1"/>
        </p:nvPicPr>
        <p:blipFill>
          <a:blip r:embed="rId3"/>
          <a:stretch>
            <a:fillRect/>
          </a:stretch>
        </p:blipFill>
        <p:spPr>
          <a:xfrm>
            <a:off x="-1032553" y="6043201"/>
            <a:ext cx="338511" cy="456195"/>
          </a:xfrm>
          <a:prstGeom prst="rect">
            <a:avLst/>
          </a:prstGeom>
        </p:spPr>
      </p:pic>
      <p:sp>
        <p:nvSpPr>
          <p:cNvPr id="13" name="TextBox 12">
            <a:extLst>
              <a:ext uri="{FF2B5EF4-FFF2-40B4-BE49-F238E27FC236}">
                <a16:creationId xmlns:a16="http://schemas.microsoft.com/office/drawing/2014/main" id="{1E441848-DB0B-436B-4C8C-48ACBD36CB3D}"/>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4" name="Picture 13">
            <a:extLst>
              <a:ext uri="{FF2B5EF4-FFF2-40B4-BE49-F238E27FC236}">
                <a16:creationId xmlns:a16="http://schemas.microsoft.com/office/drawing/2014/main" id="{34D3F1FB-44CC-2FFF-0F51-1D9057EB18BE}"/>
              </a:ext>
            </a:extLst>
          </p:cNvPr>
          <p:cNvPicPr>
            <a:picLocks noChangeAspect="1"/>
          </p:cNvPicPr>
          <p:nvPr userDrawn="1"/>
        </p:nvPicPr>
        <p:blipFill>
          <a:blip r:embed="rId4"/>
          <a:srcRect t="32177"/>
          <a:stretch/>
        </p:blipFill>
        <p:spPr>
          <a:xfrm>
            <a:off x="-1404595" y="2958349"/>
            <a:ext cx="1082591" cy="836058"/>
          </a:xfrm>
          <a:prstGeom prst="rect">
            <a:avLst/>
          </a:prstGeom>
        </p:spPr>
      </p:pic>
      <p:pic>
        <p:nvPicPr>
          <p:cNvPr id="15" name="Picture 14">
            <a:extLst>
              <a:ext uri="{FF2B5EF4-FFF2-40B4-BE49-F238E27FC236}">
                <a16:creationId xmlns:a16="http://schemas.microsoft.com/office/drawing/2014/main" id="{9C69F818-4B7C-1DF0-394D-0B0F938BD053}"/>
              </a:ext>
            </a:extLst>
          </p:cNvPr>
          <p:cNvPicPr>
            <a:picLocks noChangeAspect="1"/>
          </p:cNvPicPr>
          <p:nvPr userDrawn="1"/>
        </p:nvPicPr>
        <p:blipFill>
          <a:blip r:embed="rId5"/>
          <a:stretch>
            <a:fillRect/>
          </a:stretch>
        </p:blipFill>
        <p:spPr>
          <a:xfrm>
            <a:off x="-1082304" y="1940632"/>
            <a:ext cx="438012" cy="204850"/>
          </a:xfrm>
          <a:prstGeom prst="rect">
            <a:avLst/>
          </a:prstGeom>
        </p:spPr>
      </p:pic>
      <p:pic>
        <p:nvPicPr>
          <p:cNvPr id="16" name="Picture 15">
            <a:extLst>
              <a:ext uri="{FF2B5EF4-FFF2-40B4-BE49-F238E27FC236}">
                <a16:creationId xmlns:a16="http://schemas.microsoft.com/office/drawing/2014/main" id="{F028DE18-1375-B647-B110-60BC4F4E8B55}"/>
              </a:ext>
            </a:extLst>
          </p:cNvPr>
          <p:cNvPicPr>
            <a:picLocks noChangeAspect="1"/>
          </p:cNvPicPr>
          <p:nvPr userDrawn="1"/>
        </p:nvPicPr>
        <p:blipFill>
          <a:blip r:embed="rId6"/>
          <a:stretch>
            <a:fillRect/>
          </a:stretch>
        </p:blipFill>
        <p:spPr>
          <a:xfrm>
            <a:off x="-1019629" y="2663645"/>
            <a:ext cx="312660" cy="201690"/>
          </a:xfrm>
          <a:prstGeom prst="rect">
            <a:avLst/>
          </a:prstGeom>
        </p:spPr>
      </p:pic>
    </p:spTree>
    <p:extLst>
      <p:ext uri="{BB962C8B-B14F-4D97-AF65-F5344CB8AC3E}">
        <p14:creationId xmlns:p14="http://schemas.microsoft.com/office/powerpoint/2010/main" val="22470381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ext &amp; image right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5227881" cy="432802"/>
          </a:xfrm>
        </p:spPr>
        <p:txBody>
          <a:bodyPr wrap="square" bIns="72000" anchor="t" anchorCtr="0">
            <a:spAutoFit/>
          </a:bodyPr>
          <a:lstStyle>
            <a:lvl1pPr algn="l">
              <a:defRPr sz="2600">
                <a:solidFill>
                  <a:schemeClr val="tx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tx1"/>
                </a:solidFill>
              </a:defRPr>
            </a:lvl1pPr>
          </a:lstStyle>
          <a:p>
            <a:fld id="{75C9498C-C887-4DDE-BBB6-11A8233073D5}" type="datetime1">
              <a:rPr lang="en-US" smtClean="0"/>
              <a:t>5/13/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4472"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5" y="1440000"/>
            <a:ext cx="5227881" cy="468000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6" y="947739"/>
            <a:ext cx="5227881"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8" name="Picture Placeholder 15">
            <a:extLst>
              <a:ext uri="{FF2B5EF4-FFF2-40B4-BE49-F238E27FC236}">
                <a16:creationId xmlns:a16="http://schemas.microsoft.com/office/drawing/2014/main" id="{C97B6A17-A79B-2D2E-B5FE-BF99F760DB3B}"/>
              </a:ext>
            </a:extLst>
          </p:cNvPr>
          <p:cNvSpPr>
            <a:spLocks noGrp="1"/>
          </p:cNvSpPr>
          <p:nvPr>
            <p:ph type="pic" sz="quarter" idx="27" hasCustomPrompt="1"/>
          </p:nvPr>
        </p:nvSpPr>
        <p:spPr>
          <a:xfrm>
            <a:off x="6096794" y="0"/>
            <a:ext cx="6096794" cy="6858000"/>
          </a:xfrm>
        </p:spPr>
        <p:txBody>
          <a:bodyPr tIns="504000"/>
          <a:lstStyle>
            <a:lvl1pPr marL="0" indent="0" algn="ctr">
              <a:buNone/>
              <a:defRPr>
                <a:solidFill>
                  <a:schemeClr val="tx1"/>
                </a:solidFill>
              </a:defRPr>
            </a:lvl1pPr>
          </a:lstStyle>
          <a:p>
            <a:r>
              <a:rPr lang="sv-SE" err="1"/>
              <a:t>Click</a:t>
            </a:r>
            <a:r>
              <a:rPr lang="sv-SE"/>
              <a:t> to </a:t>
            </a:r>
            <a:r>
              <a:rPr lang="sv-SE" err="1"/>
              <a:t>insert</a:t>
            </a:r>
            <a:r>
              <a:rPr lang="sv-SE"/>
              <a:t> </a:t>
            </a:r>
            <a:r>
              <a:rPr lang="sv-SE" err="1"/>
              <a:t>picture</a:t>
            </a:r>
            <a:endParaRPr lang="sv-SE"/>
          </a:p>
        </p:txBody>
      </p:sp>
      <p:sp>
        <p:nvSpPr>
          <p:cNvPr id="3" name="TextBox 2">
            <a:extLst>
              <a:ext uri="{FF2B5EF4-FFF2-40B4-BE49-F238E27FC236}">
                <a16:creationId xmlns:a16="http://schemas.microsoft.com/office/drawing/2014/main" id="{84F3970D-5128-14BA-B1FB-5F4F6F624D53}"/>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D00168CC-6D4A-D3D9-D2FB-2068273EE7B8}"/>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1" name="TextBox 10">
            <a:extLst>
              <a:ext uri="{FF2B5EF4-FFF2-40B4-BE49-F238E27FC236}">
                <a16:creationId xmlns:a16="http://schemas.microsoft.com/office/drawing/2014/main" id="{9A653868-CBCA-D554-5074-77C05A70D81D}"/>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9B84FFF2-670D-0134-15EC-875872153D81}"/>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3" name="Picture 12">
            <a:extLst>
              <a:ext uri="{FF2B5EF4-FFF2-40B4-BE49-F238E27FC236}">
                <a16:creationId xmlns:a16="http://schemas.microsoft.com/office/drawing/2014/main" id="{15BE3979-AFCB-5DA2-10C0-817672643630}"/>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4" name="Picture 13">
            <a:extLst>
              <a:ext uri="{FF2B5EF4-FFF2-40B4-BE49-F238E27FC236}">
                <a16:creationId xmlns:a16="http://schemas.microsoft.com/office/drawing/2014/main" id="{507290C6-5BB3-A722-EC2A-571B728C0B39}"/>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5" name="TextBox 14">
            <a:extLst>
              <a:ext uri="{FF2B5EF4-FFF2-40B4-BE49-F238E27FC236}">
                <a16:creationId xmlns:a16="http://schemas.microsoft.com/office/drawing/2014/main" id="{39B20A6E-C3BD-9548-DBF8-B76CC54AFC6E}"/>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32814390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7_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7" name="Rectangle 6">
            <a:extLst>
              <a:ext uri="{FF2B5EF4-FFF2-40B4-BE49-F238E27FC236}">
                <a16:creationId xmlns:a16="http://schemas.microsoft.com/office/drawing/2014/main" id="{9DB270F1-B40D-2246-A956-F1D47E227370}"/>
              </a:ext>
            </a:extLst>
          </p:cNvPr>
          <p:cNvSpPr/>
          <p:nvPr userDrawn="1"/>
        </p:nvSpPr>
        <p:spPr>
          <a:xfrm>
            <a:off x="0" y="1458000"/>
            <a:ext cx="12193588" cy="54675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2" name="Title 1">
            <a:extLst>
              <a:ext uri="{FF2B5EF4-FFF2-40B4-BE49-F238E27FC236}">
                <a16:creationId xmlns:a16="http://schemas.microsoft.com/office/drawing/2014/main" id="{C48E50A3-CD8F-C800-8D64-A2446E516B96}"/>
              </a:ext>
            </a:extLst>
          </p:cNvPr>
          <p:cNvSpPr>
            <a:spLocks noGrp="1"/>
          </p:cNvSpPr>
          <p:nvPr>
            <p:ph type="title"/>
          </p:nvPr>
        </p:nvSpPr>
        <p:spPr>
          <a:xfrm>
            <a:off x="565459" y="552715"/>
            <a:ext cx="10017711" cy="360099"/>
          </a:xfrm>
        </p:spPr>
        <p:txBody>
          <a:bodyPr/>
          <a:lstStyle>
            <a:lvl1pPr>
              <a:defRPr sz="2600">
                <a:solidFill>
                  <a:schemeClr val="tx1"/>
                </a:solidFill>
              </a:defRPr>
            </a:lvl1pPr>
          </a:lstStyle>
          <a:p>
            <a:r>
              <a:rPr lang="en-US"/>
              <a:t>Click to edit Master title style</a:t>
            </a:r>
          </a:p>
        </p:txBody>
      </p:sp>
      <p:sp>
        <p:nvSpPr>
          <p:cNvPr id="3" name="Text Placeholder 9">
            <a:extLst>
              <a:ext uri="{FF2B5EF4-FFF2-40B4-BE49-F238E27FC236}">
                <a16:creationId xmlns:a16="http://schemas.microsoft.com/office/drawing/2014/main" id="{BEEB4D7A-3FF8-2422-96A4-39526DE5BA7E}"/>
              </a:ext>
            </a:extLst>
          </p:cNvPr>
          <p:cNvSpPr>
            <a:spLocks noGrp="1"/>
          </p:cNvSpPr>
          <p:nvPr>
            <p:ph type="body" sz="quarter" idx="11"/>
          </p:nvPr>
        </p:nvSpPr>
        <p:spPr>
          <a:xfrm>
            <a:off x="565459"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CC426A7C-39F7-A545-D883-51CB79E99304}"/>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4" name="Graphic 3">
            <a:extLst>
              <a:ext uri="{FF2B5EF4-FFF2-40B4-BE49-F238E27FC236}">
                <a16:creationId xmlns:a16="http://schemas.microsoft.com/office/drawing/2014/main" id="{8470F7EF-61E3-079F-ADBB-05795C72F19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2993344612"/>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 &amp; image right - Dark Blue">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A1B5EA6-A0E2-3B9F-59B0-74E42BD02B54}"/>
              </a:ext>
            </a:extLst>
          </p:cNvPr>
          <p:cNvSpPr/>
          <p:nvPr userDrawn="1"/>
        </p:nvSpPr>
        <p:spPr>
          <a:xfrm>
            <a:off x="0" y="0"/>
            <a:ext cx="6096794"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5" y="514350"/>
            <a:ext cx="5227881" cy="432802"/>
          </a:xfrm>
        </p:spPr>
        <p:txBody>
          <a:bodyPr wrap="square" bIns="72000" anchor="t" anchorCtr="0">
            <a:spAutoFit/>
          </a:bodyPr>
          <a:lstStyle>
            <a:lvl1pPr algn="l">
              <a:defRPr sz="2600">
                <a:solidFill>
                  <a:schemeClr val="bg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44BE302C-6065-4093-AFFE-5D21B91BF0FC}" type="datetime1">
              <a:rPr lang="en-US" smtClean="0"/>
              <a:t>5/13/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5" y="1440000"/>
            <a:ext cx="5227881" cy="4680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516005" y="947739"/>
            <a:ext cx="5227881"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8" name="Picture Placeholder 15">
            <a:extLst>
              <a:ext uri="{FF2B5EF4-FFF2-40B4-BE49-F238E27FC236}">
                <a16:creationId xmlns:a16="http://schemas.microsoft.com/office/drawing/2014/main" id="{D0F135B0-EEDC-1771-A31F-233B18D7E883}"/>
              </a:ext>
            </a:extLst>
          </p:cNvPr>
          <p:cNvSpPr>
            <a:spLocks noGrp="1"/>
          </p:cNvSpPr>
          <p:nvPr>
            <p:ph type="pic" sz="quarter" idx="27" hasCustomPrompt="1"/>
          </p:nvPr>
        </p:nvSpPr>
        <p:spPr>
          <a:xfrm>
            <a:off x="6096794" y="0"/>
            <a:ext cx="6096794" cy="6858000"/>
          </a:xfrm>
        </p:spPr>
        <p:txBody>
          <a:bodyPr tIns="504000"/>
          <a:lstStyle>
            <a:lvl1pPr marL="0" indent="0" algn="ctr">
              <a:buNone/>
              <a:defRPr>
                <a:solidFill>
                  <a:schemeClr val="tx1"/>
                </a:solidFill>
              </a:defRPr>
            </a:lvl1pPr>
          </a:lstStyle>
          <a:p>
            <a:r>
              <a:rPr lang="sv-SE" err="1"/>
              <a:t>Click</a:t>
            </a:r>
            <a:r>
              <a:rPr lang="sv-SE"/>
              <a:t> to </a:t>
            </a:r>
            <a:r>
              <a:rPr lang="sv-SE" err="1"/>
              <a:t>insert</a:t>
            </a:r>
            <a:r>
              <a:rPr lang="sv-SE"/>
              <a:t> </a:t>
            </a:r>
            <a:r>
              <a:rPr lang="sv-SE" err="1"/>
              <a:t>picture</a:t>
            </a:r>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3" name="TextBox 2">
            <a:extLst>
              <a:ext uri="{FF2B5EF4-FFF2-40B4-BE49-F238E27FC236}">
                <a16:creationId xmlns:a16="http://schemas.microsoft.com/office/drawing/2014/main" id="{ABAC40BB-B2C0-10EF-905E-778852D5348D}"/>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1" name="Picture 10">
            <a:extLst>
              <a:ext uri="{FF2B5EF4-FFF2-40B4-BE49-F238E27FC236}">
                <a16:creationId xmlns:a16="http://schemas.microsoft.com/office/drawing/2014/main" id="{B09EEFC4-204E-9065-6674-EEF4F8C023F9}"/>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2" name="TextBox 11">
            <a:extLst>
              <a:ext uri="{FF2B5EF4-FFF2-40B4-BE49-F238E27FC236}">
                <a16:creationId xmlns:a16="http://schemas.microsoft.com/office/drawing/2014/main" id="{812A2870-86FB-3D69-F801-C366E6398B6C}"/>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3" name="Picture 12">
            <a:extLst>
              <a:ext uri="{FF2B5EF4-FFF2-40B4-BE49-F238E27FC236}">
                <a16:creationId xmlns:a16="http://schemas.microsoft.com/office/drawing/2014/main" id="{04D759B6-9C7C-4D35-6158-8272598C3D2B}"/>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4" name="Picture 13">
            <a:extLst>
              <a:ext uri="{FF2B5EF4-FFF2-40B4-BE49-F238E27FC236}">
                <a16:creationId xmlns:a16="http://schemas.microsoft.com/office/drawing/2014/main" id="{9B43CBAE-93F0-D92F-D62C-5611344AE9E2}"/>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5" name="Picture 14">
            <a:extLst>
              <a:ext uri="{FF2B5EF4-FFF2-40B4-BE49-F238E27FC236}">
                <a16:creationId xmlns:a16="http://schemas.microsoft.com/office/drawing/2014/main" id="{F62D5BEB-64F1-78DB-21A4-C65273DBC205}"/>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6" name="TextBox 15">
            <a:extLst>
              <a:ext uri="{FF2B5EF4-FFF2-40B4-BE49-F238E27FC236}">
                <a16:creationId xmlns:a16="http://schemas.microsoft.com/office/drawing/2014/main" id="{3648C5D2-B742-241A-5D34-29DED7EE9141}"/>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30610595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ext &amp; image right - Blue">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A1B5EA6-A0E2-3B9F-59B0-74E42BD02B54}"/>
              </a:ext>
            </a:extLst>
          </p:cNvPr>
          <p:cNvSpPr/>
          <p:nvPr userDrawn="1"/>
        </p:nvSpPr>
        <p:spPr>
          <a:xfrm>
            <a:off x="0" y="0"/>
            <a:ext cx="6096794"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5" y="514350"/>
            <a:ext cx="5227881" cy="432802"/>
          </a:xfrm>
        </p:spPr>
        <p:txBody>
          <a:bodyPr wrap="square" bIns="72000" anchor="t" anchorCtr="0">
            <a:spAutoFit/>
          </a:bodyPr>
          <a:lstStyle>
            <a:lvl1pPr algn="l">
              <a:defRPr sz="2600">
                <a:solidFill>
                  <a:schemeClr val="bg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D7BCDFCB-E022-4611-883A-18BFB36B5752}" type="datetime1">
              <a:rPr lang="en-US" smtClean="0"/>
              <a:t>5/13/2026</a:t>
            </a:fld>
            <a:endParaRPr lang="sv-SE"/>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516005" y="947739"/>
            <a:ext cx="5227881"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8" name="Picture Placeholder 15">
            <a:extLst>
              <a:ext uri="{FF2B5EF4-FFF2-40B4-BE49-F238E27FC236}">
                <a16:creationId xmlns:a16="http://schemas.microsoft.com/office/drawing/2014/main" id="{D0F135B0-EEDC-1771-A31F-233B18D7E883}"/>
              </a:ext>
            </a:extLst>
          </p:cNvPr>
          <p:cNvSpPr>
            <a:spLocks noGrp="1"/>
          </p:cNvSpPr>
          <p:nvPr>
            <p:ph type="pic" sz="quarter" idx="27" hasCustomPrompt="1"/>
          </p:nvPr>
        </p:nvSpPr>
        <p:spPr>
          <a:xfrm>
            <a:off x="6096794" y="0"/>
            <a:ext cx="6096794" cy="6858000"/>
          </a:xfrm>
        </p:spPr>
        <p:txBody>
          <a:bodyPr tIns="504000"/>
          <a:lstStyle>
            <a:lvl1pPr marL="0" indent="0" algn="ctr">
              <a:buNone/>
              <a:defRPr>
                <a:solidFill>
                  <a:schemeClr val="tx1"/>
                </a:solidFill>
              </a:defRPr>
            </a:lvl1pPr>
          </a:lstStyle>
          <a:p>
            <a:r>
              <a:rPr lang="sv-SE" err="1"/>
              <a:t>Click</a:t>
            </a:r>
            <a:r>
              <a:rPr lang="sv-SE"/>
              <a:t> to </a:t>
            </a:r>
            <a:r>
              <a:rPr lang="sv-SE" err="1"/>
              <a:t>insert</a:t>
            </a:r>
            <a:r>
              <a:rPr lang="sv-SE"/>
              <a:t> </a:t>
            </a:r>
            <a:r>
              <a:rPr lang="sv-SE" err="1"/>
              <a:t>picture</a:t>
            </a:r>
            <a:endParaRPr lang="sv-SE"/>
          </a:p>
        </p:txBody>
      </p:sp>
      <p:sp>
        <p:nvSpPr>
          <p:cNvPr id="3" name="Text Placeholder 10">
            <a:extLst>
              <a:ext uri="{FF2B5EF4-FFF2-40B4-BE49-F238E27FC236}">
                <a16:creationId xmlns:a16="http://schemas.microsoft.com/office/drawing/2014/main" id="{6A3C0ADC-D3F8-0ACF-ADBE-55F01C3C17D2}"/>
              </a:ext>
            </a:extLst>
          </p:cNvPr>
          <p:cNvSpPr>
            <a:spLocks noGrp="1"/>
          </p:cNvSpPr>
          <p:nvPr>
            <p:ph type="body" sz="quarter" idx="13"/>
          </p:nvPr>
        </p:nvSpPr>
        <p:spPr>
          <a:xfrm>
            <a:off x="516005" y="1440000"/>
            <a:ext cx="5227881" cy="4680000"/>
          </a:xfrm>
        </p:spPr>
        <p:txBody>
          <a:bodyPr/>
          <a:lstStyle>
            <a:lvl1pPr>
              <a:buClr>
                <a:schemeClr val="tx1"/>
              </a:buClr>
              <a:defRPr>
                <a:solidFill>
                  <a:schemeClr val="bg1"/>
                </a:solidFill>
              </a:defRPr>
            </a:lvl1pPr>
            <a:lvl2pPr>
              <a:buClr>
                <a:schemeClr val="tx1"/>
              </a:buClr>
              <a:defRPr>
                <a:solidFill>
                  <a:schemeClr val="bg1"/>
                </a:solidFill>
              </a:defRPr>
            </a:lvl2pPr>
            <a:lvl3pPr>
              <a:buClr>
                <a:schemeClr val="tx1"/>
              </a:buClr>
              <a:defRPr>
                <a:solidFill>
                  <a:schemeClr val="bg1"/>
                </a:solidFill>
              </a:defRPr>
            </a:lvl3pPr>
            <a:lvl4pPr>
              <a:buClr>
                <a:schemeClr val="tx1"/>
              </a:buClr>
              <a:defRPr>
                <a:solidFill>
                  <a:schemeClr val="bg1"/>
                </a:solidFill>
              </a:defRPr>
            </a:lvl4pPr>
            <a:lvl5pPr>
              <a:buClr>
                <a:schemeClr val="tx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0" name="TextBox 9">
            <a:extLst>
              <a:ext uri="{FF2B5EF4-FFF2-40B4-BE49-F238E27FC236}">
                <a16:creationId xmlns:a16="http://schemas.microsoft.com/office/drawing/2014/main" id="{40F7BCEA-786B-1E47-4D8D-445368937DEF}"/>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1" name="Picture 10">
            <a:extLst>
              <a:ext uri="{FF2B5EF4-FFF2-40B4-BE49-F238E27FC236}">
                <a16:creationId xmlns:a16="http://schemas.microsoft.com/office/drawing/2014/main" id="{42EBC80B-FFC8-63EC-3483-CCCBB03639BA}"/>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2" name="TextBox 11">
            <a:extLst>
              <a:ext uri="{FF2B5EF4-FFF2-40B4-BE49-F238E27FC236}">
                <a16:creationId xmlns:a16="http://schemas.microsoft.com/office/drawing/2014/main" id="{C3C5CC40-030E-E498-AE51-304BCA04028A}"/>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3" name="Picture 12">
            <a:extLst>
              <a:ext uri="{FF2B5EF4-FFF2-40B4-BE49-F238E27FC236}">
                <a16:creationId xmlns:a16="http://schemas.microsoft.com/office/drawing/2014/main" id="{F38ECD07-5F8E-E6BB-33DF-9C47A442A8D1}"/>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4" name="Picture 13">
            <a:extLst>
              <a:ext uri="{FF2B5EF4-FFF2-40B4-BE49-F238E27FC236}">
                <a16:creationId xmlns:a16="http://schemas.microsoft.com/office/drawing/2014/main" id="{3AD37D10-6302-26BF-510E-8F6B8DFA09FC}"/>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5" name="Picture 14">
            <a:extLst>
              <a:ext uri="{FF2B5EF4-FFF2-40B4-BE49-F238E27FC236}">
                <a16:creationId xmlns:a16="http://schemas.microsoft.com/office/drawing/2014/main" id="{8E75B961-9E27-334D-7850-EA738C3B36E0}"/>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6" name="TextBox 15">
            <a:extLst>
              <a:ext uri="{FF2B5EF4-FFF2-40B4-BE49-F238E27FC236}">
                <a16:creationId xmlns:a16="http://schemas.microsoft.com/office/drawing/2014/main" id="{21A29A72-56D0-4EDE-5C46-7C807527CC61}"/>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9227682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xt &amp; image left - White">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id="{C97B6A17-A79B-2D2E-B5FE-BF99F760DB3B}"/>
              </a:ext>
            </a:extLst>
          </p:cNvPr>
          <p:cNvSpPr>
            <a:spLocks noGrp="1"/>
          </p:cNvSpPr>
          <p:nvPr>
            <p:ph type="pic" sz="quarter" idx="27" hasCustomPrompt="1"/>
          </p:nvPr>
        </p:nvSpPr>
        <p:spPr>
          <a:xfrm>
            <a:off x="0" y="0"/>
            <a:ext cx="6096794" cy="6858000"/>
          </a:xfrm>
        </p:spPr>
        <p:txBody>
          <a:bodyPr tIns="504000"/>
          <a:lstStyle>
            <a:lvl1pPr marL="0" indent="0" algn="ctr">
              <a:buNone/>
              <a:defRPr>
                <a:solidFill>
                  <a:schemeClr val="tx1"/>
                </a:solidFill>
              </a:defRPr>
            </a:lvl1pPr>
          </a:lstStyle>
          <a:p>
            <a:r>
              <a:rPr lang="en-GB" noProof="0"/>
              <a:t>Click to insert picture</a:t>
            </a:r>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6610461" y="514350"/>
            <a:ext cx="5069460" cy="432802"/>
          </a:xfrm>
        </p:spPr>
        <p:txBody>
          <a:bodyPr wrap="square" bIns="72000" anchor="t" anchorCtr="0">
            <a:spAutoFit/>
          </a:bodyPr>
          <a:lstStyle>
            <a:lvl1pPr algn="l">
              <a:defRPr sz="2600">
                <a:solidFill>
                  <a:schemeClr val="tx1"/>
                </a:solidFill>
              </a:defRPr>
            </a:lvl1pPr>
          </a:lstStyle>
          <a:p>
            <a:r>
              <a:rPr lang="en-US"/>
              <a:t>Click to edit title</a:t>
            </a:r>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6610461" y="1440000"/>
            <a:ext cx="5069460" cy="468000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6610461" y="947739"/>
            <a:ext cx="5069460"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3" name="Slide Number Placeholder 5">
            <a:extLst>
              <a:ext uri="{FF2B5EF4-FFF2-40B4-BE49-F238E27FC236}">
                <a16:creationId xmlns:a16="http://schemas.microsoft.com/office/drawing/2014/main" id="{EB01F3B5-A2AB-A32C-4E2B-C1390B59F55B}"/>
              </a:ext>
            </a:extLst>
          </p:cNvPr>
          <p:cNvSpPr>
            <a:spLocks noGrp="1"/>
          </p:cNvSpPr>
          <p:nvPr>
            <p:ph type="sldNum" sz="quarter" idx="12"/>
          </p:nvPr>
        </p:nvSpPr>
        <p:spPr>
          <a:xfrm>
            <a:off x="11304472"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4" name="Date Placeholder 3">
            <a:extLst>
              <a:ext uri="{FF2B5EF4-FFF2-40B4-BE49-F238E27FC236}">
                <a16:creationId xmlns:a16="http://schemas.microsoft.com/office/drawing/2014/main" id="{EA5EA2AF-C700-9C95-7A3D-05E8093ED0CC}"/>
              </a:ext>
            </a:extLst>
          </p:cNvPr>
          <p:cNvSpPr>
            <a:spLocks noGrp="1"/>
          </p:cNvSpPr>
          <p:nvPr>
            <p:ph type="dt" sz="half" idx="10"/>
          </p:nvPr>
        </p:nvSpPr>
        <p:spPr>
          <a:xfrm>
            <a:off x="516005" y="6328262"/>
            <a:ext cx="2743557" cy="153888"/>
          </a:xfrm>
        </p:spPr>
        <p:txBody>
          <a:bodyPr/>
          <a:lstStyle>
            <a:lvl1pPr>
              <a:defRPr>
                <a:solidFill>
                  <a:schemeClr val="bg1"/>
                </a:solidFill>
              </a:defRPr>
            </a:lvl1pPr>
          </a:lstStyle>
          <a:p>
            <a:fld id="{EEB010F0-2349-4FBA-BA3B-382AA1FD7C00}" type="datetime1">
              <a:rPr lang="en-US" smtClean="0"/>
              <a:t>5/13/2026</a:t>
            </a:fld>
            <a:endParaRPr lang="sv-SE"/>
          </a:p>
        </p:txBody>
      </p:sp>
      <p:sp>
        <p:nvSpPr>
          <p:cNvPr id="5" name="Footer Placeholder 4">
            <a:extLst>
              <a:ext uri="{FF2B5EF4-FFF2-40B4-BE49-F238E27FC236}">
                <a16:creationId xmlns:a16="http://schemas.microsoft.com/office/drawing/2014/main" id="{A54360FE-7428-6493-CB14-2866F116CCF2}"/>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TextBox 6">
            <a:extLst>
              <a:ext uri="{FF2B5EF4-FFF2-40B4-BE49-F238E27FC236}">
                <a16:creationId xmlns:a16="http://schemas.microsoft.com/office/drawing/2014/main" id="{7ACAB7FF-CE9E-5867-1E57-A635B64909A8}"/>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519EBF12-A1DD-EAFE-B755-F45459676B6E}"/>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1" name="TextBox 10">
            <a:extLst>
              <a:ext uri="{FF2B5EF4-FFF2-40B4-BE49-F238E27FC236}">
                <a16:creationId xmlns:a16="http://schemas.microsoft.com/office/drawing/2014/main" id="{CF33AF49-E200-E124-9C9A-A4DBA617BBAF}"/>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FC7D9146-0A46-FD60-85BF-01A3F6A98F15}"/>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3" name="Picture 12">
            <a:extLst>
              <a:ext uri="{FF2B5EF4-FFF2-40B4-BE49-F238E27FC236}">
                <a16:creationId xmlns:a16="http://schemas.microsoft.com/office/drawing/2014/main" id="{876742CD-B107-0546-8DE0-6D67648BDCA7}"/>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4" name="Picture 13">
            <a:extLst>
              <a:ext uri="{FF2B5EF4-FFF2-40B4-BE49-F238E27FC236}">
                <a16:creationId xmlns:a16="http://schemas.microsoft.com/office/drawing/2014/main" id="{14967557-6B6D-5A3F-3840-B09D2927AD2B}"/>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5" name="TextBox 14">
            <a:extLst>
              <a:ext uri="{FF2B5EF4-FFF2-40B4-BE49-F238E27FC236}">
                <a16:creationId xmlns:a16="http://schemas.microsoft.com/office/drawing/2014/main" id="{AF95DB38-940F-930C-4595-C9C96D19984D}"/>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6606961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amp; image left - Dark Blue">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id="{D0F135B0-EEDC-1771-A31F-233B18D7E883}"/>
              </a:ext>
            </a:extLst>
          </p:cNvPr>
          <p:cNvSpPr>
            <a:spLocks noGrp="1"/>
          </p:cNvSpPr>
          <p:nvPr>
            <p:ph type="pic" sz="quarter" idx="27" hasCustomPrompt="1"/>
          </p:nvPr>
        </p:nvSpPr>
        <p:spPr>
          <a:xfrm>
            <a:off x="0" y="0"/>
            <a:ext cx="6096794" cy="6858000"/>
          </a:xfrm>
        </p:spPr>
        <p:txBody>
          <a:bodyPr tIns="504000"/>
          <a:lstStyle>
            <a:lvl1pPr marL="0" indent="0" algn="ctr">
              <a:buNone/>
              <a:defRPr>
                <a:solidFill>
                  <a:schemeClr val="tx1"/>
                </a:solidFill>
              </a:defRPr>
            </a:lvl1pPr>
          </a:lstStyle>
          <a:p>
            <a:r>
              <a:rPr lang="en-GB" noProof="0"/>
              <a:t>Click to insert picture</a:t>
            </a:r>
          </a:p>
        </p:txBody>
      </p:sp>
      <p:sp>
        <p:nvSpPr>
          <p:cNvPr id="9" name="Rectangle 8">
            <a:extLst>
              <a:ext uri="{FF2B5EF4-FFF2-40B4-BE49-F238E27FC236}">
                <a16:creationId xmlns:a16="http://schemas.microsoft.com/office/drawing/2014/main" id="{9A1B5EA6-A0E2-3B9F-59B0-74E42BD02B54}"/>
              </a:ext>
            </a:extLst>
          </p:cNvPr>
          <p:cNvSpPr/>
          <p:nvPr userDrawn="1"/>
        </p:nvSpPr>
        <p:spPr>
          <a:xfrm>
            <a:off x="6096794" y="0"/>
            <a:ext cx="6096794"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6610461" y="514350"/>
            <a:ext cx="5069460" cy="432802"/>
          </a:xfrm>
        </p:spPr>
        <p:txBody>
          <a:bodyPr wrap="square" bIns="72000" anchor="t" anchorCtr="0">
            <a:spAutoFit/>
          </a:bodyPr>
          <a:lstStyle>
            <a:lvl1pPr algn="l">
              <a:defRPr sz="2600">
                <a:solidFill>
                  <a:schemeClr val="bg1"/>
                </a:solidFill>
              </a:defRPr>
            </a:lvl1pPr>
          </a:lstStyle>
          <a:p>
            <a:r>
              <a:rPr lang="en-US"/>
              <a:t>Click to edit title</a:t>
            </a:r>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6610461" y="1440000"/>
            <a:ext cx="5069460" cy="4680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6610461" y="947739"/>
            <a:ext cx="5069460"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3" name="Slide Number Placeholder 5">
            <a:extLst>
              <a:ext uri="{FF2B5EF4-FFF2-40B4-BE49-F238E27FC236}">
                <a16:creationId xmlns:a16="http://schemas.microsoft.com/office/drawing/2014/main" id="{BBFCE1CA-8654-DA74-9199-E9A6981AB3B3}"/>
              </a:ext>
            </a:extLst>
          </p:cNvPr>
          <p:cNvSpPr>
            <a:spLocks noGrp="1"/>
          </p:cNvSpPr>
          <p:nvPr>
            <p:ph type="sldNum" sz="quarter" idx="12"/>
          </p:nvPr>
        </p:nvSpPr>
        <p:spPr>
          <a:xfrm>
            <a:off x="11304472" y="6494949"/>
            <a:ext cx="374699" cy="153888"/>
          </a:xfrm>
        </p:spPr>
        <p:txBody>
          <a:bodyPr/>
          <a:lstStyle>
            <a:lvl1pPr algn="r">
              <a:defRPr>
                <a:solidFill>
                  <a:schemeClr val="tx2">
                    <a:lumMod val="60000"/>
                    <a:lumOff val="40000"/>
                  </a:schemeClr>
                </a:solidFill>
              </a:defRPr>
            </a:lvl1pPr>
          </a:lstStyle>
          <a:p>
            <a:fld id="{C2F92818-9D0C-420B-84CB-20E21C25F84F}" type="slidenum">
              <a:rPr lang="sv-SE" smtClean="0"/>
              <a:pPr/>
              <a:t>‹#›</a:t>
            </a:fld>
            <a:endParaRPr lang="sv-SE"/>
          </a:p>
        </p:txBody>
      </p:sp>
      <p:sp>
        <p:nvSpPr>
          <p:cNvPr id="4" name="Date Placeholder 3">
            <a:extLst>
              <a:ext uri="{FF2B5EF4-FFF2-40B4-BE49-F238E27FC236}">
                <a16:creationId xmlns:a16="http://schemas.microsoft.com/office/drawing/2014/main" id="{7085BA52-C3B4-F368-89BE-533D92CC176C}"/>
              </a:ext>
            </a:extLst>
          </p:cNvPr>
          <p:cNvSpPr>
            <a:spLocks noGrp="1"/>
          </p:cNvSpPr>
          <p:nvPr>
            <p:ph type="dt" sz="half" idx="10"/>
          </p:nvPr>
        </p:nvSpPr>
        <p:spPr>
          <a:xfrm>
            <a:off x="516005" y="6328262"/>
            <a:ext cx="2743557" cy="153888"/>
          </a:xfrm>
        </p:spPr>
        <p:txBody>
          <a:bodyPr/>
          <a:lstStyle>
            <a:lvl1pPr>
              <a:defRPr>
                <a:solidFill>
                  <a:schemeClr val="bg1"/>
                </a:solidFill>
              </a:defRPr>
            </a:lvl1pPr>
          </a:lstStyle>
          <a:p>
            <a:fld id="{A5179404-DECA-4FB2-8574-C72983B52F3C}" type="datetime1">
              <a:rPr lang="en-US" smtClean="0"/>
              <a:t>5/13/2026</a:t>
            </a:fld>
            <a:endParaRPr lang="sv-SE"/>
          </a:p>
        </p:txBody>
      </p:sp>
      <p:sp>
        <p:nvSpPr>
          <p:cNvPr id="5" name="Footer Placeholder 4">
            <a:extLst>
              <a:ext uri="{FF2B5EF4-FFF2-40B4-BE49-F238E27FC236}">
                <a16:creationId xmlns:a16="http://schemas.microsoft.com/office/drawing/2014/main" id="{ECB57A99-580A-E978-4BEF-803135E83E38}"/>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TextBox 6">
            <a:extLst>
              <a:ext uri="{FF2B5EF4-FFF2-40B4-BE49-F238E27FC236}">
                <a16:creationId xmlns:a16="http://schemas.microsoft.com/office/drawing/2014/main" id="{FF121109-2682-3B1C-ABAE-20E5667DBE77}"/>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1" name="Picture 10">
            <a:extLst>
              <a:ext uri="{FF2B5EF4-FFF2-40B4-BE49-F238E27FC236}">
                <a16:creationId xmlns:a16="http://schemas.microsoft.com/office/drawing/2014/main" id="{713B4F4A-DE7B-0A71-5409-3B0ABA3D1053}"/>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2" name="TextBox 11">
            <a:extLst>
              <a:ext uri="{FF2B5EF4-FFF2-40B4-BE49-F238E27FC236}">
                <a16:creationId xmlns:a16="http://schemas.microsoft.com/office/drawing/2014/main" id="{05CF16D4-E3D8-5D89-2DEB-A1AA3A59626A}"/>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3" name="Picture 12">
            <a:extLst>
              <a:ext uri="{FF2B5EF4-FFF2-40B4-BE49-F238E27FC236}">
                <a16:creationId xmlns:a16="http://schemas.microsoft.com/office/drawing/2014/main" id="{5BABEFB8-A2D0-2795-8FC7-40E1C3B0BF6F}"/>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4" name="Picture 13">
            <a:extLst>
              <a:ext uri="{FF2B5EF4-FFF2-40B4-BE49-F238E27FC236}">
                <a16:creationId xmlns:a16="http://schemas.microsoft.com/office/drawing/2014/main" id="{CBF05A01-837F-84D2-4FFA-1CCB0C8A5BCB}"/>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5" name="Picture 14">
            <a:extLst>
              <a:ext uri="{FF2B5EF4-FFF2-40B4-BE49-F238E27FC236}">
                <a16:creationId xmlns:a16="http://schemas.microsoft.com/office/drawing/2014/main" id="{0D1FE3E1-6488-C2A8-E357-85FE3CB19264}"/>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6" name="TextBox 15">
            <a:extLst>
              <a:ext uri="{FF2B5EF4-FFF2-40B4-BE49-F238E27FC236}">
                <a16:creationId xmlns:a16="http://schemas.microsoft.com/office/drawing/2014/main" id="{B4DFF7A9-6554-453B-19D0-E9309B758EC4}"/>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43479406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ext &amp; image left - Blue">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id="{D0F135B0-EEDC-1771-A31F-233B18D7E883}"/>
              </a:ext>
            </a:extLst>
          </p:cNvPr>
          <p:cNvSpPr>
            <a:spLocks noGrp="1"/>
          </p:cNvSpPr>
          <p:nvPr>
            <p:ph type="pic" sz="quarter" idx="27" hasCustomPrompt="1"/>
          </p:nvPr>
        </p:nvSpPr>
        <p:spPr>
          <a:xfrm>
            <a:off x="0" y="0"/>
            <a:ext cx="6096794" cy="6858000"/>
          </a:xfrm>
        </p:spPr>
        <p:txBody>
          <a:bodyPr tIns="504000"/>
          <a:lstStyle>
            <a:lvl1pPr marL="0" indent="0" algn="ctr">
              <a:buNone/>
              <a:defRPr>
                <a:solidFill>
                  <a:schemeClr val="tx1"/>
                </a:solidFill>
              </a:defRPr>
            </a:lvl1pPr>
          </a:lstStyle>
          <a:p>
            <a:r>
              <a:rPr lang="en-GB" noProof="0"/>
              <a:t>Click to insert picture</a:t>
            </a:r>
          </a:p>
        </p:txBody>
      </p:sp>
      <p:sp>
        <p:nvSpPr>
          <p:cNvPr id="9" name="Rectangle 8">
            <a:extLst>
              <a:ext uri="{FF2B5EF4-FFF2-40B4-BE49-F238E27FC236}">
                <a16:creationId xmlns:a16="http://schemas.microsoft.com/office/drawing/2014/main" id="{9A1B5EA6-A0E2-3B9F-59B0-74E42BD02B54}"/>
              </a:ext>
            </a:extLst>
          </p:cNvPr>
          <p:cNvSpPr/>
          <p:nvPr userDrawn="1"/>
        </p:nvSpPr>
        <p:spPr>
          <a:xfrm>
            <a:off x="6096794" y="0"/>
            <a:ext cx="6096794"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6610461" y="514350"/>
            <a:ext cx="5069460" cy="432802"/>
          </a:xfrm>
        </p:spPr>
        <p:txBody>
          <a:bodyPr wrap="square" bIns="72000" anchor="t" anchorCtr="0">
            <a:spAutoFit/>
          </a:bodyPr>
          <a:lstStyle>
            <a:lvl1pPr algn="l">
              <a:defRPr sz="2600">
                <a:solidFill>
                  <a:schemeClr val="bg1"/>
                </a:solidFill>
              </a:defRPr>
            </a:lvl1pPr>
          </a:lstStyle>
          <a:p>
            <a:r>
              <a:rPr lang="en-US"/>
              <a:t>Click to edit title</a:t>
            </a:r>
            <a:endParaRPr lang="sv-SE"/>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6610461" y="947739"/>
            <a:ext cx="5069460"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3" name="Text Placeholder 10">
            <a:extLst>
              <a:ext uri="{FF2B5EF4-FFF2-40B4-BE49-F238E27FC236}">
                <a16:creationId xmlns:a16="http://schemas.microsoft.com/office/drawing/2014/main" id="{6A3C0ADC-D3F8-0ACF-ADBE-55F01C3C17D2}"/>
              </a:ext>
            </a:extLst>
          </p:cNvPr>
          <p:cNvSpPr>
            <a:spLocks noGrp="1"/>
          </p:cNvSpPr>
          <p:nvPr>
            <p:ph type="body" sz="quarter" idx="13"/>
          </p:nvPr>
        </p:nvSpPr>
        <p:spPr>
          <a:xfrm>
            <a:off x="6610461" y="1440000"/>
            <a:ext cx="5069460" cy="4680000"/>
          </a:xfrm>
        </p:spPr>
        <p:txBody>
          <a:bodyPr/>
          <a:lstStyle>
            <a:lvl1pPr>
              <a:buClr>
                <a:schemeClr val="tx1"/>
              </a:buClr>
              <a:defRPr>
                <a:solidFill>
                  <a:schemeClr val="bg1"/>
                </a:solidFill>
              </a:defRPr>
            </a:lvl1pPr>
            <a:lvl2pPr>
              <a:buClr>
                <a:schemeClr val="tx1"/>
              </a:buClr>
              <a:defRPr>
                <a:solidFill>
                  <a:schemeClr val="bg1"/>
                </a:solidFill>
              </a:defRPr>
            </a:lvl2pPr>
            <a:lvl3pPr>
              <a:buClr>
                <a:schemeClr val="tx1"/>
              </a:buClr>
              <a:defRPr>
                <a:solidFill>
                  <a:schemeClr val="bg1"/>
                </a:solidFill>
              </a:defRPr>
            </a:lvl3pPr>
            <a:lvl4pPr>
              <a:buClr>
                <a:schemeClr val="tx1"/>
              </a:buClr>
              <a:defRPr>
                <a:solidFill>
                  <a:schemeClr val="bg1"/>
                </a:solidFill>
              </a:defRPr>
            </a:lvl4pPr>
            <a:lvl5pPr>
              <a:buClr>
                <a:schemeClr val="tx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Slide Number Placeholder 5">
            <a:extLst>
              <a:ext uri="{FF2B5EF4-FFF2-40B4-BE49-F238E27FC236}">
                <a16:creationId xmlns:a16="http://schemas.microsoft.com/office/drawing/2014/main" id="{C7048014-131F-60DE-0194-279080F92F7D}"/>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5" name="Date Placeholder 3">
            <a:extLst>
              <a:ext uri="{FF2B5EF4-FFF2-40B4-BE49-F238E27FC236}">
                <a16:creationId xmlns:a16="http://schemas.microsoft.com/office/drawing/2014/main" id="{2C69CF42-66D5-A296-AD7B-0E21C4500C17}"/>
              </a:ext>
            </a:extLst>
          </p:cNvPr>
          <p:cNvSpPr>
            <a:spLocks noGrp="1"/>
          </p:cNvSpPr>
          <p:nvPr>
            <p:ph type="dt" sz="half" idx="10"/>
          </p:nvPr>
        </p:nvSpPr>
        <p:spPr>
          <a:xfrm>
            <a:off x="516005" y="6328262"/>
            <a:ext cx="2743557" cy="153888"/>
          </a:xfrm>
        </p:spPr>
        <p:txBody>
          <a:bodyPr/>
          <a:lstStyle>
            <a:lvl1pPr>
              <a:defRPr>
                <a:solidFill>
                  <a:schemeClr val="bg1"/>
                </a:solidFill>
              </a:defRPr>
            </a:lvl1pPr>
          </a:lstStyle>
          <a:p>
            <a:fld id="{1631DEB0-5677-4497-886B-9BB0871AE83E}" type="datetime1">
              <a:rPr lang="en-US" smtClean="0"/>
              <a:t>5/13/2026</a:t>
            </a:fld>
            <a:endParaRPr lang="sv-SE"/>
          </a:p>
        </p:txBody>
      </p:sp>
      <p:sp>
        <p:nvSpPr>
          <p:cNvPr id="7" name="Footer Placeholder 4">
            <a:extLst>
              <a:ext uri="{FF2B5EF4-FFF2-40B4-BE49-F238E27FC236}">
                <a16:creationId xmlns:a16="http://schemas.microsoft.com/office/drawing/2014/main" id="{78D328D6-43E9-279D-E85C-851ECC28914B}"/>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10" name="TextBox 9">
            <a:extLst>
              <a:ext uri="{FF2B5EF4-FFF2-40B4-BE49-F238E27FC236}">
                <a16:creationId xmlns:a16="http://schemas.microsoft.com/office/drawing/2014/main" id="{E8B819A9-C671-0C13-1F66-042B9CD48289}"/>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1" name="Picture 10">
            <a:extLst>
              <a:ext uri="{FF2B5EF4-FFF2-40B4-BE49-F238E27FC236}">
                <a16:creationId xmlns:a16="http://schemas.microsoft.com/office/drawing/2014/main" id="{9BCFCE37-36AF-47AE-DF67-AC2BCB1F1FC0}"/>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2" name="TextBox 11">
            <a:extLst>
              <a:ext uri="{FF2B5EF4-FFF2-40B4-BE49-F238E27FC236}">
                <a16:creationId xmlns:a16="http://schemas.microsoft.com/office/drawing/2014/main" id="{E569598F-FFFB-A955-F290-606046F3E6EB}"/>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3" name="Picture 12">
            <a:extLst>
              <a:ext uri="{FF2B5EF4-FFF2-40B4-BE49-F238E27FC236}">
                <a16:creationId xmlns:a16="http://schemas.microsoft.com/office/drawing/2014/main" id="{7679ACE7-6C68-7367-3821-7DE94BEC9426}"/>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4" name="Picture 13">
            <a:extLst>
              <a:ext uri="{FF2B5EF4-FFF2-40B4-BE49-F238E27FC236}">
                <a16:creationId xmlns:a16="http://schemas.microsoft.com/office/drawing/2014/main" id="{EAF6C811-4ADE-C22E-D732-39FDB45D8A87}"/>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5" name="Picture 14">
            <a:extLst>
              <a:ext uri="{FF2B5EF4-FFF2-40B4-BE49-F238E27FC236}">
                <a16:creationId xmlns:a16="http://schemas.microsoft.com/office/drawing/2014/main" id="{0490D3D9-6287-0813-C66E-CB11B0D9B7F7}"/>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6" name="TextBox 15">
            <a:extLst>
              <a:ext uri="{FF2B5EF4-FFF2-40B4-BE49-F238E27FC236}">
                <a16:creationId xmlns:a16="http://schemas.microsoft.com/office/drawing/2014/main" id="{D8B52AB2-D653-0E6D-F385-072BA06B193B}"/>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1770072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mp; text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7" y="514350"/>
            <a:ext cx="9667546" cy="432802"/>
          </a:xfrm>
        </p:spPr>
        <p:txBody>
          <a:bodyPr wrap="square" bIns="72000" anchor="t" anchorCtr="0">
            <a:spAutoFit/>
          </a:bodyPr>
          <a:lstStyle>
            <a:lvl1pPr algn="l">
              <a:defRPr sz="2600">
                <a:solidFill>
                  <a:schemeClr val="tx1"/>
                </a:solidFill>
              </a:defRPr>
            </a:lvl1pPr>
          </a:lstStyle>
          <a:p>
            <a:r>
              <a:rPr lang="en-GB"/>
              <a:t>Click to edit title</a:t>
            </a:r>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tx1"/>
                </a:solidFill>
              </a:defRPr>
            </a:lvl1pPr>
          </a:lstStyle>
          <a:p>
            <a:fld id="{FB5EB296-D374-4321-ACF8-5D4B14704F40}" type="datetime1">
              <a:rPr lang="en-GB" smtClean="0"/>
              <a:t>13/05/2026</a:t>
            </a:fld>
            <a:endParaRPr lang="en-GB"/>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en-GB"/>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5" y="6494949"/>
            <a:ext cx="374699" cy="153888"/>
          </a:xfrm>
        </p:spPr>
        <p:txBody>
          <a:bodyPr/>
          <a:lstStyle>
            <a:lvl1pPr>
              <a:defRPr>
                <a:solidFill>
                  <a:schemeClr val="tx2">
                    <a:lumMod val="60000"/>
                    <a:lumOff val="40000"/>
                  </a:schemeClr>
                </a:solidFill>
              </a:defRPr>
            </a:lvl1pPr>
          </a:lstStyle>
          <a:p>
            <a:fld id="{C2F92818-9D0C-420B-84CB-20E21C25F84F}" type="slidenum">
              <a:rPr lang="en-GB" smtClean="0"/>
              <a:pPr/>
              <a:t>‹#›</a:t>
            </a:fld>
            <a:endParaRPr lang="en-GB"/>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7" y="1440000"/>
            <a:ext cx="11161579" cy="468000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7" y="947741"/>
            <a:ext cx="9667546"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pic>
        <p:nvPicPr>
          <p:cNvPr id="3" name="Graphic 2">
            <a:extLst>
              <a:ext uri="{FF2B5EF4-FFF2-40B4-BE49-F238E27FC236}">
                <a16:creationId xmlns:a16="http://schemas.microsoft.com/office/drawing/2014/main" id="{40519E47-9F3F-F3A9-31AE-904A777C7B5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
        <p:nvSpPr>
          <p:cNvPr id="8" name="TextBox 7">
            <a:extLst>
              <a:ext uri="{FF2B5EF4-FFF2-40B4-BE49-F238E27FC236}">
                <a16:creationId xmlns:a16="http://schemas.microsoft.com/office/drawing/2014/main" id="{13EAAA98-9F42-89EB-251F-E2407BF0E1EF}"/>
              </a:ext>
            </a:extLst>
          </p:cNvPr>
          <p:cNvSpPr txBox="1"/>
          <p:nvPr userDrawn="1"/>
        </p:nvSpPr>
        <p:spPr>
          <a:xfrm>
            <a:off x="-1558545"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E2D03E0E-C886-B852-DBBC-B1EE67E02FD6}"/>
              </a:ext>
            </a:extLst>
          </p:cNvPr>
          <p:cNvPicPr>
            <a:picLocks noChangeAspect="1"/>
          </p:cNvPicPr>
          <p:nvPr userDrawn="1"/>
        </p:nvPicPr>
        <p:blipFill>
          <a:blip r:embed="rId3"/>
          <a:stretch>
            <a:fillRect/>
          </a:stretch>
        </p:blipFill>
        <p:spPr>
          <a:xfrm>
            <a:off x="-1032552" y="6043203"/>
            <a:ext cx="338511" cy="456195"/>
          </a:xfrm>
          <a:prstGeom prst="rect">
            <a:avLst/>
          </a:prstGeom>
        </p:spPr>
      </p:pic>
      <p:sp>
        <p:nvSpPr>
          <p:cNvPr id="14" name="TextBox 13">
            <a:extLst>
              <a:ext uri="{FF2B5EF4-FFF2-40B4-BE49-F238E27FC236}">
                <a16:creationId xmlns:a16="http://schemas.microsoft.com/office/drawing/2014/main" id="{278E1554-C664-C8F8-7A19-57AFDE1048A6}"/>
              </a:ext>
            </a:extLst>
          </p:cNvPr>
          <p:cNvSpPr txBox="1"/>
          <p:nvPr userDrawn="1"/>
        </p:nvSpPr>
        <p:spPr>
          <a:xfrm>
            <a:off x="-1558547"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BDCE4B87-659B-36EF-6909-134CE2CFF556}"/>
              </a:ext>
            </a:extLst>
          </p:cNvPr>
          <p:cNvPicPr>
            <a:picLocks noChangeAspect="1"/>
          </p:cNvPicPr>
          <p:nvPr userDrawn="1"/>
        </p:nvPicPr>
        <p:blipFill>
          <a:blip r:embed="rId4"/>
          <a:srcRect t="32177"/>
          <a:stretch/>
        </p:blipFill>
        <p:spPr>
          <a:xfrm>
            <a:off x="-1404595" y="2958349"/>
            <a:ext cx="1082591" cy="836058"/>
          </a:xfrm>
          <a:prstGeom prst="rect">
            <a:avLst/>
          </a:prstGeom>
        </p:spPr>
      </p:pic>
      <p:pic>
        <p:nvPicPr>
          <p:cNvPr id="15" name="Picture 14">
            <a:extLst>
              <a:ext uri="{FF2B5EF4-FFF2-40B4-BE49-F238E27FC236}">
                <a16:creationId xmlns:a16="http://schemas.microsoft.com/office/drawing/2014/main" id="{9E7A2BE9-DBC3-CA1C-0529-1BCE90B2F59A}"/>
              </a:ext>
            </a:extLst>
          </p:cNvPr>
          <p:cNvPicPr>
            <a:picLocks noChangeAspect="1"/>
          </p:cNvPicPr>
          <p:nvPr userDrawn="1"/>
        </p:nvPicPr>
        <p:blipFill>
          <a:blip r:embed="rId5"/>
          <a:stretch>
            <a:fillRect/>
          </a:stretch>
        </p:blipFill>
        <p:spPr>
          <a:xfrm>
            <a:off x="-1082303" y="1940632"/>
            <a:ext cx="438012" cy="204850"/>
          </a:xfrm>
          <a:prstGeom prst="rect">
            <a:avLst/>
          </a:prstGeom>
        </p:spPr>
      </p:pic>
      <p:pic>
        <p:nvPicPr>
          <p:cNvPr id="17" name="Picture 16">
            <a:extLst>
              <a:ext uri="{FF2B5EF4-FFF2-40B4-BE49-F238E27FC236}">
                <a16:creationId xmlns:a16="http://schemas.microsoft.com/office/drawing/2014/main" id="{E35482C6-11FC-E6BA-23B1-6E14ACC8F99D}"/>
              </a:ext>
            </a:extLst>
          </p:cNvPr>
          <p:cNvPicPr>
            <a:picLocks noChangeAspect="1"/>
          </p:cNvPicPr>
          <p:nvPr userDrawn="1"/>
        </p:nvPicPr>
        <p:blipFill>
          <a:blip r:embed="rId6"/>
          <a:stretch>
            <a:fillRect/>
          </a:stretch>
        </p:blipFill>
        <p:spPr>
          <a:xfrm>
            <a:off x="-1019628" y="2663645"/>
            <a:ext cx="312660" cy="201690"/>
          </a:xfrm>
          <a:prstGeom prst="rect">
            <a:avLst/>
          </a:prstGeom>
        </p:spPr>
      </p:pic>
    </p:spTree>
    <p:extLst>
      <p:ext uri="{BB962C8B-B14F-4D97-AF65-F5344CB8AC3E}">
        <p14:creationId xmlns:p14="http://schemas.microsoft.com/office/powerpoint/2010/main" val="38211354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890">
          <p15:clr>
            <a:srgbClr val="FBAE40"/>
          </p15:clr>
        </p15:guide>
        <p15:guide id="4" orient="horz" pos="3861">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amp; text 2">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7" y="514350"/>
            <a:ext cx="9667546" cy="432802"/>
          </a:xfrm>
        </p:spPr>
        <p:txBody>
          <a:bodyPr wrap="square" bIns="72000" anchor="t" anchorCtr="0">
            <a:spAutoFit/>
          </a:bodyPr>
          <a:lstStyle>
            <a:lvl1pPr algn="l">
              <a:defRPr sz="2600">
                <a:solidFill>
                  <a:schemeClr val="bg1"/>
                </a:solidFill>
              </a:defRPr>
            </a:lvl1pPr>
          </a:lstStyle>
          <a:p>
            <a:r>
              <a:rPr lang="en-GB"/>
              <a:t>Click to edit title</a:t>
            </a:r>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7EC1679F-D22C-44E8-AD67-BDFEDEC84B97}" type="datetime1">
              <a:rPr lang="en-GB" smtClean="0"/>
              <a:t>13/05/2026</a:t>
            </a:fld>
            <a:endParaRPr lang="en-GB"/>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en-GB"/>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4472" y="6494949"/>
            <a:ext cx="374699" cy="153888"/>
          </a:xfrm>
        </p:spPr>
        <p:txBody>
          <a:bodyPr/>
          <a:lstStyle>
            <a:lvl1pPr>
              <a:defRPr>
                <a:solidFill>
                  <a:schemeClr val="tx2">
                    <a:lumMod val="60000"/>
                    <a:lumOff val="40000"/>
                  </a:schemeClr>
                </a:solidFill>
              </a:defRPr>
            </a:lvl1pPr>
          </a:lstStyle>
          <a:p>
            <a:fld id="{C2F92818-9D0C-420B-84CB-20E21C25F84F}" type="slidenum">
              <a:rPr lang="en-GB" smtClean="0"/>
              <a:pPr/>
              <a:t>‹#›</a:t>
            </a:fld>
            <a:endParaRPr lang="en-GB"/>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7" y="1440000"/>
            <a:ext cx="11161579" cy="4680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516007" y="947741"/>
            <a:ext cx="9667546"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pic>
        <p:nvPicPr>
          <p:cNvPr id="8" name="Graphic 7">
            <a:extLst>
              <a:ext uri="{FF2B5EF4-FFF2-40B4-BE49-F238E27FC236}">
                <a16:creationId xmlns:a16="http://schemas.microsoft.com/office/drawing/2014/main" id="{DE7E9ABE-598A-ADF0-2DA4-1C6D485A9CD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
        <p:nvSpPr>
          <p:cNvPr id="3" name="TextBox 2">
            <a:extLst>
              <a:ext uri="{FF2B5EF4-FFF2-40B4-BE49-F238E27FC236}">
                <a16:creationId xmlns:a16="http://schemas.microsoft.com/office/drawing/2014/main" id="{63EA4070-EB43-9D65-30CA-C9804AD5109C}"/>
              </a:ext>
            </a:extLst>
          </p:cNvPr>
          <p:cNvSpPr txBox="1"/>
          <p:nvPr userDrawn="1"/>
        </p:nvSpPr>
        <p:spPr>
          <a:xfrm>
            <a:off x="-1558545"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BC0BED3F-3613-064C-77FD-BC16E5E940E7}"/>
              </a:ext>
            </a:extLst>
          </p:cNvPr>
          <p:cNvPicPr>
            <a:picLocks noChangeAspect="1"/>
          </p:cNvPicPr>
          <p:nvPr userDrawn="1"/>
        </p:nvPicPr>
        <p:blipFill>
          <a:blip r:embed="rId3"/>
          <a:stretch>
            <a:fillRect/>
          </a:stretch>
        </p:blipFill>
        <p:spPr>
          <a:xfrm>
            <a:off x="-1032552" y="6043203"/>
            <a:ext cx="338511" cy="456195"/>
          </a:xfrm>
          <a:prstGeom prst="rect">
            <a:avLst/>
          </a:prstGeom>
        </p:spPr>
      </p:pic>
      <p:sp>
        <p:nvSpPr>
          <p:cNvPr id="11" name="TextBox 10">
            <a:extLst>
              <a:ext uri="{FF2B5EF4-FFF2-40B4-BE49-F238E27FC236}">
                <a16:creationId xmlns:a16="http://schemas.microsoft.com/office/drawing/2014/main" id="{35C00226-C226-7DF7-ECE7-E6D8FC036F2C}"/>
              </a:ext>
            </a:extLst>
          </p:cNvPr>
          <p:cNvSpPr txBox="1"/>
          <p:nvPr userDrawn="1"/>
        </p:nvSpPr>
        <p:spPr>
          <a:xfrm>
            <a:off x="-1558547"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0DF3BFF0-19D0-BB88-0AA7-8B56A4FFCEB7}"/>
              </a:ext>
            </a:extLst>
          </p:cNvPr>
          <p:cNvPicPr>
            <a:picLocks noChangeAspect="1"/>
          </p:cNvPicPr>
          <p:nvPr userDrawn="1"/>
        </p:nvPicPr>
        <p:blipFill>
          <a:blip r:embed="rId4"/>
          <a:srcRect t="32177"/>
          <a:stretch/>
        </p:blipFill>
        <p:spPr>
          <a:xfrm>
            <a:off x="-1404595" y="2958349"/>
            <a:ext cx="1082591" cy="836058"/>
          </a:xfrm>
          <a:prstGeom prst="rect">
            <a:avLst/>
          </a:prstGeom>
        </p:spPr>
      </p:pic>
      <p:pic>
        <p:nvPicPr>
          <p:cNvPr id="13" name="Picture 12">
            <a:extLst>
              <a:ext uri="{FF2B5EF4-FFF2-40B4-BE49-F238E27FC236}">
                <a16:creationId xmlns:a16="http://schemas.microsoft.com/office/drawing/2014/main" id="{65C70C1D-B830-BBAF-886E-F45D6EA63ED2}"/>
              </a:ext>
            </a:extLst>
          </p:cNvPr>
          <p:cNvPicPr>
            <a:picLocks noChangeAspect="1"/>
          </p:cNvPicPr>
          <p:nvPr userDrawn="1"/>
        </p:nvPicPr>
        <p:blipFill>
          <a:blip r:embed="rId5"/>
          <a:stretch>
            <a:fillRect/>
          </a:stretch>
        </p:blipFill>
        <p:spPr>
          <a:xfrm>
            <a:off x="-1082303" y="1940632"/>
            <a:ext cx="438012" cy="204850"/>
          </a:xfrm>
          <a:prstGeom prst="rect">
            <a:avLst/>
          </a:prstGeom>
        </p:spPr>
      </p:pic>
      <p:pic>
        <p:nvPicPr>
          <p:cNvPr id="14" name="Picture 13">
            <a:extLst>
              <a:ext uri="{FF2B5EF4-FFF2-40B4-BE49-F238E27FC236}">
                <a16:creationId xmlns:a16="http://schemas.microsoft.com/office/drawing/2014/main" id="{A4181AD0-0906-1111-C77B-CAF9C557BB50}"/>
              </a:ext>
            </a:extLst>
          </p:cNvPr>
          <p:cNvPicPr>
            <a:picLocks noChangeAspect="1"/>
          </p:cNvPicPr>
          <p:nvPr userDrawn="1"/>
        </p:nvPicPr>
        <p:blipFill>
          <a:blip r:embed="rId6"/>
          <a:stretch>
            <a:fillRect/>
          </a:stretch>
        </p:blipFill>
        <p:spPr>
          <a:xfrm>
            <a:off x="-1019628" y="2663645"/>
            <a:ext cx="312660" cy="201690"/>
          </a:xfrm>
          <a:prstGeom prst="rect">
            <a:avLst/>
          </a:prstGeom>
        </p:spPr>
      </p:pic>
    </p:spTree>
    <p:extLst>
      <p:ext uri="{BB962C8B-B14F-4D97-AF65-F5344CB8AC3E}">
        <p14:creationId xmlns:p14="http://schemas.microsoft.com/office/powerpoint/2010/main" val="12821525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mp; text 3">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7" y="514350"/>
            <a:ext cx="9667546" cy="432802"/>
          </a:xfrm>
        </p:spPr>
        <p:txBody>
          <a:bodyPr wrap="square" bIns="72000" anchor="t" anchorCtr="0">
            <a:spAutoFit/>
          </a:bodyPr>
          <a:lstStyle>
            <a:lvl1pPr algn="l">
              <a:defRPr sz="2600">
                <a:solidFill>
                  <a:schemeClr val="bg1"/>
                </a:solidFill>
              </a:defRPr>
            </a:lvl1pPr>
          </a:lstStyle>
          <a:p>
            <a:r>
              <a:rPr lang="en-GB"/>
              <a:t>Click to edit title</a:t>
            </a:r>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09493FB7-790C-4CDC-8181-070A2D31664A}" type="datetime1">
              <a:rPr lang="en-GB" smtClean="0"/>
              <a:t>13/05/2026</a:t>
            </a:fld>
            <a:endParaRPr lang="en-GB"/>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en-GB"/>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5" y="6494949"/>
            <a:ext cx="374699" cy="153888"/>
          </a:xfrm>
        </p:spPr>
        <p:txBody>
          <a:bodyPr/>
          <a:lstStyle>
            <a:lvl1pPr>
              <a:defRPr>
                <a:solidFill>
                  <a:schemeClr val="tx2">
                    <a:lumMod val="60000"/>
                    <a:lumOff val="40000"/>
                  </a:schemeClr>
                </a:solidFill>
              </a:defRPr>
            </a:lvl1pPr>
          </a:lstStyle>
          <a:p>
            <a:fld id="{C2F92818-9D0C-420B-84CB-20E21C25F84F}" type="slidenum">
              <a:rPr lang="en-GB" smtClean="0"/>
              <a:pPr/>
              <a:t>‹#›</a:t>
            </a:fld>
            <a:endParaRPr lang="en-GB"/>
          </a:p>
        </p:txBody>
      </p:sp>
      <p:sp>
        <p:nvSpPr>
          <p:cNvPr id="11" name="Text Placeholder 10">
            <a:extLst>
              <a:ext uri="{FF2B5EF4-FFF2-40B4-BE49-F238E27FC236}">
                <a16:creationId xmlns:a16="http://schemas.microsoft.com/office/drawing/2014/main" id="{16F6AF8C-CD28-9B1A-89E5-3665A88580D0}"/>
              </a:ext>
            </a:extLst>
          </p:cNvPr>
          <p:cNvSpPr>
            <a:spLocks noGrp="1"/>
          </p:cNvSpPr>
          <p:nvPr>
            <p:ph type="body" sz="quarter" idx="13"/>
          </p:nvPr>
        </p:nvSpPr>
        <p:spPr>
          <a:xfrm>
            <a:off x="516007" y="1440000"/>
            <a:ext cx="11161579" cy="4680000"/>
          </a:xfrm>
        </p:spPr>
        <p:txBody>
          <a:bodyPr/>
          <a:lstStyle>
            <a:lvl1pPr>
              <a:buClr>
                <a:schemeClr val="tx1"/>
              </a:buClr>
              <a:defRPr>
                <a:solidFill>
                  <a:schemeClr val="bg1"/>
                </a:solidFill>
              </a:defRPr>
            </a:lvl1pPr>
            <a:lvl2pPr>
              <a:buClr>
                <a:schemeClr val="tx1"/>
              </a:buClr>
              <a:defRPr>
                <a:solidFill>
                  <a:schemeClr val="bg1"/>
                </a:solidFill>
              </a:defRPr>
            </a:lvl2pPr>
            <a:lvl3pPr>
              <a:buClr>
                <a:schemeClr val="tx1"/>
              </a:buClr>
              <a:defRPr>
                <a:solidFill>
                  <a:schemeClr val="bg1"/>
                </a:solidFill>
              </a:defRPr>
            </a:lvl3pPr>
            <a:lvl4pPr>
              <a:buClr>
                <a:schemeClr val="tx1"/>
              </a:buClr>
              <a:defRPr>
                <a:solidFill>
                  <a:schemeClr val="bg1"/>
                </a:solidFill>
              </a:defRPr>
            </a:lvl4pPr>
            <a:lvl5pPr>
              <a:buClr>
                <a:schemeClr val="tx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5">
            <a:extLst>
              <a:ext uri="{FF2B5EF4-FFF2-40B4-BE49-F238E27FC236}">
                <a16:creationId xmlns:a16="http://schemas.microsoft.com/office/drawing/2014/main" id="{B1AB3C8C-2F94-C86A-B5FF-5E7CBC8CB745}"/>
              </a:ext>
            </a:extLst>
          </p:cNvPr>
          <p:cNvSpPr>
            <a:spLocks noGrp="1"/>
          </p:cNvSpPr>
          <p:nvPr>
            <p:ph type="body" sz="quarter" idx="26"/>
          </p:nvPr>
        </p:nvSpPr>
        <p:spPr>
          <a:xfrm>
            <a:off x="516007" y="947741"/>
            <a:ext cx="9667546"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pic>
        <p:nvPicPr>
          <p:cNvPr id="8" name="Graphic 7">
            <a:extLst>
              <a:ext uri="{FF2B5EF4-FFF2-40B4-BE49-F238E27FC236}">
                <a16:creationId xmlns:a16="http://schemas.microsoft.com/office/drawing/2014/main" id="{15154D05-DD09-C85A-C5F4-855D6176103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
        <p:nvSpPr>
          <p:cNvPr id="3" name="TextBox 2">
            <a:extLst>
              <a:ext uri="{FF2B5EF4-FFF2-40B4-BE49-F238E27FC236}">
                <a16:creationId xmlns:a16="http://schemas.microsoft.com/office/drawing/2014/main" id="{ABED896B-940B-AE04-DC24-B6C52854C6CE}"/>
              </a:ext>
            </a:extLst>
          </p:cNvPr>
          <p:cNvSpPr txBox="1"/>
          <p:nvPr userDrawn="1"/>
        </p:nvSpPr>
        <p:spPr>
          <a:xfrm>
            <a:off x="-1558545"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4D294566-014C-C114-AC32-857B49B28663}"/>
              </a:ext>
            </a:extLst>
          </p:cNvPr>
          <p:cNvPicPr>
            <a:picLocks noChangeAspect="1"/>
          </p:cNvPicPr>
          <p:nvPr userDrawn="1"/>
        </p:nvPicPr>
        <p:blipFill>
          <a:blip r:embed="rId3"/>
          <a:stretch>
            <a:fillRect/>
          </a:stretch>
        </p:blipFill>
        <p:spPr>
          <a:xfrm>
            <a:off x="-1032552" y="6043203"/>
            <a:ext cx="338511" cy="456195"/>
          </a:xfrm>
          <a:prstGeom prst="rect">
            <a:avLst/>
          </a:prstGeom>
        </p:spPr>
      </p:pic>
      <p:sp>
        <p:nvSpPr>
          <p:cNvPr id="10" name="TextBox 9">
            <a:extLst>
              <a:ext uri="{FF2B5EF4-FFF2-40B4-BE49-F238E27FC236}">
                <a16:creationId xmlns:a16="http://schemas.microsoft.com/office/drawing/2014/main" id="{6A14CC65-8058-744F-A6E3-E81F03C00EDD}"/>
              </a:ext>
            </a:extLst>
          </p:cNvPr>
          <p:cNvSpPr txBox="1"/>
          <p:nvPr userDrawn="1"/>
        </p:nvSpPr>
        <p:spPr>
          <a:xfrm>
            <a:off x="-1558547"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B8379C14-E914-F294-1D65-FE5AA348ADFC}"/>
              </a:ext>
            </a:extLst>
          </p:cNvPr>
          <p:cNvPicPr>
            <a:picLocks noChangeAspect="1"/>
          </p:cNvPicPr>
          <p:nvPr userDrawn="1"/>
        </p:nvPicPr>
        <p:blipFill>
          <a:blip r:embed="rId4"/>
          <a:srcRect t="32177"/>
          <a:stretch/>
        </p:blipFill>
        <p:spPr>
          <a:xfrm>
            <a:off x="-1404595" y="2958349"/>
            <a:ext cx="1082591" cy="836058"/>
          </a:xfrm>
          <a:prstGeom prst="rect">
            <a:avLst/>
          </a:prstGeom>
        </p:spPr>
      </p:pic>
      <p:pic>
        <p:nvPicPr>
          <p:cNvPr id="13" name="Picture 12">
            <a:extLst>
              <a:ext uri="{FF2B5EF4-FFF2-40B4-BE49-F238E27FC236}">
                <a16:creationId xmlns:a16="http://schemas.microsoft.com/office/drawing/2014/main" id="{EB152BD5-62EB-312E-EBF9-F5B9B6047F49}"/>
              </a:ext>
            </a:extLst>
          </p:cNvPr>
          <p:cNvPicPr>
            <a:picLocks noChangeAspect="1"/>
          </p:cNvPicPr>
          <p:nvPr userDrawn="1"/>
        </p:nvPicPr>
        <p:blipFill>
          <a:blip r:embed="rId5"/>
          <a:stretch>
            <a:fillRect/>
          </a:stretch>
        </p:blipFill>
        <p:spPr>
          <a:xfrm>
            <a:off x="-1082303" y="1940632"/>
            <a:ext cx="438012" cy="204850"/>
          </a:xfrm>
          <a:prstGeom prst="rect">
            <a:avLst/>
          </a:prstGeom>
        </p:spPr>
      </p:pic>
      <p:pic>
        <p:nvPicPr>
          <p:cNvPr id="14" name="Picture 13">
            <a:extLst>
              <a:ext uri="{FF2B5EF4-FFF2-40B4-BE49-F238E27FC236}">
                <a16:creationId xmlns:a16="http://schemas.microsoft.com/office/drawing/2014/main" id="{E3E243A9-EC1B-6902-4A12-DF0C224D86A4}"/>
              </a:ext>
            </a:extLst>
          </p:cNvPr>
          <p:cNvPicPr>
            <a:picLocks noChangeAspect="1"/>
          </p:cNvPicPr>
          <p:nvPr userDrawn="1"/>
        </p:nvPicPr>
        <p:blipFill>
          <a:blip r:embed="rId6"/>
          <a:stretch>
            <a:fillRect/>
          </a:stretch>
        </p:blipFill>
        <p:spPr>
          <a:xfrm>
            <a:off x="-1019628" y="2663645"/>
            <a:ext cx="312660" cy="201690"/>
          </a:xfrm>
          <a:prstGeom prst="rect">
            <a:avLst/>
          </a:prstGeom>
        </p:spPr>
      </p:pic>
    </p:spTree>
    <p:extLst>
      <p:ext uri="{BB962C8B-B14F-4D97-AF65-F5344CB8AC3E}">
        <p14:creationId xmlns:p14="http://schemas.microsoft.com/office/powerpoint/2010/main" val="40112959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text - light backgroun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F7AD35-07BE-675A-5EE9-EB28FA6DBF79}"/>
              </a:ext>
            </a:extLst>
          </p:cNvPr>
          <p:cNvSpPr/>
          <p:nvPr userDrawn="1"/>
        </p:nvSpPr>
        <p:spPr>
          <a:xfrm>
            <a:off x="0" y="1440000"/>
            <a:ext cx="12193588" cy="5418000"/>
          </a:xfrm>
          <a:prstGeom prst="rect">
            <a:avLst/>
          </a:prstGeom>
          <a:solidFill>
            <a:srgbClr val="EBF1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7" y="514350"/>
            <a:ext cx="9667546" cy="432802"/>
          </a:xfrm>
        </p:spPr>
        <p:txBody>
          <a:bodyPr wrap="square" bIns="72000" anchor="t" anchorCtr="0">
            <a:spAutoFit/>
          </a:bodyPr>
          <a:lstStyle>
            <a:lvl1pPr algn="l">
              <a:defRPr sz="2600">
                <a:solidFill>
                  <a:schemeClr val="tx1"/>
                </a:solidFill>
              </a:defRPr>
            </a:lvl1pPr>
          </a:lstStyle>
          <a:p>
            <a:r>
              <a:rPr lang="en-GB"/>
              <a:t>Click to edit title</a:t>
            </a:r>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tx1"/>
                </a:solidFill>
              </a:defRPr>
            </a:lvl1pPr>
          </a:lstStyle>
          <a:p>
            <a:fld id="{65E492F5-87FF-452D-A2C2-DE878D09D810}" type="datetime1">
              <a:rPr lang="en-GB" smtClean="0"/>
              <a:t>13/05/2026</a:t>
            </a:fld>
            <a:endParaRPr lang="en-GB"/>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en-GB"/>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5" y="6494949"/>
            <a:ext cx="374699" cy="153888"/>
          </a:xfrm>
        </p:spPr>
        <p:txBody>
          <a:bodyPr/>
          <a:lstStyle>
            <a:lvl1pPr>
              <a:defRPr>
                <a:solidFill>
                  <a:schemeClr val="tx2">
                    <a:lumMod val="60000"/>
                    <a:lumOff val="40000"/>
                  </a:schemeClr>
                </a:solidFill>
              </a:defRPr>
            </a:lvl1pPr>
          </a:lstStyle>
          <a:p>
            <a:fld id="{C2F92818-9D0C-420B-84CB-20E21C25F84F}" type="slidenum">
              <a:rPr lang="en-GB" smtClean="0"/>
              <a:pPr/>
              <a:t>‹#›</a:t>
            </a:fld>
            <a:endParaRPr lang="en-GB"/>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7" y="1656000"/>
            <a:ext cx="11161579" cy="446400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7" y="947741"/>
            <a:ext cx="9667546"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pic>
        <p:nvPicPr>
          <p:cNvPr id="9" name="Graphic 8">
            <a:extLst>
              <a:ext uri="{FF2B5EF4-FFF2-40B4-BE49-F238E27FC236}">
                <a16:creationId xmlns:a16="http://schemas.microsoft.com/office/drawing/2014/main" id="{39DC7169-8B85-CEDE-7370-051A4A5BF2F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
        <p:nvSpPr>
          <p:cNvPr id="11" name="TextBox 10">
            <a:extLst>
              <a:ext uri="{FF2B5EF4-FFF2-40B4-BE49-F238E27FC236}">
                <a16:creationId xmlns:a16="http://schemas.microsoft.com/office/drawing/2014/main" id="{DAC1EDCE-9759-281B-ABFC-9696AC7C51F9}"/>
              </a:ext>
            </a:extLst>
          </p:cNvPr>
          <p:cNvSpPr txBox="1"/>
          <p:nvPr userDrawn="1"/>
        </p:nvSpPr>
        <p:spPr>
          <a:xfrm>
            <a:off x="-1558545"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2" name="Picture 11">
            <a:extLst>
              <a:ext uri="{FF2B5EF4-FFF2-40B4-BE49-F238E27FC236}">
                <a16:creationId xmlns:a16="http://schemas.microsoft.com/office/drawing/2014/main" id="{C8F224C3-3685-9F99-D43B-C0F2BAF60B8E}"/>
              </a:ext>
            </a:extLst>
          </p:cNvPr>
          <p:cNvPicPr>
            <a:picLocks noChangeAspect="1"/>
          </p:cNvPicPr>
          <p:nvPr userDrawn="1"/>
        </p:nvPicPr>
        <p:blipFill>
          <a:blip r:embed="rId3"/>
          <a:stretch>
            <a:fillRect/>
          </a:stretch>
        </p:blipFill>
        <p:spPr>
          <a:xfrm>
            <a:off x="-1032552" y="6043203"/>
            <a:ext cx="338511" cy="456195"/>
          </a:xfrm>
          <a:prstGeom prst="rect">
            <a:avLst/>
          </a:prstGeom>
        </p:spPr>
      </p:pic>
      <p:sp>
        <p:nvSpPr>
          <p:cNvPr id="13" name="TextBox 12">
            <a:extLst>
              <a:ext uri="{FF2B5EF4-FFF2-40B4-BE49-F238E27FC236}">
                <a16:creationId xmlns:a16="http://schemas.microsoft.com/office/drawing/2014/main" id="{30503A48-5461-7D08-431F-02542CD126A9}"/>
              </a:ext>
            </a:extLst>
          </p:cNvPr>
          <p:cNvSpPr txBox="1"/>
          <p:nvPr userDrawn="1"/>
        </p:nvSpPr>
        <p:spPr>
          <a:xfrm>
            <a:off x="-1558547"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4" name="Picture 13">
            <a:extLst>
              <a:ext uri="{FF2B5EF4-FFF2-40B4-BE49-F238E27FC236}">
                <a16:creationId xmlns:a16="http://schemas.microsoft.com/office/drawing/2014/main" id="{FBFE9543-7CBF-0289-67C7-7B848680BBBF}"/>
              </a:ext>
            </a:extLst>
          </p:cNvPr>
          <p:cNvPicPr>
            <a:picLocks noChangeAspect="1"/>
          </p:cNvPicPr>
          <p:nvPr userDrawn="1"/>
        </p:nvPicPr>
        <p:blipFill>
          <a:blip r:embed="rId4"/>
          <a:srcRect t="32177"/>
          <a:stretch/>
        </p:blipFill>
        <p:spPr>
          <a:xfrm>
            <a:off x="-1404595" y="2958349"/>
            <a:ext cx="1082591" cy="836058"/>
          </a:xfrm>
          <a:prstGeom prst="rect">
            <a:avLst/>
          </a:prstGeom>
        </p:spPr>
      </p:pic>
      <p:pic>
        <p:nvPicPr>
          <p:cNvPr id="15" name="Picture 14">
            <a:extLst>
              <a:ext uri="{FF2B5EF4-FFF2-40B4-BE49-F238E27FC236}">
                <a16:creationId xmlns:a16="http://schemas.microsoft.com/office/drawing/2014/main" id="{2636F492-53C9-6EF4-F9F8-F0677B25A423}"/>
              </a:ext>
            </a:extLst>
          </p:cNvPr>
          <p:cNvPicPr>
            <a:picLocks noChangeAspect="1"/>
          </p:cNvPicPr>
          <p:nvPr userDrawn="1"/>
        </p:nvPicPr>
        <p:blipFill>
          <a:blip r:embed="rId5"/>
          <a:stretch>
            <a:fillRect/>
          </a:stretch>
        </p:blipFill>
        <p:spPr>
          <a:xfrm>
            <a:off x="-1082303" y="1940632"/>
            <a:ext cx="438012" cy="204850"/>
          </a:xfrm>
          <a:prstGeom prst="rect">
            <a:avLst/>
          </a:prstGeom>
        </p:spPr>
      </p:pic>
      <p:pic>
        <p:nvPicPr>
          <p:cNvPr id="16" name="Picture 15">
            <a:extLst>
              <a:ext uri="{FF2B5EF4-FFF2-40B4-BE49-F238E27FC236}">
                <a16:creationId xmlns:a16="http://schemas.microsoft.com/office/drawing/2014/main" id="{4FE64523-E296-B93F-4467-10EE00D6D7A7}"/>
              </a:ext>
            </a:extLst>
          </p:cNvPr>
          <p:cNvPicPr>
            <a:picLocks noChangeAspect="1"/>
          </p:cNvPicPr>
          <p:nvPr userDrawn="1"/>
        </p:nvPicPr>
        <p:blipFill>
          <a:blip r:embed="rId6"/>
          <a:stretch>
            <a:fillRect/>
          </a:stretch>
        </p:blipFill>
        <p:spPr>
          <a:xfrm>
            <a:off x="-1019628" y="2663645"/>
            <a:ext cx="312660" cy="201690"/>
          </a:xfrm>
          <a:prstGeom prst="rect">
            <a:avLst/>
          </a:prstGeom>
        </p:spPr>
      </p:pic>
    </p:spTree>
    <p:extLst>
      <p:ext uri="{BB962C8B-B14F-4D97-AF65-F5344CB8AC3E}">
        <p14:creationId xmlns:p14="http://schemas.microsoft.com/office/powerpoint/2010/main" val="35235805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mp; text - dark backgroun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F7AD35-07BE-675A-5EE9-EB28FA6DBF79}"/>
              </a:ext>
            </a:extLst>
          </p:cNvPr>
          <p:cNvSpPr/>
          <p:nvPr userDrawn="1"/>
        </p:nvSpPr>
        <p:spPr>
          <a:xfrm>
            <a:off x="0" y="1440000"/>
            <a:ext cx="12193588" cy="541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7" y="514350"/>
            <a:ext cx="9667546" cy="432802"/>
          </a:xfrm>
        </p:spPr>
        <p:txBody>
          <a:bodyPr wrap="square" bIns="72000" anchor="t" anchorCtr="0">
            <a:spAutoFit/>
          </a:bodyPr>
          <a:lstStyle>
            <a:lvl1pPr algn="l">
              <a:defRPr sz="2600">
                <a:solidFill>
                  <a:schemeClr val="tx1"/>
                </a:solidFill>
              </a:defRPr>
            </a:lvl1pPr>
          </a:lstStyle>
          <a:p>
            <a:r>
              <a:rPr lang="en-GB"/>
              <a:t>Click to edit title</a:t>
            </a:r>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3845813B-62B4-4BF6-BD31-C35585B08784}" type="datetime1">
              <a:rPr lang="en-GB" smtClean="0"/>
              <a:t>13/05/2026</a:t>
            </a:fld>
            <a:endParaRPr lang="en-GB"/>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en-GB"/>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4472" y="6494949"/>
            <a:ext cx="374699" cy="153888"/>
          </a:xfrm>
        </p:spPr>
        <p:txBody>
          <a:bodyPr/>
          <a:lstStyle>
            <a:lvl1pPr algn="r">
              <a:defRPr>
                <a:solidFill>
                  <a:schemeClr val="tx2">
                    <a:lumMod val="60000"/>
                    <a:lumOff val="40000"/>
                  </a:schemeClr>
                </a:solidFill>
              </a:defRPr>
            </a:lvl1pPr>
          </a:lstStyle>
          <a:p>
            <a:fld id="{C2F92818-9D0C-420B-84CB-20E21C25F84F}" type="slidenum">
              <a:rPr lang="en-GB" smtClean="0"/>
              <a:pPr/>
              <a:t>‹#›</a:t>
            </a:fld>
            <a:endParaRPr lang="en-GB"/>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7" y="1656000"/>
            <a:ext cx="11161579" cy="4464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7" y="947741"/>
            <a:ext cx="9667546"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pic>
        <p:nvPicPr>
          <p:cNvPr id="11" name="Graphic 10">
            <a:extLst>
              <a:ext uri="{FF2B5EF4-FFF2-40B4-BE49-F238E27FC236}">
                <a16:creationId xmlns:a16="http://schemas.microsoft.com/office/drawing/2014/main" id="{ADC0A9E1-1549-C303-148D-86A70CA050FA}"/>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
        <p:nvSpPr>
          <p:cNvPr id="9" name="TextBox 8">
            <a:extLst>
              <a:ext uri="{FF2B5EF4-FFF2-40B4-BE49-F238E27FC236}">
                <a16:creationId xmlns:a16="http://schemas.microsoft.com/office/drawing/2014/main" id="{74C06C06-FBD5-68AB-93E0-39E6BAF78AE4}"/>
              </a:ext>
            </a:extLst>
          </p:cNvPr>
          <p:cNvSpPr txBox="1"/>
          <p:nvPr userDrawn="1"/>
        </p:nvSpPr>
        <p:spPr>
          <a:xfrm>
            <a:off x="-1558545"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2" name="Picture 11">
            <a:extLst>
              <a:ext uri="{FF2B5EF4-FFF2-40B4-BE49-F238E27FC236}">
                <a16:creationId xmlns:a16="http://schemas.microsoft.com/office/drawing/2014/main" id="{25CB06FE-F5E5-80F2-05D3-827D75F5B745}"/>
              </a:ext>
            </a:extLst>
          </p:cNvPr>
          <p:cNvPicPr>
            <a:picLocks noChangeAspect="1"/>
          </p:cNvPicPr>
          <p:nvPr userDrawn="1"/>
        </p:nvPicPr>
        <p:blipFill>
          <a:blip r:embed="rId3"/>
          <a:stretch>
            <a:fillRect/>
          </a:stretch>
        </p:blipFill>
        <p:spPr>
          <a:xfrm>
            <a:off x="-1032552" y="6043203"/>
            <a:ext cx="338511" cy="456195"/>
          </a:xfrm>
          <a:prstGeom prst="rect">
            <a:avLst/>
          </a:prstGeom>
        </p:spPr>
      </p:pic>
      <p:sp>
        <p:nvSpPr>
          <p:cNvPr id="13" name="TextBox 12">
            <a:extLst>
              <a:ext uri="{FF2B5EF4-FFF2-40B4-BE49-F238E27FC236}">
                <a16:creationId xmlns:a16="http://schemas.microsoft.com/office/drawing/2014/main" id="{1E441848-DB0B-436B-4C8C-48ACBD36CB3D}"/>
              </a:ext>
            </a:extLst>
          </p:cNvPr>
          <p:cNvSpPr txBox="1"/>
          <p:nvPr userDrawn="1"/>
        </p:nvSpPr>
        <p:spPr>
          <a:xfrm>
            <a:off x="-1558547"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4" name="Picture 13">
            <a:extLst>
              <a:ext uri="{FF2B5EF4-FFF2-40B4-BE49-F238E27FC236}">
                <a16:creationId xmlns:a16="http://schemas.microsoft.com/office/drawing/2014/main" id="{34D3F1FB-44CC-2FFF-0F51-1D9057EB18BE}"/>
              </a:ext>
            </a:extLst>
          </p:cNvPr>
          <p:cNvPicPr>
            <a:picLocks noChangeAspect="1"/>
          </p:cNvPicPr>
          <p:nvPr userDrawn="1"/>
        </p:nvPicPr>
        <p:blipFill>
          <a:blip r:embed="rId4"/>
          <a:srcRect t="32177"/>
          <a:stretch/>
        </p:blipFill>
        <p:spPr>
          <a:xfrm>
            <a:off x="-1404595" y="2958349"/>
            <a:ext cx="1082591" cy="836058"/>
          </a:xfrm>
          <a:prstGeom prst="rect">
            <a:avLst/>
          </a:prstGeom>
        </p:spPr>
      </p:pic>
      <p:pic>
        <p:nvPicPr>
          <p:cNvPr id="15" name="Picture 14">
            <a:extLst>
              <a:ext uri="{FF2B5EF4-FFF2-40B4-BE49-F238E27FC236}">
                <a16:creationId xmlns:a16="http://schemas.microsoft.com/office/drawing/2014/main" id="{9C69F818-4B7C-1DF0-394D-0B0F938BD053}"/>
              </a:ext>
            </a:extLst>
          </p:cNvPr>
          <p:cNvPicPr>
            <a:picLocks noChangeAspect="1"/>
          </p:cNvPicPr>
          <p:nvPr userDrawn="1"/>
        </p:nvPicPr>
        <p:blipFill>
          <a:blip r:embed="rId5"/>
          <a:stretch>
            <a:fillRect/>
          </a:stretch>
        </p:blipFill>
        <p:spPr>
          <a:xfrm>
            <a:off x="-1082303" y="1940632"/>
            <a:ext cx="438012" cy="204850"/>
          </a:xfrm>
          <a:prstGeom prst="rect">
            <a:avLst/>
          </a:prstGeom>
        </p:spPr>
      </p:pic>
      <p:pic>
        <p:nvPicPr>
          <p:cNvPr id="16" name="Picture 15">
            <a:extLst>
              <a:ext uri="{FF2B5EF4-FFF2-40B4-BE49-F238E27FC236}">
                <a16:creationId xmlns:a16="http://schemas.microsoft.com/office/drawing/2014/main" id="{F028DE18-1375-B647-B110-60BC4F4E8B55}"/>
              </a:ext>
            </a:extLst>
          </p:cNvPr>
          <p:cNvPicPr>
            <a:picLocks noChangeAspect="1"/>
          </p:cNvPicPr>
          <p:nvPr userDrawn="1"/>
        </p:nvPicPr>
        <p:blipFill>
          <a:blip r:embed="rId6"/>
          <a:stretch>
            <a:fillRect/>
          </a:stretch>
        </p:blipFill>
        <p:spPr>
          <a:xfrm>
            <a:off x="-1019628" y="2663645"/>
            <a:ext cx="312660" cy="201690"/>
          </a:xfrm>
          <a:prstGeom prst="rect">
            <a:avLst/>
          </a:prstGeom>
        </p:spPr>
      </p:pic>
    </p:spTree>
    <p:extLst>
      <p:ext uri="{BB962C8B-B14F-4D97-AF65-F5344CB8AC3E}">
        <p14:creationId xmlns:p14="http://schemas.microsoft.com/office/powerpoint/2010/main" val="25923753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7" name="Rectangle 6">
            <a:extLst>
              <a:ext uri="{FF2B5EF4-FFF2-40B4-BE49-F238E27FC236}">
                <a16:creationId xmlns:a16="http://schemas.microsoft.com/office/drawing/2014/main" id="{9DB270F1-B40D-2246-A956-F1D47E227370}"/>
              </a:ext>
            </a:extLst>
          </p:cNvPr>
          <p:cNvSpPr/>
          <p:nvPr userDrawn="1"/>
        </p:nvSpPr>
        <p:spPr>
          <a:xfrm>
            <a:off x="0" y="1458000"/>
            <a:ext cx="12193588" cy="54675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2" name="Title 1">
            <a:extLst>
              <a:ext uri="{FF2B5EF4-FFF2-40B4-BE49-F238E27FC236}">
                <a16:creationId xmlns:a16="http://schemas.microsoft.com/office/drawing/2014/main" id="{C48E50A3-CD8F-C800-8D64-A2446E516B96}"/>
              </a:ext>
            </a:extLst>
          </p:cNvPr>
          <p:cNvSpPr>
            <a:spLocks noGrp="1"/>
          </p:cNvSpPr>
          <p:nvPr>
            <p:ph type="title"/>
          </p:nvPr>
        </p:nvSpPr>
        <p:spPr>
          <a:xfrm>
            <a:off x="565459" y="552715"/>
            <a:ext cx="10017711" cy="360099"/>
          </a:xfrm>
        </p:spPr>
        <p:txBody>
          <a:bodyPr/>
          <a:lstStyle>
            <a:lvl1pPr>
              <a:defRPr sz="2600">
                <a:solidFill>
                  <a:schemeClr val="tx1"/>
                </a:solidFill>
              </a:defRPr>
            </a:lvl1pPr>
          </a:lstStyle>
          <a:p>
            <a:r>
              <a:rPr lang="en-US"/>
              <a:t>Click to edit Master title style</a:t>
            </a:r>
          </a:p>
        </p:txBody>
      </p:sp>
      <p:sp>
        <p:nvSpPr>
          <p:cNvPr id="3" name="Text Placeholder 9">
            <a:extLst>
              <a:ext uri="{FF2B5EF4-FFF2-40B4-BE49-F238E27FC236}">
                <a16:creationId xmlns:a16="http://schemas.microsoft.com/office/drawing/2014/main" id="{BEEB4D7A-3FF8-2422-96A4-39526DE5BA7E}"/>
              </a:ext>
            </a:extLst>
          </p:cNvPr>
          <p:cNvSpPr>
            <a:spLocks noGrp="1"/>
          </p:cNvSpPr>
          <p:nvPr>
            <p:ph type="body" sz="quarter" idx="11"/>
          </p:nvPr>
        </p:nvSpPr>
        <p:spPr>
          <a:xfrm>
            <a:off x="565459"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4" name="Graphic 3">
            <a:extLst>
              <a:ext uri="{FF2B5EF4-FFF2-40B4-BE49-F238E27FC236}">
                <a16:creationId xmlns:a16="http://schemas.microsoft.com/office/drawing/2014/main" id="{40181458-0DB7-A244-974A-9FC235D231C3}"/>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
        <p:nvSpPr>
          <p:cNvPr id="6" name="TextBox 5">
            <a:extLst>
              <a:ext uri="{FF2B5EF4-FFF2-40B4-BE49-F238E27FC236}">
                <a16:creationId xmlns:a16="http://schemas.microsoft.com/office/drawing/2014/main" id="{9B522204-5C1B-C435-9D49-C122DC1E255D}"/>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Tree>
    <p:extLst>
      <p:ext uri="{BB962C8B-B14F-4D97-AF65-F5344CB8AC3E}">
        <p14:creationId xmlns:p14="http://schemas.microsoft.com/office/powerpoint/2010/main" val="1924480569"/>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ext &amp; image right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5227881" cy="432802"/>
          </a:xfrm>
        </p:spPr>
        <p:txBody>
          <a:bodyPr wrap="square" bIns="72000" anchor="t" anchorCtr="0">
            <a:spAutoFit/>
          </a:bodyPr>
          <a:lstStyle>
            <a:lvl1pPr algn="l">
              <a:defRPr sz="2600">
                <a:solidFill>
                  <a:schemeClr val="tx1"/>
                </a:solidFill>
              </a:defRPr>
            </a:lvl1pPr>
          </a:lstStyle>
          <a:p>
            <a:r>
              <a:rPr lang="en-GB"/>
              <a:t>Click to edit title</a:t>
            </a:r>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tx1"/>
                </a:solidFill>
              </a:defRPr>
            </a:lvl1pPr>
          </a:lstStyle>
          <a:p>
            <a:fld id="{75C9498C-C887-4DDE-BBB6-11A8233073D5}" type="datetime1">
              <a:rPr lang="en-GB" smtClean="0"/>
              <a:t>13/05/2026</a:t>
            </a:fld>
            <a:endParaRPr lang="en-GB"/>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en-GB"/>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4472" y="6494949"/>
            <a:ext cx="374699" cy="153888"/>
          </a:xfrm>
        </p:spPr>
        <p:txBody>
          <a:bodyPr/>
          <a:lstStyle>
            <a:lvl1pPr>
              <a:defRPr>
                <a:solidFill>
                  <a:schemeClr val="tx2">
                    <a:lumMod val="60000"/>
                    <a:lumOff val="40000"/>
                  </a:schemeClr>
                </a:solidFill>
              </a:defRPr>
            </a:lvl1pPr>
          </a:lstStyle>
          <a:p>
            <a:fld id="{C2F92818-9D0C-420B-84CB-20E21C25F84F}" type="slidenum">
              <a:rPr lang="en-GB" smtClean="0"/>
              <a:pPr/>
              <a:t>‹#›</a:t>
            </a:fld>
            <a:endParaRPr lang="en-GB"/>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5" y="1440000"/>
            <a:ext cx="5227881" cy="468000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6" y="947741"/>
            <a:ext cx="5227881"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8" name="Picture Placeholder 15">
            <a:extLst>
              <a:ext uri="{FF2B5EF4-FFF2-40B4-BE49-F238E27FC236}">
                <a16:creationId xmlns:a16="http://schemas.microsoft.com/office/drawing/2014/main" id="{C97B6A17-A79B-2D2E-B5FE-BF99F760DB3B}"/>
              </a:ext>
            </a:extLst>
          </p:cNvPr>
          <p:cNvSpPr>
            <a:spLocks noGrp="1"/>
          </p:cNvSpPr>
          <p:nvPr>
            <p:ph type="pic" sz="quarter" idx="27" hasCustomPrompt="1"/>
          </p:nvPr>
        </p:nvSpPr>
        <p:spPr>
          <a:xfrm>
            <a:off x="6096794" y="0"/>
            <a:ext cx="6096794" cy="6858000"/>
          </a:xfrm>
        </p:spPr>
        <p:txBody>
          <a:bodyPr tIns="504000"/>
          <a:lstStyle>
            <a:lvl1pPr marL="0" indent="0" algn="ctr">
              <a:buNone/>
              <a:defRPr>
                <a:solidFill>
                  <a:schemeClr val="tx1"/>
                </a:solidFill>
              </a:defRPr>
            </a:lvl1pPr>
          </a:lstStyle>
          <a:p>
            <a:r>
              <a:rPr lang="en-GB"/>
              <a:t>Click to insert picture</a:t>
            </a:r>
          </a:p>
        </p:txBody>
      </p:sp>
      <p:sp>
        <p:nvSpPr>
          <p:cNvPr id="3" name="TextBox 2">
            <a:extLst>
              <a:ext uri="{FF2B5EF4-FFF2-40B4-BE49-F238E27FC236}">
                <a16:creationId xmlns:a16="http://schemas.microsoft.com/office/drawing/2014/main" id="{84F3970D-5128-14BA-B1FB-5F4F6F624D53}"/>
              </a:ext>
            </a:extLst>
          </p:cNvPr>
          <p:cNvSpPr txBox="1"/>
          <p:nvPr userDrawn="1"/>
        </p:nvSpPr>
        <p:spPr>
          <a:xfrm>
            <a:off x="-1558545"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D00168CC-6D4A-D3D9-D2FB-2068273EE7B8}"/>
              </a:ext>
            </a:extLst>
          </p:cNvPr>
          <p:cNvPicPr>
            <a:picLocks noChangeAspect="1"/>
          </p:cNvPicPr>
          <p:nvPr userDrawn="1"/>
        </p:nvPicPr>
        <p:blipFill>
          <a:blip r:embed="rId2"/>
          <a:stretch>
            <a:fillRect/>
          </a:stretch>
        </p:blipFill>
        <p:spPr>
          <a:xfrm>
            <a:off x="-1032552" y="6043203"/>
            <a:ext cx="338511" cy="456195"/>
          </a:xfrm>
          <a:prstGeom prst="rect">
            <a:avLst/>
          </a:prstGeom>
        </p:spPr>
      </p:pic>
      <p:sp>
        <p:nvSpPr>
          <p:cNvPr id="11" name="TextBox 10">
            <a:extLst>
              <a:ext uri="{FF2B5EF4-FFF2-40B4-BE49-F238E27FC236}">
                <a16:creationId xmlns:a16="http://schemas.microsoft.com/office/drawing/2014/main" id="{9A653868-CBCA-D554-5074-77C05A70D81D}"/>
              </a:ext>
            </a:extLst>
          </p:cNvPr>
          <p:cNvSpPr txBox="1"/>
          <p:nvPr userDrawn="1"/>
        </p:nvSpPr>
        <p:spPr>
          <a:xfrm>
            <a:off x="-1558547"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9B84FFF2-670D-0134-15EC-875872153D81}"/>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3" name="Picture 12">
            <a:extLst>
              <a:ext uri="{FF2B5EF4-FFF2-40B4-BE49-F238E27FC236}">
                <a16:creationId xmlns:a16="http://schemas.microsoft.com/office/drawing/2014/main" id="{15BE3979-AFCB-5DA2-10C0-817672643630}"/>
              </a:ext>
            </a:extLst>
          </p:cNvPr>
          <p:cNvPicPr>
            <a:picLocks noChangeAspect="1"/>
          </p:cNvPicPr>
          <p:nvPr userDrawn="1"/>
        </p:nvPicPr>
        <p:blipFill>
          <a:blip r:embed="rId4"/>
          <a:stretch>
            <a:fillRect/>
          </a:stretch>
        </p:blipFill>
        <p:spPr>
          <a:xfrm>
            <a:off x="-1082303" y="1940632"/>
            <a:ext cx="438012" cy="204850"/>
          </a:xfrm>
          <a:prstGeom prst="rect">
            <a:avLst/>
          </a:prstGeom>
        </p:spPr>
      </p:pic>
      <p:pic>
        <p:nvPicPr>
          <p:cNvPr id="14" name="Picture 13">
            <a:extLst>
              <a:ext uri="{FF2B5EF4-FFF2-40B4-BE49-F238E27FC236}">
                <a16:creationId xmlns:a16="http://schemas.microsoft.com/office/drawing/2014/main" id="{507290C6-5BB3-A722-EC2A-571B728C0B39}"/>
              </a:ext>
            </a:extLst>
          </p:cNvPr>
          <p:cNvPicPr>
            <a:picLocks noChangeAspect="1"/>
          </p:cNvPicPr>
          <p:nvPr userDrawn="1"/>
        </p:nvPicPr>
        <p:blipFill>
          <a:blip r:embed="rId5"/>
          <a:stretch>
            <a:fillRect/>
          </a:stretch>
        </p:blipFill>
        <p:spPr>
          <a:xfrm>
            <a:off x="-1019628" y="2663645"/>
            <a:ext cx="312660" cy="201690"/>
          </a:xfrm>
          <a:prstGeom prst="rect">
            <a:avLst/>
          </a:prstGeom>
        </p:spPr>
      </p:pic>
      <p:sp>
        <p:nvSpPr>
          <p:cNvPr id="15" name="TextBox 14">
            <a:extLst>
              <a:ext uri="{FF2B5EF4-FFF2-40B4-BE49-F238E27FC236}">
                <a16:creationId xmlns:a16="http://schemas.microsoft.com/office/drawing/2014/main" id="{39B20A6E-C3BD-9548-DBF8-B76CC54AFC6E}"/>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6051662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ext &amp; image right - Dark Blue">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A1B5EA6-A0E2-3B9F-59B0-74E42BD02B54}"/>
              </a:ext>
            </a:extLst>
          </p:cNvPr>
          <p:cNvSpPr/>
          <p:nvPr userDrawn="1"/>
        </p:nvSpPr>
        <p:spPr>
          <a:xfrm>
            <a:off x="0" y="0"/>
            <a:ext cx="6096794"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5" y="514350"/>
            <a:ext cx="5227881" cy="432802"/>
          </a:xfrm>
        </p:spPr>
        <p:txBody>
          <a:bodyPr wrap="square" bIns="72000" anchor="t" anchorCtr="0">
            <a:spAutoFit/>
          </a:bodyPr>
          <a:lstStyle>
            <a:lvl1pPr algn="l">
              <a:defRPr sz="2600">
                <a:solidFill>
                  <a:schemeClr val="bg1"/>
                </a:solidFill>
              </a:defRPr>
            </a:lvl1pPr>
          </a:lstStyle>
          <a:p>
            <a:r>
              <a:rPr lang="en-GB"/>
              <a:t>Click to edit title</a:t>
            </a:r>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44BE302C-6065-4093-AFFE-5D21B91BF0FC}" type="datetime1">
              <a:rPr lang="en-GB" smtClean="0"/>
              <a:t>13/05/2026</a:t>
            </a:fld>
            <a:endParaRPr lang="en-GB"/>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en-GB"/>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5" y="1440000"/>
            <a:ext cx="5227881" cy="4680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516005" y="947741"/>
            <a:ext cx="5227881"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8" name="Picture Placeholder 15">
            <a:extLst>
              <a:ext uri="{FF2B5EF4-FFF2-40B4-BE49-F238E27FC236}">
                <a16:creationId xmlns:a16="http://schemas.microsoft.com/office/drawing/2014/main" id="{D0F135B0-EEDC-1771-A31F-233B18D7E883}"/>
              </a:ext>
            </a:extLst>
          </p:cNvPr>
          <p:cNvSpPr>
            <a:spLocks noGrp="1"/>
          </p:cNvSpPr>
          <p:nvPr>
            <p:ph type="pic" sz="quarter" idx="27" hasCustomPrompt="1"/>
          </p:nvPr>
        </p:nvSpPr>
        <p:spPr>
          <a:xfrm>
            <a:off x="6096794" y="0"/>
            <a:ext cx="6096794" cy="6858000"/>
          </a:xfrm>
        </p:spPr>
        <p:txBody>
          <a:bodyPr tIns="504000"/>
          <a:lstStyle>
            <a:lvl1pPr marL="0" indent="0" algn="ctr">
              <a:buNone/>
              <a:defRPr>
                <a:solidFill>
                  <a:schemeClr val="tx1"/>
                </a:solidFill>
              </a:defRPr>
            </a:lvl1pPr>
          </a:lstStyle>
          <a:p>
            <a:r>
              <a:rPr lang="en-GB"/>
              <a:t>Click to insert picture</a:t>
            </a:r>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5" y="6494949"/>
            <a:ext cx="374699" cy="153888"/>
          </a:xfrm>
        </p:spPr>
        <p:txBody>
          <a:bodyPr/>
          <a:lstStyle>
            <a:lvl1pPr>
              <a:defRPr>
                <a:solidFill>
                  <a:schemeClr val="tx2">
                    <a:lumMod val="60000"/>
                    <a:lumOff val="40000"/>
                  </a:schemeClr>
                </a:solidFill>
              </a:defRPr>
            </a:lvl1pPr>
          </a:lstStyle>
          <a:p>
            <a:fld id="{C2F92818-9D0C-420B-84CB-20E21C25F84F}" type="slidenum">
              <a:rPr lang="en-GB" smtClean="0"/>
              <a:pPr/>
              <a:t>‹#›</a:t>
            </a:fld>
            <a:endParaRPr lang="en-GB"/>
          </a:p>
        </p:txBody>
      </p:sp>
      <p:sp>
        <p:nvSpPr>
          <p:cNvPr id="3" name="TextBox 2">
            <a:extLst>
              <a:ext uri="{FF2B5EF4-FFF2-40B4-BE49-F238E27FC236}">
                <a16:creationId xmlns:a16="http://schemas.microsoft.com/office/drawing/2014/main" id="{ABAC40BB-B2C0-10EF-905E-778852D5348D}"/>
              </a:ext>
            </a:extLst>
          </p:cNvPr>
          <p:cNvSpPr txBox="1"/>
          <p:nvPr userDrawn="1"/>
        </p:nvSpPr>
        <p:spPr>
          <a:xfrm>
            <a:off x="-1558545"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1" name="Picture 10">
            <a:extLst>
              <a:ext uri="{FF2B5EF4-FFF2-40B4-BE49-F238E27FC236}">
                <a16:creationId xmlns:a16="http://schemas.microsoft.com/office/drawing/2014/main" id="{B09EEFC4-204E-9065-6674-EEF4F8C023F9}"/>
              </a:ext>
            </a:extLst>
          </p:cNvPr>
          <p:cNvPicPr>
            <a:picLocks noChangeAspect="1"/>
          </p:cNvPicPr>
          <p:nvPr userDrawn="1"/>
        </p:nvPicPr>
        <p:blipFill>
          <a:blip r:embed="rId2"/>
          <a:stretch>
            <a:fillRect/>
          </a:stretch>
        </p:blipFill>
        <p:spPr>
          <a:xfrm>
            <a:off x="-1032552" y="6043203"/>
            <a:ext cx="338511" cy="456195"/>
          </a:xfrm>
          <a:prstGeom prst="rect">
            <a:avLst/>
          </a:prstGeom>
        </p:spPr>
      </p:pic>
      <p:sp>
        <p:nvSpPr>
          <p:cNvPr id="12" name="TextBox 11">
            <a:extLst>
              <a:ext uri="{FF2B5EF4-FFF2-40B4-BE49-F238E27FC236}">
                <a16:creationId xmlns:a16="http://schemas.microsoft.com/office/drawing/2014/main" id="{812A2870-86FB-3D69-F801-C366E6398B6C}"/>
              </a:ext>
            </a:extLst>
          </p:cNvPr>
          <p:cNvSpPr txBox="1"/>
          <p:nvPr userDrawn="1"/>
        </p:nvSpPr>
        <p:spPr>
          <a:xfrm>
            <a:off x="-1558547"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3" name="Picture 12">
            <a:extLst>
              <a:ext uri="{FF2B5EF4-FFF2-40B4-BE49-F238E27FC236}">
                <a16:creationId xmlns:a16="http://schemas.microsoft.com/office/drawing/2014/main" id="{04D759B6-9C7C-4D35-6158-8272598C3D2B}"/>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4" name="Picture 13">
            <a:extLst>
              <a:ext uri="{FF2B5EF4-FFF2-40B4-BE49-F238E27FC236}">
                <a16:creationId xmlns:a16="http://schemas.microsoft.com/office/drawing/2014/main" id="{9B43CBAE-93F0-D92F-D62C-5611344AE9E2}"/>
              </a:ext>
            </a:extLst>
          </p:cNvPr>
          <p:cNvPicPr>
            <a:picLocks noChangeAspect="1"/>
          </p:cNvPicPr>
          <p:nvPr userDrawn="1"/>
        </p:nvPicPr>
        <p:blipFill>
          <a:blip r:embed="rId4"/>
          <a:stretch>
            <a:fillRect/>
          </a:stretch>
        </p:blipFill>
        <p:spPr>
          <a:xfrm>
            <a:off x="-1082303" y="1940632"/>
            <a:ext cx="438012" cy="204850"/>
          </a:xfrm>
          <a:prstGeom prst="rect">
            <a:avLst/>
          </a:prstGeom>
        </p:spPr>
      </p:pic>
      <p:pic>
        <p:nvPicPr>
          <p:cNvPr id="15" name="Picture 14">
            <a:extLst>
              <a:ext uri="{FF2B5EF4-FFF2-40B4-BE49-F238E27FC236}">
                <a16:creationId xmlns:a16="http://schemas.microsoft.com/office/drawing/2014/main" id="{F62D5BEB-64F1-78DB-21A4-C65273DBC205}"/>
              </a:ext>
            </a:extLst>
          </p:cNvPr>
          <p:cNvPicPr>
            <a:picLocks noChangeAspect="1"/>
          </p:cNvPicPr>
          <p:nvPr userDrawn="1"/>
        </p:nvPicPr>
        <p:blipFill>
          <a:blip r:embed="rId5"/>
          <a:stretch>
            <a:fillRect/>
          </a:stretch>
        </p:blipFill>
        <p:spPr>
          <a:xfrm>
            <a:off x="-1019628" y="2663645"/>
            <a:ext cx="312660" cy="201690"/>
          </a:xfrm>
          <a:prstGeom prst="rect">
            <a:avLst/>
          </a:prstGeom>
        </p:spPr>
      </p:pic>
      <p:sp>
        <p:nvSpPr>
          <p:cNvPr id="16" name="TextBox 15">
            <a:extLst>
              <a:ext uri="{FF2B5EF4-FFF2-40B4-BE49-F238E27FC236}">
                <a16:creationId xmlns:a16="http://schemas.microsoft.com/office/drawing/2014/main" id="{3648C5D2-B742-241A-5D34-29DED7EE9141}"/>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36010022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ext &amp; image right - Blue">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A1B5EA6-A0E2-3B9F-59B0-74E42BD02B54}"/>
              </a:ext>
            </a:extLst>
          </p:cNvPr>
          <p:cNvSpPr/>
          <p:nvPr userDrawn="1"/>
        </p:nvSpPr>
        <p:spPr>
          <a:xfrm>
            <a:off x="0" y="0"/>
            <a:ext cx="6096794"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5" y="514350"/>
            <a:ext cx="5227881" cy="432802"/>
          </a:xfrm>
        </p:spPr>
        <p:txBody>
          <a:bodyPr wrap="square" bIns="72000" anchor="t" anchorCtr="0">
            <a:spAutoFit/>
          </a:bodyPr>
          <a:lstStyle>
            <a:lvl1pPr algn="l">
              <a:defRPr sz="2600">
                <a:solidFill>
                  <a:schemeClr val="bg1"/>
                </a:solidFill>
              </a:defRPr>
            </a:lvl1pPr>
          </a:lstStyle>
          <a:p>
            <a:r>
              <a:rPr lang="en-GB"/>
              <a:t>Click to edit title</a:t>
            </a:r>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D7BCDFCB-E022-4611-883A-18BFB36B5752}" type="datetime1">
              <a:rPr lang="en-GB" smtClean="0"/>
              <a:t>13/05/2026</a:t>
            </a:fld>
            <a:endParaRPr lang="en-GB"/>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516005" y="947741"/>
            <a:ext cx="5227881"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8" name="Picture Placeholder 15">
            <a:extLst>
              <a:ext uri="{FF2B5EF4-FFF2-40B4-BE49-F238E27FC236}">
                <a16:creationId xmlns:a16="http://schemas.microsoft.com/office/drawing/2014/main" id="{D0F135B0-EEDC-1771-A31F-233B18D7E883}"/>
              </a:ext>
            </a:extLst>
          </p:cNvPr>
          <p:cNvSpPr>
            <a:spLocks noGrp="1"/>
          </p:cNvSpPr>
          <p:nvPr>
            <p:ph type="pic" sz="quarter" idx="27" hasCustomPrompt="1"/>
          </p:nvPr>
        </p:nvSpPr>
        <p:spPr>
          <a:xfrm>
            <a:off x="6096794" y="0"/>
            <a:ext cx="6096794" cy="6858000"/>
          </a:xfrm>
        </p:spPr>
        <p:txBody>
          <a:bodyPr tIns="504000"/>
          <a:lstStyle>
            <a:lvl1pPr marL="0" indent="0" algn="ctr">
              <a:buNone/>
              <a:defRPr>
                <a:solidFill>
                  <a:schemeClr val="tx1"/>
                </a:solidFill>
              </a:defRPr>
            </a:lvl1pPr>
          </a:lstStyle>
          <a:p>
            <a:r>
              <a:rPr lang="en-GB"/>
              <a:t>Click to insert picture</a:t>
            </a:r>
          </a:p>
        </p:txBody>
      </p:sp>
      <p:sp>
        <p:nvSpPr>
          <p:cNvPr id="3" name="Text Placeholder 10">
            <a:extLst>
              <a:ext uri="{FF2B5EF4-FFF2-40B4-BE49-F238E27FC236}">
                <a16:creationId xmlns:a16="http://schemas.microsoft.com/office/drawing/2014/main" id="{6A3C0ADC-D3F8-0ACF-ADBE-55F01C3C17D2}"/>
              </a:ext>
            </a:extLst>
          </p:cNvPr>
          <p:cNvSpPr>
            <a:spLocks noGrp="1"/>
          </p:cNvSpPr>
          <p:nvPr>
            <p:ph type="body" sz="quarter" idx="13"/>
          </p:nvPr>
        </p:nvSpPr>
        <p:spPr>
          <a:xfrm>
            <a:off x="516005" y="1440000"/>
            <a:ext cx="5227881" cy="4680000"/>
          </a:xfrm>
        </p:spPr>
        <p:txBody>
          <a:bodyPr/>
          <a:lstStyle>
            <a:lvl1pPr>
              <a:buClr>
                <a:schemeClr val="tx1"/>
              </a:buClr>
              <a:defRPr>
                <a:solidFill>
                  <a:schemeClr val="bg1"/>
                </a:solidFill>
              </a:defRPr>
            </a:lvl1pPr>
            <a:lvl2pPr>
              <a:buClr>
                <a:schemeClr val="tx1"/>
              </a:buClr>
              <a:defRPr>
                <a:solidFill>
                  <a:schemeClr val="bg1"/>
                </a:solidFill>
              </a:defRPr>
            </a:lvl2pPr>
            <a:lvl3pPr>
              <a:buClr>
                <a:schemeClr val="tx1"/>
              </a:buClr>
              <a:defRPr>
                <a:solidFill>
                  <a:schemeClr val="bg1"/>
                </a:solidFill>
              </a:defRPr>
            </a:lvl3pPr>
            <a:lvl4pPr>
              <a:buClr>
                <a:schemeClr val="tx1"/>
              </a:buClr>
              <a:defRPr>
                <a:solidFill>
                  <a:schemeClr val="bg1"/>
                </a:solidFill>
              </a:defRPr>
            </a:lvl4pPr>
            <a:lvl5pPr>
              <a:buClr>
                <a:schemeClr val="tx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en-GB"/>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5" y="6494949"/>
            <a:ext cx="374699" cy="153888"/>
          </a:xfrm>
        </p:spPr>
        <p:txBody>
          <a:bodyPr/>
          <a:lstStyle>
            <a:lvl1pPr>
              <a:defRPr>
                <a:solidFill>
                  <a:schemeClr val="tx2">
                    <a:lumMod val="60000"/>
                    <a:lumOff val="40000"/>
                  </a:schemeClr>
                </a:solidFill>
              </a:defRPr>
            </a:lvl1pPr>
          </a:lstStyle>
          <a:p>
            <a:fld id="{C2F92818-9D0C-420B-84CB-20E21C25F84F}" type="slidenum">
              <a:rPr lang="en-GB" smtClean="0"/>
              <a:pPr/>
              <a:t>‹#›</a:t>
            </a:fld>
            <a:endParaRPr lang="en-GB"/>
          </a:p>
        </p:txBody>
      </p:sp>
      <p:sp>
        <p:nvSpPr>
          <p:cNvPr id="10" name="TextBox 9">
            <a:extLst>
              <a:ext uri="{FF2B5EF4-FFF2-40B4-BE49-F238E27FC236}">
                <a16:creationId xmlns:a16="http://schemas.microsoft.com/office/drawing/2014/main" id="{40F7BCEA-786B-1E47-4D8D-445368937DEF}"/>
              </a:ext>
            </a:extLst>
          </p:cNvPr>
          <p:cNvSpPr txBox="1"/>
          <p:nvPr userDrawn="1"/>
        </p:nvSpPr>
        <p:spPr>
          <a:xfrm>
            <a:off x="-1558545"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1" name="Picture 10">
            <a:extLst>
              <a:ext uri="{FF2B5EF4-FFF2-40B4-BE49-F238E27FC236}">
                <a16:creationId xmlns:a16="http://schemas.microsoft.com/office/drawing/2014/main" id="{42EBC80B-FFC8-63EC-3483-CCCBB03639BA}"/>
              </a:ext>
            </a:extLst>
          </p:cNvPr>
          <p:cNvPicPr>
            <a:picLocks noChangeAspect="1"/>
          </p:cNvPicPr>
          <p:nvPr userDrawn="1"/>
        </p:nvPicPr>
        <p:blipFill>
          <a:blip r:embed="rId2"/>
          <a:stretch>
            <a:fillRect/>
          </a:stretch>
        </p:blipFill>
        <p:spPr>
          <a:xfrm>
            <a:off x="-1032552" y="6043203"/>
            <a:ext cx="338511" cy="456195"/>
          </a:xfrm>
          <a:prstGeom prst="rect">
            <a:avLst/>
          </a:prstGeom>
        </p:spPr>
      </p:pic>
      <p:sp>
        <p:nvSpPr>
          <p:cNvPr id="12" name="TextBox 11">
            <a:extLst>
              <a:ext uri="{FF2B5EF4-FFF2-40B4-BE49-F238E27FC236}">
                <a16:creationId xmlns:a16="http://schemas.microsoft.com/office/drawing/2014/main" id="{C3C5CC40-030E-E498-AE51-304BCA04028A}"/>
              </a:ext>
            </a:extLst>
          </p:cNvPr>
          <p:cNvSpPr txBox="1"/>
          <p:nvPr userDrawn="1"/>
        </p:nvSpPr>
        <p:spPr>
          <a:xfrm>
            <a:off x="-1558547"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3" name="Picture 12">
            <a:extLst>
              <a:ext uri="{FF2B5EF4-FFF2-40B4-BE49-F238E27FC236}">
                <a16:creationId xmlns:a16="http://schemas.microsoft.com/office/drawing/2014/main" id="{F38ECD07-5F8E-E6BB-33DF-9C47A442A8D1}"/>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4" name="Picture 13">
            <a:extLst>
              <a:ext uri="{FF2B5EF4-FFF2-40B4-BE49-F238E27FC236}">
                <a16:creationId xmlns:a16="http://schemas.microsoft.com/office/drawing/2014/main" id="{3AD37D10-6302-26BF-510E-8F6B8DFA09FC}"/>
              </a:ext>
            </a:extLst>
          </p:cNvPr>
          <p:cNvPicPr>
            <a:picLocks noChangeAspect="1"/>
          </p:cNvPicPr>
          <p:nvPr userDrawn="1"/>
        </p:nvPicPr>
        <p:blipFill>
          <a:blip r:embed="rId4"/>
          <a:stretch>
            <a:fillRect/>
          </a:stretch>
        </p:blipFill>
        <p:spPr>
          <a:xfrm>
            <a:off x="-1082303" y="1940632"/>
            <a:ext cx="438012" cy="204850"/>
          </a:xfrm>
          <a:prstGeom prst="rect">
            <a:avLst/>
          </a:prstGeom>
        </p:spPr>
      </p:pic>
      <p:pic>
        <p:nvPicPr>
          <p:cNvPr id="15" name="Picture 14">
            <a:extLst>
              <a:ext uri="{FF2B5EF4-FFF2-40B4-BE49-F238E27FC236}">
                <a16:creationId xmlns:a16="http://schemas.microsoft.com/office/drawing/2014/main" id="{8E75B961-9E27-334D-7850-EA738C3B36E0}"/>
              </a:ext>
            </a:extLst>
          </p:cNvPr>
          <p:cNvPicPr>
            <a:picLocks noChangeAspect="1"/>
          </p:cNvPicPr>
          <p:nvPr userDrawn="1"/>
        </p:nvPicPr>
        <p:blipFill>
          <a:blip r:embed="rId5"/>
          <a:stretch>
            <a:fillRect/>
          </a:stretch>
        </p:blipFill>
        <p:spPr>
          <a:xfrm>
            <a:off x="-1019628" y="2663645"/>
            <a:ext cx="312660" cy="201690"/>
          </a:xfrm>
          <a:prstGeom prst="rect">
            <a:avLst/>
          </a:prstGeom>
        </p:spPr>
      </p:pic>
      <p:sp>
        <p:nvSpPr>
          <p:cNvPr id="16" name="TextBox 15">
            <a:extLst>
              <a:ext uri="{FF2B5EF4-FFF2-40B4-BE49-F238E27FC236}">
                <a16:creationId xmlns:a16="http://schemas.microsoft.com/office/drawing/2014/main" id="{21A29A72-56D0-4EDE-5C46-7C807527CC61}"/>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41786941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ext &amp; image left - White">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id="{C97B6A17-A79B-2D2E-B5FE-BF99F760DB3B}"/>
              </a:ext>
            </a:extLst>
          </p:cNvPr>
          <p:cNvSpPr>
            <a:spLocks noGrp="1"/>
          </p:cNvSpPr>
          <p:nvPr>
            <p:ph type="pic" sz="quarter" idx="27" hasCustomPrompt="1"/>
          </p:nvPr>
        </p:nvSpPr>
        <p:spPr>
          <a:xfrm>
            <a:off x="0" y="0"/>
            <a:ext cx="6096794" cy="6858000"/>
          </a:xfrm>
        </p:spPr>
        <p:txBody>
          <a:bodyPr tIns="504000"/>
          <a:lstStyle>
            <a:lvl1pPr marL="0" indent="0" algn="ctr">
              <a:buNone/>
              <a:defRPr>
                <a:solidFill>
                  <a:schemeClr val="tx1"/>
                </a:solidFill>
              </a:defRPr>
            </a:lvl1pPr>
          </a:lstStyle>
          <a:p>
            <a:r>
              <a:rPr lang="en-GB" noProof="0"/>
              <a:t>Click to insert picture</a:t>
            </a:r>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6610461" y="514350"/>
            <a:ext cx="5069460" cy="432802"/>
          </a:xfrm>
        </p:spPr>
        <p:txBody>
          <a:bodyPr wrap="square" bIns="72000" anchor="t" anchorCtr="0">
            <a:spAutoFit/>
          </a:bodyPr>
          <a:lstStyle>
            <a:lvl1pPr algn="l">
              <a:defRPr sz="2600">
                <a:solidFill>
                  <a:schemeClr val="tx1"/>
                </a:solidFill>
              </a:defRPr>
            </a:lvl1pPr>
          </a:lstStyle>
          <a:p>
            <a:r>
              <a:rPr lang="en-GB"/>
              <a:t>Click to edit title</a:t>
            </a:r>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6610461" y="1440000"/>
            <a:ext cx="5069460" cy="468000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6610461" y="947741"/>
            <a:ext cx="5069460"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3" name="Slide Number Placeholder 5">
            <a:extLst>
              <a:ext uri="{FF2B5EF4-FFF2-40B4-BE49-F238E27FC236}">
                <a16:creationId xmlns:a16="http://schemas.microsoft.com/office/drawing/2014/main" id="{EB01F3B5-A2AB-A32C-4E2B-C1390B59F55B}"/>
              </a:ext>
            </a:extLst>
          </p:cNvPr>
          <p:cNvSpPr>
            <a:spLocks noGrp="1"/>
          </p:cNvSpPr>
          <p:nvPr>
            <p:ph type="sldNum" sz="quarter" idx="12"/>
          </p:nvPr>
        </p:nvSpPr>
        <p:spPr>
          <a:xfrm>
            <a:off x="11304472" y="6494949"/>
            <a:ext cx="374699" cy="153888"/>
          </a:xfrm>
        </p:spPr>
        <p:txBody>
          <a:bodyPr/>
          <a:lstStyle>
            <a:lvl1pPr>
              <a:defRPr>
                <a:solidFill>
                  <a:schemeClr val="tx2">
                    <a:lumMod val="60000"/>
                    <a:lumOff val="40000"/>
                  </a:schemeClr>
                </a:solidFill>
              </a:defRPr>
            </a:lvl1pPr>
          </a:lstStyle>
          <a:p>
            <a:fld id="{C2F92818-9D0C-420B-84CB-20E21C25F84F}" type="slidenum">
              <a:rPr lang="en-GB" smtClean="0"/>
              <a:pPr/>
              <a:t>‹#›</a:t>
            </a:fld>
            <a:endParaRPr lang="en-GB"/>
          </a:p>
        </p:txBody>
      </p:sp>
      <p:sp>
        <p:nvSpPr>
          <p:cNvPr id="4" name="Date Placeholder 3">
            <a:extLst>
              <a:ext uri="{FF2B5EF4-FFF2-40B4-BE49-F238E27FC236}">
                <a16:creationId xmlns:a16="http://schemas.microsoft.com/office/drawing/2014/main" id="{EA5EA2AF-C700-9C95-7A3D-05E8093ED0CC}"/>
              </a:ext>
            </a:extLst>
          </p:cNvPr>
          <p:cNvSpPr>
            <a:spLocks noGrp="1"/>
          </p:cNvSpPr>
          <p:nvPr>
            <p:ph type="dt" sz="half" idx="10"/>
          </p:nvPr>
        </p:nvSpPr>
        <p:spPr>
          <a:xfrm>
            <a:off x="516005" y="6328262"/>
            <a:ext cx="2743557" cy="153888"/>
          </a:xfrm>
        </p:spPr>
        <p:txBody>
          <a:bodyPr/>
          <a:lstStyle>
            <a:lvl1pPr>
              <a:defRPr>
                <a:solidFill>
                  <a:schemeClr val="bg1"/>
                </a:solidFill>
              </a:defRPr>
            </a:lvl1pPr>
          </a:lstStyle>
          <a:p>
            <a:fld id="{EEB010F0-2349-4FBA-BA3B-382AA1FD7C00}" type="datetime1">
              <a:rPr lang="en-GB" smtClean="0"/>
              <a:t>13/05/2026</a:t>
            </a:fld>
            <a:endParaRPr lang="en-GB"/>
          </a:p>
        </p:txBody>
      </p:sp>
      <p:sp>
        <p:nvSpPr>
          <p:cNvPr id="5" name="Footer Placeholder 4">
            <a:extLst>
              <a:ext uri="{FF2B5EF4-FFF2-40B4-BE49-F238E27FC236}">
                <a16:creationId xmlns:a16="http://schemas.microsoft.com/office/drawing/2014/main" id="{A54360FE-7428-6493-CB14-2866F116CCF2}"/>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en-GB"/>
          </a:p>
        </p:txBody>
      </p:sp>
      <p:sp>
        <p:nvSpPr>
          <p:cNvPr id="7" name="TextBox 6">
            <a:extLst>
              <a:ext uri="{FF2B5EF4-FFF2-40B4-BE49-F238E27FC236}">
                <a16:creationId xmlns:a16="http://schemas.microsoft.com/office/drawing/2014/main" id="{7ACAB7FF-CE9E-5867-1E57-A635B64909A8}"/>
              </a:ext>
            </a:extLst>
          </p:cNvPr>
          <p:cNvSpPr txBox="1"/>
          <p:nvPr userDrawn="1"/>
        </p:nvSpPr>
        <p:spPr>
          <a:xfrm>
            <a:off x="-1558545"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519EBF12-A1DD-EAFE-B755-F45459676B6E}"/>
              </a:ext>
            </a:extLst>
          </p:cNvPr>
          <p:cNvPicPr>
            <a:picLocks noChangeAspect="1"/>
          </p:cNvPicPr>
          <p:nvPr userDrawn="1"/>
        </p:nvPicPr>
        <p:blipFill>
          <a:blip r:embed="rId2"/>
          <a:stretch>
            <a:fillRect/>
          </a:stretch>
        </p:blipFill>
        <p:spPr>
          <a:xfrm>
            <a:off x="-1032552" y="6043203"/>
            <a:ext cx="338511" cy="456195"/>
          </a:xfrm>
          <a:prstGeom prst="rect">
            <a:avLst/>
          </a:prstGeom>
        </p:spPr>
      </p:pic>
      <p:sp>
        <p:nvSpPr>
          <p:cNvPr id="11" name="TextBox 10">
            <a:extLst>
              <a:ext uri="{FF2B5EF4-FFF2-40B4-BE49-F238E27FC236}">
                <a16:creationId xmlns:a16="http://schemas.microsoft.com/office/drawing/2014/main" id="{CF33AF49-E200-E124-9C9A-A4DBA617BBAF}"/>
              </a:ext>
            </a:extLst>
          </p:cNvPr>
          <p:cNvSpPr txBox="1"/>
          <p:nvPr userDrawn="1"/>
        </p:nvSpPr>
        <p:spPr>
          <a:xfrm>
            <a:off x="-1558547"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FC7D9146-0A46-FD60-85BF-01A3F6A98F15}"/>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3" name="Picture 12">
            <a:extLst>
              <a:ext uri="{FF2B5EF4-FFF2-40B4-BE49-F238E27FC236}">
                <a16:creationId xmlns:a16="http://schemas.microsoft.com/office/drawing/2014/main" id="{876742CD-B107-0546-8DE0-6D67648BDCA7}"/>
              </a:ext>
            </a:extLst>
          </p:cNvPr>
          <p:cNvPicPr>
            <a:picLocks noChangeAspect="1"/>
          </p:cNvPicPr>
          <p:nvPr userDrawn="1"/>
        </p:nvPicPr>
        <p:blipFill>
          <a:blip r:embed="rId4"/>
          <a:stretch>
            <a:fillRect/>
          </a:stretch>
        </p:blipFill>
        <p:spPr>
          <a:xfrm>
            <a:off x="-1082303" y="1940632"/>
            <a:ext cx="438012" cy="204850"/>
          </a:xfrm>
          <a:prstGeom prst="rect">
            <a:avLst/>
          </a:prstGeom>
        </p:spPr>
      </p:pic>
      <p:pic>
        <p:nvPicPr>
          <p:cNvPr id="14" name="Picture 13">
            <a:extLst>
              <a:ext uri="{FF2B5EF4-FFF2-40B4-BE49-F238E27FC236}">
                <a16:creationId xmlns:a16="http://schemas.microsoft.com/office/drawing/2014/main" id="{14967557-6B6D-5A3F-3840-B09D2927AD2B}"/>
              </a:ext>
            </a:extLst>
          </p:cNvPr>
          <p:cNvPicPr>
            <a:picLocks noChangeAspect="1"/>
          </p:cNvPicPr>
          <p:nvPr userDrawn="1"/>
        </p:nvPicPr>
        <p:blipFill>
          <a:blip r:embed="rId5"/>
          <a:stretch>
            <a:fillRect/>
          </a:stretch>
        </p:blipFill>
        <p:spPr>
          <a:xfrm>
            <a:off x="-1019628" y="2663645"/>
            <a:ext cx="312660" cy="201690"/>
          </a:xfrm>
          <a:prstGeom prst="rect">
            <a:avLst/>
          </a:prstGeom>
        </p:spPr>
      </p:pic>
      <p:sp>
        <p:nvSpPr>
          <p:cNvPr id="15" name="TextBox 14">
            <a:extLst>
              <a:ext uri="{FF2B5EF4-FFF2-40B4-BE49-F238E27FC236}">
                <a16:creationId xmlns:a16="http://schemas.microsoft.com/office/drawing/2014/main" id="{AF95DB38-940F-930C-4595-C9C96D19984D}"/>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27991371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ext &amp; image left - Dark Blue">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id="{D0F135B0-EEDC-1771-A31F-233B18D7E883}"/>
              </a:ext>
            </a:extLst>
          </p:cNvPr>
          <p:cNvSpPr>
            <a:spLocks noGrp="1"/>
          </p:cNvSpPr>
          <p:nvPr>
            <p:ph type="pic" sz="quarter" idx="27" hasCustomPrompt="1"/>
          </p:nvPr>
        </p:nvSpPr>
        <p:spPr>
          <a:xfrm>
            <a:off x="0" y="0"/>
            <a:ext cx="6096794" cy="6858000"/>
          </a:xfrm>
        </p:spPr>
        <p:txBody>
          <a:bodyPr tIns="504000"/>
          <a:lstStyle>
            <a:lvl1pPr marL="0" indent="0" algn="ctr">
              <a:buNone/>
              <a:defRPr>
                <a:solidFill>
                  <a:schemeClr val="tx1"/>
                </a:solidFill>
              </a:defRPr>
            </a:lvl1pPr>
          </a:lstStyle>
          <a:p>
            <a:r>
              <a:rPr lang="en-GB" noProof="0"/>
              <a:t>Click to insert picture</a:t>
            </a:r>
          </a:p>
        </p:txBody>
      </p:sp>
      <p:sp>
        <p:nvSpPr>
          <p:cNvPr id="9" name="Rectangle 8">
            <a:extLst>
              <a:ext uri="{FF2B5EF4-FFF2-40B4-BE49-F238E27FC236}">
                <a16:creationId xmlns:a16="http://schemas.microsoft.com/office/drawing/2014/main" id="{9A1B5EA6-A0E2-3B9F-59B0-74E42BD02B54}"/>
              </a:ext>
            </a:extLst>
          </p:cNvPr>
          <p:cNvSpPr/>
          <p:nvPr userDrawn="1"/>
        </p:nvSpPr>
        <p:spPr>
          <a:xfrm>
            <a:off x="6096794" y="0"/>
            <a:ext cx="6096794"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6610461" y="514350"/>
            <a:ext cx="5069460" cy="432802"/>
          </a:xfrm>
        </p:spPr>
        <p:txBody>
          <a:bodyPr wrap="square" bIns="72000" anchor="t" anchorCtr="0">
            <a:spAutoFit/>
          </a:bodyPr>
          <a:lstStyle>
            <a:lvl1pPr algn="l">
              <a:defRPr sz="2600">
                <a:solidFill>
                  <a:schemeClr val="bg1"/>
                </a:solidFill>
              </a:defRPr>
            </a:lvl1pPr>
          </a:lstStyle>
          <a:p>
            <a:r>
              <a:rPr lang="en-GB"/>
              <a:t>Click to edit title</a:t>
            </a:r>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6610461" y="1440000"/>
            <a:ext cx="5069460" cy="4680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6610461" y="947741"/>
            <a:ext cx="5069460"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3" name="Slide Number Placeholder 5">
            <a:extLst>
              <a:ext uri="{FF2B5EF4-FFF2-40B4-BE49-F238E27FC236}">
                <a16:creationId xmlns:a16="http://schemas.microsoft.com/office/drawing/2014/main" id="{BBFCE1CA-8654-DA74-9199-E9A6981AB3B3}"/>
              </a:ext>
            </a:extLst>
          </p:cNvPr>
          <p:cNvSpPr>
            <a:spLocks noGrp="1"/>
          </p:cNvSpPr>
          <p:nvPr>
            <p:ph type="sldNum" sz="quarter" idx="12"/>
          </p:nvPr>
        </p:nvSpPr>
        <p:spPr>
          <a:xfrm>
            <a:off x="11304472" y="6494949"/>
            <a:ext cx="374699" cy="153888"/>
          </a:xfrm>
        </p:spPr>
        <p:txBody>
          <a:bodyPr/>
          <a:lstStyle>
            <a:lvl1pPr algn="r">
              <a:defRPr>
                <a:solidFill>
                  <a:schemeClr val="tx2">
                    <a:lumMod val="60000"/>
                    <a:lumOff val="40000"/>
                  </a:schemeClr>
                </a:solidFill>
              </a:defRPr>
            </a:lvl1pPr>
          </a:lstStyle>
          <a:p>
            <a:fld id="{C2F92818-9D0C-420B-84CB-20E21C25F84F}" type="slidenum">
              <a:rPr lang="en-GB" smtClean="0"/>
              <a:pPr/>
              <a:t>‹#›</a:t>
            </a:fld>
            <a:endParaRPr lang="en-GB"/>
          </a:p>
        </p:txBody>
      </p:sp>
      <p:sp>
        <p:nvSpPr>
          <p:cNvPr id="4" name="Date Placeholder 3">
            <a:extLst>
              <a:ext uri="{FF2B5EF4-FFF2-40B4-BE49-F238E27FC236}">
                <a16:creationId xmlns:a16="http://schemas.microsoft.com/office/drawing/2014/main" id="{7085BA52-C3B4-F368-89BE-533D92CC176C}"/>
              </a:ext>
            </a:extLst>
          </p:cNvPr>
          <p:cNvSpPr>
            <a:spLocks noGrp="1"/>
          </p:cNvSpPr>
          <p:nvPr>
            <p:ph type="dt" sz="half" idx="10"/>
          </p:nvPr>
        </p:nvSpPr>
        <p:spPr>
          <a:xfrm>
            <a:off x="516005" y="6328262"/>
            <a:ext cx="2743557" cy="153888"/>
          </a:xfrm>
        </p:spPr>
        <p:txBody>
          <a:bodyPr/>
          <a:lstStyle>
            <a:lvl1pPr>
              <a:defRPr>
                <a:solidFill>
                  <a:schemeClr val="bg1"/>
                </a:solidFill>
              </a:defRPr>
            </a:lvl1pPr>
          </a:lstStyle>
          <a:p>
            <a:fld id="{A5179404-DECA-4FB2-8574-C72983B52F3C}" type="datetime1">
              <a:rPr lang="en-GB" smtClean="0"/>
              <a:t>13/05/2026</a:t>
            </a:fld>
            <a:endParaRPr lang="en-GB"/>
          </a:p>
        </p:txBody>
      </p:sp>
      <p:sp>
        <p:nvSpPr>
          <p:cNvPr id="5" name="Footer Placeholder 4">
            <a:extLst>
              <a:ext uri="{FF2B5EF4-FFF2-40B4-BE49-F238E27FC236}">
                <a16:creationId xmlns:a16="http://schemas.microsoft.com/office/drawing/2014/main" id="{ECB57A99-580A-E978-4BEF-803135E83E38}"/>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en-GB"/>
          </a:p>
        </p:txBody>
      </p:sp>
      <p:sp>
        <p:nvSpPr>
          <p:cNvPr id="7" name="TextBox 6">
            <a:extLst>
              <a:ext uri="{FF2B5EF4-FFF2-40B4-BE49-F238E27FC236}">
                <a16:creationId xmlns:a16="http://schemas.microsoft.com/office/drawing/2014/main" id="{FF121109-2682-3B1C-ABAE-20E5667DBE77}"/>
              </a:ext>
            </a:extLst>
          </p:cNvPr>
          <p:cNvSpPr txBox="1"/>
          <p:nvPr userDrawn="1"/>
        </p:nvSpPr>
        <p:spPr>
          <a:xfrm>
            <a:off x="-1558545"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1" name="Picture 10">
            <a:extLst>
              <a:ext uri="{FF2B5EF4-FFF2-40B4-BE49-F238E27FC236}">
                <a16:creationId xmlns:a16="http://schemas.microsoft.com/office/drawing/2014/main" id="{713B4F4A-DE7B-0A71-5409-3B0ABA3D1053}"/>
              </a:ext>
            </a:extLst>
          </p:cNvPr>
          <p:cNvPicPr>
            <a:picLocks noChangeAspect="1"/>
          </p:cNvPicPr>
          <p:nvPr userDrawn="1"/>
        </p:nvPicPr>
        <p:blipFill>
          <a:blip r:embed="rId2"/>
          <a:stretch>
            <a:fillRect/>
          </a:stretch>
        </p:blipFill>
        <p:spPr>
          <a:xfrm>
            <a:off x="-1032552" y="6043203"/>
            <a:ext cx="338511" cy="456195"/>
          </a:xfrm>
          <a:prstGeom prst="rect">
            <a:avLst/>
          </a:prstGeom>
        </p:spPr>
      </p:pic>
      <p:sp>
        <p:nvSpPr>
          <p:cNvPr id="12" name="TextBox 11">
            <a:extLst>
              <a:ext uri="{FF2B5EF4-FFF2-40B4-BE49-F238E27FC236}">
                <a16:creationId xmlns:a16="http://schemas.microsoft.com/office/drawing/2014/main" id="{05CF16D4-E3D8-5D89-2DEB-A1AA3A59626A}"/>
              </a:ext>
            </a:extLst>
          </p:cNvPr>
          <p:cNvSpPr txBox="1"/>
          <p:nvPr userDrawn="1"/>
        </p:nvSpPr>
        <p:spPr>
          <a:xfrm>
            <a:off x="-1558547"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3" name="Picture 12">
            <a:extLst>
              <a:ext uri="{FF2B5EF4-FFF2-40B4-BE49-F238E27FC236}">
                <a16:creationId xmlns:a16="http://schemas.microsoft.com/office/drawing/2014/main" id="{5BABEFB8-A2D0-2795-8FC7-40E1C3B0BF6F}"/>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4" name="Picture 13">
            <a:extLst>
              <a:ext uri="{FF2B5EF4-FFF2-40B4-BE49-F238E27FC236}">
                <a16:creationId xmlns:a16="http://schemas.microsoft.com/office/drawing/2014/main" id="{CBF05A01-837F-84D2-4FFA-1CCB0C8A5BCB}"/>
              </a:ext>
            </a:extLst>
          </p:cNvPr>
          <p:cNvPicPr>
            <a:picLocks noChangeAspect="1"/>
          </p:cNvPicPr>
          <p:nvPr userDrawn="1"/>
        </p:nvPicPr>
        <p:blipFill>
          <a:blip r:embed="rId4"/>
          <a:stretch>
            <a:fillRect/>
          </a:stretch>
        </p:blipFill>
        <p:spPr>
          <a:xfrm>
            <a:off x="-1082303" y="1940632"/>
            <a:ext cx="438012" cy="204850"/>
          </a:xfrm>
          <a:prstGeom prst="rect">
            <a:avLst/>
          </a:prstGeom>
        </p:spPr>
      </p:pic>
      <p:pic>
        <p:nvPicPr>
          <p:cNvPr id="15" name="Picture 14">
            <a:extLst>
              <a:ext uri="{FF2B5EF4-FFF2-40B4-BE49-F238E27FC236}">
                <a16:creationId xmlns:a16="http://schemas.microsoft.com/office/drawing/2014/main" id="{0D1FE3E1-6488-C2A8-E357-85FE3CB19264}"/>
              </a:ext>
            </a:extLst>
          </p:cNvPr>
          <p:cNvPicPr>
            <a:picLocks noChangeAspect="1"/>
          </p:cNvPicPr>
          <p:nvPr userDrawn="1"/>
        </p:nvPicPr>
        <p:blipFill>
          <a:blip r:embed="rId5"/>
          <a:stretch>
            <a:fillRect/>
          </a:stretch>
        </p:blipFill>
        <p:spPr>
          <a:xfrm>
            <a:off x="-1019628" y="2663645"/>
            <a:ext cx="312660" cy="201690"/>
          </a:xfrm>
          <a:prstGeom prst="rect">
            <a:avLst/>
          </a:prstGeom>
        </p:spPr>
      </p:pic>
      <p:sp>
        <p:nvSpPr>
          <p:cNvPr id="16" name="TextBox 15">
            <a:extLst>
              <a:ext uri="{FF2B5EF4-FFF2-40B4-BE49-F238E27FC236}">
                <a16:creationId xmlns:a16="http://schemas.microsoft.com/office/drawing/2014/main" id="{B4DFF7A9-6554-453B-19D0-E9309B758EC4}"/>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3222749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ext &amp; image left - Blue">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id="{D0F135B0-EEDC-1771-A31F-233B18D7E883}"/>
              </a:ext>
            </a:extLst>
          </p:cNvPr>
          <p:cNvSpPr>
            <a:spLocks noGrp="1"/>
          </p:cNvSpPr>
          <p:nvPr>
            <p:ph type="pic" sz="quarter" idx="27" hasCustomPrompt="1"/>
          </p:nvPr>
        </p:nvSpPr>
        <p:spPr>
          <a:xfrm>
            <a:off x="0" y="0"/>
            <a:ext cx="6096794" cy="6858000"/>
          </a:xfrm>
        </p:spPr>
        <p:txBody>
          <a:bodyPr tIns="504000"/>
          <a:lstStyle>
            <a:lvl1pPr marL="0" indent="0" algn="ctr">
              <a:buNone/>
              <a:defRPr>
                <a:solidFill>
                  <a:schemeClr val="tx1"/>
                </a:solidFill>
              </a:defRPr>
            </a:lvl1pPr>
          </a:lstStyle>
          <a:p>
            <a:r>
              <a:rPr lang="en-GB" noProof="0"/>
              <a:t>Click to insert picture</a:t>
            </a:r>
          </a:p>
        </p:txBody>
      </p:sp>
      <p:sp>
        <p:nvSpPr>
          <p:cNvPr id="9" name="Rectangle 8">
            <a:extLst>
              <a:ext uri="{FF2B5EF4-FFF2-40B4-BE49-F238E27FC236}">
                <a16:creationId xmlns:a16="http://schemas.microsoft.com/office/drawing/2014/main" id="{9A1B5EA6-A0E2-3B9F-59B0-74E42BD02B54}"/>
              </a:ext>
            </a:extLst>
          </p:cNvPr>
          <p:cNvSpPr/>
          <p:nvPr userDrawn="1"/>
        </p:nvSpPr>
        <p:spPr>
          <a:xfrm>
            <a:off x="6096794" y="0"/>
            <a:ext cx="6096794"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6610461" y="514350"/>
            <a:ext cx="5069460" cy="432802"/>
          </a:xfrm>
        </p:spPr>
        <p:txBody>
          <a:bodyPr wrap="square" bIns="72000" anchor="t" anchorCtr="0">
            <a:spAutoFit/>
          </a:bodyPr>
          <a:lstStyle>
            <a:lvl1pPr algn="l">
              <a:defRPr sz="2600">
                <a:solidFill>
                  <a:schemeClr val="bg1"/>
                </a:solidFill>
              </a:defRPr>
            </a:lvl1pPr>
          </a:lstStyle>
          <a:p>
            <a:r>
              <a:rPr lang="en-GB"/>
              <a:t>Click to edit title</a:t>
            </a:r>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6610461" y="947741"/>
            <a:ext cx="5069460"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3" name="Text Placeholder 10">
            <a:extLst>
              <a:ext uri="{FF2B5EF4-FFF2-40B4-BE49-F238E27FC236}">
                <a16:creationId xmlns:a16="http://schemas.microsoft.com/office/drawing/2014/main" id="{6A3C0ADC-D3F8-0ACF-ADBE-55F01C3C17D2}"/>
              </a:ext>
            </a:extLst>
          </p:cNvPr>
          <p:cNvSpPr>
            <a:spLocks noGrp="1"/>
          </p:cNvSpPr>
          <p:nvPr>
            <p:ph type="body" sz="quarter" idx="13"/>
          </p:nvPr>
        </p:nvSpPr>
        <p:spPr>
          <a:xfrm>
            <a:off x="6610461" y="1440000"/>
            <a:ext cx="5069460" cy="4680000"/>
          </a:xfrm>
        </p:spPr>
        <p:txBody>
          <a:bodyPr/>
          <a:lstStyle>
            <a:lvl1pPr>
              <a:buClr>
                <a:schemeClr val="tx1"/>
              </a:buClr>
              <a:defRPr>
                <a:solidFill>
                  <a:schemeClr val="bg1"/>
                </a:solidFill>
              </a:defRPr>
            </a:lvl1pPr>
            <a:lvl2pPr>
              <a:buClr>
                <a:schemeClr val="tx1"/>
              </a:buClr>
              <a:defRPr>
                <a:solidFill>
                  <a:schemeClr val="bg1"/>
                </a:solidFill>
              </a:defRPr>
            </a:lvl2pPr>
            <a:lvl3pPr>
              <a:buClr>
                <a:schemeClr val="tx1"/>
              </a:buClr>
              <a:defRPr>
                <a:solidFill>
                  <a:schemeClr val="bg1"/>
                </a:solidFill>
              </a:defRPr>
            </a:lvl3pPr>
            <a:lvl4pPr>
              <a:buClr>
                <a:schemeClr val="tx1"/>
              </a:buClr>
              <a:defRPr>
                <a:solidFill>
                  <a:schemeClr val="bg1"/>
                </a:solidFill>
              </a:defRPr>
            </a:lvl4pPr>
            <a:lvl5pPr>
              <a:buClr>
                <a:schemeClr val="tx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Slide Number Placeholder 5">
            <a:extLst>
              <a:ext uri="{FF2B5EF4-FFF2-40B4-BE49-F238E27FC236}">
                <a16:creationId xmlns:a16="http://schemas.microsoft.com/office/drawing/2014/main" id="{C7048014-131F-60DE-0194-279080F92F7D}"/>
              </a:ext>
            </a:extLst>
          </p:cNvPr>
          <p:cNvSpPr>
            <a:spLocks noGrp="1"/>
          </p:cNvSpPr>
          <p:nvPr>
            <p:ph type="sldNum" sz="quarter" idx="12"/>
          </p:nvPr>
        </p:nvSpPr>
        <p:spPr>
          <a:xfrm>
            <a:off x="11302885" y="6494949"/>
            <a:ext cx="374699" cy="153888"/>
          </a:xfrm>
        </p:spPr>
        <p:txBody>
          <a:bodyPr/>
          <a:lstStyle>
            <a:lvl1pPr>
              <a:defRPr>
                <a:solidFill>
                  <a:schemeClr val="tx2">
                    <a:lumMod val="60000"/>
                    <a:lumOff val="40000"/>
                  </a:schemeClr>
                </a:solidFill>
              </a:defRPr>
            </a:lvl1pPr>
          </a:lstStyle>
          <a:p>
            <a:fld id="{C2F92818-9D0C-420B-84CB-20E21C25F84F}" type="slidenum">
              <a:rPr lang="en-GB" smtClean="0"/>
              <a:pPr/>
              <a:t>‹#›</a:t>
            </a:fld>
            <a:endParaRPr lang="en-GB"/>
          </a:p>
        </p:txBody>
      </p:sp>
      <p:sp>
        <p:nvSpPr>
          <p:cNvPr id="5" name="Date Placeholder 3">
            <a:extLst>
              <a:ext uri="{FF2B5EF4-FFF2-40B4-BE49-F238E27FC236}">
                <a16:creationId xmlns:a16="http://schemas.microsoft.com/office/drawing/2014/main" id="{2C69CF42-66D5-A296-AD7B-0E21C4500C17}"/>
              </a:ext>
            </a:extLst>
          </p:cNvPr>
          <p:cNvSpPr>
            <a:spLocks noGrp="1"/>
          </p:cNvSpPr>
          <p:nvPr>
            <p:ph type="dt" sz="half" idx="10"/>
          </p:nvPr>
        </p:nvSpPr>
        <p:spPr>
          <a:xfrm>
            <a:off x="516005" y="6328262"/>
            <a:ext cx="2743557" cy="153888"/>
          </a:xfrm>
        </p:spPr>
        <p:txBody>
          <a:bodyPr/>
          <a:lstStyle>
            <a:lvl1pPr>
              <a:defRPr>
                <a:solidFill>
                  <a:schemeClr val="bg1"/>
                </a:solidFill>
              </a:defRPr>
            </a:lvl1pPr>
          </a:lstStyle>
          <a:p>
            <a:fld id="{1631DEB0-5677-4497-886B-9BB0871AE83E}" type="datetime1">
              <a:rPr lang="en-GB" smtClean="0"/>
              <a:t>13/05/2026</a:t>
            </a:fld>
            <a:endParaRPr lang="en-GB"/>
          </a:p>
        </p:txBody>
      </p:sp>
      <p:sp>
        <p:nvSpPr>
          <p:cNvPr id="7" name="Footer Placeholder 4">
            <a:extLst>
              <a:ext uri="{FF2B5EF4-FFF2-40B4-BE49-F238E27FC236}">
                <a16:creationId xmlns:a16="http://schemas.microsoft.com/office/drawing/2014/main" id="{78D328D6-43E9-279D-E85C-851ECC28914B}"/>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en-GB"/>
          </a:p>
        </p:txBody>
      </p:sp>
      <p:sp>
        <p:nvSpPr>
          <p:cNvPr id="10" name="TextBox 9">
            <a:extLst>
              <a:ext uri="{FF2B5EF4-FFF2-40B4-BE49-F238E27FC236}">
                <a16:creationId xmlns:a16="http://schemas.microsoft.com/office/drawing/2014/main" id="{E8B819A9-C671-0C13-1F66-042B9CD48289}"/>
              </a:ext>
            </a:extLst>
          </p:cNvPr>
          <p:cNvSpPr txBox="1"/>
          <p:nvPr userDrawn="1"/>
        </p:nvSpPr>
        <p:spPr>
          <a:xfrm>
            <a:off x="-1558545"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1" name="Picture 10">
            <a:extLst>
              <a:ext uri="{FF2B5EF4-FFF2-40B4-BE49-F238E27FC236}">
                <a16:creationId xmlns:a16="http://schemas.microsoft.com/office/drawing/2014/main" id="{9BCFCE37-36AF-47AE-DF67-AC2BCB1F1FC0}"/>
              </a:ext>
            </a:extLst>
          </p:cNvPr>
          <p:cNvPicPr>
            <a:picLocks noChangeAspect="1"/>
          </p:cNvPicPr>
          <p:nvPr userDrawn="1"/>
        </p:nvPicPr>
        <p:blipFill>
          <a:blip r:embed="rId2"/>
          <a:stretch>
            <a:fillRect/>
          </a:stretch>
        </p:blipFill>
        <p:spPr>
          <a:xfrm>
            <a:off x="-1032552" y="6043203"/>
            <a:ext cx="338511" cy="456195"/>
          </a:xfrm>
          <a:prstGeom prst="rect">
            <a:avLst/>
          </a:prstGeom>
        </p:spPr>
      </p:pic>
      <p:sp>
        <p:nvSpPr>
          <p:cNvPr id="12" name="TextBox 11">
            <a:extLst>
              <a:ext uri="{FF2B5EF4-FFF2-40B4-BE49-F238E27FC236}">
                <a16:creationId xmlns:a16="http://schemas.microsoft.com/office/drawing/2014/main" id="{E569598F-FFFB-A955-F290-606046F3E6EB}"/>
              </a:ext>
            </a:extLst>
          </p:cNvPr>
          <p:cNvSpPr txBox="1"/>
          <p:nvPr userDrawn="1"/>
        </p:nvSpPr>
        <p:spPr>
          <a:xfrm>
            <a:off x="-1558547"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3" name="Picture 12">
            <a:extLst>
              <a:ext uri="{FF2B5EF4-FFF2-40B4-BE49-F238E27FC236}">
                <a16:creationId xmlns:a16="http://schemas.microsoft.com/office/drawing/2014/main" id="{7679ACE7-6C68-7367-3821-7DE94BEC9426}"/>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4" name="Picture 13">
            <a:extLst>
              <a:ext uri="{FF2B5EF4-FFF2-40B4-BE49-F238E27FC236}">
                <a16:creationId xmlns:a16="http://schemas.microsoft.com/office/drawing/2014/main" id="{EAF6C811-4ADE-C22E-D732-39FDB45D8A87}"/>
              </a:ext>
            </a:extLst>
          </p:cNvPr>
          <p:cNvPicPr>
            <a:picLocks noChangeAspect="1"/>
          </p:cNvPicPr>
          <p:nvPr userDrawn="1"/>
        </p:nvPicPr>
        <p:blipFill>
          <a:blip r:embed="rId4"/>
          <a:stretch>
            <a:fillRect/>
          </a:stretch>
        </p:blipFill>
        <p:spPr>
          <a:xfrm>
            <a:off x="-1082303" y="1940632"/>
            <a:ext cx="438012" cy="204850"/>
          </a:xfrm>
          <a:prstGeom prst="rect">
            <a:avLst/>
          </a:prstGeom>
        </p:spPr>
      </p:pic>
      <p:pic>
        <p:nvPicPr>
          <p:cNvPr id="15" name="Picture 14">
            <a:extLst>
              <a:ext uri="{FF2B5EF4-FFF2-40B4-BE49-F238E27FC236}">
                <a16:creationId xmlns:a16="http://schemas.microsoft.com/office/drawing/2014/main" id="{0490D3D9-6287-0813-C66E-CB11B0D9B7F7}"/>
              </a:ext>
            </a:extLst>
          </p:cNvPr>
          <p:cNvPicPr>
            <a:picLocks noChangeAspect="1"/>
          </p:cNvPicPr>
          <p:nvPr userDrawn="1"/>
        </p:nvPicPr>
        <p:blipFill>
          <a:blip r:embed="rId5"/>
          <a:stretch>
            <a:fillRect/>
          </a:stretch>
        </p:blipFill>
        <p:spPr>
          <a:xfrm>
            <a:off x="-1019628" y="2663645"/>
            <a:ext cx="312660" cy="201690"/>
          </a:xfrm>
          <a:prstGeom prst="rect">
            <a:avLst/>
          </a:prstGeom>
        </p:spPr>
      </p:pic>
      <p:sp>
        <p:nvSpPr>
          <p:cNvPr id="16" name="TextBox 15">
            <a:extLst>
              <a:ext uri="{FF2B5EF4-FFF2-40B4-BE49-F238E27FC236}">
                <a16:creationId xmlns:a16="http://schemas.microsoft.com/office/drawing/2014/main" id="{D8B52AB2-D653-0E6D-F385-072BA06B193B}"/>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9426098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mp; text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9667546" cy="432802"/>
          </a:xfrm>
        </p:spPr>
        <p:txBody>
          <a:bodyPr wrap="square" bIns="72000" anchor="t" anchorCtr="0">
            <a:spAutoFit/>
          </a:bodyPr>
          <a:lstStyle>
            <a:lvl1pPr algn="l">
              <a:defRPr sz="2600">
                <a:solidFill>
                  <a:schemeClr val="tx1"/>
                </a:solidFill>
              </a:defRPr>
            </a:lvl1pPr>
          </a:lstStyle>
          <a:p>
            <a:r>
              <a:rPr lang="en-GB"/>
              <a:t>Click to edit title</a:t>
            </a:r>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tx1"/>
                </a:solidFill>
              </a:defRPr>
            </a:lvl1pPr>
          </a:lstStyle>
          <a:p>
            <a:fld id="{E5FC1B6F-5120-2A44-B5D0-B3379BF0D786}" type="datetime3">
              <a:rPr lang="en-GB" smtClean="0"/>
              <a:t>13 May, 2026</a:t>
            </a:fld>
            <a:endParaRPr lang="en-GB"/>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en-GB"/>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en-GB" smtClean="0"/>
              <a:pPr/>
              <a:t>‹#›</a:t>
            </a:fld>
            <a:endParaRPr lang="en-GB"/>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6" y="1440000"/>
            <a:ext cx="11161579" cy="468000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6" y="947739"/>
            <a:ext cx="9667546"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pic>
        <p:nvPicPr>
          <p:cNvPr id="3" name="Graphic 2">
            <a:extLst>
              <a:ext uri="{FF2B5EF4-FFF2-40B4-BE49-F238E27FC236}">
                <a16:creationId xmlns:a16="http://schemas.microsoft.com/office/drawing/2014/main" id="{40519E47-9F3F-F3A9-31AE-904A777C7B5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8" name="TextBox 7">
            <a:extLst>
              <a:ext uri="{FF2B5EF4-FFF2-40B4-BE49-F238E27FC236}">
                <a16:creationId xmlns:a16="http://schemas.microsoft.com/office/drawing/2014/main" id="{13EAAA98-9F42-89EB-251F-E2407BF0E1EF}"/>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E2D03E0E-C886-B852-DBBC-B1EE67E02FD6}"/>
              </a:ext>
            </a:extLst>
          </p:cNvPr>
          <p:cNvPicPr>
            <a:picLocks noChangeAspect="1"/>
          </p:cNvPicPr>
          <p:nvPr userDrawn="1"/>
        </p:nvPicPr>
        <p:blipFill>
          <a:blip r:embed="rId3"/>
          <a:stretch>
            <a:fillRect/>
          </a:stretch>
        </p:blipFill>
        <p:spPr>
          <a:xfrm>
            <a:off x="-1032553" y="6043201"/>
            <a:ext cx="338511" cy="456195"/>
          </a:xfrm>
          <a:prstGeom prst="rect">
            <a:avLst/>
          </a:prstGeom>
        </p:spPr>
      </p:pic>
      <p:sp>
        <p:nvSpPr>
          <p:cNvPr id="14" name="TextBox 13">
            <a:extLst>
              <a:ext uri="{FF2B5EF4-FFF2-40B4-BE49-F238E27FC236}">
                <a16:creationId xmlns:a16="http://schemas.microsoft.com/office/drawing/2014/main" id="{278E1554-C664-C8F8-7A19-57AFDE1048A6}"/>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BDCE4B87-659B-36EF-6909-134CE2CFF556}"/>
              </a:ext>
            </a:extLst>
          </p:cNvPr>
          <p:cNvPicPr>
            <a:picLocks noChangeAspect="1"/>
          </p:cNvPicPr>
          <p:nvPr userDrawn="1"/>
        </p:nvPicPr>
        <p:blipFill>
          <a:blip r:embed="rId4"/>
          <a:srcRect t="32177"/>
          <a:stretch/>
        </p:blipFill>
        <p:spPr>
          <a:xfrm>
            <a:off x="-1404595" y="2958349"/>
            <a:ext cx="1082591" cy="836058"/>
          </a:xfrm>
          <a:prstGeom prst="rect">
            <a:avLst/>
          </a:prstGeom>
        </p:spPr>
      </p:pic>
      <p:pic>
        <p:nvPicPr>
          <p:cNvPr id="15" name="Picture 14">
            <a:extLst>
              <a:ext uri="{FF2B5EF4-FFF2-40B4-BE49-F238E27FC236}">
                <a16:creationId xmlns:a16="http://schemas.microsoft.com/office/drawing/2014/main" id="{9E7A2BE9-DBC3-CA1C-0529-1BCE90B2F59A}"/>
              </a:ext>
            </a:extLst>
          </p:cNvPr>
          <p:cNvPicPr>
            <a:picLocks noChangeAspect="1"/>
          </p:cNvPicPr>
          <p:nvPr userDrawn="1"/>
        </p:nvPicPr>
        <p:blipFill>
          <a:blip r:embed="rId5"/>
          <a:stretch>
            <a:fillRect/>
          </a:stretch>
        </p:blipFill>
        <p:spPr>
          <a:xfrm>
            <a:off x="-1082304" y="1940632"/>
            <a:ext cx="438012" cy="204850"/>
          </a:xfrm>
          <a:prstGeom prst="rect">
            <a:avLst/>
          </a:prstGeom>
        </p:spPr>
      </p:pic>
      <p:pic>
        <p:nvPicPr>
          <p:cNvPr id="17" name="Picture 16">
            <a:extLst>
              <a:ext uri="{FF2B5EF4-FFF2-40B4-BE49-F238E27FC236}">
                <a16:creationId xmlns:a16="http://schemas.microsoft.com/office/drawing/2014/main" id="{E35482C6-11FC-E6BA-23B1-6E14ACC8F99D}"/>
              </a:ext>
            </a:extLst>
          </p:cNvPr>
          <p:cNvPicPr>
            <a:picLocks noChangeAspect="1"/>
          </p:cNvPicPr>
          <p:nvPr userDrawn="1"/>
        </p:nvPicPr>
        <p:blipFill>
          <a:blip r:embed="rId6"/>
          <a:stretch>
            <a:fillRect/>
          </a:stretch>
        </p:blipFill>
        <p:spPr>
          <a:xfrm>
            <a:off x="-1019629" y="2663645"/>
            <a:ext cx="312660" cy="201690"/>
          </a:xfrm>
          <a:prstGeom prst="rect">
            <a:avLst/>
          </a:prstGeom>
        </p:spPr>
      </p:pic>
    </p:spTree>
    <p:extLst>
      <p:ext uri="{BB962C8B-B14F-4D97-AF65-F5344CB8AC3E}">
        <p14:creationId xmlns:p14="http://schemas.microsoft.com/office/powerpoint/2010/main" val="29367808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amp; text 2">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9667546" cy="432802"/>
          </a:xfrm>
        </p:spPr>
        <p:txBody>
          <a:bodyPr wrap="square" bIns="72000" anchor="t" anchorCtr="0">
            <a:spAutoFit/>
          </a:bodyPr>
          <a:lstStyle>
            <a:lvl1pPr algn="l">
              <a:defRPr sz="2600">
                <a:solidFill>
                  <a:schemeClr val="bg1"/>
                </a:solidFill>
              </a:defRPr>
            </a:lvl1pPr>
          </a:lstStyle>
          <a:p>
            <a:r>
              <a:rPr lang="en-GB"/>
              <a:t>Click to edit title</a:t>
            </a:r>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F8168E74-C1F2-D742-9CA1-B205FAFDA380}" type="datetime3">
              <a:rPr lang="en-GB" smtClean="0"/>
              <a:t>13 May, 2026</a:t>
            </a:fld>
            <a:endParaRPr lang="en-GB"/>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en-GB"/>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4472" y="6494949"/>
            <a:ext cx="374699" cy="153888"/>
          </a:xfrm>
        </p:spPr>
        <p:txBody>
          <a:bodyPr/>
          <a:lstStyle>
            <a:lvl1pPr>
              <a:defRPr>
                <a:solidFill>
                  <a:schemeClr val="tx2">
                    <a:lumMod val="60000"/>
                    <a:lumOff val="40000"/>
                  </a:schemeClr>
                </a:solidFill>
              </a:defRPr>
            </a:lvl1pPr>
          </a:lstStyle>
          <a:p>
            <a:fld id="{C2F92818-9D0C-420B-84CB-20E21C25F84F}" type="slidenum">
              <a:rPr lang="en-GB" smtClean="0"/>
              <a:pPr/>
              <a:t>‹#›</a:t>
            </a:fld>
            <a:endParaRPr lang="en-GB"/>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6" y="1440000"/>
            <a:ext cx="11161579" cy="4680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516006" y="947739"/>
            <a:ext cx="9667546"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pic>
        <p:nvPicPr>
          <p:cNvPr id="8" name="Graphic 7">
            <a:extLst>
              <a:ext uri="{FF2B5EF4-FFF2-40B4-BE49-F238E27FC236}">
                <a16:creationId xmlns:a16="http://schemas.microsoft.com/office/drawing/2014/main" id="{DE7E9ABE-598A-ADF0-2DA4-1C6D485A9CD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3" name="TextBox 2">
            <a:extLst>
              <a:ext uri="{FF2B5EF4-FFF2-40B4-BE49-F238E27FC236}">
                <a16:creationId xmlns:a16="http://schemas.microsoft.com/office/drawing/2014/main" id="{63EA4070-EB43-9D65-30CA-C9804AD5109C}"/>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BC0BED3F-3613-064C-77FD-BC16E5E940E7}"/>
              </a:ext>
            </a:extLst>
          </p:cNvPr>
          <p:cNvPicPr>
            <a:picLocks noChangeAspect="1"/>
          </p:cNvPicPr>
          <p:nvPr userDrawn="1"/>
        </p:nvPicPr>
        <p:blipFill>
          <a:blip r:embed="rId3"/>
          <a:stretch>
            <a:fillRect/>
          </a:stretch>
        </p:blipFill>
        <p:spPr>
          <a:xfrm>
            <a:off x="-1032553" y="6043201"/>
            <a:ext cx="338511" cy="456195"/>
          </a:xfrm>
          <a:prstGeom prst="rect">
            <a:avLst/>
          </a:prstGeom>
        </p:spPr>
      </p:pic>
      <p:sp>
        <p:nvSpPr>
          <p:cNvPr id="11" name="TextBox 10">
            <a:extLst>
              <a:ext uri="{FF2B5EF4-FFF2-40B4-BE49-F238E27FC236}">
                <a16:creationId xmlns:a16="http://schemas.microsoft.com/office/drawing/2014/main" id="{35C00226-C226-7DF7-ECE7-E6D8FC036F2C}"/>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0DF3BFF0-19D0-BB88-0AA7-8B56A4FFCEB7}"/>
              </a:ext>
            </a:extLst>
          </p:cNvPr>
          <p:cNvPicPr>
            <a:picLocks noChangeAspect="1"/>
          </p:cNvPicPr>
          <p:nvPr userDrawn="1"/>
        </p:nvPicPr>
        <p:blipFill>
          <a:blip r:embed="rId4"/>
          <a:srcRect t="32177"/>
          <a:stretch/>
        </p:blipFill>
        <p:spPr>
          <a:xfrm>
            <a:off x="-1404595" y="2958349"/>
            <a:ext cx="1082591" cy="836058"/>
          </a:xfrm>
          <a:prstGeom prst="rect">
            <a:avLst/>
          </a:prstGeom>
        </p:spPr>
      </p:pic>
      <p:pic>
        <p:nvPicPr>
          <p:cNvPr id="13" name="Picture 12">
            <a:extLst>
              <a:ext uri="{FF2B5EF4-FFF2-40B4-BE49-F238E27FC236}">
                <a16:creationId xmlns:a16="http://schemas.microsoft.com/office/drawing/2014/main" id="{65C70C1D-B830-BBAF-886E-F45D6EA63ED2}"/>
              </a:ext>
            </a:extLst>
          </p:cNvPr>
          <p:cNvPicPr>
            <a:picLocks noChangeAspect="1"/>
          </p:cNvPicPr>
          <p:nvPr userDrawn="1"/>
        </p:nvPicPr>
        <p:blipFill>
          <a:blip r:embed="rId5"/>
          <a:stretch>
            <a:fillRect/>
          </a:stretch>
        </p:blipFill>
        <p:spPr>
          <a:xfrm>
            <a:off x="-1082304" y="1940632"/>
            <a:ext cx="438012" cy="204850"/>
          </a:xfrm>
          <a:prstGeom prst="rect">
            <a:avLst/>
          </a:prstGeom>
        </p:spPr>
      </p:pic>
      <p:pic>
        <p:nvPicPr>
          <p:cNvPr id="14" name="Picture 13">
            <a:extLst>
              <a:ext uri="{FF2B5EF4-FFF2-40B4-BE49-F238E27FC236}">
                <a16:creationId xmlns:a16="http://schemas.microsoft.com/office/drawing/2014/main" id="{A4181AD0-0906-1111-C77B-CAF9C557BB50}"/>
              </a:ext>
            </a:extLst>
          </p:cNvPr>
          <p:cNvPicPr>
            <a:picLocks noChangeAspect="1"/>
          </p:cNvPicPr>
          <p:nvPr userDrawn="1"/>
        </p:nvPicPr>
        <p:blipFill>
          <a:blip r:embed="rId6"/>
          <a:stretch>
            <a:fillRect/>
          </a:stretch>
        </p:blipFill>
        <p:spPr>
          <a:xfrm>
            <a:off x="-1019629" y="2663645"/>
            <a:ext cx="312660" cy="201690"/>
          </a:xfrm>
          <a:prstGeom prst="rect">
            <a:avLst/>
          </a:prstGeom>
        </p:spPr>
      </p:pic>
    </p:spTree>
    <p:extLst>
      <p:ext uri="{BB962C8B-B14F-4D97-AF65-F5344CB8AC3E}">
        <p14:creationId xmlns:p14="http://schemas.microsoft.com/office/powerpoint/2010/main" val="34237643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mp; text 3">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9667546" cy="432802"/>
          </a:xfrm>
        </p:spPr>
        <p:txBody>
          <a:bodyPr wrap="square" bIns="72000" anchor="t" anchorCtr="0">
            <a:spAutoFit/>
          </a:bodyPr>
          <a:lstStyle>
            <a:lvl1pPr algn="l">
              <a:defRPr sz="2600">
                <a:solidFill>
                  <a:schemeClr val="bg1"/>
                </a:solidFill>
              </a:defRPr>
            </a:lvl1pPr>
          </a:lstStyle>
          <a:p>
            <a:r>
              <a:rPr lang="en-GB"/>
              <a:t>Click to edit title</a:t>
            </a:r>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B829A294-4AC5-F84D-87E9-C260625D256F}" type="datetime3">
              <a:rPr lang="en-GB" smtClean="0"/>
              <a:t>13 May, 2026</a:t>
            </a:fld>
            <a:endParaRPr lang="en-GB"/>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en-GB"/>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en-GB" smtClean="0"/>
              <a:pPr/>
              <a:t>‹#›</a:t>
            </a:fld>
            <a:endParaRPr lang="en-GB"/>
          </a:p>
        </p:txBody>
      </p:sp>
      <p:sp>
        <p:nvSpPr>
          <p:cNvPr id="11" name="Text Placeholder 10">
            <a:extLst>
              <a:ext uri="{FF2B5EF4-FFF2-40B4-BE49-F238E27FC236}">
                <a16:creationId xmlns:a16="http://schemas.microsoft.com/office/drawing/2014/main" id="{16F6AF8C-CD28-9B1A-89E5-3665A88580D0}"/>
              </a:ext>
            </a:extLst>
          </p:cNvPr>
          <p:cNvSpPr>
            <a:spLocks noGrp="1"/>
          </p:cNvSpPr>
          <p:nvPr>
            <p:ph type="body" sz="quarter" idx="13"/>
          </p:nvPr>
        </p:nvSpPr>
        <p:spPr>
          <a:xfrm>
            <a:off x="516006" y="1440000"/>
            <a:ext cx="11161579" cy="4680000"/>
          </a:xfrm>
        </p:spPr>
        <p:txBody>
          <a:bodyPr/>
          <a:lstStyle>
            <a:lvl1pPr>
              <a:buClr>
                <a:schemeClr val="tx1"/>
              </a:buClr>
              <a:defRPr>
                <a:solidFill>
                  <a:schemeClr val="bg1"/>
                </a:solidFill>
              </a:defRPr>
            </a:lvl1pPr>
            <a:lvl2pPr>
              <a:buClr>
                <a:schemeClr val="tx1"/>
              </a:buClr>
              <a:defRPr>
                <a:solidFill>
                  <a:schemeClr val="bg1"/>
                </a:solidFill>
              </a:defRPr>
            </a:lvl2pPr>
            <a:lvl3pPr>
              <a:buClr>
                <a:schemeClr val="tx1"/>
              </a:buClr>
              <a:defRPr>
                <a:solidFill>
                  <a:schemeClr val="bg1"/>
                </a:solidFill>
              </a:defRPr>
            </a:lvl3pPr>
            <a:lvl4pPr>
              <a:buClr>
                <a:schemeClr val="tx1"/>
              </a:buClr>
              <a:defRPr>
                <a:solidFill>
                  <a:schemeClr val="bg1"/>
                </a:solidFill>
              </a:defRPr>
            </a:lvl4pPr>
            <a:lvl5pPr>
              <a:buClr>
                <a:schemeClr val="tx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5">
            <a:extLst>
              <a:ext uri="{FF2B5EF4-FFF2-40B4-BE49-F238E27FC236}">
                <a16:creationId xmlns:a16="http://schemas.microsoft.com/office/drawing/2014/main" id="{B1AB3C8C-2F94-C86A-B5FF-5E7CBC8CB745}"/>
              </a:ext>
            </a:extLst>
          </p:cNvPr>
          <p:cNvSpPr>
            <a:spLocks noGrp="1"/>
          </p:cNvSpPr>
          <p:nvPr>
            <p:ph type="body" sz="quarter" idx="26"/>
          </p:nvPr>
        </p:nvSpPr>
        <p:spPr>
          <a:xfrm>
            <a:off x="516006" y="947739"/>
            <a:ext cx="9667546"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pic>
        <p:nvPicPr>
          <p:cNvPr id="8" name="Graphic 7">
            <a:extLst>
              <a:ext uri="{FF2B5EF4-FFF2-40B4-BE49-F238E27FC236}">
                <a16:creationId xmlns:a16="http://schemas.microsoft.com/office/drawing/2014/main" id="{15154D05-DD09-C85A-C5F4-855D6176103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3" name="TextBox 2">
            <a:extLst>
              <a:ext uri="{FF2B5EF4-FFF2-40B4-BE49-F238E27FC236}">
                <a16:creationId xmlns:a16="http://schemas.microsoft.com/office/drawing/2014/main" id="{ABED896B-940B-AE04-DC24-B6C52854C6CE}"/>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4D294566-014C-C114-AC32-857B49B28663}"/>
              </a:ext>
            </a:extLst>
          </p:cNvPr>
          <p:cNvPicPr>
            <a:picLocks noChangeAspect="1"/>
          </p:cNvPicPr>
          <p:nvPr userDrawn="1"/>
        </p:nvPicPr>
        <p:blipFill>
          <a:blip r:embed="rId3"/>
          <a:stretch>
            <a:fillRect/>
          </a:stretch>
        </p:blipFill>
        <p:spPr>
          <a:xfrm>
            <a:off x="-1032553" y="6043201"/>
            <a:ext cx="338511" cy="456195"/>
          </a:xfrm>
          <a:prstGeom prst="rect">
            <a:avLst/>
          </a:prstGeom>
        </p:spPr>
      </p:pic>
      <p:sp>
        <p:nvSpPr>
          <p:cNvPr id="10" name="TextBox 9">
            <a:extLst>
              <a:ext uri="{FF2B5EF4-FFF2-40B4-BE49-F238E27FC236}">
                <a16:creationId xmlns:a16="http://schemas.microsoft.com/office/drawing/2014/main" id="{6A14CC65-8058-744F-A6E3-E81F03C00EDD}"/>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B8379C14-E914-F294-1D65-FE5AA348ADFC}"/>
              </a:ext>
            </a:extLst>
          </p:cNvPr>
          <p:cNvPicPr>
            <a:picLocks noChangeAspect="1"/>
          </p:cNvPicPr>
          <p:nvPr userDrawn="1"/>
        </p:nvPicPr>
        <p:blipFill>
          <a:blip r:embed="rId4"/>
          <a:srcRect t="32177"/>
          <a:stretch/>
        </p:blipFill>
        <p:spPr>
          <a:xfrm>
            <a:off x="-1404595" y="2958349"/>
            <a:ext cx="1082591" cy="836058"/>
          </a:xfrm>
          <a:prstGeom prst="rect">
            <a:avLst/>
          </a:prstGeom>
        </p:spPr>
      </p:pic>
      <p:pic>
        <p:nvPicPr>
          <p:cNvPr id="13" name="Picture 12">
            <a:extLst>
              <a:ext uri="{FF2B5EF4-FFF2-40B4-BE49-F238E27FC236}">
                <a16:creationId xmlns:a16="http://schemas.microsoft.com/office/drawing/2014/main" id="{EB152BD5-62EB-312E-EBF9-F5B9B6047F49}"/>
              </a:ext>
            </a:extLst>
          </p:cNvPr>
          <p:cNvPicPr>
            <a:picLocks noChangeAspect="1"/>
          </p:cNvPicPr>
          <p:nvPr userDrawn="1"/>
        </p:nvPicPr>
        <p:blipFill>
          <a:blip r:embed="rId5"/>
          <a:stretch>
            <a:fillRect/>
          </a:stretch>
        </p:blipFill>
        <p:spPr>
          <a:xfrm>
            <a:off x="-1082304" y="1940632"/>
            <a:ext cx="438012" cy="204850"/>
          </a:xfrm>
          <a:prstGeom prst="rect">
            <a:avLst/>
          </a:prstGeom>
        </p:spPr>
      </p:pic>
      <p:pic>
        <p:nvPicPr>
          <p:cNvPr id="14" name="Picture 13">
            <a:extLst>
              <a:ext uri="{FF2B5EF4-FFF2-40B4-BE49-F238E27FC236}">
                <a16:creationId xmlns:a16="http://schemas.microsoft.com/office/drawing/2014/main" id="{E3E243A9-EC1B-6902-4A12-DF0C224D86A4}"/>
              </a:ext>
            </a:extLst>
          </p:cNvPr>
          <p:cNvPicPr>
            <a:picLocks noChangeAspect="1"/>
          </p:cNvPicPr>
          <p:nvPr userDrawn="1"/>
        </p:nvPicPr>
        <p:blipFill>
          <a:blip r:embed="rId6"/>
          <a:stretch>
            <a:fillRect/>
          </a:stretch>
        </p:blipFill>
        <p:spPr>
          <a:xfrm>
            <a:off x="-1019629" y="2663645"/>
            <a:ext cx="312660" cy="201690"/>
          </a:xfrm>
          <a:prstGeom prst="rect">
            <a:avLst/>
          </a:prstGeom>
        </p:spPr>
      </p:pic>
    </p:spTree>
    <p:extLst>
      <p:ext uri="{BB962C8B-B14F-4D97-AF65-F5344CB8AC3E}">
        <p14:creationId xmlns:p14="http://schemas.microsoft.com/office/powerpoint/2010/main" val="29728347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mp; text - light backgroun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F7AD35-07BE-675A-5EE9-EB28FA6DBF79}"/>
              </a:ext>
            </a:extLst>
          </p:cNvPr>
          <p:cNvSpPr/>
          <p:nvPr userDrawn="1"/>
        </p:nvSpPr>
        <p:spPr>
          <a:xfrm>
            <a:off x="0" y="1440000"/>
            <a:ext cx="12193588" cy="5418000"/>
          </a:xfrm>
          <a:prstGeom prst="rect">
            <a:avLst/>
          </a:prstGeom>
          <a:solidFill>
            <a:srgbClr val="EBF1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9667546" cy="432802"/>
          </a:xfrm>
        </p:spPr>
        <p:txBody>
          <a:bodyPr wrap="square" bIns="72000" anchor="t" anchorCtr="0">
            <a:spAutoFit/>
          </a:bodyPr>
          <a:lstStyle>
            <a:lvl1pPr algn="l">
              <a:defRPr sz="2600">
                <a:solidFill>
                  <a:schemeClr val="tx1"/>
                </a:solidFill>
              </a:defRPr>
            </a:lvl1pPr>
          </a:lstStyle>
          <a:p>
            <a:r>
              <a:rPr lang="en-GB"/>
              <a:t>Click to edit title</a:t>
            </a:r>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tx1"/>
                </a:solidFill>
              </a:defRPr>
            </a:lvl1pPr>
          </a:lstStyle>
          <a:p>
            <a:fld id="{10A37092-F642-7542-B85A-613B27DD4291}" type="datetime3">
              <a:rPr lang="en-GB" smtClean="0"/>
              <a:t>13 May, 2026</a:t>
            </a:fld>
            <a:endParaRPr lang="en-GB"/>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en-GB"/>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en-GB" smtClean="0"/>
              <a:pPr/>
              <a:t>‹#›</a:t>
            </a:fld>
            <a:endParaRPr lang="en-GB"/>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6" y="1656000"/>
            <a:ext cx="11161579" cy="446400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6" y="947739"/>
            <a:ext cx="9667546"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pic>
        <p:nvPicPr>
          <p:cNvPr id="9" name="Graphic 8">
            <a:extLst>
              <a:ext uri="{FF2B5EF4-FFF2-40B4-BE49-F238E27FC236}">
                <a16:creationId xmlns:a16="http://schemas.microsoft.com/office/drawing/2014/main" id="{39DC7169-8B85-CEDE-7370-051A4A5BF2F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11" name="TextBox 10">
            <a:extLst>
              <a:ext uri="{FF2B5EF4-FFF2-40B4-BE49-F238E27FC236}">
                <a16:creationId xmlns:a16="http://schemas.microsoft.com/office/drawing/2014/main" id="{DAC1EDCE-9759-281B-ABFC-9696AC7C51F9}"/>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2" name="Picture 11">
            <a:extLst>
              <a:ext uri="{FF2B5EF4-FFF2-40B4-BE49-F238E27FC236}">
                <a16:creationId xmlns:a16="http://schemas.microsoft.com/office/drawing/2014/main" id="{C8F224C3-3685-9F99-D43B-C0F2BAF60B8E}"/>
              </a:ext>
            </a:extLst>
          </p:cNvPr>
          <p:cNvPicPr>
            <a:picLocks noChangeAspect="1"/>
          </p:cNvPicPr>
          <p:nvPr userDrawn="1"/>
        </p:nvPicPr>
        <p:blipFill>
          <a:blip r:embed="rId3"/>
          <a:stretch>
            <a:fillRect/>
          </a:stretch>
        </p:blipFill>
        <p:spPr>
          <a:xfrm>
            <a:off x="-1032553" y="6043201"/>
            <a:ext cx="338511" cy="456195"/>
          </a:xfrm>
          <a:prstGeom prst="rect">
            <a:avLst/>
          </a:prstGeom>
        </p:spPr>
      </p:pic>
      <p:sp>
        <p:nvSpPr>
          <p:cNvPr id="13" name="TextBox 12">
            <a:extLst>
              <a:ext uri="{FF2B5EF4-FFF2-40B4-BE49-F238E27FC236}">
                <a16:creationId xmlns:a16="http://schemas.microsoft.com/office/drawing/2014/main" id="{30503A48-5461-7D08-431F-02542CD126A9}"/>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4" name="Picture 13">
            <a:extLst>
              <a:ext uri="{FF2B5EF4-FFF2-40B4-BE49-F238E27FC236}">
                <a16:creationId xmlns:a16="http://schemas.microsoft.com/office/drawing/2014/main" id="{FBFE9543-7CBF-0289-67C7-7B848680BBBF}"/>
              </a:ext>
            </a:extLst>
          </p:cNvPr>
          <p:cNvPicPr>
            <a:picLocks noChangeAspect="1"/>
          </p:cNvPicPr>
          <p:nvPr userDrawn="1"/>
        </p:nvPicPr>
        <p:blipFill>
          <a:blip r:embed="rId4"/>
          <a:srcRect t="32177"/>
          <a:stretch/>
        </p:blipFill>
        <p:spPr>
          <a:xfrm>
            <a:off x="-1404595" y="2958349"/>
            <a:ext cx="1082591" cy="836058"/>
          </a:xfrm>
          <a:prstGeom prst="rect">
            <a:avLst/>
          </a:prstGeom>
        </p:spPr>
      </p:pic>
      <p:pic>
        <p:nvPicPr>
          <p:cNvPr id="15" name="Picture 14">
            <a:extLst>
              <a:ext uri="{FF2B5EF4-FFF2-40B4-BE49-F238E27FC236}">
                <a16:creationId xmlns:a16="http://schemas.microsoft.com/office/drawing/2014/main" id="{2636F492-53C9-6EF4-F9F8-F0677B25A423}"/>
              </a:ext>
            </a:extLst>
          </p:cNvPr>
          <p:cNvPicPr>
            <a:picLocks noChangeAspect="1"/>
          </p:cNvPicPr>
          <p:nvPr userDrawn="1"/>
        </p:nvPicPr>
        <p:blipFill>
          <a:blip r:embed="rId5"/>
          <a:stretch>
            <a:fillRect/>
          </a:stretch>
        </p:blipFill>
        <p:spPr>
          <a:xfrm>
            <a:off x="-1082304" y="1940632"/>
            <a:ext cx="438012" cy="204850"/>
          </a:xfrm>
          <a:prstGeom prst="rect">
            <a:avLst/>
          </a:prstGeom>
        </p:spPr>
      </p:pic>
      <p:pic>
        <p:nvPicPr>
          <p:cNvPr id="16" name="Picture 15">
            <a:extLst>
              <a:ext uri="{FF2B5EF4-FFF2-40B4-BE49-F238E27FC236}">
                <a16:creationId xmlns:a16="http://schemas.microsoft.com/office/drawing/2014/main" id="{4FE64523-E296-B93F-4467-10EE00D6D7A7}"/>
              </a:ext>
            </a:extLst>
          </p:cNvPr>
          <p:cNvPicPr>
            <a:picLocks noChangeAspect="1"/>
          </p:cNvPicPr>
          <p:nvPr userDrawn="1"/>
        </p:nvPicPr>
        <p:blipFill>
          <a:blip r:embed="rId6"/>
          <a:stretch>
            <a:fillRect/>
          </a:stretch>
        </p:blipFill>
        <p:spPr>
          <a:xfrm>
            <a:off x="-1019629" y="2663645"/>
            <a:ext cx="312660" cy="201690"/>
          </a:xfrm>
          <a:prstGeom prst="rect">
            <a:avLst/>
          </a:prstGeom>
        </p:spPr>
      </p:pic>
    </p:spTree>
    <p:extLst>
      <p:ext uri="{BB962C8B-B14F-4D97-AF65-F5344CB8AC3E}">
        <p14:creationId xmlns:p14="http://schemas.microsoft.com/office/powerpoint/2010/main" val="4910500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2" name="Title 1">
            <a:extLst>
              <a:ext uri="{FF2B5EF4-FFF2-40B4-BE49-F238E27FC236}">
                <a16:creationId xmlns:a16="http://schemas.microsoft.com/office/drawing/2014/main" id="{083E5FDF-E153-FB83-59F8-C3342050DE2D}"/>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9DD7CAFE-A12E-5475-CF59-1899CB4CCFB7}"/>
              </a:ext>
            </a:extLst>
          </p:cNvPr>
          <p:cNvSpPr>
            <a:spLocks noGrp="1"/>
          </p:cNvSpPr>
          <p:nvPr>
            <p:ph type="body" sz="quarter" idx="11"/>
          </p:nvPr>
        </p:nvSpPr>
        <p:spPr>
          <a:xfrm>
            <a:off x="565459"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F2A6583E-996E-9E75-7882-FF852DCA2D48}"/>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4" name="Graphic 3">
            <a:extLst>
              <a:ext uri="{FF2B5EF4-FFF2-40B4-BE49-F238E27FC236}">
                <a16:creationId xmlns:a16="http://schemas.microsoft.com/office/drawing/2014/main" id="{98B398BD-E307-7CAE-222B-4DE44E769D5A}"/>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1957965217"/>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mp; text - dark backgroun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F7AD35-07BE-675A-5EE9-EB28FA6DBF79}"/>
              </a:ext>
            </a:extLst>
          </p:cNvPr>
          <p:cNvSpPr/>
          <p:nvPr userDrawn="1"/>
        </p:nvSpPr>
        <p:spPr>
          <a:xfrm>
            <a:off x="0" y="1440000"/>
            <a:ext cx="12193588" cy="541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9667546" cy="432802"/>
          </a:xfrm>
        </p:spPr>
        <p:txBody>
          <a:bodyPr wrap="square" bIns="72000" anchor="t" anchorCtr="0">
            <a:spAutoFit/>
          </a:bodyPr>
          <a:lstStyle>
            <a:lvl1pPr algn="l">
              <a:defRPr sz="2600">
                <a:solidFill>
                  <a:schemeClr val="tx1"/>
                </a:solidFill>
              </a:defRPr>
            </a:lvl1pPr>
          </a:lstStyle>
          <a:p>
            <a:r>
              <a:rPr lang="en-GB"/>
              <a:t>Click to edit title</a:t>
            </a:r>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BED509E5-4181-8243-B59D-0F5A34B53FB4}" type="datetime3">
              <a:rPr lang="en-GB" smtClean="0"/>
              <a:t>13 May, 2026</a:t>
            </a:fld>
            <a:endParaRPr lang="en-GB"/>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en-GB"/>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4472" y="6494949"/>
            <a:ext cx="374699" cy="153888"/>
          </a:xfrm>
        </p:spPr>
        <p:txBody>
          <a:bodyPr/>
          <a:lstStyle>
            <a:lvl1pPr algn="r">
              <a:defRPr>
                <a:solidFill>
                  <a:schemeClr val="tx2">
                    <a:lumMod val="60000"/>
                    <a:lumOff val="40000"/>
                  </a:schemeClr>
                </a:solidFill>
              </a:defRPr>
            </a:lvl1pPr>
          </a:lstStyle>
          <a:p>
            <a:fld id="{C2F92818-9D0C-420B-84CB-20E21C25F84F}" type="slidenum">
              <a:rPr lang="en-GB" smtClean="0"/>
              <a:pPr/>
              <a:t>‹#›</a:t>
            </a:fld>
            <a:endParaRPr lang="en-GB"/>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6" y="1656000"/>
            <a:ext cx="11161579" cy="4464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6" y="947739"/>
            <a:ext cx="9667546"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pic>
        <p:nvPicPr>
          <p:cNvPr id="11" name="Graphic 10">
            <a:extLst>
              <a:ext uri="{FF2B5EF4-FFF2-40B4-BE49-F238E27FC236}">
                <a16:creationId xmlns:a16="http://schemas.microsoft.com/office/drawing/2014/main" id="{ADC0A9E1-1549-C303-148D-86A70CA050FA}"/>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9" name="TextBox 8">
            <a:extLst>
              <a:ext uri="{FF2B5EF4-FFF2-40B4-BE49-F238E27FC236}">
                <a16:creationId xmlns:a16="http://schemas.microsoft.com/office/drawing/2014/main" id="{74C06C06-FBD5-68AB-93E0-39E6BAF78AE4}"/>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2" name="Picture 11">
            <a:extLst>
              <a:ext uri="{FF2B5EF4-FFF2-40B4-BE49-F238E27FC236}">
                <a16:creationId xmlns:a16="http://schemas.microsoft.com/office/drawing/2014/main" id="{25CB06FE-F5E5-80F2-05D3-827D75F5B745}"/>
              </a:ext>
            </a:extLst>
          </p:cNvPr>
          <p:cNvPicPr>
            <a:picLocks noChangeAspect="1"/>
          </p:cNvPicPr>
          <p:nvPr userDrawn="1"/>
        </p:nvPicPr>
        <p:blipFill>
          <a:blip r:embed="rId3"/>
          <a:stretch>
            <a:fillRect/>
          </a:stretch>
        </p:blipFill>
        <p:spPr>
          <a:xfrm>
            <a:off x="-1032553" y="6043201"/>
            <a:ext cx="338511" cy="456195"/>
          </a:xfrm>
          <a:prstGeom prst="rect">
            <a:avLst/>
          </a:prstGeom>
        </p:spPr>
      </p:pic>
      <p:sp>
        <p:nvSpPr>
          <p:cNvPr id="13" name="TextBox 12">
            <a:extLst>
              <a:ext uri="{FF2B5EF4-FFF2-40B4-BE49-F238E27FC236}">
                <a16:creationId xmlns:a16="http://schemas.microsoft.com/office/drawing/2014/main" id="{1E441848-DB0B-436B-4C8C-48ACBD36CB3D}"/>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4" name="Picture 13">
            <a:extLst>
              <a:ext uri="{FF2B5EF4-FFF2-40B4-BE49-F238E27FC236}">
                <a16:creationId xmlns:a16="http://schemas.microsoft.com/office/drawing/2014/main" id="{34D3F1FB-44CC-2FFF-0F51-1D9057EB18BE}"/>
              </a:ext>
            </a:extLst>
          </p:cNvPr>
          <p:cNvPicPr>
            <a:picLocks noChangeAspect="1"/>
          </p:cNvPicPr>
          <p:nvPr userDrawn="1"/>
        </p:nvPicPr>
        <p:blipFill>
          <a:blip r:embed="rId4"/>
          <a:srcRect t="32177"/>
          <a:stretch/>
        </p:blipFill>
        <p:spPr>
          <a:xfrm>
            <a:off x="-1404595" y="2958349"/>
            <a:ext cx="1082591" cy="836058"/>
          </a:xfrm>
          <a:prstGeom prst="rect">
            <a:avLst/>
          </a:prstGeom>
        </p:spPr>
      </p:pic>
      <p:pic>
        <p:nvPicPr>
          <p:cNvPr id="15" name="Picture 14">
            <a:extLst>
              <a:ext uri="{FF2B5EF4-FFF2-40B4-BE49-F238E27FC236}">
                <a16:creationId xmlns:a16="http://schemas.microsoft.com/office/drawing/2014/main" id="{9C69F818-4B7C-1DF0-394D-0B0F938BD053}"/>
              </a:ext>
            </a:extLst>
          </p:cNvPr>
          <p:cNvPicPr>
            <a:picLocks noChangeAspect="1"/>
          </p:cNvPicPr>
          <p:nvPr userDrawn="1"/>
        </p:nvPicPr>
        <p:blipFill>
          <a:blip r:embed="rId5"/>
          <a:stretch>
            <a:fillRect/>
          </a:stretch>
        </p:blipFill>
        <p:spPr>
          <a:xfrm>
            <a:off x="-1082304" y="1940632"/>
            <a:ext cx="438012" cy="204850"/>
          </a:xfrm>
          <a:prstGeom prst="rect">
            <a:avLst/>
          </a:prstGeom>
        </p:spPr>
      </p:pic>
      <p:pic>
        <p:nvPicPr>
          <p:cNvPr id="16" name="Picture 15">
            <a:extLst>
              <a:ext uri="{FF2B5EF4-FFF2-40B4-BE49-F238E27FC236}">
                <a16:creationId xmlns:a16="http://schemas.microsoft.com/office/drawing/2014/main" id="{F028DE18-1375-B647-B110-60BC4F4E8B55}"/>
              </a:ext>
            </a:extLst>
          </p:cNvPr>
          <p:cNvPicPr>
            <a:picLocks noChangeAspect="1"/>
          </p:cNvPicPr>
          <p:nvPr userDrawn="1"/>
        </p:nvPicPr>
        <p:blipFill>
          <a:blip r:embed="rId6"/>
          <a:stretch>
            <a:fillRect/>
          </a:stretch>
        </p:blipFill>
        <p:spPr>
          <a:xfrm>
            <a:off x="-1019629" y="2663645"/>
            <a:ext cx="312660" cy="201690"/>
          </a:xfrm>
          <a:prstGeom prst="rect">
            <a:avLst/>
          </a:prstGeom>
        </p:spPr>
      </p:pic>
    </p:spTree>
    <p:extLst>
      <p:ext uri="{BB962C8B-B14F-4D97-AF65-F5344CB8AC3E}">
        <p14:creationId xmlns:p14="http://schemas.microsoft.com/office/powerpoint/2010/main" val="22556878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ext &amp; image right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5227881" cy="432802"/>
          </a:xfrm>
        </p:spPr>
        <p:txBody>
          <a:bodyPr wrap="square" bIns="72000" anchor="t" anchorCtr="0">
            <a:spAutoFit/>
          </a:bodyPr>
          <a:lstStyle>
            <a:lvl1pPr algn="l">
              <a:defRPr sz="2600">
                <a:solidFill>
                  <a:schemeClr val="tx1"/>
                </a:solidFill>
              </a:defRPr>
            </a:lvl1pPr>
          </a:lstStyle>
          <a:p>
            <a:r>
              <a:rPr lang="en-GB"/>
              <a:t>Click to edit title</a:t>
            </a:r>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tx1"/>
                </a:solidFill>
              </a:defRPr>
            </a:lvl1pPr>
          </a:lstStyle>
          <a:p>
            <a:fld id="{F57CA290-0BCC-584A-9792-2423CAD04943}" type="datetime3">
              <a:rPr lang="en-GB" smtClean="0"/>
              <a:t>13 May, 2026</a:t>
            </a:fld>
            <a:endParaRPr lang="en-GB"/>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en-GB"/>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4472" y="6494949"/>
            <a:ext cx="374699" cy="153888"/>
          </a:xfrm>
        </p:spPr>
        <p:txBody>
          <a:bodyPr/>
          <a:lstStyle>
            <a:lvl1pPr>
              <a:defRPr>
                <a:solidFill>
                  <a:schemeClr val="tx2">
                    <a:lumMod val="60000"/>
                    <a:lumOff val="40000"/>
                  </a:schemeClr>
                </a:solidFill>
              </a:defRPr>
            </a:lvl1pPr>
          </a:lstStyle>
          <a:p>
            <a:fld id="{C2F92818-9D0C-420B-84CB-20E21C25F84F}" type="slidenum">
              <a:rPr lang="en-GB" smtClean="0"/>
              <a:pPr/>
              <a:t>‹#›</a:t>
            </a:fld>
            <a:endParaRPr lang="en-GB"/>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5" y="1440000"/>
            <a:ext cx="5227881" cy="468000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6" y="947739"/>
            <a:ext cx="5227881"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8" name="Picture Placeholder 15">
            <a:extLst>
              <a:ext uri="{FF2B5EF4-FFF2-40B4-BE49-F238E27FC236}">
                <a16:creationId xmlns:a16="http://schemas.microsoft.com/office/drawing/2014/main" id="{C97B6A17-A79B-2D2E-B5FE-BF99F760DB3B}"/>
              </a:ext>
            </a:extLst>
          </p:cNvPr>
          <p:cNvSpPr>
            <a:spLocks noGrp="1"/>
          </p:cNvSpPr>
          <p:nvPr>
            <p:ph type="pic" sz="quarter" idx="27" hasCustomPrompt="1"/>
          </p:nvPr>
        </p:nvSpPr>
        <p:spPr>
          <a:xfrm>
            <a:off x="6096794" y="0"/>
            <a:ext cx="6096794" cy="6858000"/>
          </a:xfrm>
        </p:spPr>
        <p:txBody>
          <a:bodyPr tIns="504000"/>
          <a:lstStyle>
            <a:lvl1pPr marL="0" indent="0" algn="ctr">
              <a:buNone/>
              <a:defRPr>
                <a:solidFill>
                  <a:schemeClr val="tx1"/>
                </a:solidFill>
              </a:defRPr>
            </a:lvl1pPr>
          </a:lstStyle>
          <a:p>
            <a:r>
              <a:rPr lang="en-GB"/>
              <a:t>Click to insert picture</a:t>
            </a:r>
          </a:p>
        </p:txBody>
      </p:sp>
      <p:sp>
        <p:nvSpPr>
          <p:cNvPr id="3" name="TextBox 2">
            <a:extLst>
              <a:ext uri="{FF2B5EF4-FFF2-40B4-BE49-F238E27FC236}">
                <a16:creationId xmlns:a16="http://schemas.microsoft.com/office/drawing/2014/main" id="{84F3970D-5128-14BA-B1FB-5F4F6F624D53}"/>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D00168CC-6D4A-D3D9-D2FB-2068273EE7B8}"/>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1" name="TextBox 10">
            <a:extLst>
              <a:ext uri="{FF2B5EF4-FFF2-40B4-BE49-F238E27FC236}">
                <a16:creationId xmlns:a16="http://schemas.microsoft.com/office/drawing/2014/main" id="{9A653868-CBCA-D554-5074-77C05A70D81D}"/>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9B84FFF2-670D-0134-15EC-875872153D81}"/>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3" name="Picture 12">
            <a:extLst>
              <a:ext uri="{FF2B5EF4-FFF2-40B4-BE49-F238E27FC236}">
                <a16:creationId xmlns:a16="http://schemas.microsoft.com/office/drawing/2014/main" id="{15BE3979-AFCB-5DA2-10C0-817672643630}"/>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4" name="Picture 13">
            <a:extLst>
              <a:ext uri="{FF2B5EF4-FFF2-40B4-BE49-F238E27FC236}">
                <a16:creationId xmlns:a16="http://schemas.microsoft.com/office/drawing/2014/main" id="{507290C6-5BB3-A722-EC2A-571B728C0B39}"/>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5" name="TextBox 14">
            <a:extLst>
              <a:ext uri="{FF2B5EF4-FFF2-40B4-BE49-F238E27FC236}">
                <a16:creationId xmlns:a16="http://schemas.microsoft.com/office/drawing/2014/main" id="{39B20A6E-C3BD-9548-DBF8-B76CC54AFC6E}"/>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38372568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ext &amp; image right - Dark Blue">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A1B5EA6-A0E2-3B9F-59B0-74E42BD02B54}"/>
              </a:ext>
            </a:extLst>
          </p:cNvPr>
          <p:cNvSpPr/>
          <p:nvPr userDrawn="1"/>
        </p:nvSpPr>
        <p:spPr>
          <a:xfrm>
            <a:off x="0" y="0"/>
            <a:ext cx="6096794"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5" y="514350"/>
            <a:ext cx="5227881" cy="432802"/>
          </a:xfrm>
        </p:spPr>
        <p:txBody>
          <a:bodyPr wrap="square" bIns="72000" anchor="t" anchorCtr="0">
            <a:spAutoFit/>
          </a:bodyPr>
          <a:lstStyle>
            <a:lvl1pPr algn="l">
              <a:defRPr sz="2600">
                <a:solidFill>
                  <a:schemeClr val="bg1"/>
                </a:solidFill>
              </a:defRPr>
            </a:lvl1pPr>
          </a:lstStyle>
          <a:p>
            <a:r>
              <a:rPr lang="en-GB"/>
              <a:t>Click to edit title</a:t>
            </a:r>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DBAA2410-14E8-1542-A8E1-F1C90BB3F55A}" type="datetime3">
              <a:rPr lang="en-GB" smtClean="0"/>
              <a:t>13 May, 2026</a:t>
            </a:fld>
            <a:endParaRPr lang="en-GB"/>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en-GB"/>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5" y="1440000"/>
            <a:ext cx="5227881" cy="4680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516005" y="947739"/>
            <a:ext cx="5227881"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8" name="Picture Placeholder 15">
            <a:extLst>
              <a:ext uri="{FF2B5EF4-FFF2-40B4-BE49-F238E27FC236}">
                <a16:creationId xmlns:a16="http://schemas.microsoft.com/office/drawing/2014/main" id="{D0F135B0-EEDC-1771-A31F-233B18D7E883}"/>
              </a:ext>
            </a:extLst>
          </p:cNvPr>
          <p:cNvSpPr>
            <a:spLocks noGrp="1"/>
          </p:cNvSpPr>
          <p:nvPr>
            <p:ph type="pic" sz="quarter" idx="27" hasCustomPrompt="1"/>
          </p:nvPr>
        </p:nvSpPr>
        <p:spPr>
          <a:xfrm>
            <a:off x="6096794" y="0"/>
            <a:ext cx="6096794" cy="6858000"/>
          </a:xfrm>
        </p:spPr>
        <p:txBody>
          <a:bodyPr tIns="504000"/>
          <a:lstStyle>
            <a:lvl1pPr marL="0" indent="0" algn="ctr">
              <a:buNone/>
              <a:defRPr>
                <a:solidFill>
                  <a:schemeClr val="tx1"/>
                </a:solidFill>
              </a:defRPr>
            </a:lvl1pPr>
          </a:lstStyle>
          <a:p>
            <a:r>
              <a:rPr lang="en-GB"/>
              <a:t>Click to insert picture</a:t>
            </a:r>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en-GB" smtClean="0"/>
              <a:pPr/>
              <a:t>‹#›</a:t>
            </a:fld>
            <a:endParaRPr lang="en-GB"/>
          </a:p>
        </p:txBody>
      </p:sp>
      <p:sp>
        <p:nvSpPr>
          <p:cNvPr id="3" name="TextBox 2">
            <a:extLst>
              <a:ext uri="{FF2B5EF4-FFF2-40B4-BE49-F238E27FC236}">
                <a16:creationId xmlns:a16="http://schemas.microsoft.com/office/drawing/2014/main" id="{ABAC40BB-B2C0-10EF-905E-778852D5348D}"/>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1" name="Picture 10">
            <a:extLst>
              <a:ext uri="{FF2B5EF4-FFF2-40B4-BE49-F238E27FC236}">
                <a16:creationId xmlns:a16="http://schemas.microsoft.com/office/drawing/2014/main" id="{B09EEFC4-204E-9065-6674-EEF4F8C023F9}"/>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2" name="TextBox 11">
            <a:extLst>
              <a:ext uri="{FF2B5EF4-FFF2-40B4-BE49-F238E27FC236}">
                <a16:creationId xmlns:a16="http://schemas.microsoft.com/office/drawing/2014/main" id="{812A2870-86FB-3D69-F801-C366E6398B6C}"/>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3" name="Picture 12">
            <a:extLst>
              <a:ext uri="{FF2B5EF4-FFF2-40B4-BE49-F238E27FC236}">
                <a16:creationId xmlns:a16="http://schemas.microsoft.com/office/drawing/2014/main" id="{04D759B6-9C7C-4D35-6158-8272598C3D2B}"/>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4" name="Picture 13">
            <a:extLst>
              <a:ext uri="{FF2B5EF4-FFF2-40B4-BE49-F238E27FC236}">
                <a16:creationId xmlns:a16="http://schemas.microsoft.com/office/drawing/2014/main" id="{9B43CBAE-93F0-D92F-D62C-5611344AE9E2}"/>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5" name="Picture 14">
            <a:extLst>
              <a:ext uri="{FF2B5EF4-FFF2-40B4-BE49-F238E27FC236}">
                <a16:creationId xmlns:a16="http://schemas.microsoft.com/office/drawing/2014/main" id="{F62D5BEB-64F1-78DB-21A4-C65273DBC205}"/>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6" name="TextBox 15">
            <a:extLst>
              <a:ext uri="{FF2B5EF4-FFF2-40B4-BE49-F238E27FC236}">
                <a16:creationId xmlns:a16="http://schemas.microsoft.com/office/drawing/2014/main" id="{3648C5D2-B742-241A-5D34-29DED7EE9141}"/>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15425810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ext &amp; image right - Blue">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A1B5EA6-A0E2-3B9F-59B0-74E42BD02B54}"/>
              </a:ext>
            </a:extLst>
          </p:cNvPr>
          <p:cNvSpPr/>
          <p:nvPr userDrawn="1"/>
        </p:nvSpPr>
        <p:spPr>
          <a:xfrm>
            <a:off x="0" y="0"/>
            <a:ext cx="6096794"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5" y="514350"/>
            <a:ext cx="5227881" cy="432802"/>
          </a:xfrm>
        </p:spPr>
        <p:txBody>
          <a:bodyPr wrap="square" bIns="72000" anchor="t" anchorCtr="0">
            <a:spAutoFit/>
          </a:bodyPr>
          <a:lstStyle>
            <a:lvl1pPr algn="l">
              <a:defRPr sz="2600">
                <a:solidFill>
                  <a:schemeClr val="bg1"/>
                </a:solidFill>
              </a:defRPr>
            </a:lvl1pPr>
          </a:lstStyle>
          <a:p>
            <a:r>
              <a:rPr lang="en-GB"/>
              <a:t>Click to edit title</a:t>
            </a:r>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6F1115F5-A98B-054E-B1B1-46320BCA105B}" type="datetime3">
              <a:rPr lang="en-GB" smtClean="0"/>
              <a:t>13 May, 2026</a:t>
            </a:fld>
            <a:endParaRPr lang="en-GB"/>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516005" y="947739"/>
            <a:ext cx="5227881"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8" name="Picture Placeholder 15">
            <a:extLst>
              <a:ext uri="{FF2B5EF4-FFF2-40B4-BE49-F238E27FC236}">
                <a16:creationId xmlns:a16="http://schemas.microsoft.com/office/drawing/2014/main" id="{D0F135B0-EEDC-1771-A31F-233B18D7E883}"/>
              </a:ext>
            </a:extLst>
          </p:cNvPr>
          <p:cNvSpPr>
            <a:spLocks noGrp="1"/>
          </p:cNvSpPr>
          <p:nvPr>
            <p:ph type="pic" sz="quarter" idx="27" hasCustomPrompt="1"/>
          </p:nvPr>
        </p:nvSpPr>
        <p:spPr>
          <a:xfrm>
            <a:off x="6096794" y="0"/>
            <a:ext cx="6096794" cy="6858000"/>
          </a:xfrm>
        </p:spPr>
        <p:txBody>
          <a:bodyPr tIns="504000"/>
          <a:lstStyle>
            <a:lvl1pPr marL="0" indent="0" algn="ctr">
              <a:buNone/>
              <a:defRPr>
                <a:solidFill>
                  <a:schemeClr val="tx1"/>
                </a:solidFill>
              </a:defRPr>
            </a:lvl1pPr>
          </a:lstStyle>
          <a:p>
            <a:r>
              <a:rPr lang="en-GB"/>
              <a:t>Click to insert picture</a:t>
            </a:r>
          </a:p>
        </p:txBody>
      </p:sp>
      <p:sp>
        <p:nvSpPr>
          <p:cNvPr id="3" name="Text Placeholder 10">
            <a:extLst>
              <a:ext uri="{FF2B5EF4-FFF2-40B4-BE49-F238E27FC236}">
                <a16:creationId xmlns:a16="http://schemas.microsoft.com/office/drawing/2014/main" id="{6A3C0ADC-D3F8-0ACF-ADBE-55F01C3C17D2}"/>
              </a:ext>
            </a:extLst>
          </p:cNvPr>
          <p:cNvSpPr>
            <a:spLocks noGrp="1"/>
          </p:cNvSpPr>
          <p:nvPr>
            <p:ph type="body" sz="quarter" idx="13"/>
          </p:nvPr>
        </p:nvSpPr>
        <p:spPr>
          <a:xfrm>
            <a:off x="516005" y="1440000"/>
            <a:ext cx="5227881" cy="4680000"/>
          </a:xfrm>
        </p:spPr>
        <p:txBody>
          <a:bodyPr/>
          <a:lstStyle>
            <a:lvl1pPr>
              <a:buClr>
                <a:schemeClr val="tx1"/>
              </a:buClr>
              <a:defRPr>
                <a:solidFill>
                  <a:schemeClr val="bg1"/>
                </a:solidFill>
              </a:defRPr>
            </a:lvl1pPr>
            <a:lvl2pPr>
              <a:buClr>
                <a:schemeClr val="tx1"/>
              </a:buClr>
              <a:defRPr>
                <a:solidFill>
                  <a:schemeClr val="bg1"/>
                </a:solidFill>
              </a:defRPr>
            </a:lvl2pPr>
            <a:lvl3pPr>
              <a:buClr>
                <a:schemeClr val="tx1"/>
              </a:buClr>
              <a:defRPr>
                <a:solidFill>
                  <a:schemeClr val="bg1"/>
                </a:solidFill>
              </a:defRPr>
            </a:lvl3pPr>
            <a:lvl4pPr>
              <a:buClr>
                <a:schemeClr val="tx1"/>
              </a:buClr>
              <a:defRPr>
                <a:solidFill>
                  <a:schemeClr val="bg1"/>
                </a:solidFill>
              </a:defRPr>
            </a:lvl4pPr>
            <a:lvl5pPr>
              <a:buClr>
                <a:schemeClr val="tx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en-GB"/>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en-GB" smtClean="0"/>
              <a:pPr/>
              <a:t>‹#›</a:t>
            </a:fld>
            <a:endParaRPr lang="en-GB"/>
          </a:p>
        </p:txBody>
      </p:sp>
      <p:sp>
        <p:nvSpPr>
          <p:cNvPr id="10" name="TextBox 9">
            <a:extLst>
              <a:ext uri="{FF2B5EF4-FFF2-40B4-BE49-F238E27FC236}">
                <a16:creationId xmlns:a16="http://schemas.microsoft.com/office/drawing/2014/main" id="{40F7BCEA-786B-1E47-4D8D-445368937DEF}"/>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1" name="Picture 10">
            <a:extLst>
              <a:ext uri="{FF2B5EF4-FFF2-40B4-BE49-F238E27FC236}">
                <a16:creationId xmlns:a16="http://schemas.microsoft.com/office/drawing/2014/main" id="{42EBC80B-FFC8-63EC-3483-CCCBB03639BA}"/>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2" name="TextBox 11">
            <a:extLst>
              <a:ext uri="{FF2B5EF4-FFF2-40B4-BE49-F238E27FC236}">
                <a16:creationId xmlns:a16="http://schemas.microsoft.com/office/drawing/2014/main" id="{C3C5CC40-030E-E498-AE51-304BCA04028A}"/>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3" name="Picture 12">
            <a:extLst>
              <a:ext uri="{FF2B5EF4-FFF2-40B4-BE49-F238E27FC236}">
                <a16:creationId xmlns:a16="http://schemas.microsoft.com/office/drawing/2014/main" id="{F38ECD07-5F8E-E6BB-33DF-9C47A442A8D1}"/>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4" name="Picture 13">
            <a:extLst>
              <a:ext uri="{FF2B5EF4-FFF2-40B4-BE49-F238E27FC236}">
                <a16:creationId xmlns:a16="http://schemas.microsoft.com/office/drawing/2014/main" id="{3AD37D10-6302-26BF-510E-8F6B8DFA09FC}"/>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5" name="Picture 14">
            <a:extLst>
              <a:ext uri="{FF2B5EF4-FFF2-40B4-BE49-F238E27FC236}">
                <a16:creationId xmlns:a16="http://schemas.microsoft.com/office/drawing/2014/main" id="{8E75B961-9E27-334D-7850-EA738C3B36E0}"/>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6" name="TextBox 15">
            <a:extLst>
              <a:ext uri="{FF2B5EF4-FFF2-40B4-BE49-F238E27FC236}">
                <a16:creationId xmlns:a16="http://schemas.microsoft.com/office/drawing/2014/main" id="{21A29A72-56D0-4EDE-5C46-7C807527CC61}"/>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3261110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ext &amp; image left - White">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id="{C97B6A17-A79B-2D2E-B5FE-BF99F760DB3B}"/>
              </a:ext>
            </a:extLst>
          </p:cNvPr>
          <p:cNvSpPr>
            <a:spLocks noGrp="1"/>
          </p:cNvSpPr>
          <p:nvPr>
            <p:ph type="pic" sz="quarter" idx="27" hasCustomPrompt="1"/>
          </p:nvPr>
        </p:nvSpPr>
        <p:spPr>
          <a:xfrm>
            <a:off x="0" y="0"/>
            <a:ext cx="6096794" cy="6858000"/>
          </a:xfrm>
        </p:spPr>
        <p:txBody>
          <a:bodyPr tIns="504000"/>
          <a:lstStyle>
            <a:lvl1pPr marL="0" indent="0" algn="ctr">
              <a:buNone/>
              <a:defRPr>
                <a:solidFill>
                  <a:schemeClr val="tx1"/>
                </a:solidFill>
              </a:defRPr>
            </a:lvl1pPr>
          </a:lstStyle>
          <a:p>
            <a:r>
              <a:rPr lang="en-GB" noProof="0"/>
              <a:t>Click to insert picture</a:t>
            </a:r>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6610461" y="514350"/>
            <a:ext cx="5069460" cy="432802"/>
          </a:xfrm>
        </p:spPr>
        <p:txBody>
          <a:bodyPr wrap="square" bIns="72000" anchor="t" anchorCtr="0">
            <a:spAutoFit/>
          </a:bodyPr>
          <a:lstStyle>
            <a:lvl1pPr algn="l">
              <a:defRPr sz="2600">
                <a:solidFill>
                  <a:schemeClr val="tx1"/>
                </a:solidFill>
              </a:defRPr>
            </a:lvl1pPr>
          </a:lstStyle>
          <a:p>
            <a:r>
              <a:rPr lang="en-GB"/>
              <a:t>Click to edit title</a:t>
            </a:r>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6610461" y="1440000"/>
            <a:ext cx="5069460" cy="468000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6610461" y="947739"/>
            <a:ext cx="5069460"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3" name="Slide Number Placeholder 5">
            <a:extLst>
              <a:ext uri="{FF2B5EF4-FFF2-40B4-BE49-F238E27FC236}">
                <a16:creationId xmlns:a16="http://schemas.microsoft.com/office/drawing/2014/main" id="{EB01F3B5-A2AB-A32C-4E2B-C1390B59F55B}"/>
              </a:ext>
            </a:extLst>
          </p:cNvPr>
          <p:cNvSpPr>
            <a:spLocks noGrp="1"/>
          </p:cNvSpPr>
          <p:nvPr>
            <p:ph type="sldNum" sz="quarter" idx="12"/>
          </p:nvPr>
        </p:nvSpPr>
        <p:spPr>
          <a:xfrm>
            <a:off x="11304472" y="6494949"/>
            <a:ext cx="374699" cy="153888"/>
          </a:xfrm>
        </p:spPr>
        <p:txBody>
          <a:bodyPr/>
          <a:lstStyle>
            <a:lvl1pPr>
              <a:defRPr>
                <a:solidFill>
                  <a:schemeClr val="tx2">
                    <a:lumMod val="60000"/>
                    <a:lumOff val="40000"/>
                  </a:schemeClr>
                </a:solidFill>
              </a:defRPr>
            </a:lvl1pPr>
          </a:lstStyle>
          <a:p>
            <a:fld id="{C2F92818-9D0C-420B-84CB-20E21C25F84F}" type="slidenum">
              <a:rPr lang="en-GB" smtClean="0"/>
              <a:pPr/>
              <a:t>‹#›</a:t>
            </a:fld>
            <a:endParaRPr lang="en-GB"/>
          </a:p>
        </p:txBody>
      </p:sp>
      <p:sp>
        <p:nvSpPr>
          <p:cNvPr id="4" name="Date Placeholder 3">
            <a:extLst>
              <a:ext uri="{FF2B5EF4-FFF2-40B4-BE49-F238E27FC236}">
                <a16:creationId xmlns:a16="http://schemas.microsoft.com/office/drawing/2014/main" id="{EA5EA2AF-C700-9C95-7A3D-05E8093ED0CC}"/>
              </a:ext>
            </a:extLst>
          </p:cNvPr>
          <p:cNvSpPr>
            <a:spLocks noGrp="1"/>
          </p:cNvSpPr>
          <p:nvPr>
            <p:ph type="dt" sz="half" idx="10"/>
          </p:nvPr>
        </p:nvSpPr>
        <p:spPr>
          <a:xfrm>
            <a:off x="516005" y="6328262"/>
            <a:ext cx="2743557" cy="153888"/>
          </a:xfrm>
        </p:spPr>
        <p:txBody>
          <a:bodyPr/>
          <a:lstStyle>
            <a:lvl1pPr>
              <a:defRPr>
                <a:solidFill>
                  <a:schemeClr val="bg1"/>
                </a:solidFill>
              </a:defRPr>
            </a:lvl1pPr>
          </a:lstStyle>
          <a:p>
            <a:fld id="{D11A3144-17B8-9F4F-95B3-1336F3CDF646}" type="datetime3">
              <a:rPr lang="en-GB" smtClean="0"/>
              <a:t>13 May, 2026</a:t>
            </a:fld>
            <a:endParaRPr lang="en-GB"/>
          </a:p>
        </p:txBody>
      </p:sp>
      <p:sp>
        <p:nvSpPr>
          <p:cNvPr id="5" name="Footer Placeholder 4">
            <a:extLst>
              <a:ext uri="{FF2B5EF4-FFF2-40B4-BE49-F238E27FC236}">
                <a16:creationId xmlns:a16="http://schemas.microsoft.com/office/drawing/2014/main" id="{A54360FE-7428-6493-CB14-2866F116CCF2}"/>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en-GB"/>
          </a:p>
        </p:txBody>
      </p:sp>
      <p:sp>
        <p:nvSpPr>
          <p:cNvPr id="7" name="TextBox 6">
            <a:extLst>
              <a:ext uri="{FF2B5EF4-FFF2-40B4-BE49-F238E27FC236}">
                <a16:creationId xmlns:a16="http://schemas.microsoft.com/office/drawing/2014/main" id="{7ACAB7FF-CE9E-5867-1E57-A635B64909A8}"/>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9" name="Picture 8">
            <a:extLst>
              <a:ext uri="{FF2B5EF4-FFF2-40B4-BE49-F238E27FC236}">
                <a16:creationId xmlns:a16="http://schemas.microsoft.com/office/drawing/2014/main" id="{519EBF12-A1DD-EAFE-B755-F45459676B6E}"/>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1" name="TextBox 10">
            <a:extLst>
              <a:ext uri="{FF2B5EF4-FFF2-40B4-BE49-F238E27FC236}">
                <a16:creationId xmlns:a16="http://schemas.microsoft.com/office/drawing/2014/main" id="{CF33AF49-E200-E124-9C9A-A4DBA617BBAF}"/>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2" name="Picture 11">
            <a:extLst>
              <a:ext uri="{FF2B5EF4-FFF2-40B4-BE49-F238E27FC236}">
                <a16:creationId xmlns:a16="http://schemas.microsoft.com/office/drawing/2014/main" id="{FC7D9146-0A46-FD60-85BF-01A3F6A98F15}"/>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3" name="Picture 12">
            <a:extLst>
              <a:ext uri="{FF2B5EF4-FFF2-40B4-BE49-F238E27FC236}">
                <a16:creationId xmlns:a16="http://schemas.microsoft.com/office/drawing/2014/main" id="{876742CD-B107-0546-8DE0-6D67648BDCA7}"/>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4" name="Picture 13">
            <a:extLst>
              <a:ext uri="{FF2B5EF4-FFF2-40B4-BE49-F238E27FC236}">
                <a16:creationId xmlns:a16="http://schemas.microsoft.com/office/drawing/2014/main" id="{14967557-6B6D-5A3F-3840-B09D2927AD2B}"/>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5" name="TextBox 14">
            <a:extLst>
              <a:ext uri="{FF2B5EF4-FFF2-40B4-BE49-F238E27FC236}">
                <a16:creationId xmlns:a16="http://schemas.microsoft.com/office/drawing/2014/main" id="{AF95DB38-940F-930C-4595-C9C96D19984D}"/>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19511623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ext &amp; image left - Dark Blue">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id="{D0F135B0-EEDC-1771-A31F-233B18D7E883}"/>
              </a:ext>
            </a:extLst>
          </p:cNvPr>
          <p:cNvSpPr>
            <a:spLocks noGrp="1"/>
          </p:cNvSpPr>
          <p:nvPr>
            <p:ph type="pic" sz="quarter" idx="27" hasCustomPrompt="1"/>
          </p:nvPr>
        </p:nvSpPr>
        <p:spPr>
          <a:xfrm>
            <a:off x="0" y="0"/>
            <a:ext cx="6096794" cy="6858000"/>
          </a:xfrm>
        </p:spPr>
        <p:txBody>
          <a:bodyPr tIns="504000"/>
          <a:lstStyle>
            <a:lvl1pPr marL="0" indent="0" algn="ctr">
              <a:buNone/>
              <a:defRPr>
                <a:solidFill>
                  <a:schemeClr val="tx1"/>
                </a:solidFill>
              </a:defRPr>
            </a:lvl1pPr>
          </a:lstStyle>
          <a:p>
            <a:r>
              <a:rPr lang="en-GB" noProof="0"/>
              <a:t>Click to insert picture</a:t>
            </a:r>
          </a:p>
        </p:txBody>
      </p:sp>
      <p:sp>
        <p:nvSpPr>
          <p:cNvPr id="9" name="Rectangle 8">
            <a:extLst>
              <a:ext uri="{FF2B5EF4-FFF2-40B4-BE49-F238E27FC236}">
                <a16:creationId xmlns:a16="http://schemas.microsoft.com/office/drawing/2014/main" id="{9A1B5EA6-A0E2-3B9F-59B0-74E42BD02B54}"/>
              </a:ext>
            </a:extLst>
          </p:cNvPr>
          <p:cNvSpPr/>
          <p:nvPr userDrawn="1"/>
        </p:nvSpPr>
        <p:spPr>
          <a:xfrm>
            <a:off x="6096794" y="0"/>
            <a:ext cx="6096794"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6610461" y="514350"/>
            <a:ext cx="5069460" cy="432802"/>
          </a:xfrm>
        </p:spPr>
        <p:txBody>
          <a:bodyPr wrap="square" bIns="72000" anchor="t" anchorCtr="0">
            <a:spAutoFit/>
          </a:bodyPr>
          <a:lstStyle>
            <a:lvl1pPr algn="l">
              <a:defRPr sz="2600">
                <a:solidFill>
                  <a:schemeClr val="bg1"/>
                </a:solidFill>
              </a:defRPr>
            </a:lvl1pPr>
          </a:lstStyle>
          <a:p>
            <a:r>
              <a:rPr lang="en-GB"/>
              <a:t>Click to edit title</a:t>
            </a:r>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6610461" y="1440000"/>
            <a:ext cx="5069460" cy="4680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6610461" y="947739"/>
            <a:ext cx="5069460"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3" name="Slide Number Placeholder 5">
            <a:extLst>
              <a:ext uri="{FF2B5EF4-FFF2-40B4-BE49-F238E27FC236}">
                <a16:creationId xmlns:a16="http://schemas.microsoft.com/office/drawing/2014/main" id="{BBFCE1CA-8654-DA74-9199-E9A6981AB3B3}"/>
              </a:ext>
            </a:extLst>
          </p:cNvPr>
          <p:cNvSpPr>
            <a:spLocks noGrp="1"/>
          </p:cNvSpPr>
          <p:nvPr>
            <p:ph type="sldNum" sz="quarter" idx="12"/>
          </p:nvPr>
        </p:nvSpPr>
        <p:spPr>
          <a:xfrm>
            <a:off x="11304472" y="6494949"/>
            <a:ext cx="374699" cy="153888"/>
          </a:xfrm>
        </p:spPr>
        <p:txBody>
          <a:bodyPr/>
          <a:lstStyle>
            <a:lvl1pPr algn="r">
              <a:defRPr>
                <a:solidFill>
                  <a:schemeClr val="tx2">
                    <a:lumMod val="60000"/>
                    <a:lumOff val="40000"/>
                  </a:schemeClr>
                </a:solidFill>
              </a:defRPr>
            </a:lvl1pPr>
          </a:lstStyle>
          <a:p>
            <a:fld id="{C2F92818-9D0C-420B-84CB-20E21C25F84F}" type="slidenum">
              <a:rPr lang="en-GB" smtClean="0"/>
              <a:pPr/>
              <a:t>‹#›</a:t>
            </a:fld>
            <a:endParaRPr lang="en-GB"/>
          </a:p>
        </p:txBody>
      </p:sp>
      <p:sp>
        <p:nvSpPr>
          <p:cNvPr id="4" name="Date Placeholder 3">
            <a:extLst>
              <a:ext uri="{FF2B5EF4-FFF2-40B4-BE49-F238E27FC236}">
                <a16:creationId xmlns:a16="http://schemas.microsoft.com/office/drawing/2014/main" id="{7085BA52-C3B4-F368-89BE-533D92CC176C}"/>
              </a:ext>
            </a:extLst>
          </p:cNvPr>
          <p:cNvSpPr>
            <a:spLocks noGrp="1"/>
          </p:cNvSpPr>
          <p:nvPr>
            <p:ph type="dt" sz="half" idx="10"/>
          </p:nvPr>
        </p:nvSpPr>
        <p:spPr>
          <a:xfrm>
            <a:off x="516005" y="6328262"/>
            <a:ext cx="2743557" cy="153888"/>
          </a:xfrm>
        </p:spPr>
        <p:txBody>
          <a:bodyPr/>
          <a:lstStyle>
            <a:lvl1pPr>
              <a:defRPr>
                <a:solidFill>
                  <a:schemeClr val="bg1"/>
                </a:solidFill>
              </a:defRPr>
            </a:lvl1pPr>
          </a:lstStyle>
          <a:p>
            <a:fld id="{0D8AE5F8-E08B-824D-BADA-27DD8C8D1894}" type="datetime3">
              <a:rPr lang="en-GB" smtClean="0"/>
              <a:t>13 May, 2026</a:t>
            </a:fld>
            <a:endParaRPr lang="en-GB"/>
          </a:p>
        </p:txBody>
      </p:sp>
      <p:sp>
        <p:nvSpPr>
          <p:cNvPr id="5" name="Footer Placeholder 4">
            <a:extLst>
              <a:ext uri="{FF2B5EF4-FFF2-40B4-BE49-F238E27FC236}">
                <a16:creationId xmlns:a16="http://schemas.microsoft.com/office/drawing/2014/main" id="{ECB57A99-580A-E978-4BEF-803135E83E38}"/>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en-GB"/>
          </a:p>
        </p:txBody>
      </p:sp>
      <p:sp>
        <p:nvSpPr>
          <p:cNvPr id="7" name="TextBox 6">
            <a:extLst>
              <a:ext uri="{FF2B5EF4-FFF2-40B4-BE49-F238E27FC236}">
                <a16:creationId xmlns:a16="http://schemas.microsoft.com/office/drawing/2014/main" id="{FF121109-2682-3B1C-ABAE-20E5667DBE77}"/>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1" name="Picture 10">
            <a:extLst>
              <a:ext uri="{FF2B5EF4-FFF2-40B4-BE49-F238E27FC236}">
                <a16:creationId xmlns:a16="http://schemas.microsoft.com/office/drawing/2014/main" id="{713B4F4A-DE7B-0A71-5409-3B0ABA3D1053}"/>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2" name="TextBox 11">
            <a:extLst>
              <a:ext uri="{FF2B5EF4-FFF2-40B4-BE49-F238E27FC236}">
                <a16:creationId xmlns:a16="http://schemas.microsoft.com/office/drawing/2014/main" id="{05CF16D4-E3D8-5D89-2DEB-A1AA3A59626A}"/>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3" name="Picture 12">
            <a:extLst>
              <a:ext uri="{FF2B5EF4-FFF2-40B4-BE49-F238E27FC236}">
                <a16:creationId xmlns:a16="http://schemas.microsoft.com/office/drawing/2014/main" id="{5BABEFB8-A2D0-2795-8FC7-40E1C3B0BF6F}"/>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4" name="Picture 13">
            <a:extLst>
              <a:ext uri="{FF2B5EF4-FFF2-40B4-BE49-F238E27FC236}">
                <a16:creationId xmlns:a16="http://schemas.microsoft.com/office/drawing/2014/main" id="{CBF05A01-837F-84D2-4FFA-1CCB0C8A5BCB}"/>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5" name="Picture 14">
            <a:extLst>
              <a:ext uri="{FF2B5EF4-FFF2-40B4-BE49-F238E27FC236}">
                <a16:creationId xmlns:a16="http://schemas.microsoft.com/office/drawing/2014/main" id="{0D1FE3E1-6488-C2A8-E357-85FE3CB19264}"/>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6" name="TextBox 15">
            <a:extLst>
              <a:ext uri="{FF2B5EF4-FFF2-40B4-BE49-F238E27FC236}">
                <a16:creationId xmlns:a16="http://schemas.microsoft.com/office/drawing/2014/main" id="{B4DFF7A9-6554-453B-19D0-E9309B758EC4}"/>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22736942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ext &amp; image left - Blue">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id="{D0F135B0-EEDC-1771-A31F-233B18D7E883}"/>
              </a:ext>
            </a:extLst>
          </p:cNvPr>
          <p:cNvSpPr>
            <a:spLocks noGrp="1"/>
          </p:cNvSpPr>
          <p:nvPr>
            <p:ph type="pic" sz="quarter" idx="27" hasCustomPrompt="1"/>
          </p:nvPr>
        </p:nvSpPr>
        <p:spPr>
          <a:xfrm>
            <a:off x="0" y="0"/>
            <a:ext cx="6096794" cy="6858000"/>
          </a:xfrm>
        </p:spPr>
        <p:txBody>
          <a:bodyPr tIns="504000"/>
          <a:lstStyle>
            <a:lvl1pPr marL="0" indent="0" algn="ctr">
              <a:buNone/>
              <a:defRPr>
                <a:solidFill>
                  <a:schemeClr val="tx1"/>
                </a:solidFill>
              </a:defRPr>
            </a:lvl1pPr>
          </a:lstStyle>
          <a:p>
            <a:r>
              <a:rPr lang="en-GB" noProof="0"/>
              <a:t>Click to insert picture</a:t>
            </a:r>
          </a:p>
        </p:txBody>
      </p:sp>
      <p:sp>
        <p:nvSpPr>
          <p:cNvPr id="9" name="Rectangle 8">
            <a:extLst>
              <a:ext uri="{FF2B5EF4-FFF2-40B4-BE49-F238E27FC236}">
                <a16:creationId xmlns:a16="http://schemas.microsoft.com/office/drawing/2014/main" id="{9A1B5EA6-A0E2-3B9F-59B0-74E42BD02B54}"/>
              </a:ext>
            </a:extLst>
          </p:cNvPr>
          <p:cNvSpPr/>
          <p:nvPr userDrawn="1"/>
        </p:nvSpPr>
        <p:spPr>
          <a:xfrm>
            <a:off x="6096794" y="0"/>
            <a:ext cx="6096794"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6610461" y="514350"/>
            <a:ext cx="5069460" cy="432802"/>
          </a:xfrm>
        </p:spPr>
        <p:txBody>
          <a:bodyPr wrap="square" bIns="72000" anchor="t" anchorCtr="0">
            <a:spAutoFit/>
          </a:bodyPr>
          <a:lstStyle>
            <a:lvl1pPr algn="l">
              <a:defRPr sz="2600">
                <a:solidFill>
                  <a:schemeClr val="bg1"/>
                </a:solidFill>
              </a:defRPr>
            </a:lvl1pPr>
          </a:lstStyle>
          <a:p>
            <a:r>
              <a:rPr lang="en-GB"/>
              <a:t>Click to edit title</a:t>
            </a:r>
          </a:p>
        </p:txBody>
      </p:sp>
      <p:sp>
        <p:nvSpPr>
          <p:cNvPr id="6" name="Text Placeholder 5">
            <a:extLst>
              <a:ext uri="{FF2B5EF4-FFF2-40B4-BE49-F238E27FC236}">
                <a16:creationId xmlns:a16="http://schemas.microsoft.com/office/drawing/2014/main" id="{0B8627A4-DB76-07A1-0176-AB9E7111DB8A}"/>
              </a:ext>
            </a:extLst>
          </p:cNvPr>
          <p:cNvSpPr>
            <a:spLocks noGrp="1"/>
          </p:cNvSpPr>
          <p:nvPr>
            <p:ph type="body" sz="quarter" idx="26"/>
          </p:nvPr>
        </p:nvSpPr>
        <p:spPr>
          <a:xfrm>
            <a:off x="6610461" y="947739"/>
            <a:ext cx="5069460" cy="223837"/>
          </a:xfrm>
        </p:spPr>
        <p:txBody>
          <a:bodyPr wrap="square">
            <a:spAutoFit/>
          </a:bodyPr>
          <a:lstStyle>
            <a:lvl1pPr marL="0" indent="0">
              <a:buNone/>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3" name="Text Placeholder 10">
            <a:extLst>
              <a:ext uri="{FF2B5EF4-FFF2-40B4-BE49-F238E27FC236}">
                <a16:creationId xmlns:a16="http://schemas.microsoft.com/office/drawing/2014/main" id="{6A3C0ADC-D3F8-0ACF-ADBE-55F01C3C17D2}"/>
              </a:ext>
            </a:extLst>
          </p:cNvPr>
          <p:cNvSpPr>
            <a:spLocks noGrp="1"/>
          </p:cNvSpPr>
          <p:nvPr>
            <p:ph type="body" sz="quarter" idx="13"/>
          </p:nvPr>
        </p:nvSpPr>
        <p:spPr>
          <a:xfrm>
            <a:off x="6610461" y="1440000"/>
            <a:ext cx="5069460" cy="4680000"/>
          </a:xfrm>
        </p:spPr>
        <p:txBody>
          <a:bodyPr/>
          <a:lstStyle>
            <a:lvl1pPr>
              <a:buClr>
                <a:schemeClr val="tx1"/>
              </a:buClr>
              <a:defRPr>
                <a:solidFill>
                  <a:schemeClr val="bg1"/>
                </a:solidFill>
              </a:defRPr>
            </a:lvl1pPr>
            <a:lvl2pPr>
              <a:buClr>
                <a:schemeClr val="tx1"/>
              </a:buClr>
              <a:defRPr>
                <a:solidFill>
                  <a:schemeClr val="bg1"/>
                </a:solidFill>
              </a:defRPr>
            </a:lvl2pPr>
            <a:lvl3pPr>
              <a:buClr>
                <a:schemeClr val="tx1"/>
              </a:buClr>
              <a:defRPr>
                <a:solidFill>
                  <a:schemeClr val="bg1"/>
                </a:solidFill>
              </a:defRPr>
            </a:lvl3pPr>
            <a:lvl4pPr>
              <a:buClr>
                <a:schemeClr val="tx1"/>
              </a:buClr>
              <a:defRPr>
                <a:solidFill>
                  <a:schemeClr val="bg1"/>
                </a:solidFill>
              </a:defRPr>
            </a:lvl4pPr>
            <a:lvl5pPr>
              <a:buClr>
                <a:schemeClr val="tx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Slide Number Placeholder 5">
            <a:extLst>
              <a:ext uri="{FF2B5EF4-FFF2-40B4-BE49-F238E27FC236}">
                <a16:creationId xmlns:a16="http://schemas.microsoft.com/office/drawing/2014/main" id="{C7048014-131F-60DE-0194-279080F92F7D}"/>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en-GB" smtClean="0"/>
              <a:pPr/>
              <a:t>‹#›</a:t>
            </a:fld>
            <a:endParaRPr lang="en-GB"/>
          </a:p>
        </p:txBody>
      </p:sp>
      <p:sp>
        <p:nvSpPr>
          <p:cNvPr id="5" name="Date Placeholder 3">
            <a:extLst>
              <a:ext uri="{FF2B5EF4-FFF2-40B4-BE49-F238E27FC236}">
                <a16:creationId xmlns:a16="http://schemas.microsoft.com/office/drawing/2014/main" id="{2C69CF42-66D5-A296-AD7B-0E21C4500C17}"/>
              </a:ext>
            </a:extLst>
          </p:cNvPr>
          <p:cNvSpPr>
            <a:spLocks noGrp="1"/>
          </p:cNvSpPr>
          <p:nvPr>
            <p:ph type="dt" sz="half" idx="10"/>
          </p:nvPr>
        </p:nvSpPr>
        <p:spPr>
          <a:xfrm>
            <a:off x="516005" y="6328262"/>
            <a:ext cx="2743557" cy="153888"/>
          </a:xfrm>
        </p:spPr>
        <p:txBody>
          <a:bodyPr/>
          <a:lstStyle>
            <a:lvl1pPr>
              <a:defRPr>
                <a:solidFill>
                  <a:schemeClr val="bg1"/>
                </a:solidFill>
              </a:defRPr>
            </a:lvl1pPr>
          </a:lstStyle>
          <a:p>
            <a:fld id="{111CB231-07B4-E441-A2AE-12C7A8BDAA0E}" type="datetime3">
              <a:rPr lang="en-GB" smtClean="0"/>
              <a:t>13 May, 2026</a:t>
            </a:fld>
            <a:endParaRPr lang="en-GB"/>
          </a:p>
        </p:txBody>
      </p:sp>
      <p:sp>
        <p:nvSpPr>
          <p:cNvPr id="7" name="Footer Placeholder 4">
            <a:extLst>
              <a:ext uri="{FF2B5EF4-FFF2-40B4-BE49-F238E27FC236}">
                <a16:creationId xmlns:a16="http://schemas.microsoft.com/office/drawing/2014/main" id="{78D328D6-43E9-279D-E85C-851ECC28914B}"/>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en-GB"/>
          </a:p>
        </p:txBody>
      </p:sp>
      <p:sp>
        <p:nvSpPr>
          <p:cNvPr id="10" name="TextBox 9">
            <a:extLst>
              <a:ext uri="{FF2B5EF4-FFF2-40B4-BE49-F238E27FC236}">
                <a16:creationId xmlns:a16="http://schemas.microsoft.com/office/drawing/2014/main" id="{E8B819A9-C671-0C13-1F66-042B9CD48289}"/>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1" name="Picture 10">
            <a:extLst>
              <a:ext uri="{FF2B5EF4-FFF2-40B4-BE49-F238E27FC236}">
                <a16:creationId xmlns:a16="http://schemas.microsoft.com/office/drawing/2014/main" id="{9BCFCE37-36AF-47AE-DF67-AC2BCB1F1FC0}"/>
              </a:ext>
            </a:extLst>
          </p:cNvPr>
          <p:cNvPicPr>
            <a:picLocks noChangeAspect="1"/>
          </p:cNvPicPr>
          <p:nvPr userDrawn="1"/>
        </p:nvPicPr>
        <p:blipFill>
          <a:blip r:embed="rId2"/>
          <a:stretch>
            <a:fillRect/>
          </a:stretch>
        </p:blipFill>
        <p:spPr>
          <a:xfrm>
            <a:off x="-1032553" y="6043201"/>
            <a:ext cx="338511" cy="456195"/>
          </a:xfrm>
          <a:prstGeom prst="rect">
            <a:avLst/>
          </a:prstGeom>
        </p:spPr>
      </p:pic>
      <p:sp>
        <p:nvSpPr>
          <p:cNvPr id="12" name="TextBox 11">
            <a:extLst>
              <a:ext uri="{FF2B5EF4-FFF2-40B4-BE49-F238E27FC236}">
                <a16:creationId xmlns:a16="http://schemas.microsoft.com/office/drawing/2014/main" id="{E569598F-FFFB-A955-F290-606046F3E6EB}"/>
              </a:ext>
            </a:extLst>
          </p:cNvPr>
          <p:cNvSpPr txBox="1"/>
          <p:nvPr userDrawn="1"/>
        </p:nvSpPr>
        <p:spPr>
          <a:xfrm>
            <a:off x="-1558548" y="1440000"/>
            <a:ext cx="1390500" cy="2476680"/>
          </a:xfrm>
          <a:prstGeom prst="rect">
            <a:avLst/>
          </a:prstGeom>
          <a:solidFill>
            <a:schemeClr val="bg1">
              <a:lumMod val="85000"/>
            </a:schemeClr>
          </a:solidFill>
        </p:spPr>
        <p:txBody>
          <a:bodyPr wrap="square" rtlCol="0">
            <a:noAutofit/>
          </a:bodyPr>
          <a:lstStyle/>
          <a:p>
            <a:pPr algn="ctr"/>
            <a:r>
              <a:rPr lang="en-GB" sz="800" noProof="0"/>
              <a:t>To change level in the bullet list click ’Increase or Decrease List Level’</a:t>
            </a:r>
          </a:p>
          <a:p>
            <a:pPr algn="ctr"/>
            <a:endParaRPr lang="en-GB" sz="800" noProof="0"/>
          </a:p>
          <a:p>
            <a:pPr algn="ctr"/>
            <a:endParaRPr lang="en-GB" sz="800" noProof="0"/>
          </a:p>
          <a:p>
            <a:pPr algn="ctr"/>
            <a:endParaRPr lang="en-GB" sz="800" noProof="0"/>
          </a:p>
          <a:p>
            <a:pPr algn="ctr"/>
            <a:r>
              <a:rPr lang="en-GB" sz="800" noProof="0"/>
              <a:t>For normal body text format click ’Bullets’ to remove bullets.</a:t>
            </a:r>
          </a:p>
        </p:txBody>
      </p:sp>
      <p:pic>
        <p:nvPicPr>
          <p:cNvPr id="13" name="Picture 12">
            <a:extLst>
              <a:ext uri="{FF2B5EF4-FFF2-40B4-BE49-F238E27FC236}">
                <a16:creationId xmlns:a16="http://schemas.microsoft.com/office/drawing/2014/main" id="{7679ACE7-6C68-7367-3821-7DE94BEC9426}"/>
              </a:ext>
            </a:extLst>
          </p:cNvPr>
          <p:cNvPicPr>
            <a:picLocks noChangeAspect="1"/>
          </p:cNvPicPr>
          <p:nvPr userDrawn="1"/>
        </p:nvPicPr>
        <p:blipFill>
          <a:blip r:embed="rId3"/>
          <a:srcRect t="32177"/>
          <a:stretch/>
        </p:blipFill>
        <p:spPr>
          <a:xfrm>
            <a:off x="-1404595" y="2958349"/>
            <a:ext cx="1082591" cy="836058"/>
          </a:xfrm>
          <a:prstGeom prst="rect">
            <a:avLst/>
          </a:prstGeom>
        </p:spPr>
      </p:pic>
      <p:pic>
        <p:nvPicPr>
          <p:cNvPr id="14" name="Picture 13">
            <a:extLst>
              <a:ext uri="{FF2B5EF4-FFF2-40B4-BE49-F238E27FC236}">
                <a16:creationId xmlns:a16="http://schemas.microsoft.com/office/drawing/2014/main" id="{EAF6C811-4ADE-C22E-D732-39FDB45D8A87}"/>
              </a:ext>
            </a:extLst>
          </p:cNvPr>
          <p:cNvPicPr>
            <a:picLocks noChangeAspect="1"/>
          </p:cNvPicPr>
          <p:nvPr userDrawn="1"/>
        </p:nvPicPr>
        <p:blipFill>
          <a:blip r:embed="rId4"/>
          <a:stretch>
            <a:fillRect/>
          </a:stretch>
        </p:blipFill>
        <p:spPr>
          <a:xfrm>
            <a:off x="-1082304" y="1940632"/>
            <a:ext cx="438012" cy="204850"/>
          </a:xfrm>
          <a:prstGeom prst="rect">
            <a:avLst/>
          </a:prstGeom>
        </p:spPr>
      </p:pic>
      <p:pic>
        <p:nvPicPr>
          <p:cNvPr id="15" name="Picture 14">
            <a:extLst>
              <a:ext uri="{FF2B5EF4-FFF2-40B4-BE49-F238E27FC236}">
                <a16:creationId xmlns:a16="http://schemas.microsoft.com/office/drawing/2014/main" id="{0490D3D9-6287-0813-C66E-CB11B0D9B7F7}"/>
              </a:ext>
            </a:extLst>
          </p:cNvPr>
          <p:cNvPicPr>
            <a:picLocks noChangeAspect="1"/>
          </p:cNvPicPr>
          <p:nvPr userDrawn="1"/>
        </p:nvPicPr>
        <p:blipFill>
          <a:blip r:embed="rId5"/>
          <a:stretch>
            <a:fillRect/>
          </a:stretch>
        </p:blipFill>
        <p:spPr>
          <a:xfrm>
            <a:off x="-1019629" y="2663645"/>
            <a:ext cx="312660" cy="201690"/>
          </a:xfrm>
          <a:prstGeom prst="rect">
            <a:avLst/>
          </a:prstGeom>
        </p:spPr>
      </p:pic>
      <p:sp>
        <p:nvSpPr>
          <p:cNvPr id="16" name="TextBox 15">
            <a:extLst>
              <a:ext uri="{FF2B5EF4-FFF2-40B4-BE49-F238E27FC236}">
                <a16:creationId xmlns:a16="http://schemas.microsoft.com/office/drawing/2014/main" id="{D8B52AB2-D653-0E6D-F385-072BA06B193B}"/>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24449066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BEAF0-B4D2-2AEC-2160-B6313352B674}"/>
              </a:ext>
            </a:extLst>
          </p:cNvPr>
          <p:cNvSpPr txBox="1">
            <a:spLocks noGrp="1"/>
          </p:cNvSpPr>
          <p:nvPr>
            <p:ph type="title" hasCustomPrompt="1"/>
          </p:nvPr>
        </p:nvSpPr>
        <p:spPr>
          <a:xfrm>
            <a:off x="516008" y="514353"/>
            <a:ext cx="9667545" cy="432803"/>
          </a:xfrm>
        </p:spPr>
        <p:txBody>
          <a:bodyPr bIns="71999" anchor="t">
            <a:spAutoFit/>
          </a:bodyPr>
          <a:lstStyle>
            <a:lvl1pPr>
              <a:defRPr sz="2600"/>
            </a:lvl1pPr>
          </a:lstStyle>
          <a:p>
            <a:pPr lvl="0"/>
            <a:r>
              <a:rPr lang="en-GB"/>
              <a:t>Click to edit title</a:t>
            </a:r>
          </a:p>
        </p:txBody>
      </p:sp>
      <p:sp>
        <p:nvSpPr>
          <p:cNvPr id="3" name="Date Placeholder 3">
            <a:extLst>
              <a:ext uri="{FF2B5EF4-FFF2-40B4-BE49-F238E27FC236}">
                <a16:creationId xmlns:a16="http://schemas.microsoft.com/office/drawing/2014/main" id="{A4F2ED64-CF94-A7AA-414B-835B9FFB77D5}"/>
              </a:ext>
            </a:extLst>
          </p:cNvPr>
          <p:cNvSpPr txBox="1">
            <a:spLocks noGrp="1"/>
          </p:cNvSpPr>
          <p:nvPr>
            <p:ph type="dt" sz="half" idx="7"/>
          </p:nvPr>
        </p:nvSpPr>
        <p:spPr/>
        <p:txBody>
          <a:bodyPr/>
          <a:lstStyle>
            <a:lvl1pPr>
              <a:defRPr/>
            </a:lvl1pPr>
          </a:lstStyle>
          <a:p>
            <a:pPr lvl="0"/>
            <a:fld id="{0544E347-4354-485F-B173-36068FD4C9D5}" type="datetime1">
              <a:rPr lang="en-GB" smtClean="0"/>
              <a:t>13/05/2026</a:t>
            </a:fld>
            <a:endParaRPr lang="en-GB"/>
          </a:p>
        </p:txBody>
      </p:sp>
      <p:sp>
        <p:nvSpPr>
          <p:cNvPr id="4" name="Footer Placeholder 4">
            <a:extLst>
              <a:ext uri="{FF2B5EF4-FFF2-40B4-BE49-F238E27FC236}">
                <a16:creationId xmlns:a16="http://schemas.microsoft.com/office/drawing/2014/main" id="{69D7A6D8-EB70-316C-381C-0C2B28D04119}"/>
              </a:ext>
            </a:extLst>
          </p:cNvPr>
          <p:cNvSpPr txBox="1">
            <a:spLocks noGrp="1"/>
          </p:cNvSpPr>
          <p:nvPr>
            <p:ph type="ftr" sz="quarter" idx="9"/>
          </p:nvPr>
        </p:nvSpPr>
        <p:spPr/>
        <p:txBody>
          <a:bodyPr/>
          <a:lstStyle>
            <a:lvl1pPr>
              <a:defRPr lang="sv-SE"/>
            </a:lvl1pPr>
          </a:lstStyle>
          <a:p>
            <a:pPr lvl="0"/>
            <a:endParaRPr lang="en-GB"/>
          </a:p>
        </p:txBody>
      </p:sp>
      <p:sp>
        <p:nvSpPr>
          <p:cNvPr id="5" name="Slide Number Placeholder 5">
            <a:extLst>
              <a:ext uri="{FF2B5EF4-FFF2-40B4-BE49-F238E27FC236}">
                <a16:creationId xmlns:a16="http://schemas.microsoft.com/office/drawing/2014/main" id="{6A5E2F65-67C8-E0E1-E695-3475013C243F}"/>
              </a:ext>
            </a:extLst>
          </p:cNvPr>
          <p:cNvSpPr txBox="1">
            <a:spLocks noGrp="1"/>
          </p:cNvSpPr>
          <p:nvPr>
            <p:ph type="sldNum" sz="quarter" idx="8"/>
          </p:nvPr>
        </p:nvSpPr>
        <p:spPr/>
        <p:txBody>
          <a:bodyPr/>
          <a:lstStyle>
            <a:lvl1pPr>
              <a:defRPr lang="en-US"/>
            </a:lvl1pPr>
          </a:lstStyle>
          <a:p>
            <a:pPr lvl="0"/>
            <a:fld id="{B1B0FF74-0F75-4625-9A6C-78EF9314E72E}" type="slidenum">
              <a:rPr lang="en-GB" smtClean="0"/>
              <a:t>‹#›</a:t>
            </a:fld>
            <a:endParaRPr lang="en-GB"/>
          </a:p>
        </p:txBody>
      </p:sp>
      <p:sp>
        <p:nvSpPr>
          <p:cNvPr id="7" name="Text Placeholder 5">
            <a:extLst>
              <a:ext uri="{FF2B5EF4-FFF2-40B4-BE49-F238E27FC236}">
                <a16:creationId xmlns:a16="http://schemas.microsoft.com/office/drawing/2014/main" id="{886B7CF2-1DF7-2DA8-E404-E612F2A7F04D}"/>
              </a:ext>
            </a:extLst>
          </p:cNvPr>
          <p:cNvSpPr txBox="1">
            <a:spLocks noGrp="1"/>
          </p:cNvSpPr>
          <p:nvPr>
            <p:ph type="body" idx="4294967295"/>
          </p:nvPr>
        </p:nvSpPr>
        <p:spPr>
          <a:xfrm>
            <a:off x="516008" y="947742"/>
            <a:ext cx="9667545" cy="223835"/>
          </a:xfrm>
        </p:spPr>
        <p:txBody>
          <a:bodyPr>
            <a:spAutoFit/>
          </a:bodyPr>
          <a:lstStyle>
            <a:lvl1pPr marL="0" indent="0">
              <a:buNone/>
              <a:defRPr sz="1600">
                <a:solidFill>
                  <a:srgbClr val="2878FF"/>
                </a:solidFill>
              </a:defRPr>
            </a:lvl1pPr>
          </a:lstStyle>
          <a:p>
            <a:pPr lvl="0"/>
            <a:r>
              <a:rPr lang="en-GB"/>
              <a:t>Click to edit Master text styles</a:t>
            </a:r>
          </a:p>
        </p:txBody>
      </p:sp>
      <p:pic>
        <p:nvPicPr>
          <p:cNvPr id="8" name="Graphic 2">
            <a:extLst>
              <a:ext uri="{FF2B5EF4-FFF2-40B4-BE49-F238E27FC236}">
                <a16:creationId xmlns:a16="http://schemas.microsoft.com/office/drawing/2014/main" id="{ACE1E239-806D-B950-B08A-6D17FA02D459}"/>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692257" y="311155"/>
            <a:ext cx="986922" cy="469901"/>
          </a:xfrm>
          <a:prstGeom prst="rect">
            <a:avLst/>
          </a:prstGeom>
          <a:noFill/>
          <a:ln cap="flat">
            <a:noFill/>
          </a:ln>
        </p:spPr>
      </p:pic>
      <p:sp>
        <p:nvSpPr>
          <p:cNvPr id="9" name="TextBox 7">
            <a:extLst>
              <a:ext uri="{FF2B5EF4-FFF2-40B4-BE49-F238E27FC236}">
                <a16:creationId xmlns:a16="http://schemas.microsoft.com/office/drawing/2014/main" id="{179FB573-AFD5-3B97-5709-07FCFEC558CF}"/>
              </a:ext>
            </a:extLst>
          </p:cNvPr>
          <p:cNvSpPr txBox="1"/>
          <p:nvPr/>
        </p:nvSpPr>
        <p:spPr>
          <a:xfrm>
            <a:off x="-1558548" y="5525036"/>
            <a:ext cx="1390498" cy="1123797"/>
          </a:xfrm>
          <a:prstGeom prst="rect">
            <a:avLst/>
          </a:prstGeom>
          <a:solidFill>
            <a:srgbClr val="D9D9D9"/>
          </a:solidFill>
          <a:ln cap="flat">
            <a:noFill/>
          </a:ln>
        </p:spPr>
        <p:txBody>
          <a:bodyPr vert="horz" wrap="square" lIns="91428" tIns="45714" rIns="91428" bIns="45714" anchor="t" anchorCtr="1" compatLnSpc="1">
            <a:noAutofit/>
          </a:bodyPr>
          <a:lstStyle/>
          <a:p>
            <a:pPr marL="0" marR="0" lvl="0" indent="0" algn="ctr" defTabSz="914309"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800" b="0" i="0" u="none" strike="noStrike" kern="1200" cap="none" spc="0" baseline="0">
                <a:solidFill>
                  <a:srgbClr val="001965"/>
                </a:solidFill>
                <a:uFillTx/>
                <a:latin typeface="Avenir Next LT Pro"/>
              </a:rPr>
              <a:t>To insert or change footer elements, click ’Insert &gt; Header and footer’</a:t>
            </a:r>
          </a:p>
        </p:txBody>
      </p:sp>
      <p:pic>
        <p:nvPicPr>
          <p:cNvPr id="10" name="Picture 8">
            <a:extLst>
              <a:ext uri="{FF2B5EF4-FFF2-40B4-BE49-F238E27FC236}">
                <a16:creationId xmlns:a16="http://schemas.microsoft.com/office/drawing/2014/main" id="{13192C4B-8969-5957-D648-DC87531E5436}"/>
              </a:ext>
            </a:extLst>
          </p:cNvPr>
          <p:cNvPicPr>
            <a:picLocks noChangeAspect="1"/>
          </p:cNvPicPr>
          <p:nvPr/>
        </p:nvPicPr>
        <p:blipFill>
          <a:blip r:embed="rId3"/>
          <a:stretch>
            <a:fillRect/>
          </a:stretch>
        </p:blipFill>
        <p:spPr>
          <a:xfrm>
            <a:off x="-1032554" y="6043196"/>
            <a:ext cx="338509" cy="456194"/>
          </a:xfrm>
          <a:prstGeom prst="rect">
            <a:avLst/>
          </a:prstGeom>
          <a:noFill/>
          <a:ln cap="flat">
            <a:noFill/>
          </a:ln>
        </p:spPr>
      </p:pic>
      <p:sp>
        <p:nvSpPr>
          <p:cNvPr id="11" name="TextBox 13">
            <a:extLst>
              <a:ext uri="{FF2B5EF4-FFF2-40B4-BE49-F238E27FC236}">
                <a16:creationId xmlns:a16="http://schemas.microsoft.com/office/drawing/2014/main" id="{A467D66F-F38D-CCF8-B14E-2F71C45DF54D}"/>
              </a:ext>
            </a:extLst>
          </p:cNvPr>
          <p:cNvSpPr txBox="1"/>
          <p:nvPr/>
        </p:nvSpPr>
        <p:spPr>
          <a:xfrm>
            <a:off x="-1558548" y="1440000"/>
            <a:ext cx="1390498" cy="2476679"/>
          </a:xfrm>
          <a:prstGeom prst="rect">
            <a:avLst/>
          </a:prstGeom>
          <a:solidFill>
            <a:srgbClr val="D9D9D9"/>
          </a:solidFill>
          <a:ln cap="flat">
            <a:noFill/>
          </a:ln>
        </p:spPr>
        <p:txBody>
          <a:bodyPr vert="horz" wrap="square" lIns="91428" tIns="45714" rIns="91428" bIns="45714" anchor="t" anchorCtr="1" compatLnSpc="1">
            <a:noAutofit/>
          </a:bodyPr>
          <a:lstStyle/>
          <a:p>
            <a:pPr marL="0" marR="0" lvl="0" indent="0" algn="ctr" defTabSz="914309"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800" b="0" i="0" u="none" strike="noStrike" kern="1200" cap="none" spc="0" baseline="0">
                <a:solidFill>
                  <a:srgbClr val="001965"/>
                </a:solidFill>
                <a:uFillTx/>
                <a:latin typeface="Avenir Next LT Pro"/>
              </a:rPr>
              <a:t>To change level in the bullet list click ’Increase or Decrease List Level’</a:t>
            </a:r>
          </a:p>
          <a:p>
            <a:pPr marL="0" marR="0" lvl="0" indent="0" algn="ctr" defTabSz="914309"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800" b="0" i="0" u="none" strike="noStrike" kern="1200" cap="none" spc="0" baseline="0">
              <a:solidFill>
                <a:srgbClr val="001965"/>
              </a:solidFill>
              <a:uFillTx/>
              <a:latin typeface="Avenir Next LT Pro"/>
            </a:endParaRPr>
          </a:p>
          <a:p>
            <a:pPr marL="0" marR="0" lvl="0" indent="0" algn="ctr" defTabSz="914309"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800" b="0" i="0" u="none" strike="noStrike" kern="1200" cap="none" spc="0" baseline="0">
              <a:solidFill>
                <a:srgbClr val="001965"/>
              </a:solidFill>
              <a:uFillTx/>
              <a:latin typeface="Avenir Next LT Pro"/>
            </a:endParaRPr>
          </a:p>
          <a:p>
            <a:pPr marL="0" marR="0" lvl="0" indent="0" algn="ctr" defTabSz="914309"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800" b="0" i="0" u="none" strike="noStrike" kern="1200" cap="none" spc="0" baseline="0">
              <a:solidFill>
                <a:srgbClr val="001965"/>
              </a:solidFill>
              <a:uFillTx/>
              <a:latin typeface="Avenir Next LT Pro"/>
            </a:endParaRPr>
          </a:p>
          <a:p>
            <a:pPr marL="0" marR="0" lvl="0" indent="0" algn="ctr" defTabSz="914309"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800" b="0" i="0" u="none" strike="noStrike" kern="1200" cap="none" spc="0" baseline="0">
                <a:solidFill>
                  <a:srgbClr val="001965"/>
                </a:solidFill>
                <a:uFillTx/>
                <a:latin typeface="Avenir Next LT Pro"/>
              </a:rPr>
              <a:t>For normal body text format click ’Bullets’ to remove bullets.</a:t>
            </a:r>
          </a:p>
        </p:txBody>
      </p:sp>
      <p:pic>
        <p:nvPicPr>
          <p:cNvPr id="12" name="Picture 11">
            <a:extLst>
              <a:ext uri="{FF2B5EF4-FFF2-40B4-BE49-F238E27FC236}">
                <a16:creationId xmlns:a16="http://schemas.microsoft.com/office/drawing/2014/main" id="{0D44F5B6-4913-99A2-8CB7-D83F5034ED19}"/>
              </a:ext>
            </a:extLst>
          </p:cNvPr>
          <p:cNvPicPr>
            <a:picLocks noChangeAspect="1"/>
          </p:cNvPicPr>
          <p:nvPr/>
        </p:nvPicPr>
        <p:blipFill>
          <a:blip r:embed="rId4"/>
          <a:srcRect t="32177"/>
          <a:stretch>
            <a:fillRect/>
          </a:stretch>
        </p:blipFill>
        <p:spPr>
          <a:xfrm>
            <a:off x="-1404591" y="2958349"/>
            <a:ext cx="1082589" cy="836054"/>
          </a:xfrm>
          <a:prstGeom prst="rect">
            <a:avLst/>
          </a:prstGeom>
          <a:noFill/>
          <a:ln cap="flat">
            <a:noFill/>
          </a:ln>
        </p:spPr>
      </p:pic>
      <p:pic>
        <p:nvPicPr>
          <p:cNvPr id="13" name="Picture 14">
            <a:extLst>
              <a:ext uri="{FF2B5EF4-FFF2-40B4-BE49-F238E27FC236}">
                <a16:creationId xmlns:a16="http://schemas.microsoft.com/office/drawing/2014/main" id="{A21A56B1-E9A0-B155-2372-F1AB78E2C380}"/>
              </a:ext>
            </a:extLst>
          </p:cNvPr>
          <p:cNvPicPr>
            <a:picLocks noChangeAspect="1"/>
          </p:cNvPicPr>
          <p:nvPr/>
        </p:nvPicPr>
        <p:blipFill>
          <a:blip r:embed="rId5"/>
          <a:stretch>
            <a:fillRect/>
          </a:stretch>
        </p:blipFill>
        <p:spPr>
          <a:xfrm>
            <a:off x="-1082303" y="1940633"/>
            <a:ext cx="438008" cy="204853"/>
          </a:xfrm>
          <a:prstGeom prst="rect">
            <a:avLst/>
          </a:prstGeom>
          <a:noFill/>
          <a:ln cap="flat">
            <a:noFill/>
          </a:ln>
        </p:spPr>
      </p:pic>
      <p:pic>
        <p:nvPicPr>
          <p:cNvPr id="14" name="Picture 16">
            <a:extLst>
              <a:ext uri="{FF2B5EF4-FFF2-40B4-BE49-F238E27FC236}">
                <a16:creationId xmlns:a16="http://schemas.microsoft.com/office/drawing/2014/main" id="{5196D1B5-F559-399F-207C-BCEF131112E8}"/>
              </a:ext>
            </a:extLst>
          </p:cNvPr>
          <p:cNvPicPr>
            <a:picLocks noChangeAspect="1"/>
          </p:cNvPicPr>
          <p:nvPr/>
        </p:nvPicPr>
        <p:blipFill>
          <a:blip r:embed="rId6"/>
          <a:stretch>
            <a:fillRect/>
          </a:stretch>
        </p:blipFill>
        <p:spPr>
          <a:xfrm>
            <a:off x="-1019632" y="2663650"/>
            <a:ext cx="312656" cy="201689"/>
          </a:xfrm>
          <a:prstGeom prst="rect">
            <a:avLst/>
          </a:prstGeom>
          <a:noFill/>
          <a:ln cap="flat">
            <a:noFill/>
          </a:ln>
        </p:spPr>
      </p:pic>
    </p:spTree>
    <p:extLst>
      <p:ext uri="{BB962C8B-B14F-4D97-AF65-F5344CB8AC3E}">
        <p14:creationId xmlns:p14="http://schemas.microsoft.com/office/powerpoint/2010/main" val="38410863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5" name="Do not remove" hidden="1">
            <a:extLst>
              <a:ext uri="{FF2B5EF4-FFF2-40B4-BE49-F238E27FC236}">
                <a16:creationId xmlns:a16="http://schemas.microsoft.com/office/drawing/2014/main" id="{F39C48F8-0EA8-4875-9889-AF0B9B44F965}"/>
              </a:ext>
            </a:extLst>
          </p:cNvPr>
          <p:cNvSpPr/>
          <p:nvPr userDrawn="1">
            <p:custDataLst>
              <p:tags r:id="rId1"/>
            </p:custDataLst>
          </p:nvPr>
        </p:nvSpPr>
        <p:spPr>
          <a:xfrm>
            <a:off x="2" y="0"/>
            <a:ext cx="16935"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Content Placeholder 2">
            <a:extLst>
              <a:ext uri="{FF2B5EF4-FFF2-40B4-BE49-F238E27FC236}">
                <a16:creationId xmlns:a16="http://schemas.microsoft.com/office/drawing/2014/main" id="{5C739613-9E85-4D17-B2A9-636FB5286E4D}"/>
              </a:ext>
            </a:extLst>
          </p:cNvPr>
          <p:cNvSpPr>
            <a:spLocks noGrp="1"/>
          </p:cNvSpPr>
          <p:nvPr>
            <p:ph idx="1"/>
          </p:nvPr>
        </p:nvSpPr>
        <p:spPr>
          <a:xfrm>
            <a:off x="609676" y="1825629"/>
            <a:ext cx="10974229" cy="4156075"/>
          </a:xfrm>
        </p:spPr>
        <p:txBody>
          <a:bodyPr/>
          <a:lstStyle>
            <a:lvl1pPr>
              <a:defRPr lang="en-US" b="0" i="0" smtClean="0"/>
            </a:lvl1pPr>
            <a:lvl2pPr>
              <a:defRPr lang="en-US" b="0" i="0" smtClean="0"/>
            </a:lvl2pPr>
            <a:lvl3pPr>
              <a:defRPr lang="en-US" b="0" i="0" smtClean="0"/>
            </a:lvl3pPr>
            <a:lvl4pPr>
              <a:defRPr lang="en-US" b="0" i="0" smtClean="0"/>
            </a:lvl4pPr>
            <a:lvl5pPr>
              <a:defRPr lang="en-US" b="0" i="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Text Placeholder 14">
            <a:extLst>
              <a:ext uri="{FF2B5EF4-FFF2-40B4-BE49-F238E27FC236}">
                <a16:creationId xmlns:a16="http://schemas.microsoft.com/office/drawing/2014/main" id="{6BF14529-2AC0-4E00-86EF-F0D6D6349B4B}"/>
              </a:ext>
            </a:extLst>
          </p:cNvPr>
          <p:cNvSpPr>
            <a:spLocks noGrp="1"/>
          </p:cNvSpPr>
          <p:nvPr>
            <p:ph type="body" sz="quarter" idx="12"/>
          </p:nvPr>
        </p:nvSpPr>
        <p:spPr>
          <a:xfrm>
            <a:off x="609681" y="1144588"/>
            <a:ext cx="10974229" cy="274320"/>
          </a:xfrm>
        </p:spPr>
        <p:txBody>
          <a:bodyPr anchor="t"/>
          <a:lstStyle>
            <a:lvl1pPr marL="0" indent="0">
              <a:buNone/>
              <a:defRPr sz="1800" b="1" i="0">
                <a:solidFill>
                  <a:schemeClr val="accent6"/>
                </a:solidFill>
              </a:defRPr>
            </a:lvl1pPr>
            <a:lvl2pPr>
              <a:defRPr sz="1451" b="1"/>
            </a:lvl2pPr>
            <a:lvl3pPr>
              <a:defRPr sz="1451" b="1"/>
            </a:lvl3pPr>
            <a:lvl4pPr>
              <a:defRPr sz="1451" b="1"/>
            </a:lvl4pPr>
            <a:lvl5pPr>
              <a:defRPr sz="1451" b="1"/>
            </a:lvl5pPr>
          </a:lstStyle>
          <a:p>
            <a:pPr lvl="0"/>
            <a:r>
              <a:rPr lang="en-GB"/>
              <a:t>Click to edit Master text styles</a:t>
            </a:r>
          </a:p>
        </p:txBody>
      </p:sp>
      <p:sp>
        <p:nvSpPr>
          <p:cNvPr id="16" name="Text Placeholder 14">
            <a:extLst>
              <a:ext uri="{FF2B5EF4-FFF2-40B4-BE49-F238E27FC236}">
                <a16:creationId xmlns:a16="http://schemas.microsoft.com/office/drawing/2014/main" id="{91087F8B-7D03-4A08-AD53-4DC8DB9A781B}"/>
              </a:ext>
            </a:extLst>
          </p:cNvPr>
          <p:cNvSpPr>
            <a:spLocks noGrp="1"/>
          </p:cNvSpPr>
          <p:nvPr>
            <p:ph type="body" sz="quarter" idx="13"/>
          </p:nvPr>
        </p:nvSpPr>
        <p:spPr>
          <a:xfrm>
            <a:off x="609681" y="1417320"/>
            <a:ext cx="10974229" cy="274320"/>
          </a:xfrm>
        </p:spPr>
        <p:txBody>
          <a:bodyPr anchor="t"/>
          <a:lstStyle>
            <a:lvl1pPr marL="0" indent="0">
              <a:buNone/>
              <a:defRPr sz="1600" b="0" i="0">
                <a:solidFill>
                  <a:schemeClr val="accent1"/>
                </a:solidFill>
              </a:defRPr>
            </a:lvl1pPr>
            <a:lvl2pPr>
              <a:defRPr sz="1451" b="1"/>
            </a:lvl2pPr>
            <a:lvl3pPr>
              <a:defRPr sz="1451" b="1"/>
            </a:lvl3pPr>
            <a:lvl4pPr>
              <a:defRPr sz="1451" b="1"/>
            </a:lvl4pPr>
            <a:lvl5pPr>
              <a:defRPr sz="1451" b="1"/>
            </a:lvl5pPr>
          </a:lstStyle>
          <a:p>
            <a:pPr lvl="0"/>
            <a:r>
              <a:rPr lang="en-GB"/>
              <a:t>Click to edit Master text styles</a:t>
            </a:r>
          </a:p>
        </p:txBody>
      </p:sp>
      <p:sp>
        <p:nvSpPr>
          <p:cNvPr id="6" name="Slide Number Placeholder 7">
            <a:extLst>
              <a:ext uri="{FF2B5EF4-FFF2-40B4-BE49-F238E27FC236}">
                <a16:creationId xmlns:a16="http://schemas.microsoft.com/office/drawing/2014/main" id="{8A894E7F-E995-46B2-ADE1-583A17B32849}"/>
              </a:ext>
            </a:extLst>
          </p:cNvPr>
          <p:cNvSpPr>
            <a:spLocks noGrp="1" noChangeArrowheads="1"/>
          </p:cNvSpPr>
          <p:nvPr>
            <p:ph type="sldNum" sz="quarter" idx="14"/>
          </p:nvPr>
        </p:nvSpPr>
        <p:spPr/>
        <p:txBody>
          <a:bodyPr/>
          <a:lstStyle>
            <a:lvl1pPr>
              <a:defRPr b="0" i="0"/>
            </a:lvl1pPr>
          </a:lstStyle>
          <a:p>
            <a:fld id="{1A52E2C7-4EE2-41E4-ABB6-7F70F46C9E65}" type="slidenum">
              <a:rPr lang="en-GB" altLang="en-US" smtClean="0"/>
              <a:pPr/>
              <a:t>‹#›</a:t>
            </a:fld>
            <a:endParaRPr lang="en-GB" altLang="en-US"/>
          </a:p>
        </p:txBody>
      </p:sp>
      <p:sp>
        <p:nvSpPr>
          <p:cNvPr id="7" name="Footer Placeholder 7">
            <a:extLst>
              <a:ext uri="{FF2B5EF4-FFF2-40B4-BE49-F238E27FC236}">
                <a16:creationId xmlns:a16="http://schemas.microsoft.com/office/drawing/2014/main" id="{BAD6A565-B1A7-4CAA-ABA6-64465AA52D70}"/>
              </a:ext>
            </a:extLst>
          </p:cNvPr>
          <p:cNvSpPr>
            <a:spLocks noGrp="1" noChangeArrowheads="1"/>
          </p:cNvSpPr>
          <p:nvPr>
            <p:ph type="ftr" sz="quarter" idx="15"/>
          </p:nvPr>
        </p:nvSpPr>
        <p:spPr/>
        <p:txBody>
          <a:bodyPr/>
          <a:lstStyle>
            <a:lvl1pPr>
              <a:defRPr/>
            </a:lvl1pPr>
          </a:lstStyle>
          <a:p>
            <a:endParaRPr lang="en-GB" altLang="en-US"/>
          </a:p>
        </p:txBody>
      </p:sp>
      <p:sp>
        <p:nvSpPr>
          <p:cNvPr id="8" name="Title 1">
            <a:extLst>
              <a:ext uri="{FF2B5EF4-FFF2-40B4-BE49-F238E27FC236}">
                <a16:creationId xmlns:a16="http://schemas.microsoft.com/office/drawing/2014/main" id="{8373EBEB-5229-8E42-BD3A-539117D6ACF7}"/>
              </a:ext>
            </a:extLst>
          </p:cNvPr>
          <p:cNvSpPr>
            <a:spLocks noGrp="1"/>
          </p:cNvSpPr>
          <p:nvPr>
            <p:ph type="title"/>
          </p:nvPr>
        </p:nvSpPr>
        <p:spPr>
          <a:xfrm>
            <a:off x="609681" y="0"/>
            <a:ext cx="10974229" cy="914400"/>
          </a:xfrm>
        </p:spPr>
        <p:txBody>
          <a:bodyPr/>
          <a:lstStyle>
            <a:lvl1pPr>
              <a:defRPr b="1" i="0"/>
            </a:lvl1pPr>
          </a:lstStyle>
          <a:p>
            <a:r>
              <a:rPr lang="en-GB"/>
              <a:t>Click to edit Master title style</a:t>
            </a:r>
          </a:p>
        </p:txBody>
      </p:sp>
    </p:spTree>
    <p:extLst>
      <p:ext uri="{BB962C8B-B14F-4D97-AF65-F5344CB8AC3E}">
        <p14:creationId xmlns:p14="http://schemas.microsoft.com/office/powerpoint/2010/main" val="514957274"/>
      </p:ext>
    </p:extLst>
  </p:cSld>
  <p:clrMapOvr>
    <a:masterClrMapping/>
  </p:clrMapOvr>
  <p:extLst>
    <p:ext uri="{DCECCB84-F9BA-43D5-87BE-67443E8EF086}">
      <p15:sldGuideLst xmlns:p15="http://schemas.microsoft.com/office/powerpoint/2012/main">
        <p15:guide id="1" orient="horz" pos="3770">
          <p15:clr>
            <a:srgbClr val="FBAE40"/>
          </p15:clr>
        </p15:guide>
        <p15:guide id="2" pos="382">
          <p15:clr>
            <a:srgbClr val="FBAE40"/>
          </p15:clr>
        </p15:guide>
        <p15:guide id="3" pos="7296">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 divider - Number in circle - dark bakground">
    <p:bg>
      <p:bgPr>
        <a:solidFill>
          <a:schemeClr val="tx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DDDCFD4D-4F31-42C2-BCCB-174D860121D3}" type="datetime3">
              <a:rPr lang="da-DK" smtClean="0"/>
              <a:t>13.05.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lgn="r">
              <a:defRPr>
                <a:solidFill>
                  <a:schemeClr val="tx2">
                    <a:lumMod val="60000"/>
                    <a:lumOff val="40000"/>
                  </a:schemeClr>
                </a:solidFill>
              </a:defRPr>
            </a:lvl1pPr>
          </a:lstStyle>
          <a:p>
            <a:fld id="{C2F92818-9D0C-420B-84CB-20E21C25F84F}" type="slidenum">
              <a:rPr lang="sv-SE" smtClean="0"/>
              <a:pPr/>
              <a:t>‹#›</a:t>
            </a:fld>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4243369" y="3205379"/>
            <a:ext cx="7435802" cy="443198"/>
          </a:xfrm>
        </p:spPr>
        <p:txBody>
          <a:bodyPr wrap="square" anchor="ctr">
            <a:spAutoFit/>
          </a:bodyPr>
          <a:lstStyle>
            <a:lvl1pPr marL="0" indent="0" algn="l">
              <a:buNone/>
              <a:defRPr sz="3200" b="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pic>
        <p:nvPicPr>
          <p:cNvPr id="2" name="Graphic 1">
            <a:extLst>
              <a:ext uri="{FF2B5EF4-FFF2-40B4-BE49-F238E27FC236}">
                <a16:creationId xmlns:a16="http://schemas.microsoft.com/office/drawing/2014/main" id="{D2E7763F-70CF-6EF0-E38B-FB1BE81DF3B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3" name="Text Placeholder 7">
            <a:extLst>
              <a:ext uri="{FF2B5EF4-FFF2-40B4-BE49-F238E27FC236}">
                <a16:creationId xmlns:a16="http://schemas.microsoft.com/office/drawing/2014/main" id="{06FC6113-4D4C-658B-21CB-052507F04175}"/>
              </a:ext>
            </a:extLst>
          </p:cNvPr>
          <p:cNvSpPr>
            <a:spLocks noGrp="1"/>
          </p:cNvSpPr>
          <p:nvPr>
            <p:ph type="body" sz="quarter" idx="15" hasCustomPrompt="1"/>
          </p:nvPr>
        </p:nvSpPr>
        <p:spPr>
          <a:xfrm>
            <a:off x="2747432" y="2832978"/>
            <a:ext cx="1188155" cy="1188000"/>
          </a:xfrm>
          <a:prstGeom prst="ellipse">
            <a:avLst/>
          </a:prstGeom>
          <a:solidFill>
            <a:schemeClr val="accent3"/>
          </a:solidFill>
        </p:spPr>
        <p:txBody>
          <a:bodyPr anchor="ctr" anchorCtr="0">
            <a:noAutofit/>
          </a:bodyPr>
          <a:lstStyle>
            <a:lvl1pPr marL="0" indent="0" algn="ctr">
              <a:lnSpc>
                <a:spcPct val="100000"/>
              </a:lnSpc>
              <a:buNone/>
              <a:defRPr sz="4400" b="1">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Tree>
    <p:extLst>
      <p:ext uri="{BB962C8B-B14F-4D97-AF65-F5344CB8AC3E}">
        <p14:creationId xmlns:p14="http://schemas.microsoft.com/office/powerpoint/2010/main" val="29818574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7" name="Rectangle 6">
            <a:extLst>
              <a:ext uri="{FF2B5EF4-FFF2-40B4-BE49-F238E27FC236}">
                <a16:creationId xmlns:a16="http://schemas.microsoft.com/office/drawing/2014/main" id="{9DB270F1-B40D-2246-A956-F1D47E227370}"/>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2" name="Title 1">
            <a:extLst>
              <a:ext uri="{FF2B5EF4-FFF2-40B4-BE49-F238E27FC236}">
                <a16:creationId xmlns:a16="http://schemas.microsoft.com/office/drawing/2014/main" id="{C48E50A3-CD8F-C800-8D64-A2446E516B96}"/>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BEEB4D7A-3FF8-2422-96A4-39526DE5BA7E}"/>
              </a:ext>
            </a:extLst>
          </p:cNvPr>
          <p:cNvSpPr>
            <a:spLocks noGrp="1"/>
          </p:cNvSpPr>
          <p:nvPr>
            <p:ph type="body" sz="quarter" idx="11"/>
          </p:nvPr>
        </p:nvSpPr>
        <p:spPr>
          <a:xfrm>
            <a:off x="565459"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CC426A7C-39F7-A545-D883-51CB79E99304}"/>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4" name="Graphic 3">
            <a:extLst>
              <a:ext uri="{FF2B5EF4-FFF2-40B4-BE49-F238E27FC236}">
                <a16:creationId xmlns:a16="http://schemas.microsoft.com/office/drawing/2014/main" id="{2825AC9F-8462-E71C-3D23-75EB4768AD2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3368940659"/>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ection divider - Number in circle - light bakground">
    <p:bg>
      <p:bgPr>
        <a:solidFill>
          <a:schemeClr val="tx2"/>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D39D1A53-C1AE-4CDE-989D-AAB1F5EA05B5}" type="datetime3">
              <a:rPr lang="da-DK" smtClean="0"/>
              <a:t>13.05.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lgn="r">
              <a:defRPr>
                <a:solidFill>
                  <a:schemeClr val="tx2">
                    <a:lumMod val="60000"/>
                    <a:lumOff val="40000"/>
                  </a:schemeClr>
                </a:solidFill>
              </a:defRPr>
            </a:lvl1pPr>
          </a:lstStyle>
          <a:p>
            <a:fld id="{C2F92818-9D0C-420B-84CB-20E21C25F84F}" type="slidenum">
              <a:rPr lang="sv-SE" smtClean="0"/>
              <a:pPr/>
              <a:t>‹#›</a:t>
            </a:fld>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4243369" y="3205379"/>
            <a:ext cx="7435802" cy="443198"/>
          </a:xfrm>
        </p:spPr>
        <p:txBody>
          <a:bodyPr wrap="square" anchor="ctr">
            <a:spAutoFit/>
          </a:bodyPr>
          <a:lstStyle>
            <a:lvl1pPr marL="0" indent="0" algn="l">
              <a:buNone/>
              <a:defRPr sz="3200" b="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pic>
        <p:nvPicPr>
          <p:cNvPr id="2" name="Graphic 1">
            <a:extLst>
              <a:ext uri="{FF2B5EF4-FFF2-40B4-BE49-F238E27FC236}">
                <a16:creationId xmlns:a16="http://schemas.microsoft.com/office/drawing/2014/main" id="{D2E7763F-70CF-6EF0-E38B-FB1BE81DF3B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3" name="Text Placeholder 7">
            <a:extLst>
              <a:ext uri="{FF2B5EF4-FFF2-40B4-BE49-F238E27FC236}">
                <a16:creationId xmlns:a16="http://schemas.microsoft.com/office/drawing/2014/main" id="{06FC6113-4D4C-658B-21CB-052507F04175}"/>
              </a:ext>
            </a:extLst>
          </p:cNvPr>
          <p:cNvSpPr>
            <a:spLocks noGrp="1"/>
          </p:cNvSpPr>
          <p:nvPr>
            <p:ph type="body" sz="quarter" idx="15" hasCustomPrompt="1"/>
          </p:nvPr>
        </p:nvSpPr>
        <p:spPr>
          <a:xfrm>
            <a:off x="2747432" y="2832978"/>
            <a:ext cx="1188155" cy="1188000"/>
          </a:xfrm>
          <a:prstGeom prst="ellipse">
            <a:avLst/>
          </a:prstGeom>
          <a:solidFill>
            <a:schemeClr val="tx1"/>
          </a:solidFill>
        </p:spPr>
        <p:txBody>
          <a:bodyPr anchor="ctr" anchorCtr="0">
            <a:noAutofit/>
          </a:bodyPr>
          <a:lstStyle>
            <a:lvl1pPr marL="0" indent="0" algn="ctr">
              <a:lnSpc>
                <a:spcPct val="100000"/>
              </a:lnSpc>
              <a:buNone/>
              <a:defRPr sz="4400" b="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Tree>
    <p:extLst>
      <p:ext uri="{BB962C8B-B14F-4D97-AF65-F5344CB8AC3E}">
        <p14:creationId xmlns:p14="http://schemas.microsoft.com/office/powerpoint/2010/main" val="8725112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ection divider - colored circle">
    <p:bg>
      <p:bgPr>
        <a:solidFill>
          <a:schemeClr val="tx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844A38D1-7F12-4602-9D80-3FFCA00D142C}" type="datetime3">
              <a:rPr lang="da-DK" smtClean="0"/>
              <a:t>13.05.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lgn="r">
              <a:defRPr>
                <a:solidFill>
                  <a:schemeClr val="tx2">
                    <a:lumMod val="60000"/>
                    <a:lumOff val="40000"/>
                  </a:schemeClr>
                </a:solidFill>
              </a:defRPr>
            </a:lvl1pPr>
          </a:lstStyle>
          <a:p>
            <a:fld id="{C2F92818-9D0C-420B-84CB-20E21C25F84F}" type="slidenum">
              <a:rPr lang="sv-SE" smtClean="0"/>
              <a:pPr/>
              <a:t>‹#›</a:t>
            </a:fld>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4208901" y="4949371"/>
            <a:ext cx="3775787" cy="223837"/>
          </a:xfrm>
        </p:spPr>
        <p:txBody>
          <a:bodyPr wrap="square">
            <a:spAutoFit/>
          </a:bodyPr>
          <a:lstStyle>
            <a:lvl1pPr marL="0" indent="0" algn="ctr">
              <a:buNone/>
              <a:defRPr sz="1600">
                <a:solidFill>
                  <a:schemeClr val="bg1"/>
                </a:solidFill>
                <a:latin typeface="Avenir Next LT Pro Demi" panose="020B07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sp>
        <p:nvSpPr>
          <p:cNvPr id="17" name="Text Placeholder 25">
            <a:extLst>
              <a:ext uri="{FF2B5EF4-FFF2-40B4-BE49-F238E27FC236}">
                <a16:creationId xmlns:a16="http://schemas.microsoft.com/office/drawing/2014/main" id="{324CA357-2BCE-140D-11AB-CDE43F5148F7}"/>
              </a:ext>
            </a:extLst>
          </p:cNvPr>
          <p:cNvSpPr>
            <a:spLocks noGrp="1"/>
          </p:cNvSpPr>
          <p:nvPr>
            <p:ph type="body" sz="quarter" idx="27"/>
          </p:nvPr>
        </p:nvSpPr>
        <p:spPr>
          <a:xfrm>
            <a:off x="4836630" y="2169000"/>
            <a:ext cx="2520328" cy="2520000"/>
          </a:xfrm>
          <a:prstGeom prst="ellipse">
            <a:avLst/>
          </a:prstGeom>
          <a:solidFill>
            <a:schemeClr val="tx2"/>
          </a:solidFill>
        </p:spPr>
        <p:txBody>
          <a:bodyPr lIns="36000" tIns="36000" rIns="36000" bIns="36000" anchor="ctr" anchorCtr="0">
            <a:normAutofit/>
          </a:bodyPr>
          <a:lstStyle>
            <a:lvl1pPr marL="0" indent="0" algn="ctr">
              <a:buNone/>
              <a:defRPr sz="2000">
                <a:latin typeface="Avenir Next LT Pro Demi" panose="020B0704020202020204" pitchFamily="34" charset="0"/>
              </a:defRPr>
            </a:lvl1pPr>
          </a:lstStyle>
          <a:p>
            <a:pPr lvl="0"/>
            <a:r>
              <a:rPr lang="en-US"/>
              <a:t>Click to edit</a:t>
            </a:r>
            <a:endParaRPr lang="sv-SE"/>
          </a:p>
        </p:txBody>
      </p:sp>
      <p:grpSp>
        <p:nvGrpSpPr>
          <p:cNvPr id="38" name="Group 37">
            <a:extLst>
              <a:ext uri="{FF2B5EF4-FFF2-40B4-BE49-F238E27FC236}">
                <a16:creationId xmlns:a16="http://schemas.microsoft.com/office/drawing/2014/main" id="{F70377F2-3686-D8A5-827A-63EBB644C127}"/>
              </a:ext>
            </a:extLst>
          </p:cNvPr>
          <p:cNvGrpSpPr/>
          <p:nvPr userDrawn="1"/>
        </p:nvGrpSpPr>
        <p:grpSpPr>
          <a:xfrm>
            <a:off x="-1091711" y="1196876"/>
            <a:ext cx="923664" cy="4069080"/>
            <a:chOff x="-1078992" y="1280160"/>
            <a:chExt cx="923544" cy="4069080"/>
          </a:xfrm>
        </p:grpSpPr>
        <p:sp>
          <p:nvSpPr>
            <p:cNvPr id="37" name="TextBox 36">
              <a:extLst>
                <a:ext uri="{FF2B5EF4-FFF2-40B4-BE49-F238E27FC236}">
                  <a16:creationId xmlns:a16="http://schemas.microsoft.com/office/drawing/2014/main" id="{195A7B5F-6B5C-A87C-E880-60425BE56C3C}"/>
                </a:ext>
              </a:extLst>
            </p:cNvPr>
            <p:cNvSpPr txBox="1"/>
            <p:nvPr userDrawn="1"/>
          </p:nvSpPr>
          <p:spPr>
            <a:xfrm>
              <a:off x="-1078992" y="1280160"/>
              <a:ext cx="923544" cy="4069080"/>
            </a:xfrm>
            <a:prstGeom prst="rect">
              <a:avLst/>
            </a:prstGeom>
            <a:solidFill>
              <a:schemeClr val="bg1">
                <a:lumMod val="85000"/>
              </a:schemeClr>
            </a:solidFill>
          </p:spPr>
          <p:txBody>
            <a:bodyPr wrap="square" rtlCol="0">
              <a:noAutofit/>
            </a:bodyPr>
            <a:lstStyle/>
            <a:p>
              <a:pPr algn="ctr"/>
              <a:r>
                <a:rPr lang="en-GB" sz="800" noProof="0" err="1"/>
                <a:t>Colors</a:t>
              </a:r>
              <a:r>
                <a:rPr lang="en-GB" sz="800" noProof="0"/>
                <a:t> to choose from for the circle:</a:t>
              </a:r>
            </a:p>
          </p:txBody>
        </p:sp>
        <p:sp>
          <p:nvSpPr>
            <p:cNvPr id="32" name="Oval 31">
              <a:extLst>
                <a:ext uri="{FF2B5EF4-FFF2-40B4-BE49-F238E27FC236}">
                  <a16:creationId xmlns:a16="http://schemas.microsoft.com/office/drawing/2014/main" id="{9B8117F4-766A-BC05-5445-D06F69E7F409}"/>
                </a:ext>
              </a:extLst>
            </p:cNvPr>
            <p:cNvSpPr/>
            <p:nvPr userDrawn="1"/>
          </p:nvSpPr>
          <p:spPr>
            <a:xfrm>
              <a:off x="-881958" y="1820532"/>
              <a:ext cx="529476" cy="52947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3" name="Oval 32">
              <a:extLst>
                <a:ext uri="{FF2B5EF4-FFF2-40B4-BE49-F238E27FC236}">
                  <a16:creationId xmlns:a16="http://schemas.microsoft.com/office/drawing/2014/main" id="{08734919-E4B8-20F5-748E-A6F21C2D0EC8}"/>
                </a:ext>
              </a:extLst>
            </p:cNvPr>
            <p:cNvSpPr/>
            <p:nvPr userDrawn="1"/>
          </p:nvSpPr>
          <p:spPr>
            <a:xfrm>
              <a:off x="-881958" y="2510712"/>
              <a:ext cx="529476" cy="52947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4" name="Oval 33">
              <a:extLst>
                <a:ext uri="{FF2B5EF4-FFF2-40B4-BE49-F238E27FC236}">
                  <a16:creationId xmlns:a16="http://schemas.microsoft.com/office/drawing/2014/main" id="{6133398F-3600-666B-3F11-73338E26C238}"/>
                </a:ext>
              </a:extLst>
            </p:cNvPr>
            <p:cNvSpPr/>
            <p:nvPr userDrawn="1"/>
          </p:nvSpPr>
          <p:spPr>
            <a:xfrm>
              <a:off x="-881958" y="3211296"/>
              <a:ext cx="529476" cy="529476"/>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5" name="Oval 34">
              <a:extLst>
                <a:ext uri="{FF2B5EF4-FFF2-40B4-BE49-F238E27FC236}">
                  <a16:creationId xmlns:a16="http://schemas.microsoft.com/office/drawing/2014/main" id="{A6512E01-D81A-1F35-DEF9-38F9CE8A375C}"/>
                </a:ext>
              </a:extLst>
            </p:cNvPr>
            <p:cNvSpPr/>
            <p:nvPr userDrawn="1"/>
          </p:nvSpPr>
          <p:spPr>
            <a:xfrm>
              <a:off x="-881958" y="3906678"/>
              <a:ext cx="529476" cy="529476"/>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6" name="Oval 35">
              <a:extLst>
                <a:ext uri="{FF2B5EF4-FFF2-40B4-BE49-F238E27FC236}">
                  <a16:creationId xmlns:a16="http://schemas.microsoft.com/office/drawing/2014/main" id="{79BC4495-4B31-8456-6291-01B74A4EB765}"/>
                </a:ext>
              </a:extLst>
            </p:cNvPr>
            <p:cNvSpPr/>
            <p:nvPr userDrawn="1"/>
          </p:nvSpPr>
          <p:spPr>
            <a:xfrm>
              <a:off x="-881958" y="4602060"/>
              <a:ext cx="529476" cy="529476"/>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grpSp>
      <p:pic>
        <p:nvPicPr>
          <p:cNvPr id="2" name="Graphic 1">
            <a:extLst>
              <a:ext uri="{FF2B5EF4-FFF2-40B4-BE49-F238E27FC236}">
                <a16:creationId xmlns:a16="http://schemas.microsoft.com/office/drawing/2014/main" id="{D2E7763F-70CF-6EF0-E38B-FB1BE81DF3B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3" name="TextBox 2">
            <a:extLst>
              <a:ext uri="{FF2B5EF4-FFF2-40B4-BE49-F238E27FC236}">
                <a16:creationId xmlns:a16="http://schemas.microsoft.com/office/drawing/2014/main" id="{A9A40013-835A-60B9-AFF2-2DDD682775DC}"/>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8" name="Picture 7">
            <a:extLst>
              <a:ext uri="{FF2B5EF4-FFF2-40B4-BE49-F238E27FC236}">
                <a16:creationId xmlns:a16="http://schemas.microsoft.com/office/drawing/2014/main" id="{AC31BB7D-DD03-83F0-89EC-6A86BF0EC62C}"/>
              </a:ext>
            </a:extLst>
          </p:cNvPr>
          <p:cNvPicPr>
            <a:picLocks noChangeAspect="1"/>
          </p:cNvPicPr>
          <p:nvPr userDrawn="1"/>
        </p:nvPicPr>
        <p:blipFill>
          <a:blip r:embed="rId3"/>
          <a:stretch>
            <a:fillRect/>
          </a:stretch>
        </p:blipFill>
        <p:spPr>
          <a:xfrm>
            <a:off x="-1032553" y="6043201"/>
            <a:ext cx="338511" cy="456195"/>
          </a:xfrm>
          <a:prstGeom prst="rect">
            <a:avLst/>
          </a:prstGeom>
        </p:spPr>
      </p:pic>
    </p:spTree>
    <p:extLst>
      <p:ext uri="{BB962C8B-B14F-4D97-AF65-F5344CB8AC3E}">
        <p14:creationId xmlns:p14="http://schemas.microsoft.com/office/powerpoint/2010/main" val="23839599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ection divider - quote">
    <p:bg>
      <p:bgPr>
        <a:solidFill>
          <a:schemeClr val="tx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EDB935A7-924B-4816-B7B6-4B125308DB0B}" type="datetime3">
              <a:rPr lang="da-DK" smtClean="0"/>
              <a:t>13.05.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3539190" y="3088290"/>
            <a:ext cx="5115208" cy="886397"/>
          </a:xfrm>
        </p:spPr>
        <p:txBody>
          <a:bodyPr wrap="square">
            <a:spAutoFit/>
          </a:bodyPr>
          <a:lstStyle>
            <a:lvl1pPr marL="0" indent="0" algn="ctr">
              <a:buNone/>
              <a:defRPr sz="3200" b="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pic>
        <p:nvPicPr>
          <p:cNvPr id="31" name="Graphic 30">
            <a:extLst>
              <a:ext uri="{FF2B5EF4-FFF2-40B4-BE49-F238E27FC236}">
                <a16:creationId xmlns:a16="http://schemas.microsoft.com/office/drawing/2014/main" id="{542688BD-AB8B-9C9F-2A1F-A74FB42737B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pic>
        <p:nvPicPr>
          <p:cNvPr id="2" name="Graphic 6">
            <a:extLst>
              <a:ext uri="{FF2B5EF4-FFF2-40B4-BE49-F238E27FC236}">
                <a16:creationId xmlns:a16="http://schemas.microsoft.com/office/drawing/2014/main" id="{DECF392D-CFF3-892B-7E21-7AB3F9C3F96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45953" y="2122941"/>
            <a:ext cx="720219" cy="555525"/>
          </a:xfrm>
          <a:prstGeom prst="rect">
            <a:avLst/>
          </a:prstGeom>
        </p:spPr>
      </p:pic>
      <p:grpSp>
        <p:nvGrpSpPr>
          <p:cNvPr id="12" name="Group 11">
            <a:extLst>
              <a:ext uri="{FF2B5EF4-FFF2-40B4-BE49-F238E27FC236}">
                <a16:creationId xmlns:a16="http://schemas.microsoft.com/office/drawing/2014/main" id="{7AF06864-8149-C1AA-F3F2-695021840087}"/>
              </a:ext>
            </a:extLst>
          </p:cNvPr>
          <p:cNvGrpSpPr/>
          <p:nvPr userDrawn="1"/>
        </p:nvGrpSpPr>
        <p:grpSpPr>
          <a:xfrm>
            <a:off x="-1090942" y="1198800"/>
            <a:ext cx="923664" cy="4069080"/>
            <a:chOff x="-1078992" y="1394460"/>
            <a:chExt cx="923544" cy="4069080"/>
          </a:xfrm>
        </p:grpSpPr>
        <p:sp>
          <p:nvSpPr>
            <p:cNvPr id="37" name="TextBox 36">
              <a:extLst>
                <a:ext uri="{FF2B5EF4-FFF2-40B4-BE49-F238E27FC236}">
                  <a16:creationId xmlns:a16="http://schemas.microsoft.com/office/drawing/2014/main" id="{195A7B5F-6B5C-A87C-E880-60425BE56C3C}"/>
                </a:ext>
              </a:extLst>
            </p:cNvPr>
            <p:cNvSpPr txBox="1"/>
            <p:nvPr userDrawn="1"/>
          </p:nvSpPr>
          <p:spPr>
            <a:xfrm>
              <a:off x="-1078992" y="1394460"/>
              <a:ext cx="923544" cy="4069080"/>
            </a:xfrm>
            <a:prstGeom prst="rect">
              <a:avLst/>
            </a:prstGeom>
            <a:solidFill>
              <a:schemeClr val="bg1">
                <a:lumMod val="85000"/>
              </a:schemeClr>
            </a:solidFill>
          </p:spPr>
          <p:txBody>
            <a:bodyPr wrap="square" rtlCol="0">
              <a:noAutofit/>
            </a:bodyPr>
            <a:lstStyle/>
            <a:p>
              <a:pPr algn="ctr"/>
              <a:r>
                <a:rPr lang="en-GB" sz="800" noProof="0" err="1"/>
                <a:t>Colors</a:t>
              </a:r>
              <a:r>
                <a:rPr lang="en-GB" sz="800" noProof="0"/>
                <a:t> to choose from for the quote sign:</a:t>
              </a:r>
            </a:p>
          </p:txBody>
        </p:sp>
        <p:pic>
          <p:nvPicPr>
            <p:cNvPr id="3" name="Graphic 6">
              <a:extLst>
                <a:ext uri="{FF2B5EF4-FFF2-40B4-BE49-F238E27FC236}">
                  <a16:creationId xmlns:a16="http://schemas.microsoft.com/office/drawing/2014/main" id="{8BABE81D-34DE-2F4B-C3BD-2B0AA32CE85E}"/>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68680" y="2004803"/>
              <a:ext cx="481860" cy="371721"/>
            </a:xfrm>
            <a:prstGeom prst="rect">
              <a:avLst/>
            </a:prstGeom>
          </p:spPr>
        </p:pic>
        <p:pic>
          <p:nvPicPr>
            <p:cNvPr id="8" name="Graphic 6">
              <a:extLst>
                <a:ext uri="{FF2B5EF4-FFF2-40B4-BE49-F238E27FC236}">
                  <a16:creationId xmlns:a16="http://schemas.microsoft.com/office/drawing/2014/main" id="{6BDF25F1-60CC-1731-FEB7-B879F5D719F9}"/>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8680" y="2715749"/>
              <a:ext cx="481860" cy="371721"/>
            </a:xfrm>
            <a:prstGeom prst="rect">
              <a:avLst/>
            </a:prstGeom>
          </p:spPr>
        </p:pic>
        <p:pic>
          <p:nvPicPr>
            <p:cNvPr id="9" name="Graphic 6">
              <a:extLst>
                <a:ext uri="{FF2B5EF4-FFF2-40B4-BE49-F238E27FC236}">
                  <a16:creationId xmlns:a16="http://schemas.microsoft.com/office/drawing/2014/main" id="{C6BFA1CF-AE44-8084-1FD6-D84D5E29C8E2}"/>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8680" y="3426695"/>
              <a:ext cx="481860" cy="371721"/>
            </a:xfrm>
            <a:prstGeom prst="rect">
              <a:avLst/>
            </a:prstGeom>
          </p:spPr>
        </p:pic>
        <p:pic>
          <p:nvPicPr>
            <p:cNvPr id="10" name="Graphic 6">
              <a:extLst>
                <a:ext uri="{FF2B5EF4-FFF2-40B4-BE49-F238E27FC236}">
                  <a16:creationId xmlns:a16="http://schemas.microsoft.com/office/drawing/2014/main" id="{820098DD-0BDA-CFA1-63CC-1CEFA46E486E}"/>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8680" y="4137641"/>
              <a:ext cx="481860" cy="371721"/>
            </a:xfrm>
            <a:prstGeom prst="rect">
              <a:avLst/>
            </a:prstGeom>
          </p:spPr>
        </p:pic>
        <p:pic>
          <p:nvPicPr>
            <p:cNvPr id="11" name="Graphic 6">
              <a:extLst>
                <a:ext uri="{FF2B5EF4-FFF2-40B4-BE49-F238E27FC236}">
                  <a16:creationId xmlns:a16="http://schemas.microsoft.com/office/drawing/2014/main" id="{C4D1ED0C-B3FD-37B1-E0E3-4B97CC052CEE}"/>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8680" y="4848587"/>
              <a:ext cx="481860" cy="371721"/>
            </a:xfrm>
            <a:prstGeom prst="rect">
              <a:avLst/>
            </a:prstGeom>
          </p:spPr>
        </p:pic>
      </p:grpSp>
      <p:sp>
        <p:nvSpPr>
          <p:cNvPr id="13" name="Slide Number Placeholder 5">
            <a:extLst>
              <a:ext uri="{FF2B5EF4-FFF2-40B4-BE49-F238E27FC236}">
                <a16:creationId xmlns:a16="http://schemas.microsoft.com/office/drawing/2014/main" id="{32B150E7-4B20-9AD4-A4DC-4385DECC8AF1}"/>
              </a:ext>
            </a:extLst>
          </p:cNvPr>
          <p:cNvSpPr>
            <a:spLocks noGrp="1"/>
          </p:cNvSpPr>
          <p:nvPr>
            <p:ph type="sldNum" sz="quarter" idx="12"/>
          </p:nvPr>
        </p:nvSpPr>
        <p:spPr>
          <a:xfrm>
            <a:off x="11302884" y="6494949"/>
            <a:ext cx="374699" cy="153888"/>
          </a:xfrm>
        </p:spPr>
        <p:txBody>
          <a:bodyPr/>
          <a:lstStyle>
            <a:lvl1pPr algn="r">
              <a:defRPr>
                <a:solidFill>
                  <a:schemeClr val="tx2">
                    <a:lumMod val="60000"/>
                    <a:lumOff val="40000"/>
                  </a:schemeClr>
                </a:solidFill>
              </a:defRPr>
            </a:lvl1pPr>
          </a:lstStyle>
          <a:p>
            <a:fld id="{C2F92818-9D0C-420B-84CB-20E21C25F84F}" type="slidenum">
              <a:rPr lang="sv-SE" smtClean="0"/>
              <a:pPr/>
              <a:t>‹#›</a:t>
            </a:fld>
            <a:endParaRPr lang="sv-SE"/>
          </a:p>
        </p:txBody>
      </p:sp>
      <p:sp>
        <p:nvSpPr>
          <p:cNvPr id="7" name="TextBox 6">
            <a:extLst>
              <a:ext uri="{FF2B5EF4-FFF2-40B4-BE49-F238E27FC236}">
                <a16:creationId xmlns:a16="http://schemas.microsoft.com/office/drawing/2014/main" id="{8A96F4E0-10F1-A33A-2362-852D9396099E}"/>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4" name="Picture 13">
            <a:extLst>
              <a:ext uri="{FF2B5EF4-FFF2-40B4-BE49-F238E27FC236}">
                <a16:creationId xmlns:a16="http://schemas.microsoft.com/office/drawing/2014/main" id="{2E7DB3E6-6293-7E5C-DB81-7FB1FA3E9073}"/>
              </a:ext>
            </a:extLst>
          </p:cNvPr>
          <p:cNvPicPr>
            <a:picLocks noChangeAspect="1"/>
          </p:cNvPicPr>
          <p:nvPr userDrawn="1"/>
        </p:nvPicPr>
        <p:blipFill>
          <a:blip r:embed="rId9"/>
          <a:stretch>
            <a:fillRect/>
          </a:stretch>
        </p:blipFill>
        <p:spPr>
          <a:xfrm>
            <a:off x="-1032553" y="6043201"/>
            <a:ext cx="338511" cy="456195"/>
          </a:xfrm>
          <a:prstGeom prst="rect">
            <a:avLst/>
          </a:prstGeom>
        </p:spPr>
      </p:pic>
    </p:spTree>
    <p:extLst>
      <p:ext uri="{BB962C8B-B14F-4D97-AF65-F5344CB8AC3E}">
        <p14:creationId xmlns:p14="http://schemas.microsoft.com/office/powerpoint/2010/main" val="6723152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ection divider - icon circle 1">
    <p:bg>
      <p:bgPr>
        <a:solidFill>
          <a:schemeClr val="tx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bg1"/>
                </a:solidFill>
              </a:defRPr>
            </a:lvl1pPr>
          </a:lstStyle>
          <a:p>
            <a:fld id="{73F58BD1-5F48-442D-BD7E-42917C142A14}" type="datetime3">
              <a:rPr lang="da-DK" smtClean="0"/>
              <a:t>13.05.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4208901" y="4949371"/>
            <a:ext cx="3775787" cy="223837"/>
          </a:xfrm>
        </p:spPr>
        <p:txBody>
          <a:bodyPr wrap="square">
            <a:spAutoFit/>
          </a:bodyPr>
          <a:lstStyle>
            <a:lvl1pPr marL="0" indent="0" algn="ctr">
              <a:buNone/>
              <a:defRPr sz="1600">
                <a:solidFill>
                  <a:schemeClr val="bg1"/>
                </a:solidFill>
                <a:latin typeface="Avenir Next LT Pro Demi" panose="020B07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pic>
        <p:nvPicPr>
          <p:cNvPr id="31" name="Graphic 30">
            <a:extLst>
              <a:ext uri="{FF2B5EF4-FFF2-40B4-BE49-F238E27FC236}">
                <a16:creationId xmlns:a16="http://schemas.microsoft.com/office/drawing/2014/main" id="{542688BD-AB8B-9C9F-2A1F-A74FB42737B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
        <p:nvSpPr>
          <p:cNvPr id="3" name="Picture Placeholder 2">
            <a:extLst>
              <a:ext uri="{FF2B5EF4-FFF2-40B4-BE49-F238E27FC236}">
                <a16:creationId xmlns:a16="http://schemas.microsoft.com/office/drawing/2014/main" id="{FC38D294-785A-FD74-1347-34CC50114BC9}"/>
              </a:ext>
            </a:extLst>
          </p:cNvPr>
          <p:cNvSpPr>
            <a:spLocks noGrp="1"/>
          </p:cNvSpPr>
          <p:nvPr>
            <p:ph type="pic" sz="quarter" idx="27"/>
          </p:nvPr>
        </p:nvSpPr>
        <p:spPr>
          <a:xfrm>
            <a:off x="4962647" y="2277000"/>
            <a:ext cx="2268295" cy="2268000"/>
          </a:xfrm>
          <a:prstGeom prst="ellipse">
            <a:avLst/>
          </a:prstGeom>
          <a:ln w="200025">
            <a:solidFill>
              <a:schemeClr val="accent2"/>
            </a:solidFill>
          </a:ln>
        </p:spPr>
        <p:txBody>
          <a:bodyPr/>
          <a:lstStyle>
            <a:lvl1pPr marL="0" indent="0" algn="ctr">
              <a:buNone/>
              <a:defRPr>
                <a:solidFill>
                  <a:schemeClr val="bg1"/>
                </a:solidFill>
              </a:defRPr>
            </a:lvl1pPr>
          </a:lstStyle>
          <a:p>
            <a:endParaRPr lang="sv-SE"/>
          </a:p>
        </p:txBody>
      </p:sp>
      <p:sp>
        <p:nvSpPr>
          <p:cNvPr id="2" name="Slide Number Placeholder 5">
            <a:extLst>
              <a:ext uri="{FF2B5EF4-FFF2-40B4-BE49-F238E27FC236}">
                <a16:creationId xmlns:a16="http://schemas.microsoft.com/office/drawing/2014/main" id="{26834DD4-9D0A-AC9A-5677-BCE81C988C2F}"/>
              </a:ext>
            </a:extLst>
          </p:cNvPr>
          <p:cNvSpPr>
            <a:spLocks noGrp="1"/>
          </p:cNvSpPr>
          <p:nvPr>
            <p:ph type="sldNum" sz="quarter" idx="12"/>
          </p:nvPr>
        </p:nvSpPr>
        <p:spPr>
          <a:xfrm>
            <a:off x="11302884" y="6494949"/>
            <a:ext cx="374699" cy="153888"/>
          </a:xfrm>
        </p:spPr>
        <p:txBody>
          <a:bodyPr/>
          <a:lstStyle>
            <a:lvl1pPr algn="r">
              <a:defRPr>
                <a:solidFill>
                  <a:schemeClr val="tx2">
                    <a:lumMod val="60000"/>
                    <a:lumOff val="40000"/>
                  </a:schemeClr>
                </a:solidFill>
              </a:defRPr>
            </a:lvl1pPr>
          </a:lstStyle>
          <a:p>
            <a:fld id="{C2F92818-9D0C-420B-84CB-20E21C25F84F}" type="slidenum">
              <a:rPr lang="sv-SE" smtClean="0"/>
              <a:pPr/>
              <a:t>‹#›</a:t>
            </a:fld>
            <a:endParaRPr lang="sv-SE"/>
          </a:p>
        </p:txBody>
      </p:sp>
      <p:grpSp>
        <p:nvGrpSpPr>
          <p:cNvPr id="8" name="Group 7">
            <a:extLst>
              <a:ext uri="{FF2B5EF4-FFF2-40B4-BE49-F238E27FC236}">
                <a16:creationId xmlns:a16="http://schemas.microsoft.com/office/drawing/2014/main" id="{A2384CEF-81D8-D106-03E2-2D42A214F6BF}"/>
              </a:ext>
            </a:extLst>
          </p:cNvPr>
          <p:cNvGrpSpPr/>
          <p:nvPr userDrawn="1"/>
        </p:nvGrpSpPr>
        <p:grpSpPr>
          <a:xfrm>
            <a:off x="-1090942" y="1404120"/>
            <a:ext cx="923664" cy="4069080"/>
            <a:chOff x="-1078992" y="1280160"/>
            <a:chExt cx="923544" cy="4069080"/>
          </a:xfrm>
        </p:grpSpPr>
        <p:sp>
          <p:nvSpPr>
            <p:cNvPr id="9" name="TextBox 8">
              <a:extLst>
                <a:ext uri="{FF2B5EF4-FFF2-40B4-BE49-F238E27FC236}">
                  <a16:creationId xmlns:a16="http://schemas.microsoft.com/office/drawing/2014/main" id="{6DB86FA3-9230-D6A6-1CAD-D867535BC8CE}"/>
                </a:ext>
              </a:extLst>
            </p:cNvPr>
            <p:cNvSpPr txBox="1"/>
            <p:nvPr userDrawn="1"/>
          </p:nvSpPr>
          <p:spPr>
            <a:xfrm>
              <a:off x="-1078992" y="1280160"/>
              <a:ext cx="923544" cy="4069080"/>
            </a:xfrm>
            <a:prstGeom prst="rect">
              <a:avLst/>
            </a:prstGeom>
            <a:solidFill>
              <a:schemeClr val="bg1">
                <a:lumMod val="85000"/>
              </a:schemeClr>
            </a:solidFill>
          </p:spPr>
          <p:txBody>
            <a:bodyPr wrap="square" rtlCol="0">
              <a:noAutofit/>
            </a:bodyPr>
            <a:lstStyle/>
            <a:p>
              <a:pPr algn="ctr"/>
              <a:r>
                <a:rPr lang="en-GB" sz="800" noProof="0" err="1"/>
                <a:t>Colors</a:t>
              </a:r>
              <a:r>
                <a:rPr lang="en-GB" sz="800" noProof="0"/>
                <a:t> to choose from for the circle:</a:t>
              </a:r>
            </a:p>
          </p:txBody>
        </p:sp>
        <p:sp>
          <p:nvSpPr>
            <p:cNvPr id="11" name="Oval 10">
              <a:extLst>
                <a:ext uri="{FF2B5EF4-FFF2-40B4-BE49-F238E27FC236}">
                  <a16:creationId xmlns:a16="http://schemas.microsoft.com/office/drawing/2014/main" id="{12B4C1DD-DAD6-D81A-896D-06A544BF3556}"/>
                </a:ext>
              </a:extLst>
            </p:cNvPr>
            <p:cNvSpPr/>
            <p:nvPr userDrawn="1"/>
          </p:nvSpPr>
          <p:spPr>
            <a:xfrm>
              <a:off x="-881958" y="1861488"/>
              <a:ext cx="529476" cy="529476"/>
            </a:xfrm>
            <a:prstGeom prst="ellipse">
              <a:avLst/>
            </a:prstGeom>
            <a:noFill/>
            <a:ln w="762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Oval 11">
              <a:extLst>
                <a:ext uri="{FF2B5EF4-FFF2-40B4-BE49-F238E27FC236}">
                  <a16:creationId xmlns:a16="http://schemas.microsoft.com/office/drawing/2014/main" id="{BA45087F-97B8-85E4-C40A-F13F306C5033}"/>
                </a:ext>
              </a:extLst>
            </p:cNvPr>
            <p:cNvSpPr/>
            <p:nvPr userDrawn="1"/>
          </p:nvSpPr>
          <p:spPr>
            <a:xfrm>
              <a:off x="-881958" y="2562072"/>
              <a:ext cx="529476" cy="529476"/>
            </a:xfrm>
            <a:prstGeom prst="ellipse">
              <a:avLst/>
            </a:prstGeom>
            <a:noFill/>
            <a:ln w="762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3" name="Oval 12">
              <a:extLst>
                <a:ext uri="{FF2B5EF4-FFF2-40B4-BE49-F238E27FC236}">
                  <a16:creationId xmlns:a16="http://schemas.microsoft.com/office/drawing/2014/main" id="{B081A2B7-7320-9A4D-8BC8-1A1DCC5F3B91}"/>
                </a:ext>
              </a:extLst>
            </p:cNvPr>
            <p:cNvSpPr/>
            <p:nvPr userDrawn="1"/>
          </p:nvSpPr>
          <p:spPr>
            <a:xfrm>
              <a:off x="-881958" y="3257454"/>
              <a:ext cx="529476" cy="529476"/>
            </a:xfrm>
            <a:prstGeom prst="ellipse">
              <a:avLst/>
            </a:prstGeom>
            <a:noFill/>
            <a:ln w="7620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4" name="Oval 13">
              <a:extLst>
                <a:ext uri="{FF2B5EF4-FFF2-40B4-BE49-F238E27FC236}">
                  <a16:creationId xmlns:a16="http://schemas.microsoft.com/office/drawing/2014/main" id="{D31D2FCC-B106-FC40-6752-D4DD0079B79D}"/>
                </a:ext>
              </a:extLst>
            </p:cNvPr>
            <p:cNvSpPr/>
            <p:nvPr userDrawn="1"/>
          </p:nvSpPr>
          <p:spPr>
            <a:xfrm>
              <a:off x="-881958" y="3952836"/>
              <a:ext cx="529476" cy="529476"/>
            </a:xfrm>
            <a:prstGeom prst="ellipse">
              <a:avLst/>
            </a:prstGeom>
            <a:noFill/>
            <a:ln w="762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5" name="Oval 14">
              <a:extLst>
                <a:ext uri="{FF2B5EF4-FFF2-40B4-BE49-F238E27FC236}">
                  <a16:creationId xmlns:a16="http://schemas.microsoft.com/office/drawing/2014/main" id="{03B42A63-BD37-EC0D-5DEE-D947D3B9E93C}"/>
                </a:ext>
              </a:extLst>
            </p:cNvPr>
            <p:cNvSpPr/>
            <p:nvPr userDrawn="1"/>
          </p:nvSpPr>
          <p:spPr>
            <a:xfrm>
              <a:off x="-881958" y="4636530"/>
              <a:ext cx="529476" cy="529476"/>
            </a:xfrm>
            <a:prstGeom prst="ellipse">
              <a:avLst/>
            </a:prstGeom>
            <a:noFill/>
            <a:ln w="762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grpSp>
      <p:sp>
        <p:nvSpPr>
          <p:cNvPr id="7" name="TextBox 6">
            <a:extLst>
              <a:ext uri="{FF2B5EF4-FFF2-40B4-BE49-F238E27FC236}">
                <a16:creationId xmlns:a16="http://schemas.microsoft.com/office/drawing/2014/main" id="{AA3320A2-2447-AEEA-1E52-0FC80FAB45E9}"/>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10" name="Picture 9">
            <a:extLst>
              <a:ext uri="{FF2B5EF4-FFF2-40B4-BE49-F238E27FC236}">
                <a16:creationId xmlns:a16="http://schemas.microsoft.com/office/drawing/2014/main" id="{3FFFF46C-EAAB-6D29-0AB3-87BAD7043CFF}"/>
              </a:ext>
            </a:extLst>
          </p:cNvPr>
          <p:cNvPicPr>
            <a:picLocks noChangeAspect="1"/>
          </p:cNvPicPr>
          <p:nvPr userDrawn="1"/>
        </p:nvPicPr>
        <p:blipFill>
          <a:blip r:embed="rId3"/>
          <a:stretch>
            <a:fillRect/>
          </a:stretch>
        </p:blipFill>
        <p:spPr>
          <a:xfrm>
            <a:off x="-1032553" y="6043201"/>
            <a:ext cx="338511" cy="456195"/>
          </a:xfrm>
          <a:prstGeom prst="rect">
            <a:avLst/>
          </a:prstGeom>
        </p:spPr>
      </p:pic>
      <p:sp>
        <p:nvSpPr>
          <p:cNvPr id="16" name="TextBox 15">
            <a:extLst>
              <a:ext uri="{FF2B5EF4-FFF2-40B4-BE49-F238E27FC236}">
                <a16:creationId xmlns:a16="http://schemas.microsoft.com/office/drawing/2014/main" id="{923F73EF-AF56-174C-CCEE-BCACF0BE94E9}"/>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22516303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divider - icon circle 2">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tx1"/>
                </a:solidFill>
              </a:defRPr>
            </a:lvl1pPr>
          </a:lstStyle>
          <a:p>
            <a:fld id="{9C1993DC-6179-4D4E-BA21-9C842ACB7E4C}" type="datetime3">
              <a:rPr lang="da-DK" smtClean="0"/>
              <a:t>13.05.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lgn="r">
              <a:defRPr>
                <a:solidFill>
                  <a:schemeClr val="tx2">
                    <a:lumMod val="60000"/>
                    <a:lumOff val="40000"/>
                  </a:schemeClr>
                </a:solidFill>
              </a:defRPr>
            </a:lvl1pPr>
          </a:lstStyle>
          <a:p>
            <a:fld id="{C2F92818-9D0C-420B-84CB-20E21C25F84F}" type="slidenum">
              <a:rPr lang="sv-SE" smtClean="0"/>
              <a:pPr/>
              <a:t>‹#›</a:t>
            </a:fld>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4208901" y="4949371"/>
            <a:ext cx="3775787" cy="223837"/>
          </a:xfrm>
        </p:spPr>
        <p:txBody>
          <a:bodyPr wrap="square">
            <a:spAutoFit/>
          </a:bodyPr>
          <a:lstStyle>
            <a:lvl1pPr marL="0" indent="0" algn="ctr">
              <a:buNone/>
              <a:defRPr sz="1600">
                <a:solidFill>
                  <a:schemeClr val="tx1"/>
                </a:solidFill>
                <a:latin typeface="Avenir Next LT Pro Demi" panose="020B07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pic>
        <p:nvPicPr>
          <p:cNvPr id="31" name="Graphic 30">
            <a:extLst>
              <a:ext uri="{FF2B5EF4-FFF2-40B4-BE49-F238E27FC236}">
                <a16:creationId xmlns:a16="http://schemas.microsoft.com/office/drawing/2014/main" id="{542688BD-AB8B-9C9F-2A1F-A74FB42737B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grpSp>
        <p:nvGrpSpPr>
          <p:cNvPr id="38" name="Group 37">
            <a:extLst>
              <a:ext uri="{FF2B5EF4-FFF2-40B4-BE49-F238E27FC236}">
                <a16:creationId xmlns:a16="http://schemas.microsoft.com/office/drawing/2014/main" id="{F70377F2-3686-D8A5-827A-63EBB644C127}"/>
              </a:ext>
            </a:extLst>
          </p:cNvPr>
          <p:cNvGrpSpPr/>
          <p:nvPr userDrawn="1"/>
        </p:nvGrpSpPr>
        <p:grpSpPr>
          <a:xfrm>
            <a:off x="-1090942" y="1404120"/>
            <a:ext cx="923664" cy="4069080"/>
            <a:chOff x="-1078992" y="1280160"/>
            <a:chExt cx="923544" cy="4069080"/>
          </a:xfrm>
        </p:grpSpPr>
        <p:sp>
          <p:nvSpPr>
            <p:cNvPr id="37" name="TextBox 36">
              <a:extLst>
                <a:ext uri="{FF2B5EF4-FFF2-40B4-BE49-F238E27FC236}">
                  <a16:creationId xmlns:a16="http://schemas.microsoft.com/office/drawing/2014/main" id="{195A7B5F-6B5C-A87C-E880-60425BE56C3C}"/>
                </a:ext>
              </a:extLst>
            </p:cNvPr>
            <p:cNvSpPr txBox="1"/>
            <p:nvPr userDrawn="1"/>
          </p:nvSpPr>
          <p:spPr>
            <a:xfrm>
              <a:off x="-1078992" y="1280160"/>
              <a:ext cx="923544" cy="4069080"/>
            </a:xfrm>
            <a:prstGeom prst="rect">
              <a:avLst/>
            </a:prstGeom>
            <a:solidFill>
              <a:schemeClr val="bg1">
                <a:lumMod val="85000"/>
              </a:schemeClr>
            </a:solidFill>
          </p:spPr>
          <p:txBody>
            <a:bodyPr wrap="square" rtlCol="0">
              <a:noAutofit/>
            </a:bodyPr>
            <a:lstStyle/>
            <a:p>
              <a:pPr algn="ctr"/>
              <a:r>
                <a:rPr lang="en-GB" sz="800" noProof="0" err="1"/>
                <a:t>Colors</a:t>
              </a:r>
              <a:r>
                <a:rPr lang="en-GB" sz="800" noProof="0"/>
                <a:t> to choose from for the circle:</a:t>
              </a:r>
            </a:p>
          </p:txBody>
        </p:sp>
        <p:sp>
          <p:nvSpPr>
            <p:cNvPr id="32" name="Oval 31">
              <a:extLst>
                <a:ext uri="{FF2B5EF4-FFF2-40B4-BE49-F238E27FC236}">
                  <a16:creationId xmlns:a16="http://schemas.microsoft.com/office/drawing/2014/main" id="{9B8117F4-766A-BC05-5445-D06F69E7F409}"/>
                </a:ext>
              </a:extLst>
            </p:cNvPr>
            <p:cNvSpPr/>
            <p:nvPr userDrawn="1"/>
          </p:nvSpPr>
          <p:spPr>
            <a:xfrm>
              <a:off x="-881958" y="1820532"/>
              <a:ext cx="529476" cy="529476"/>
            </a:xfrm>
            <a:prstGeom prst="ellipse">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3" name="Oval 32">
              <a:extLst>
                <a:ext uri="{FF2B5EF4-FFF2-40B4-BE49-F238E27FC236}">
                  <a16:creationId xmlns:a16="http://schemas.microsoft.com/office/drawing/2014/main" id="{08734919-E4B8-20F5-748E-A6F21C2D0EC8}"/>
                </a:ext>
              </a:extLst>
            </p:cNvPr>
            <p:cNvSpPr/>
            <p:nvPr userDrawn="1"/>
          </p:nvSpPr>
          <p:spPr>
            <a:xfrm>
              <a:off x="-881958" y="2510712"/>
              <a:ext cx="529476" cy="529476"/>
            </a:xfrm>
            <a:prstGeom prst="ellipse">
              <a:avLst/>
            </a:prstGeom>
            <a:noFill/>
            <a:ln w="762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4" name="Oval 33">
              <a:extLst>
                <a:ext uri="{FF2B5EF4-FFF2-40B4-BE49-F238E27FC236}">
                  <a16:creationId xmlns:a16="http://schemas.microsoft.com/office/drawing/2014/main" id="{6133398F-3600-666B-3F11-73338E26C238}"/>
                </a:ext>
              </a:extLst>
            </p:cNvPr>
            <p:cNvSpPr/>
            <p:nvPr userDrawn="1"/>
          </p:nvSpPr>
          <p:spPr>
            <a:xfrm>
              <a:off x="-881958" y="3211296"/>
              <a:ext cx="529476" cy="529476"/>
            </a:xfrm>
            <a:prstGeom prst="ellipse">
              <a:avLst/>
            </a:prstGeom>
            <a:noFill/>
            <a:ln w="762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5" name="Oval 34">
              <a:extLst>
                <a:ext uri="{FF2B5EF4-FFF2-40B4-BE49-F238E27FC236}">
                  <a16:creationId xmlns:a16="http://schemas.microsoft.com/office/drawing/2014/main" id="{A6512E01-D81A-1F35-DEF9-38F9CE8A375C}"/>
                </a:ext>
              </a:extLst>
            </p:cNvPr>
            <p:cNvSpPr/>
            <p:nvPr userDrawn="1"/>
          </p:nvSpPr>
          <p:spPr>
            <a:xfrm>
              <a:off x="-881958" y="3906678"/>
              <a:ext cx="529476" cy="529476"/>
            </a:xfrm>
            <a:prstGeom prst="ellipse">
              <a:avLst/>
            </a:prstGeom>
            <a:noFill/>
            <a:ln w="7620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6" name="Oval 35">
              <a:extLst>
                <a:ext uri="{FF2B5EF4-FFF2-40B4-BE49-F238E27FC236}">
                  <a16:creationId xmlns:a16="http://schemas.microsoft.com/office/drawing/2014/main" id="{79BC4495-4B31-8456-6291-01B74A4EB765}"/>
                </a:ext>
              </a:extLst>
            </p:cNvPr>
            <p:cNvSpPr/>
            <p:nvPr userDrawn="1"/>
          </p:nvSpPr>
          <p:spPr>
            <a:xfrm>
              <a:off x="-881958" y="4602060"/>
              <a:ext cx="529476" cy="529476"/>
            </a:xfrm>
            <a:prstGeom prst="ellipse">
              <a:avLst/>
            </a:prstGeom>
            <a:noFill/>
            <a:ln w="762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grpSp>
      <p:sp>
        <p:nvSpPr>
          <p:cNvPr id="8" name="Picture Placeholder 2">
            <a:extLst>
              <a:ext uri="{FF2B5EF4-FFF2-40B4-BE49-F238E27FC236}">
                <a16:creationId xmlns:a16="http://schemas.microsoft.com/office/drawing/2014/main" id="{C5A257D4-4208-0CBF-7B76-DC6DFD9401A7}"/>
              </a:ext>
            </a:extLst>
          </p:cNvPr>
          <p:cNvSpPr>
            <a:spLocks noGrp="1"/>
          </p:cNvSpPr>
          <p:nvPr>
            <p:ph type="pic" sz="quarter" idx="27" hasCustomPrompt="1"/>
          </p:nvPr>
        </p:nvSpPr>
        <p:spPr>
          <a:xfrm>
            <a:off x="4962647" y="2277000"/>
            <a:ext cx="2268295" cy="2268000"/>
          </a:xfrm>
          <a:prstGeom prst="ellipse">
            <a:avLst/>
          </a:prstGeom>
          <a:ln w="200025">
            <a:solidFill>
              <a:schemeClr val="accent1"/>
            </a:solidFill>
          </a:ln>
        </p:spPr>
        <p:txBody>
          <a:bodyPr/>
          <a:lstStyle>
            <a:lvl1pPr marL="0" indent="0" algn="ctr">
              <a:buNone/>
              <a:defRPr>
                <a:solidFill>
                  <a:schemeClr val="tx1"/>
                </a:solidFill>
              </a:defRPr>
            </a:lvl1pPr>
          </a:lstStyle>
          <a:p>
            <a:r>
              <a:rPr lang="sv-SE"/>
              <a:t>Picture</a:t>
            </a:r>
          </a:p>
        </p:txBody>
      </p:sp>
      <p:sp>
        <p:nvSpPr>
          <p:cNvPr id="2" name="TextBox 1">
            <a:extLst>
              <a:ext uri="{FF2B5EF4-FFF2-40B4-BE49-F238E27FC236}">
                <a16:creationId xmlns:a16="http://schemas.microsoft.com/office/drawing/2014/main" id="{1E94E1D7-6CBB-6D07-4FE3-6CBC3F303AC2}"/>
              </a:ext>
            </a:extLst>
          </p:cNvPr>
          <p:cNvSpPr txBox="1"/>
          <p:nvPr userDrawn="1"/>
        </p:nvSpPr>
        <p:spPr>
          <a:xfrm>
            <a:off x="-1558546" y="5525037"/>
            <a:ext cx="1390500" cy="1123800"/>
          </a:xfrm>
          <a:prstGeom prst="rect">
            <a:avLst/>
          </a:prstGeom>
          <a:solidFill>
            <a:schemeClr val="bg1">
              <a:lumMod val="85000"/>
            </a:schemeClr>
          </a:solidFill>
        </p:spPr>
        <p:txBody>
          <a:bodyPr wrap="square" rtlCol="0">
            <a:noAutofit/>
          </a:bodyPr>
          <a:lstStyle/>
          <a:p>
            <a:pPr algn="ctr"/>
            <a:r>
              <a:rPr lang="en-GB" sz="800" noProof="0"/>
              <a:t>To insert or change footer elements, click ’Insert &gt; Header and footer’</a:t>
            </a:r>
          </a:p>
        </p:txBody>
      </p:sp>
      <p:pic>
        <p:nvPicPr>
          <p:cNvPr id="3" name="Picture 2">
            <a:extLst>
              <a:ext uri="{FF2B5EF4-FFF2-40B4-BE49-F238E27FC236}">
                <a16:creationId xmlns:a16="http://schemas.microsoft.com/office/drawing/2014/main" id="{CDBA12B6-E586-CC61-E361-BAA5CFCB6A5A}"/>
              </a:ext>
            </a:extLst>
          </p:cNvPr>
          <p:cNvPicPr>
            <a:picLocks noChangeAspect="1"/>
          </p:cNvPicPr>
          <p:nvPr userDrawn="1"/>
        </p:nvPicPr>
        <p:blipFill>
          <a:blip r:embed="rId3"/>
          <a:stretch>
            <a:fillRect/>
          </a:stretch>
        </p:blipFill>
        <p:spPr>
          <a:xfrm>
            <a:off x="-1032553" y="6043201"/>
            <a:ext cx="338511" cy="456195"/>
          </a:xfrm>
          <a:prstGeom prst="rect">
            <a:avLst/>
          </a:prstGeom>
        </p:spPr>
      </p:pic>
      <p:sp>
        <p:nvSpPr>
          <p:cNvPr id="9" name="TextBox 8">
            <a:extLst>
              <a:ext uri="{FF2B5EF4-FFF2-40B4-BE49-F238E27FC236}">
                <a16:creationId xmlns:a16="http://schemas.microsoft.com/office/drawing/2014/main" id="{8A8D09D9-D766-05EF-67BB-C3F89F0FF14E}"/>
              </a:ext>
            </a:extLst>
          </p:cNvPr>
          <p:cNvSpPr txBox="1"/>
          <p:nvPr userDrawn="1"/>
        </p:nvSpPr>
        <p:spPr>
          <a:xfrm>
            <a:off x="-1681512" y="1"/>
            <a:ext cx="1513465" cy="1352282"/>
          </a:xfrm>
          <a:prstGeom prst="rect">
            <a:avLst/>
          </a:prstGeom>
          <a:solidFill>
            <a:schemeClr val="bg1">
              <a:lumMod val="85000"/>
            </a:schemeClr>
          </a:solidFill>
        </p:spPr>
        <p:txBody>
          <a:bodyPr wrap="square" rtlCol="0">
            <a:noAutofit/>
          </a:bodyPr>
          <a:lstStyle/>
          <a:p>
            <a:pPr algn="ctr"/>
            <a:r>
              <a:rPr lang="en-GB" sz="800" b="1" noProof="0"/>
              <a:t>Images and icons are found here:</a:t>
            </a:r>
            <a:br>
              <a:rPr lang="en-GB" sz="800" noProof="0"/>
            </a:br>
            <a:endParaRPr lang="en-GB" sz="800" noProof="0"/>
          </a:p>
          <a:p>
            <a:pPr algn="ctr"/>
            <a:r>
              <a:rPr lang="en-GB" sz="800" noProof="0"/>
              <a:t>gubra.sharepoit.com / </a:t>
            </a:r>
            <a:r>
              <a:rPr lang="en-GB" sz="800" noProof="0" err="1"/>
              <a:t>gubrasites</a:t>
            </a:r>
            <a:r>
              <a:rPr lang="en-GB" sz="800" noProof="0"/>
              <a:t> / departments / Sales Marketing / </a:t>
            </a:r>
            <a:br>
              <a:rPr lang="en-GB" sz="800" noProof="0"/>
            </a:br>
            <a:r>
              <a:rPr lang="en-GB" sz="800" noProof="0"/>
              <a:t>Logo and company photos / Documents /</a:t>
            </a:r>
            <a:br>
              <a:rPr lang="en-GB" sz="800" noProof="0"/>
            </a:br>
            <a:r>
              <a:rPr lang="en-GB" sz="800" noProof="0"/>
              <a:t> Photos and icons for PowerPoint</a:t>
            </a:r>
          </a:p>
        </p:txBody>
      </p:sp>
    </p:spTree>
    <p:extLst>
      <p:ext uri="{BB962C8B-B14F-4D97-AF65-F5344CB8AC3E}">
        <p14:creationId xmlns:p14="http://schemas.microsoft.com/office/powerpoint/2010/main" val="27903306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Title &amp; text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FCBA-F252-BC40-C49D-FE39EE021408}"/>
              </a:ext>
            </a:extLst>
          </p:cNvPr>
          <p:cNvSpPr>
            <a:spLocks noGrp="1"/>
          </p:cNvSpPr>
          <p:nvPr>
            <p:ph type="ctrTitle" hasCustomPrompt="1"/>
          </p:nvPr>
        </p:nvSpPr>
        <p:spPr>
          <a:xfrm>
            <a:off x="516006" y="514350"/>
            <a:ext cx="9667546" cy="432802"/>
          </a:xfrm>
        </p:spPr>
        <p:txBody>
          <a:bodyPr wrap="square" bIns="72000" anchor="t" anchorCtr="0">
            <a:spAutoFit/>
          </a:bodyPr>
          <a:lstStyle>
            <a:lvl1pPr algn="l">
              <a:defRPr sz="2600">
                <a:solidFill>
                  <a:schemeClr val="tx1"/>
                </a:solidFill>
              </a:defRPr>
            </a:lvl1pPr>
          </a:lstStyle>
          <a:p>
            <a:r>
              <a:rPr lang="en-US"/>
              <a:t>Click to edit title</a:t>
            </a:r>
            <a:endParaRPr lang="sv-SE"/>
          </a:p>
        </p:txBody>
      </p:sp>
      <p:sp>
        <p:nvSpPr>
          <p:cNvPr id="4" name="Date Placeholder 3">
            <a:extLst>
              <a:ext uri="{FF2B5EF4-FFF2-40B4-BE49-F238E27FC236}">
                <a16:creationId xmlns:a16="http://schemas.microsoft.com/office/drawing/2014/main" id="{7CDFE0C8-9BED-5D55-173B-550E521071C8}"/>
              </a:ext>
            </a:extLst>
          </p:cNvPr>
          <p:cNvSpPr>
            <a:spLocks noGrp="1"/>
          </p:cNvSpPr>
          <p:nvPr>
            <p:ph type="dt" sz="half" idx="10"/>
          </p:nvPr>
        </p:nvSpPr>
        <p:spPr/>
        <p:txBody>
          <a:bodyPr/>
          <a:lstStyle>
            <a:lvl1pPr>
              <a:defRPr>
                <a:solidFill>
                  <a:schemeClr val="tx1"/>
                </a:solidFill>
              </a:defRPr>
            </a:lvl1pPr>
          </a:lstStyle>
          <a:p>
            <a:fld id="{794264C8-A9B6-4B0C-A8D7-48A0FE684F52}" type="datetime3">
              <a:rPr lang="da-DK" smtClean="0"/>
              <a:t>13.05.2026</a:t>
            </a:fld>
            <a:endParaRPr lang="sv-SE"/>
          </a:p>
        </p:txBody>
      </p:sp>
      <p:sp>
        <p:nvSpPr>
          <p:cNvPr id="5" name="Footer Placeholder 4">
            <a:extLst>
              <a:ext uri="{FF2B5EF4-FFF2-40B4-BE49-F238E27FC236}">
                <a16:creationId xmlns:a16="http://schemas.microsoft.com/office/drawing/2014/main" id="{69601B89-4943-F874-4C9F-93E3CD10E3D5}"/>
              </a:ext>
            </a:extLst>
          </p:cNvPr>
          <p:cNvSpPr>
            <a:spLocks noGrp="1"/>
          </p:cNvSpPr>
          <p:nvPr>
            <p:ph type="ftr" sz="quarter" idx="11"/>
          </p:nvPr>
        </p:nvSpPr>
        <p:spPr>
          <a:xfrm>
            <a:off x="516005" y="6494949"/>
            <a:ext cx="4115336" cy="153888"/>
          </a:xfrm>
        </p:spPr>
        <p:txBody>
          <a:bodyPr/>
          <a:lstStyle>
            <a:lvl1pPr>
              <a:defRPr>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35D53DBE-D462-0F14-9045-A19509597E62}"/>
              </a:ext>
            </a:extLst>
          </p:cNvPr>
          <p:cNvSpPr>
            <a:spLocks noGrp="1"/>
          </p:cNvSpPr>
          <p:nvPr>
            <p:ph type="sldNum" sz="quarter" idx="12"/>
          </p:nvPr>
        </p:nvSpPr>
        <p:spPr>
          <a:xfrm>
            <a:off x="11302884" y="6494949"/>
            <a:ext cx="374699" cy="153888"/>
          </a:xfrm>
        </p:spPr>
        <p:txBody>
          <a:bodyPr/>
          <a:lstStyle>
            <a:lvl1pPr>
              <a:defRPr>
                <a:solidFill>
                  <a:schemeClr val="tx2">
                    <a:lumMod val="60000"/>
                    <a:lumOff val="40000"/>
                  </a:schemeClr>
                </a:solidFill>
              </a:defRPr>
            </a:lvl1pPr>
          </a:lstStyle>
          <a:p>
            <a:fld id="{C2F92818-9D0C-420B-84CB-20E21C25F84F}" type="slidenum">
              <a:rPr lang="sv-SE" smtClean="0"/>
              <a:pPr/>
              <a:t>‹#›</a:t>
            </a:fld>
            <a:endParaRPr lang="sv-SE"/>
          </a:p>
        </p:txBody>
      </p:sp>
      <p:sp>
        <p:nvSpPr>
          <p:cNvPr id="10" name="Text Placeholder 10">
            <a:extLst>
              <a:ext uri="{FF2B5EF4-FFF2-40B4-BE49-F238E27FC236}">
                <a16:creationId xmlns:a16="http://schemas.microsoft.com/office/drawing/2014/main" id="{C6D14E72-DB6F-6B77-4DF9-CB3467072F54}"/>
              </a:ext>
            </a:extLst>
          </p:cNvPr>
          <p:cNvSpPr>
            <a:spLocks noGrp="1"/>
          </p:cNvSpPr>
          <p:nvPr>
            <p:ph type="body" sz="quarter" idx="13"/>
          </p:nvPr>
        </p:nvSpPr>
        <p:spPr>
          <a:xfrm>
            <a:off x="516006" y="1440000"/>
            <a:ext cx="11161579" cy="468000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Text Placeholder 5">
            <a:extLst>
              <a:ext uri="{FF2B5EF4-FFF2-40B4-BE49-F238E27FC236}">
                <a16:creationId xmlns:a16="http://schemas.microsoft.com/office/drawing/2014/main" id="{ED3405DC-FC0E-4AAF-2DC3-793C7AE55616}"/>
              </a:ext>
            </a:extLst>
          </p:cNvPr>
          <p:cNvSpPr>
            <a:spLocks noGrp="1"/>
          </p:cNvSpPr>
          <p:nvPr>
            <p:ph type="body" sz="quarter" idx="26"/>
          </p:nvPr>
        </p:nvSpPr>
        <p:spPr>
          <a:xfrm>
            <a:off x="516006" y="947739"/>
            <a:ext cx="9667546" cy="223837"/>
          </a:xfrm>
        </p:spPr>
        <p:txBody>
          <a:bodyPr wrap="square">
            <a:spAutoFit/>
          </a:bodyPr>
          <a:lstStyle>
            <a:lvl1pPr marL="0" indent="0">
              <a:buNone/>
              <a:defRPr sz="1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sv-SE"/>
          </a:p>
        </p:txBody>
      </p:sp>
      <p:pic>
        <p:nvPicPr>
          <p:cNvPr id="3" name="Graphic 2">
            <a:extLst>
              <a:ext uri="{FF2B5EF4-FFF2-40B4-BE49-F238E27FC236}">
                <a16:creationId xmlns:a16="http://schemas.microsoft.com/office/drawing/2014/main" id="{B0F5D1C5-CE6A-4D7B-08BB-8946EF7D8B1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4" y="311151"/>
            <a:ext cx="986918" cy="469900"/>
          </a:xfrm>
          <a:prstGeom prst="rect">
            <a:avLst/>
          </a:prstGeom>
        </p:spPr>
      </p:pic>
    </p:spTree>
    <p:extLst>
      <p:ext uri="{BB962C8B-B14F-4D97-AF65-F5344CB8AC3E}">
        <p14:creationId xmlns:p14="http://schemas.microsoft.com/office/powerpoint/2010/main" val="4047969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7" name="Rectangle 6">
            <a:extLst>
              <a:ext uri="{FF2B5EF4-FFF2-40B4-BE49-F238E27FC236}">
                <a16:creationId xmlns:a16="http://schemas.microsoft.com/office/drawing/2014/main" id="{9DB270F1-B40D-2246-A956-F1D47E227370}"/>
              </a:ext>
            </a:extLst>
          </p:cNvPr>
          <p:cNvSpPr/>
          <p:nvPr userDrawn="1"/>
        </p:nvSpPr>
        <p:spPr>
          <a:xfrm>
            <a:off x="0" y="1458000"/>
            <a:ext cx="12193588" cy="540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2" name="Title 1">
            <a:extLst>
              <a:ext uri="{FF2B5EF4-FFF2-40B4-BE49-F238E27FC236}">
                <a16:creationId xmlns:a16="http://schemas.microsoft.com/office/drawing/2014/main" id="{C48E50A3-CD8F-C800-8D64-A2446E516B96}"/>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BEEB4D7A-3FF8-2422-96A4-39526DE5BA7E}"/>
              </a:ext>
            </a:extLst>
          </p:cNvPr>
          <p:cNvSpPr>
            <a:spLocks noGrp="1"/>
          </p:cNvSpPr>
          <p:nvPr>
            <p:ph type="body" sz="quarter" idx="11"/>
          </p:nvPr>
        </p:nvSpPr>
        <p:spPr>
          <a:xfrm>
            <a:off x="565459"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CC426A7C-39F7-A545-D883-51CB79E99304}"/>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8" name="Graphic 7">
            <a:extLst>
              <a:ext uri="{FF2B5EF4-FFF2-40B4-BE49-F238E27FC236}">
                <a16:creationId xmlns:a16="http://schemas.microsoft.com/office/drawing/2014/main" id="{ADFEB389-BB9B-9570-3EE3-9E2C78A25EA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2" name="Rectangle 1">
            <a:extLst>
              <a:ext uri="{FF2B5EF4-FFF2-40B4-BE49-F238E27FC236}">
                <a16:creationId xmlns:a16="http://schemas.microsoft.com/office/drawing/2014/main" id="{13782217-6487-F6BB-01E4-499FC8E30A1F}"/>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3" name="Title 1">
            <a:extLst>
              <a:ext uri="{FF2B5EF4-FFF2-40B4-BE49-F238E27FC236}">
                <a16:creationId xmlns:a16="http://schemas.microsoft.com/office/drawing/2014/main" id="{89549BBD-E8E8-2346-3D50-48B478C393EF}"/>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18774A25-19A6-95AF-8FB4-98DFE8F1382B}"/>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9027F306-9D8C-2F25-FD18-D6EB3DE8FC5D}"/>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382D8668-7E35-E451-A960-F5E235DC9D98}"/>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extLst>
      <p:ext uri="{BB962C8B-B14F-4D97-AF65-F5344CB8AC3E}">
        <p14:creationId xmlns:p14="http://schemas.microsoft.com/office/powerpoint/2010/main" val="678166391"/>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Titles + text">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2" name="Text Placeholder 5"/>
          <p:cNvSpPr>
            <a:spLocks noGrp="1"/>
          </p:cNvSpPr>
          <p:nvPr>
            <p:ph type="body" sz="quarter" idx="12"/>
          </p:nvPr>
        </p:nvSpPr>
        <p:spPr>
          <a:xfrm>
            <a:off x="565458" y="1634067"/>
            <a:ext cx="11029035" cy="457411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3" name="Title 1">
            <a:extLst>
              <a:ext uri="{FF2B5EF4-FFF2-40B4-BE49-F238E27FC236}">
                <a16:creationId xmlns:a16="http://schemas.microsoft.com/office/drawing/2014/main" id="{4320D004-6754-4910-E736-BD1ADFAF98CC}"/>
              </a:ext>
            </a:extLst>
          </p:cNvPr>
          <p:cNvSpPr>
            <a:spLocks noGrp="1"/>
          </p:cNvSpPr>
          <p:nvPr>
            <p:ph type="title"/>
          </p:nvPr>
        </p:nvSpPr>
        <p:spPr>
          <a:xfrm>
            <a:off x="565459" y="552715"/>
            <a:ext cx="10098869"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39C08247-062F-0676-8498-BA3B732A36AC}"/>
              </a:ext>
            </a:extLst>
          </p:cNvPr>
          <p:cNvSpPr>
            <a:spLocks noGrp="1"/>
          </p:cNvSpPr>
          <p:nvPr>
            <p:ph type="body" sz="quarter" idx="11"/>
          </p:nvPr>
        </p:nvSpPr>
        <p:spPr>
          <a:xfrm>
            <a:off x="565459"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151A6EC8-761A-C152-2663-47D998769EFC}"/>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Graphic 5">
            <a:extLst>
              <a:ext uri="{FF2B5EF4-FFF2-40B4-BE49-F238E27FC236}">
                <a16:creationId xmlns:a16="http://schemas.microsoft.com/office/drawing/2014/main" id="{9FCBDEAC-6B05-6868-93CA-D822D6D548B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2769417848"/>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s +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5DCBE4-2474-E18F-D85B-AD8A02BDAB2C}"/>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3" name="Title 1">
            <a:extLst>
              <a:ext uri="{FF2B5EF4-FFF2-40B4-BE49-F238E27FC236}">
                <a16:creationId xmlns:a16="http://schemas.microsoft.com/office/drawing/2014/main" id="{E0A6DB9D-E6AB-6967-43E9-EE1FC0BE859A}"/>
              </a:ext>
            </a:extLst>
          </p:cNvPr>
          <p:cNvSpPr>
            <a:spLocks noGrp="1"/>
          </p:cNvSpPr>
          <p:nvPr>
            <p:ph type="title"/>
          </p:nvPr>
        </p:nvSpPr>
        <p:spPr>
          <a:xfrm>
            <a:off x="565459" y="552715"/>
            <a:ext cx="10098869"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286C8244-E396-CD67-B252-189D777C81BE}"/>
              </a:ext>
            </a:extLst>
          </p:cNvPr>
          <p:cNvSpPr>
            <a:spLocks noGrp="1"/>
          </p:cNvSpPr>
          <p:nvPr>
            <p:ph type="body" sz="quarter" idx="11"/>
          </p:nvPr>
        </p:nvSpPr>
        <p:spPr>
          <a:xfrm>
            <a:off x="565459"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12" name="Text Placeholder 5"/>
          <p:cNvSpPr>
            <a:spLocks noGrp="1"/>
          </p:cNvSpPr>
          <p:nvPr>
            <p:ph type="body" sz="quarter" idx="12"/>
          </p:nvPr>
        </p:nvSpPr>
        <p:spPr>
          <a:xfrm>
            <a:off x="565458" y="1634067"/>
            <a:ext cx="11029035" cy="457411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5" name="TextBox 4">
            <a:extLst>
              <a:ext uri="{FF2B5EF4-FFF2-40B4-BE49-F238E27FC236}">
                <a16:creationId xmlns:a16="http://schemas.microsoft.com/office/drawing/2014/main" id="{9AE4B553-B7AB-8210-F80F-5BEF4CCCCF0C}"/>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Graphic 5">
            <a:extLst>
              <a:ext uri="{FF2B5EF4-FFF2-40B4-BE49-F238E27FC236}">
                <a16:creationId xmlns:a16="http://schemas.microsoft.com/office/drawing/2014/main" id="{663CC73F-B03F-B8CE-3D86-DA4F56929F8D}"/>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3624081098"/>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3 images + descri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887A79-7AC5-5C4A-503C-92DC098B758E}"/>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4" name="Content Placeholder 3"/>
          <p:cNvSpPr>
            <a:spLocks noGrp="1"/>
          </p:cNvSpPr>
          <p:nvPr>
            <p:ph sz="quarter" idx="18" hasCustomPrompt="1"/>
          </p:nvPr>
        </p:nvSpPr>
        <p:spPr>
          <a:xfrm>
            <a:off x="565460"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5" name="Text Placeholder 4"/>
          <p:cNvSpPr>
            <a:spLocks noGrp="1"/>
          </p:cNvSpPr>
          <p:nvPr>
            <p:ph type="body" sz="quarter" idx="15"/>
          </p:nvPr>
        </p:nvSpPr>
        <p:spPr>
          <a:xfrm>
            <a:off x="551937" y="5098406"/>
            <a:ext cx="3529869"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6" name="Content Placeholder 3">
            <a:extLst>
              <a:ext uri="{FF2B5EF4-FFF2-40B4-BE49-F238E27FC236}">
                <a16:creationId xmlns:a16="http://schemas.microsoft.com/office/drawing/2014/main" id="{9E472C2D-B119-1348-ABB7-4B27DBE81FC4}"/>
              </a:ext>
            </a:extLst>
          </p:cNvPr>
          <p:cNvSpPr>
            <a:spLocks noGrp="1"/>
          </p:cNvSpPr>
          <p:nvPr>
            <p:ph sz="quarter" idx="19" hasCustomPrompt="1"/>
          </p:nvPr>
        </p:nvSpPr>
        <p:spPr>
          <a:xfrm>
            <a:off x="4315588"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7" name="Text Placeholder 4">
            <a:extLst>
              <a:ext uri="{FF2B5EF4-FFF2-40B4-BE49-F238E27FC236}">
                <a16:creationId xmlns:a16="http://schemas.microsoft.com/office/drawing/2014/main" id="{6B86DBF1-6757-494E-BB09-B02F75D7942F}"/>
              </a:ext>
            </a:extLst>
          </p:cNvPr>
          <p:cNvSpPr>
            <a:spLocks noGrp="1"/>
          </p:cNvSpPr>
          <p:nvPr>
            <p:ph type="body" sz="quarter" idx="20"/>
          </p:nvPr>
        </p:nvSpPr>
        <p:spPr>
          <a:xfrm>
            <a:off x="4315588" y="5098406"/>
            <a:ext cx="3529869"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8" name="Content Placeholder 3">
            <a:extLst>
              <a:ext uri="{FF2B5EF4-FFF2-40B4-BE49-F238E27FC236}">
                <a16:creationId xmlns:a16="http://schemas.microsoft.com/office/drawing/2014/main" id="{9D47F0CA-7587-3F49-929E-E48CC948FFEF}"/>
              </a:ext>
            </a:extLst>
          </p:cNvPr>
          <p:cNvSpPr>
            <a:spLocks noGrp="1"/>
          </p:cNvSpPr>
          <p:nvPr>
            <p:ph sz="quarter" idx="21" hasCustomPrompt="1"/>
          </p:nvPr>
        </p:nvSpPr>
        <p:spPr>
          <a:xfrm>
            <a:off x="8065717"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9" name="Text Placeholder 4">
            <a:extLst>
              <a:ext uri="{FF2B5EF4-FFF2-40B4-BE49-F238E27FC236}">
                <a16:creationId xmlns:a16="http://schemas.microsoft.com/office/drawing/2014/main" id="{C231C06B-3EE2-A348-A91C-CAFBBAF74FA0}"/>
              </a:ext>
            </a:extLst>
          </p:cNvPr>
          <p:cNvSpPr>
            <a:spLocks noGrp="1"/>
          </p:cNvSpPr>
          <p:nvPr>
            <p:ph type="body" sz="quarter" idx="22"/>
          </p:nvPr>
        </p:nvSpPr>
        <p:spPr>
          <a:xfrm>
            <a:off x="8065717" y="5098406"/>
            <a:ext cx="3529869"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3" name="Title 1">
            <a:extLst>
              <a:ext uri="{FF2B5EF4-FFF2-40B4-BE49-F238E27FC236}">
                <a16:creationId xmlns:a16="http://schemas.microsoft.com/office/drawing/2014/main" id="{DBF411DD-945C-4A72-1FBB-BC99017FA8F9}"/>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6" name="Text Placeholder 9">
            <a:extLst>
              <a:ext uri="{FF2B5EF4-FFF2-40B4-BE49-F238E27FC236}">
                <a16:creationId xmlns:a16="http://schemas.microsoft.com/office/drawing/2014/main" id="{7945EEC3-B051-A336-D42E-3BB3BFCED291}"/>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8" name="TextBox 7">
            <a:extLst>
              <a:ext uri="{FF2B5EF4-FFF2-40B4-BE49-F238E27FC236}">
                <a16:creationId xmlns:a16="http://schemas.microsoft.com/office/drawing/2014/main" id="{18E0ADA8-4CE7-A0B6-7DF3-AD8AA6E44AE0}"/>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9" name="TextBox 8">
            <a:extLst>
              <a:ext uri="{FF2B5EF4-FFF2-40B4-BE49-F238E27FC236}">
                <a16:creationId xmlns:a16="http://schemas.microsoft.com/office/drawing/2014/main" id="{97EFE607-1873-412D-8757-FB24DA34D8B2}"/>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7" name="Graphic 6">
            <a:extLst>
              <a:ext uri="{FF2B5EF4-FFF2-40B4-BE49-F238E27FC236}">
                <a16:creationId xmlns:a16="http://schemas.microsoft.com/office/drawing/2014/main" id="{0B355228-7A63-1D59-42E8-03566F6E6F6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3299561466"/>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5_Left half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F95D9BF-B5A2-7247-9F4C-290817CA94AF}"/>
              </a:ext>
            </a:extLst>
          </p:cNvPr>
          <p:cNvSpPr/>
          <p:nvPr userDrawn="1"/>
        </p:nvSpPr>
        <p:spPr>
          <a:xfrm>
            <a:off x="6096794" y="0"/>
            <a:ext cx="609679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7" name="Picture Placeholder 3"/>
          <p:cNvSpPr>
            <a:spLocks noGrp="1"/>
          </p:cNvSpPr>
          <p:nvPr>
            <p:ph type="pic" sz="quarter" idx="10"/>
          </p:nvPr>
        </p:nvSpPr>
        <p:spPr>
          <a:xfrm>
            <a:off x="0" y="1"/>
            <a:ext cx="6096794" cy="2215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69" y="1924052"/>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4" name="Title 1">
            <a:extLst>
              <a:ext uri="{FF2B5EF4-FFF2-40B4-BE49-F238E27FC236}">
                <a16:creationId xmlns:a16="http://schemas.microsoft.com/office/drawing/2014/main" id="{DA047FE9-9C49-EB6D-2238-A8736778D9BF}"/>
              </a:ext>
            </a:extLst>
          </p:cNvPr>
          <p:cNvSpPr>
            <a:spLocks noGrp="1"/>
          </p:cNvSpPr>
          <p:nvPr>
            <p:ph type="title"/>
          </p:nvPr>
        </p:nvSpPr>
        <p:spPr>
          <a:xfrm>
            <a:off x="6446569" y="552715"/>
            <a:ext cx="5266953" cy="830997"/>
          </a:xfrm>
        </p:spPr>
        <p:txBody>
          <a:bodyPr/>
          <a:lstStyle>
            <a:lvl1pPr>
              <a:defRPr>
                <a:solidFill>
                  <a:schemeClr val="bg1"/>
                </a:solidFill>
              </a:defRPr>
            </a:lvl1pPr>
          </a:lstStyle>
          <a:p>
            <a:r>
              <a:rPr lang="en-US"/>
              <a:t>Click to edit Master title style</a:t>
            </a:r>
          </a:p>
        </p:txBody>
      </p:sp>
      <p:sp>
        <p:nvSpPr>
          <p:cNvPr id="5" name="Text Placeholder 9">
            <a:extLst>
              <a:ext uri="{FF2B5EF4-FFF2-40B4-BE49-F238E27FC236}">
                <a16:creationId xmlns:a16="http://schemas.microsoft.com/office/drawing/2014/main" id="{DEB7BC04-5F36-58FD-B27A-C6E6E6064FD4}"/>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2DC6463-53AF-2341-D32C-EDEAE3A3F7C8}"/>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1"/>
                </a:solidFill>
                <a:latin typeface="Avenir Next LT Pro" panose="020B0504020202020204" pitchFamily="34" charset="77"/>
              </a:rPr>
              <a:pPr algn="r"/>
              <a:t>‹#›</a:t>
            </a:fld>
            <a:endParaRPr lang="en-US" sz="1000" b="0" i="0" spc="40" baseline="0">
              <a:solidFill>
                <a:schemeClr val="tx1"/>
              </a:solidFill>
              <a:latin typeface="Avenir Next LT Pro" panose="020B0504020202020204" pitchFamily="34" charset="77"/>
            </a:endParaRPr>
          </a:p>
        </p:txBody>
      </p:sp>
    </p:spTree>
    <p:extLst>
      <p:ext uri="{BB962C8B-B14F-4D97-AF65-F5344CB8AC3E}">
        <p14:creationId xmlns:p14="http://schemas.microsoft.com/office/powerpoint/2010/main" val="3383858868"/>
      </p:ext>
    </p:extLst>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Divider slide 3">
    <p:spTree>
      <p:nvGrpSpPr>
        <p:cNvPr id="1" name=""/>
        <p:cNvGrpSpPr/>
        <p:nvPr/>
      </p:nvGrpSpPr>
      <p:grpSpPr>
        <a:xfrm>
          <a:off x="0" y="0"/>
          <a:ext cx="0" cy="0"/>
          <a:chOff x="0" y="0"/>
          <a:chExt cx="0" cy="0"/>
        </a:xfrm>
      </p:grpSpPr>
      <p:sp>
        <p:nvSpPr>
          <p:cNvPr id="6" name="Title 8"/>
          <p:cNvSpPr>
            <a:spLocks noGrp="1"/>
          </p:cNvSpPr>
          <p:nvPr>
            <p:ph type="title"/>
          </p:nvPr>
        </p:nvSpPr>
        <p:spPr>
          <a:xfrm>
            <a:off x="838309" y="2385601"/>
            <a:ext cx="10516970" cy="415498"/>
          </a:xfrm>
        </p:spPr>
        <p:txBody>
          <a:bodyPr/>
          <a:lstStyle>
            <a:lvl1pPr algn="ctr">
              <a:defRPr>
                <a:solidFill>
                  <a:schemeClr val="tx2"/>
                </a:solidFill>
              </a:defRPr>
            </a:lvl1pPr>
          </a:lstStyle>
          <a:p>
            <a:r>
              <a:rPr lang="en-US"/>
              <a:t>Click to edit Master title style</a:t>
            </a:r>
          </a:p>
        </p:txBody>
      </p:sp>
      <p:sp>
        <p:nvSpPr>
          <p:cNvPr id="9" name="Text Placeholder 3"/>
          <p:cNvSpPr>
            <a:spLocks noGrp="1"/>
          </p:cNvSpPr>
          <p:nvPr>
            <p:ph type="body" sz="quarter" idx="11"/>
          </p:nvPr>
        </p:nvSpPr>
        <p:spPr>
          <a:xfrm>
            <a:off x="838309" y="3025859"/>
            <a:ext cx="10516970" cy="249299"/>
          </a:xfrm>
          <a:prstGeom prst="rect">
            <a:avLst/>
          </a:prstGeom>
        </p:spPr>
        <p:txBody>
          <a:bodyPr/>
          <a:lstStyle>
            <a:lvl1pPr marL="0" indent="0" algn="ctr">
              <a:buNone/>
              <a:defRPr b="0" i="0">
                <a:solidFill>
                  <a:schemeClr val="tx1"/>
                </a:solidFill>
                <a:latin typeface="Avenir Next LT Pro" panose="020B0504020202020204" pitchFamily="34" charset="77"/>
              </a:defRPr>
            </a:lvl1pPr>
          </a:lstStyle>
          <a:p>
            <a:pPr lvl="0"/>
            <a:r>
              <a:rPr lang="en-US"/>
              <a:t>Click to edit Master text styles</a:t>
            </a:r>
          </a:p>
        </p:txBody>
      </p:sp>
      <p:pic>
        <p:nvPicPr>
          <p:cNvPr id="3" name="Graphic 2">
            <a:extLst>
              <a:ext uri="{FF2B5EF4-FFF2-40B4-BE49-F238E27FC236}">
                <a16:creationId xmlns:a16="http://schemas.microsoft.com/office/drawing/2014/main" id="{79075FB3-5679-3329-D14C-3F8E145EED7C}"/>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118588706"/>
      </p:ext>
    </p:extLst>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5_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7" name="Rectangle 6">
            <a:extLst>
              <a:ext uri="{FF2B5EF4-FFF2-40B4-BE49-F238E27FC236}">
                <a16:creationId xmlns:a16="http://schemas.microsoft.com/office/drawing/2014/main" id="{9DB270F1-B40D-2246-A956-F1D47E227370}"/>
              </a:ext>
            </a:extLst>
          </p:cNvPr>
          <p:cNvSpPr/>
          <p:nvPr userDrawn="1"/>
        </p:nvSpPr>
        <p:spPr>
          <a:xfrm>
            <a:off x="0" y="1458000"/>
            <a:ext cx="12193588" cy="540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2" name="Title 1">
            <a:extLst>
              <a:ext uri="{FF2B5EF4-FFF2-40B4-BE49-F238E27FC236}">
                <a16:creationId xmlns:a16="http://schemas.microsoft.com/office/drawing/2014/main" id="{C48E50A3-CD8F-C800-8D64-A2446E516B96}"/>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BEEB4D7A-3FF8-2422-96A4-39526DE5BA7E}"/>
              </a:ext>
            </a:extLst>
          </p:cNvPr>
          <p:cNvSpPr>
            <a:spLocks noGrp="1"/>
          </p:cNvSpPr>
          <p:nvPr>
            <p:ph type="body" sz="quarter" idx="11"/>
          </p:nvPr>
        </p:nvSpPr>
        <p:spPr>
          <a:xfrm>
            <a:off x="565459"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CC426A7C-39F7-A545-D883-51CB79E99304}"/>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4" name="Graphic 3">
            <a:extLst>
              <a:ext uri="{FF2B5EF4-FFF2-40B4-BE49-F238E27FC236}">
                <a16:creationId xmlns:a16="http://schemas.microsoft.com/office/drawing/2014/main" id="{1FE2CEDD-F881-7362-EE99-72326250A8BC}"/>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2265316220"/>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4_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2" name="Title 1">
            <a:extLst>
              <a:ext uri="{FF2B5EF4-FFF2-40B4-BE49-F238E27FC236}">
                <a16:creationId xmlns:a16="http://schemas.microsoft.com/office/drawing/2014/main" id="{083E5FDF-E153-FB83-59F8-C3342050DE2D}"/>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9DD7CAFE-A12E-5475-CF59-1899CB4CCFB7}"/>
              </a:ext>
            </a:extLst>
          </p:cNvPr>
          <p:cNvSpPr>
            <a:spLocks noGrp="1"/>
          </p:cNvSpPr>
          <p:nvPr>
            <p:ph type="body" sz="quarter" idx="11"/>
          </p:nvPr>
        </p:nvSpPr>
        <p:spPr>
          <a:xfrm>
            <a:off x="565459"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F2A6583E-996E-9E75-7882-FF852DCA2D48}"/>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4" name="Graphic 3">
            <a:extLst>
              <a:ext uri="{FF2B5EF4-FFF2-40B4-BE49-F238E27FC236}">
                <a16:creationId xmlns:a16="http://schemas.microsoft.com/office/drawing/2014/main" id="{F12CA856-35CE-FD9C-BA1A-503CA86DB1C5}"/>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644528802"/>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7_Titles + text">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2" name="Text Placeholder 5"/>
          <p:cNvSpPr>
            <a:spLocks noGrp="1"/>
          </p:cNvSpPr>
          <p:nvPr>
            <p:ph type="body" sz="quarter" idx="12"/>
          </p:nvPr>
        </p:nvSpPr>
        <p:spPr>
          <a:xfrm>
            <a:off x="565458" y="1634067"/>
            <a:ext cx="11029035" cy="457411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3" name="Title 1">
            <a:extLst>
              <a:ext uri="{FF2B5EF4-FFF2-40B4-BE49-F238E27FC236}">
                <a16:creationId xmlns:a16="http://schemas.microsoft.com/office/drawing/2014/main" id="{4320D004-6754-4910-E736-BD1ADFAF98CC}"/>
              </a:ext>
            </a:extLst>
          </p:cNvPr>
          <p:cNvSpPr>
            <a:spLocks noGrp="1"/>
          </p:cNvSpPr>
          <p:nvPr>
            <p:ph type="title"/>
          </p:nvPr>
        </p:nvSpPr>
        <p:spPr>
          <a:xfrm>
            <a:off x="565459" y="552715"/>
            <a:ext cx="10098869"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39C08247-062F-0676-8498-BA3B732A36AC}"/>
              </a:ext>
            </a:extLst>
          </p:cNvPr>
          <p:cNvSpPr>
            <a:spLocks noGrp="1"/>
          </p:cNvSpPr>
          <p:nvPr>
            <p:ph type="body" sz="quarter" idx="11"/>
          </p:nvPr>
        </p:nvSpPr>
        <p:spPr>
          <a:xfrm>
            <a:off x="565459"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151A6EC8-761A-C152-2663-47D998769EFC}"/>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Graphic 5">
            <a:extLst>
              <a:ext uri="{FF2B5EF4-FFF2-40B4-BE49-F238E27FC236}">
                <a16:creationId xmlns:a16="http://schemas.microsoft.com/office/drawing/2014/main" id="{06C08A53-A524-D28A-02E7-6A9B6655E86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799066277"/>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with logo">
    <p:spTree>
      <p:nvGrpSpPr>
        <p:cNvPr id="1" name=""/>
        <p:cNvGrpSpPr/>
        <p:nvPr/>
      </p:nvGrpSpPr>
      <p:grpSpPr>
        <a:xfrm>
          <a:off x="0" y="0"/>
          <a:ext cx="0" cy="0"/>
          <a:chOff x="0" y="0"/>
          <a:chExt cx="0" cy="0"/>
        </a:xfrm>
      </p:grpSpPr>
      <p:sp>
        <p:nvSpPr>
          <p:cNvPr id="11" name="TextBox 10"/>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3" name="TextBox 2">
            <a:extLst>
              <a:ext uri="{FF2B5EF4-FFF2-40B4-BE49-F238E27FC236}">
                <a16:creationId xmlns:a16="http://schemas.microsoft.com/office/drawing/2014/main" id="{74007645-3940-90E7-9372-244CB8868E17}"/>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4" name="TextBox 3">
            <a:extLst>
              <a:ext uri="{FF2B5EF4-FFF2-40B4-BE49-F238E27FC236}">
                <a16:creationId xmlns:a16="http://schemas.microsoft.com/office/drawing/2014/main" id="{24BABFC5-BDD2-FF8A-6D55-428C6DA89640}"/>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2" name="Graphic 1">
            <a:extLst>
              <a:ext uri="{FF2B5EF4-FFF2-40B4-BE49-F238E27FC236}">
                <a16:creationId xmlns:a16="http://schemas.microsoft.com/office/drawing/2014/main" id="{001F7257-AD05-9911-1C20-DF3924CB459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2908729460"/>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2" name="Title 1">
            <a:extLst>
              <a:ext uri="{FF2B5EF4-FFF2-40B4-BE49-F238E27FC236}">
                <a16:creationId xmlns:a16="http://schemas.microsoft.com/office/drawing/2014/main" id="{083E5FDF-E153-FB83-59F8-C3342050DE2D}"/>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9DD7CAFE-A12E-5475-CF59-1899CB4CCFB7}"/>
              </a:ext>
            </a:extLst>
          </p:cNvPr>
          <p:cNvSpPr>
            <a:spLocks noGrp="1"/>
          </p:cNvSpPr>
          <p:nvPr>
            <p:ph type="body" sz="quarter" idx="11"/>
          </p:nvPr>
        </p:nvSpPr>
        <p:spPr>
          <a:xfrm>
            <a:off x="565459"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F2A6583E-996E-9E75-7882-FF852DCA2D48}"/>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4" name="Graphic 3">
            <a:extLst>
              <a:ext uri="{FF2B5EF4-FFF2-40B4-BE49-F238E27FC236}">
                <a16:creationId xmlns:a16="http://schemas.microsoft.com/office/drawing/2014/main" id="{2407F3BD-68B5-E311-3EFA-CDD1C2E6BC1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3286351418"/>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_Titles +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5DCBE4-2474-E18F-D85B-AD8A02BDAB2C}"/>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3" name="Title 1">
            <a:extLst>
              <a:ext uri="{FF2B5EF4-FFF2-40B4-BE49-F238E27FC236}">
                <a16:creationId xmlns:a16="http://schemas.microsoft.com/office/drawing/2014/main" id="{E0A6DB9D-E6AB-6967-43E9-EE1FC0BE859A}"/>
              </a:ext>
            </a:extLst>
          </p:cNvPr>
          <p:cNvSpPr>
            <a:spLocks noGrp="1"/>
          </p:cNvSpPr>
          <p:nvPr>
            <p:ph type="title"/>
          </p:nvPr>
        </p:nvSpPr>
        <p:spPr>
          <a:xfrm>
            <a:off x="565459" y="552715"/>
            <a:ext cx="10098869"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286C8244-E396-CD67-B252-189D777C81BE}"/>
              </a:ext>
            </a:extLst>
          </p:cNvPr>
          <p:cNvSpPr>
            <a:spLocks noGrp="1"/>
          </p:cNvSpPr>
          <p:nvPr>
            <p:ph type="body" sz="quarter" idx="11"/>
          </p:nvPr>
        </p:nvSpPr>
        <p:spPr>
          <a:xfrm>
            <a:off x="565459"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12" name="Text Placeholder 5"/>
          <p:cNvSpPr>
            <a:spLocks noGrp="1"/>
          </p:cNvSpPr>
          <p:nvPr>
            <p:ph type="body" sz="quarter" idx="12"/>
          </p:nvPr>
        </p:nvSpPr>
        <p:spPr>
          <a:xfrm>
            <a:off x="565458" y="1634067"/>
            <a:ext cx="11029035" cy="457411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5" name="TextBox 4">
            <a:extLst>
              <a:ext uri="{FF2B5EF4-FFF2-40B4-BE49-F238E27FC236}">
                <a16:creationId xmlns:a16="http://schemas.microsoft.com/office/drawing/2014/main" id="{9AE4B553-B7AB-8210-F80F-5BEF4CCCCF0C}"/>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Graphic 5">
            <a:extLst>
              <a:ext uri="{FF2B5EF4-FFF2-40B4-BE49-F238E27FC236}">
                <a16:creationId xmlns:a16="http://schemas.microsoft.com/office/drawing/2014/main" id="{C49B78ED-54C1-083E-5774-09FDD22532F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874739575"/>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2 images + description">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5" name="Text Placeholder 4"/>
          <p:cNvSpPr>
            <a:spLocks noGrp="1"/>
          </p:cNvSpPr>
          <p:nvPr>
            <p:ph type="body" sz="quarter" idx="15"/>
          </p:nvPr>
        </p:nvSpPr>
        <p:spPr>
          <a:xfrm>
            <a:off x="565458" y="5689756"/>
            <a:ext cx="5342777"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7" name="Content Placeholder 6"/>
          <p:cNvSpPr>
            <a:spLocks noGrp="1"/>
          </p:cNvSpPr>
          <p:nvPr>
            <p:ph sz="quarter" idx="18" hasCustomPrompt="1"/>
          </p:nvPr>
        </p:nvSpPr>
        <p:spPr>
          <a:xfrm>
            <a:off x="565459" y="1614955"/>
            <a:ext cx="5342776" cy="3864451"/>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2" name="Text Placeholder 4"/>
          <p:cNvSpPr>
            <a:spLocks noGrp="1"/>
          </p:cNvSpPr>
          <p:nvPr>
            <p:ph type="body" sz="quarter" idx="19"/>
          </p:nvPr>
        </p:nvSpPr>
        <p:spPr>
          <a:xfrm>
            <a:off x="6251604" y="5689756"/>
            <a:ext cx="5342777"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33" name="Content Placeholder 6"/>
          <p:cNvSpPr>
            <a:spLocks noGrp="1"/>
          </p:cNvSpPr>
          <p:nvPr>
            <p:ph sz="quarter" idx="20" hasCustomPrompt="1"/>
          </p:nvPr>
        </p:nvSpPr>
        <p:spPr>
          <a:xfrm>
            <a:off x="6251605" y="1614955"/>
            <a:ext cx="5342776" cy="3864451"/>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 name="Title 1">
            <a:extLst>
              <a:ext uri="{FF2B5EF4-FFF2-40B4-BE49-F238E27FC236}">
                <a16:creationId xmlns:a16="http://schemas.microsoft.com/office/drawing/2014/main" id="{90E6320A-1F87-8EA3-F808-3E4EC991B123}"/>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9A5852C2-3026-2B9A-A292-E9D26B2874D0}"/>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C6B656C-52BA-08CB-942C-1AAFEA03D6B7}"/>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8" name="TextBox 7">
            <a:extLst>
              <a:ext uri="{FF2B5EF4-FFF2-40B4-BE49-F238E27FC236}">
                <a16:creationId xmlns:a16="http://schemas.microsoft.com/office/drawing/2014/main" id="{5406B0B8-DE6A-5EA0-6734-73B95E9FB636}"/>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6" name="Graphic 5">
            <a:extLst>
              <a:ext uri="{FF2B5EF4-FFF2-40B4-BE49-F238E27FC236}">
                <a16:creationId xmlns:a16="http://schemas.microsoft.com/office/drawing/2014/main" id="{EC6B834B-BAEA-2877-DE2A-9E2A238D4CCB}"/>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3963247119"/>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3 images + descri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887A79-7AC5-5C4A-503C-92DC098B758E}"/>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4" name="Content Placeholder 3"/>
          <p:cNvSpPr>
            <a:spLocks noGrp="1"/>
          </p:cNvSpPr>
          <p:nvPr>
            <p:ph sz="quarter" idx="18" hasCustomPrompt="1"/>
          </p:nvPr>
        </p:nvSpPr>
        <p:spPr>
          <a:xfrm>
            <a:off x="565460"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5" name="Text Placeholder 4"/>
          <p:cNvSpPr>
            <a:spLocks noGrp="1"/>
          </p:cNvSpPr>
          <p:nvPr>
            <p:ph type="body" sz="quarter" idx="15"/>
          </p:nvPr>
        </p:nvSpPr>
        <p:spPr>
          <a:xfrm>
            <a:off x="551937" y="5098406"/>
            <a:ext cx="3529869"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6" name="Content Placeholder 3">
            <a:extLst>
              <a:ext uri="{FF2B5EF4-FFF2-40B4-BE49-F238E27FC236}">
                <a16:creationId xmlns:a16="http://schemas.microsoft.com/office/drawing/2014/main" id="{9E472C2D-B119-1348-ABB7-4B27DBE81FC4}"/>
              </a:ext>
            </a:extLst>
          </p:cNvPr>
          <p:cNvSpPr>
            <a:spLocks noGrp="1"/>
          </p:cNvSpPr>
          <p:nvPr>
            <p:ph sz="quarter" idx="19" hasCustomPrompt="1"/>
          </p:nvPr>
        </p:nvSpPr>
        <p:spPr>
          <a:xfrm>
            <a:off x="4315588"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7" name="Text Placeholder 4">
            <a:extLst>
              <a:ext uri="{FF2B5EF4-FFF2-40B4-BE49-F238E27FC236}">
                <a16:creationId xmlns:a16="http://schemas.microsoft.com/office/drawing/2014/main" id="{6B86DBF1-6757-494E-BB09-B02F75D7942F}"/>
              </a:ext>
            </a:extLst>
          </p:cNvPr>
          <p:cNvSpPr>
            <a:spLocks noGrp="1"/>
          </p:cNvSpPr>
          <p:nvPr>
            <p:ph type="body" sz="quarter" idx="20"/>
          </p:nvPr>
        </p:nvSpPr>
        <p:spPr>
          <a:xfrm>
            <a:off x="4315588" y="5098406"/>
            <a:ext cx="3529869"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8" name="Content Placeholder 3">
            <a:extLst>
              <a:ext uri="{FF2B5EF4-FFF2-40B4-BE49-F238E27FC236}">
                <a16:creationId xmlns:a16="http://schemas.microsoft.com/office/drawing/2014/main" id="{9D47F0CA-7587-3F49-929E-E48CC948FFEF}"/>
              </a:ext>
            </a:extLst>
          </p:cNvPr>
          <p:cNvSpPr>
            <a:spLocks noGrp="1"/>
          </p:cNvSpPr>
          <p:nvPr>
            <p:ph sz="quarter" idx="21" hasCustomPrompt="1"/>
          </p:nvPr>
        </p:nvSpPr>
        <p:spPr>
          <a:xfrm>
            <a:off x="8065717"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9" name="Text Placeholder 4">
            <a:extLst>
              <a:ext uri="{FF2B5EF4-FFF2-40B4-BE49-F238E27FC236}">
                <a16:creationId xmlns:a16="http://schemas.microsoft.com/office/drawing/2014/main" id="{C231C06B-3EE2-A348-A91C-CAFBBAF74FA0}"/>
              </a:ext>
            </a:extLst>
          </p:cNvPr>
          <p:cNvSpPr>
            <a:spLocks noGrp="1"/>
          </p:cNvSpPr>
          <p:nvPr>
            <p:ph type="body" sz="quarter" idx="22"/>
          </p:nvPr>
        </p:nvSpPr>
        <p:spPr>
          <a:xfrm>
            <a:off x="8065717" y="5098406"/>
            <a:ext cx="3529869"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3" name="Title 1">
            <a:extLst>
              <a:ext uri="{FF2B5EF4-FFF2-40B4-BE49-F238E27FC236}">
                <a16:creationId xmlns:a16="http://schemas.microsoft.com/office/drawing/2014/main" id="{DBF411DD-945C-4A72-1FBB-BC99017FA8F9}"/>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6" name="Text Placeholder 9">
            <a:extLst>
              <a:ext uri="{FF2B5EF4-FFF2-40B4-BE49-F238E27FC236}">
                <a16:creationId xmlns:a16="http://schemas.microsoft.com/office/drawing/2014/main" id="{7945EEC3-B051-A336-D42E-3BB3BFCED291}"/>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8" name="TextBox 7">
            <a:extLst>
              <a:ext uri="{FF2B5EF4-FFF2-40B4-BE49-F238E27FC236}">
                <a16:creationId xmlns:a16="http://schemas.microsoft.com/office/drawing/2014/main" id="{18E0ADA8-4CE7-A0B6-7DF3-AD8AA6E44AE0}"/>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7" name="Graphic 6">
            <a:extLst>
              <a:ext uri="{FF2B5EF4-FFF2-40B4-BE49-F238E27FC236}">
                <a16:creationId xmlns:a16="http://schemas.microsoft.com/office/drawing/2014/main" id="{3C073532-D6B7-F171-F617-C21D4CB3BD3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2240126380"/>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1 image + description">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5" name="Text Placeholder 4"/>
          <p:cNvSpPr>
            <a:spLocks noGrp="1"/>
          </p:cNvSpPr>
          <p:nvPr>
            <p:ph type="body" sz="quarter" idx="15"/>
          </p:nvPr>
        </p:nvSpPr>
        <p:spPr>
          <a:xfrm>
            <a:off x="2600683" y="5753950"/>
            <a:ext cx="6992222"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7" name="Content Placeholder 6"/>
          <p:cNvSpPr>
            <a:spLocks noGrp="1"/>
          </p:cNvSpPr>
          <p:nvPr>
            <p:ph sz="quarter" idx="18" hasCustomPrompt="1"/>
          </p:nvPr>
        </p:nvSpPr>
        <p:spPr>
          <a:xfrm>
            <a:off x="2600683" y="1614956"/>
            <a:ext cx="6992223" cy="3904102"/>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 name="Title 1">
            <a:extLst>
              <a:ext uri="{FF2B5EF4-FFF2-40B4-BE49-F238E27FC236}">
                <a16:creationId xmlns:a16="http://schemas.microsoft.com/office/drawing/2014/main" id="{9E7E88F5-D369-B5E8-346F-19CD58348CD4}"/>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C1A5512B-5BEA-917E-32FE-EA67BB6D091E}"/>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675A382E-848B-532C-6EE1-4DAC99A77161}"/>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8" name="TextBox 7">
            <a:extLst>
              <a:ext uri="{FF2B5EF4-FFF2-40B4-BE49-F238E27FC236}">
                <a16:creationId xmlns:a16="http://schemas.microsoft.com/office/drawing/2014/main" id="{56325CAD-D2AD-A4CC-7581-280CBE85E670}"/>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6" name="Graphic 5">
            <a:extLst>
              <a:ext uri="{FF2B5EF4-FFF2-40B4-BE49-F238E27FC236}">
                <a16:creationId xmlns:a16="http://schemas.microsoft.com/office/drawing/2014/main" id="{375DE8EA-B708-6F2E-7142-3623C5037F9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3274058037"/>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3 images + 2 descriptions">
    <p:spTree>
      <p:nvGrpSpPr>
        <p:cNvPr id="1" name=""/>
        <p:cNvGrpSpPr/>
        <p:nvPr/>
      </p:nvGrpSpPr>
      <p:grpSpPr>
        <a:xfrm>
          <a:off x="0" y="0"/>
          <a:ext cx="0" cy="0"/>
          <a:chOff x="0" y="0"/>
          <a:chExt cx="0" cy="0"/>
        </a:xfrm>
      </p:grpSpPr>
      <p:sp>
        <p:nvSpPr>
          <p:cNvPr id="39" name="Content Placeholder 3">
            <a:extLst>
              <a:ext uri="{FF2B5EF4-FFF2-40B4-BE49-F238E27FC236}">
                <a16:creationId xmlns:a16="http://schemas.microsoft.com/office/drawing/2014/main" id="{C5556837-BDFE-E242-99D1-8166180F539B}"/>
              </a:ext>
            </a:extLst>
          </p:cNvPr>
          <p:cNvSpPr>
            <a:spLocks noGrp="1"/>
          </p:cNvSpPr>
          <p:nvPr>
            <p:ph sz="quarter" idx="18" hasCustomPrompt="1"/>
          </p:nvPr>
        </p:nvSpPr>
        <p:spPr>
          <a:xfrm>
            <a:off x="565459" y="1643744"/>
            <a:ext cx="5813569" cy="4241088"/>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40" name="TextBox 39">
            <a:extLst>
              <a:ext uri="{FF2B5EF4-FFF2-40B4-BE49-F238E27FC236}">
                <a16:creationId xmlns:a16="http://schemas.microsoft.com/office/drawing/2014/main" id="{0048BF0C-D14A-7E47-833B-85CE24AA521B}"/>
              </a:ext>
            </a:extLst>
          </p:cNvPr>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41" name="Text Placeholder 4">
            <a:extLst>
              <a:ext uri="{FF2B5EF4-FFF2-40B4-BE49-F238E27FC236}">
                <a16:creationId xmlns:a16="http://schemas.microsoft.com/office/drawing/2014/main" id="{58350936-F007-3344-A8E4-C14AC8D0D88A}"/>
              </a:ext>
            </a:extLst>
          </p:cNvPr>
          <p:cNvSpPr>
            <a:spLocks noGrp="1"/>
          </p:cNvSpPr>
          <p:nvPr>
            <p:ph type="body" sz="quarter" idx="15"/>
          </p:nvPr>
        </p:nvSpPr>
        <p:spPr>
          <a:xfrm>
            <a:off x="551937" y="6137045"/>
            <a:ext cx="5827091" cy="152349"/>
          </a:xfrm>
          <a:prstGeom prst="rect">
            <a:avLst/>
          </a:prstGeom>
        </p:spPr>
        <p:txBody>
          <a:bodyPr lIns="0" tIns="0" rIns="0" bIns="0"/>
          <a:lstStyle>
            <a:lvl1pPr marL="0" indent="0">
              <a:buNone/>
              <a:defRPr sz="1100" b="0" i="0">
                <a:solidFill>
                  <a:schemeClr val="tx1"/>
                </a:solidFill>
                <a:latin typeface="Avenir Next LT Pro" panose="020B0504020202020204" pitchFamily="34" charset="77"/>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48" name="Content Placeholder 3">
            <a:extLst>
              <a:ext uri="{FF2B5EF4-FFF2-40B4-BE49-F238E27FC236}">
                <a16:creationId xmlns:a16="http://schemas.microsoft.com/office/drawing/2014/main" id="{1E636B30-B043-AE40-B4D1-1440A233CF1B}"/>
              </a:ext>
            </a:extLst>
          </p:cNvPr>
          <p:cNvSpPr>
            <a:spLocks noGrp="1"/>
          </p:cNvSpPr>
          <p:nvPr>
            <p:ph sz="quarter" idx="21" hasCustomPrompt="1"/>
          </p:nvPr>
        </p:nvSpPr>
        <p:spPr>
          <a:xfrm>
            <a:off x="6760029" y="1643744"/>
            <a:ext cx="4822372" cy="2015999"/>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49" name="Text Placeholder 4">
            <a:extLst>
              <a:ext uri="{FF2B5EF4-FFF2-40B4-BE49-F238E27FC236}">
                <a16:creationId xmlns:a16="http://schemas.microsoft.com/office/drawing/2014/main" id="{13317509-5BA7-7B49-B291-1D234B9200C0}"/>
              </a:ext>
            </a:extLst>
          </p:cNvPr>
          <p:cNvSpPr>
            <a:spLocks noGrp="1"/>
          </p:cNvSpPr>
          <p:nvPr>
            <p:ph type="body" sz="quarter" idx="22"/>
          </p:nvPr>
        </p:nvSpPr>
        <p:spPr>
          <a:xfrm>
            <a:off x="6760029" y="6137045"/>
            <a:ext cx="4834352" cy="152349"/>
          </a:xfrm>
          <a:prstGeom prst="rect">
            <a:avLst/>
          </a:prstGeom>
        </p:spPr>
        <p:txBody>
          <a:bodyPr lIns="0" tIns="0" rIns="0" bIns="0"/>
          <a:lstStyle>
            <a:lvl1pPr marL="0" indent="0">
              <a:buNone/>
              <a:defRPr sz="1100" b="0" i="0">
                <a:solidFill>
                  <a:schemeClr val="tx1"/>
                </a:solidFill>
                <a:latin typeface="Avenir Next LT Pro" panose="020B0504020202020204" pitchFamily="34" charset="77"/>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17" name="Content Placeholder 3">
            <a:extLst>
              <a:ext uri="{FF2B5EF4-FFF2-40B4-BE49-F238E27FC236}">
                <a16:creationId xmlns:a16="http://schemas.microsoft.com/office/drawing/2014/main" id="{555198F4-2AED-4042-90ED-D3C7174E0906}"/>
              </a:ext>
            </a:extLst>
          </p:cNvPr>
          <p:cNvSpPr>
            <a:spLocks noGrp="1"/>
          </p:cNvSpPr>
          <p:nvPr>
            <p:ph sz="quarter" idx="23" hasCustomPrompt="1"/>
          </p:nvPr>
        </p:nvSpPr>
        <p:spPr>
          <a:xfrm>
            <a:off x="6760029" y="3868833"/>
            <a:ext cx="4822372" cy="2015999"/>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 name="Title 1">
            <a:extLst>
              <a:ext uri="{FF2B5EF4-FFF2-40B4-BE49-F238E27FC236}">
                <a16:creationId xmlns:a16="http://schemas.microsoft.com/office/drawing/2014/main" id="{A1C802F1-24AD-3A78-7C86-064CB6E48912}"/>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855BFB9C-1F29-A563-18B2-BD4359EBF425}"/>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473329C1-6E5B-4C40-9A11-15766FF1966D}"/>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292EA12C-5836-B803-B30F-EF095C838C0B}"/>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Graphic 3">
            <a:extLst>
              <a:ext uri="{FF2B5EF4-FFF2-40B4-BE49-F238E27FC236}">
                <a16:creationId xmlns:a16="http://schemas.microsoft.com/office/drawing/2014/main" id="{3CD976A2-8B96-6BCB-51A6-A124CC9BA695}"/>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491133441"/>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4 images + 2 descriptions">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3F2B81F-6CDB-F24D-8286-75432400221E}"/>
              </a:ext>
            </a:extLst>
          </p:cNvPr>
          <p:cNvSpPr/>
          <p:nvPr userDrawn="1"/>
        </p:nvSpPr>
        <p:spPr>
          <a:xfrm>
            <a:off x="0" y="1378193"/>
            <a:ext cx="12193588" cy="554256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14" name="Content Placeholder 3">
            <a:extLst>
              <a:ext uri="{FF2B5EF4-FFF2-40B4-BE49-F238E27FC236}">
                <a16:creationId xmlns:a16="http://schemas.microsoft.com/office/drawing/2014/main" id="{78184602-ED9E-A547-B64C-B428E9D1E2BA}"/>
              </a:ext>
            </a:extLst>
          </p:cNvPr>
          <p:cNvSpPr>
            <a:spLocks noGrp="1"/>
          </p:cNvSpPr>
          <p:nvPr>
            <p:ph sz="quarter" idx="18" hasCustomPrompt="1"/>
          </p:nvPr>
        </p:nvSpPr>
        <p:spPr>
          <a:xfrm>
            <a:off x="553155" y="157268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3" name="Text Placeholder 4">
            <a:extLst>
              <a:ext uri="{FF2B5EF4-FFF2-40B4-BE49-F238E27FC236}">
                <a16:creationId xmlns:a16="http://schemas.microsoft.com/office/drawing/2014/main" id="{6D9F47C3-F248-E446-A670-634F129672B4}"/>
              </a:ext>
            </a:extLst>
          </p:cNvPr>
          <p:cNvSpPr>
            <a:spLocks noGrp="1"/>
          </p:cNvSpPr>
          <p:nvPr>
            <p:ph type="body" sz="quarter" idx="15"/>
          </p:nvPr>
        </p:nvSpPr>
        <p:spPr>
          <a:xfrm>
            <a:off x="553156" y="6170723"/>
            <a:ext cx="5388150"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9" name="Content Placeholder 3">
            <a:extLst>
              <a:ext uri="{FF2B5EF4-FFF2-40B4-BE49-F238E27FC236}">
                <a16:creationId xmlns:a16="http://schemas.microsoft.com/office/drawing/2014/main" id="{DBFE4DB6-4FEC-C543-9EB1-5F14AB473EFC}"/>
              </a:ext>
            </a:extLst>
          </p:cNvPr>
          <p:cNvSpPr>
            <a:spLocks noGrp="1"/>
          </p:cNvSpPr>
          <p:nvPr>
            <p:ph sz="quarter" idx="19" hasCustomPrompt="1"/>
          </p:nvPr>
        </p:nvSpPr>
        <p:spPr>
          <a:xfrm>
            <a:off x="553155" y="386957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0" name="Content Placeholder 3">
            <a:extLst>
              <a:ext uri="{FF2B5EF4-FFF2-40B4-BE49-F238E27FC236}">
                <a16:creationId xmlns:a16="http://schemas.microsoft.com/office/drawing/2014/main" id="{6990879E-A79F-3046-820F-0ED3521D3FBF}"/>
              </a:ext>
            </a:extLst>
          </p:cNvPr>
          <p:cNvSpPr>
            <a:spLocks noGrp="1"/>
          </p:cNvSpPr>
          <p:nvPr>
            <p:ph sz="quarter" idx="20" hasCustomPrompt="1"/>
          </p:nvPr>
        </p:nvSpPr>
        <p:spPr>
          <a:xfrm>
            <a:off x="6224613" y="157268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1" name="Text Placeholder 4">
            <a:extLst>
              <a:ext uri="{FF2B5EF4-FFF2-40B4-BE49-F238E27FC236}">
                <a16:creationId xmlns:a16="http://schemas.microsoft.com/office/drawing/2014/main" id="{D0AD178D-3412-A242-9FCD-611D216F2C6A}"/>
              </a:ext>
            </a:extLst>
          </p:cNvPr>
          <p:cNvSpPr>
            <a:spLocks noGrp="1"/>
          </p:cNvSpPr>
          <p:nvPr>
            <p:ph type="body" sz="quarter" idx="21"/>
          </p:nvPr>
        </p:nvSpPr>
        <p:spPr>
          <a:xfrm>
            <a:off x="6224614" y="6170723"/>
            <a:ext cx="5388150"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32" name="Content Placeholder 3">
            <a:extLst>
              <a:ext uri="{FF2B5EF4-FFF2-40B4-BE49-F238E27FC236}">
                <a16:creationId xmlns:a16="http://schemas.microsoft.com/office/drawing/2014/main" id="{F102D9E7-8CD9-FF47-BD72-00062EAA2C8C}"/>
              </a:ext>
            </a:extLst>
          </p:cNvPr>
          <p:cNvSpPr>
            <a:spLocks noGrp="1"/>
          </p:cNvSpPr>
          <p:nvPr>
            <p:ph sz="quarter" idx="22" hasCustomPrompt="1"/>
          </p:nvPr>
        </p:nvSpPr>
        <p:spPr>
          <a:xfrm>
            <a:off x="6224613" y="386957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 name="Title 1">
            <a:extLst>
              <a:ext uri="{FF2B5EF4-FFF2-40B4-BE49-F238E27FC236}">
                <a16:creationId xmlns:a16="http://schemas.microsoft.com/office/drawing/2014/main" id="{2F104133-4D7E-D456-337C-AAD749B9AF56}"/>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482525F2-8639-91D5-5A92-E03A1FA83782}"/>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1649404D-A47B-3834-7A04-D3603B3FE1B2}"/>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968A5D60-F214-33D8-BE42-D68156BF52C8}"/>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Graphic 3">
            <a:extLst>
              <a:ext uri="{FF2B5EF4-FFF2-40B4-BE49-F238E27FC236}">
                <a16:creationId xmlns:a16="http://schemas.microsoft.com/office/drawing/2014/main" id="{F3C34E98-C93E-AA79-8BED-F95FC57A79D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1259231386"/>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image left + text right">
    <p:spTree>
      <p:nvGrpSpPr>
        <p:cNvPr id="1" name=""/>
        <p:cNvGrpSpPr/>
        <p:nvPr/>
      </p:nvGrpSpPr>
      <p:grpSpPr>
        <a:xfrm>
          <a:off x="0" y="0"/>
          <a:ext cx="0" cy="0"/>
          <a:chOff x="0" y="0"/>
          <a:chExt cx="0" cy="0"/>
        </a:xfrm>
      </p:grpSpPr>
      <p:sp>
        <p:nvSpPr>
          <p:cNvPr id="17" name="TextBox 16"/>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1" name="Content Placeholder 6"/>
          <p:cNvSpPr>
            <a:spLocks noGrp="1"/>
          </p:cNvSpPr>
          <p:nvPr>
            <p:ph sz="quarter" idx="18" hasCustomPrompt="1"/>
          </p:nvPr>
        </p:nvSpPr>
        <p:spPr>
          <a:xfrm>
            <a:off x="565458" y="1676608"/>
            <a:ext cx="5719896" cy="4519943"/>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15" name="Text Placeholder 2"/>
          <p:cNvSpPr>
            <a:spLocks noGrp="1"/>
          </p:cNvSpPr>
          <p:nvPr>
            <p:ph type="body" sz="quarter" idx="12"/>
          </p:nvPr>
        </p:nvSpPr>
        <p:spPr>
          <a:xfrm>
            <a:off x="6631291" y="1676608"/>
            <a:ext cx="4963090" cy="4519943"/>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80CD31E6-457F-345A-584B-4FD13F51130D}"/>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4376E91E-6700-6F11-61ED-B6004D3C6C8D}"/>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FDDA0F93-8A90-0112-0786-678344CFE135}"/>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FA7DFE73-B464-BFF4-B6FB-7DBE2B3902B4}"/>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Graphic 3">
            <a:extLst>
              <a:ext uri="{FF2B5EF4-FFF2-40B4-BE49-F238E27FC236}">
                <a16:creationId xmlns:a16="http://schemas.microsoft.com/office/drawing/2014/main" id="{E2A6181C-1377-8E07-F30D-C4A4AF305E32}"/>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1816300858"/>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image right + text left">
    <p:spTree>
      <p:nvGrpSpPr>
        <p:cNvPr id="1" name=""/>
        <p:cNvGrpSpPr/>
        <p:nvPr/>
      </p:nvGrpSpPr>
      <p:grpSpPr>
        <a:xfrm>
          <a:off x="0" y="0"/>
          <a:ext cx="0" cy="0"/>
          <a:chOff x="0" y="0"/>
          <a:chExt cx="0" cy="0"/>
        </a:xfrm>
      </p:grpSpPr>
      <p:sp>
        <p:nvSpPr>
          <p:cNvPr id="17" name="TextBox 16"/>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3" name="Content Placeholder 6"/>
          <p:cNvSpPr>
            <a:spLocks noGrp="1"/>
          </p:cNvSpPr>
          <p:nvPr>
            <p:ph sz="quarter" idx="18" hasCustomPrompt="1"/>
          </p:nvPr>
        </p:nvSpPr>
        <p:spPr>
          <a:xfrm>
            <a:off x="5868399" y="1676608"/>
            <a:ext cx="5719896" cy="4519943"/>
          </a:xfrm>
          <a:prstGeom prst="rect">
            <a:avLst/>
          </a:prstGeom>
        </p:spPr>
        <p:txBody>
          <a:bodyPr>
            <a:normAutofit/>
          </a:bodyPr>
          <a:lstStyle>
            <a:lvl1pPr marL="0" indent="0">
              <a:buFont typeface="Arial" charset="0"/>
              <a:buNone/>
              <a:defRPr sz="2000"/>
            </a:lvl1pPr>
          </a:lstStyle>
          <a:p>
            <a:r>
              <a:rPr lang="en-US"/>
              <a:t>Insert graph </a:t>
            </a:r>
            <a:r>
              <a:rPr lang="mr-IN"/>
              <a:t>–</a:t>
            </a:r>
            <a:r>
              <a:rPr lang="en-US"/>
              <a:t> Drag picture to placeholder or click on icon </a:t>
            </a:r>
          </a:p>
        </p:txBody>
      </p:sp>
      <p:sp>
        <p:nvSpPr>
          <p:cNvPr id="16" name="Text Placeholder 2"/>
          <p:cNvSpPr>
            <a:spLocks noGrp="1"/>
          </p:cNvSpPr>
          <p:nvPr>
            <p:ph type="body" sz="quarter" idx="12"/>
          </p:nvPr>
        </p:nvSpPr>
        <p:spPr>
          <a:xfrm>
            <a:off x="565460" y="1676608"/>
            <a:ext cx="4963090" cy="4519943"/>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C20DAD90-B4BF-1D5F-D032-10D4F3E8D123}"/>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4D63374E-93AD-26A8-FE04-9A6DBDFE1C4D}"/>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1B07A46E-BDD6-9B21-DCA5-8D8A02B85D1F}"/>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3FE8C249-9948-5463-D195-11DD65F4A81D}"/>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Graphic 3">
            <a:extLst>
              <a:ext uri="{FF2B5EF4-FFF2-40B4-BE49-F238E27FC236}">
                <a16:creationId xmlns:a16="http://schemas.microsoft.com/office/drawing/2014/main" id="{A8DDE577-FBF7-74D4-8DAB-C66672A28D5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3184455332"/>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6 images + 3 descriptions">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033F5C5-16D7-5349-8E7D-96E1C3D759DD}"/>
              </a:ext>
            </a:extLst>
          </p:cNvPr>
          <p:cNvSpPr/>
          <p:nvPr userDrawn="1"/>
        </p:nvSpPr>
        <p:spPr>
          <a:xfrm>
            <a:off x="0" y="1378193"/>
            <a:ext cx="12193588" cy="554256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14" name="Content Placeholder 3">
            <a:extLst>
              <a:ext uri="{FF2B5EF4-FFF2-40B4-BE49-F238E27FC236}">
                <a16:creationId xmlns:a16="http://schemas.microsoft.com/office/drawing/2014/main" id="{48548963-850E-7645-960B-31854F07CC34}"/>
              </a:ext>
            </a:extLst>
          </p:cNvPr>
          <p:cNvSpPr>
            <a:spLocks noGrp="1"/>
          </p:cNvSpPr>
          <p:nvPr>
            <p:ph sz="quarter" idx="18" hasCustomPrompt="1"/>
          </p:nvPr>
        </p:nvSpPr>
        <p:spPr>
          <a:xfrm>
            <a:off x="553156" y="157268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3" name="Text Placeholder 4">
            <a:extLst>
              <a:ext uri="{FF2B5EF4-FFF2-40B4-BE49-F238E27FC236}">
                <a16:creationId xmlns:a16="http://schemas.microsoft.com/office/drawing/2014/main" id="{0C8C808D-06BD-6347-9DEF-E094B0E9857F}"/>
              </a:ext>
            </a:extLst>
          </p:cNvPr>
          <p:cNvSpPr>
            <a:spLocks noGrp="1"/>
          </p:cNvSpPr>
          <p:nvPr>
            <p:ph type="body" sz="quarter" idx="15"/>
          </p:nvPr>
        </p:nvSpPr>
        <p:spPr>
          <a:xfrm>
            <a:off x="553156" y="6170723"/>
            <a:ext cx="3403643"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5" name="Text Placeholder 4">
            <a:extLst>
              <a:ext uri="{FF2B5EF4-FFF2-40B4-BE49-F238E27FC236}">
                <a16:creationId xmlns:a16="http://schemas.microsoft.com/office/drawing/2014/main" id="{204D55EA-A258-1E4C-A2FC-05363299092D}"/>
              </a:ext>
            </a:extLst>
          </p:cNvPr>
          <p:cNvSpPr>
            <a:spLocks noGrp="1"/>
          </p:cNvSpPr>
          <p:nvPr>
            <p:ph type="body" sz="quarter" idx="16"/>
          </p:nvPr>
        </p:nvSpPr>
        <p:spPr>
          <a:xfrm>
            <a:off x="4363864" y="6170723"/>
            <a:ext cx="3403643"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6" name="Text Placeholder 4">
            <a:extLst>
              <a:ext uri="{FF2B5EF4-FFF2-40B4-BE49-F238E27FC236}">
                <a16:creationId xmlns:a16="http://schemas.microsoft.com/office/drawing/2014/main" id="{71EFA00C-64E9-F849-BD3C-AACA0E678F63}"/>
              </a:ext>
            </a:extLst>
          </p:cNvPr>
          <p:cNvSpPr>
            <a:spLocks noGrp="1"/>
          </p:cNvSpPr>
          <p:nvPr>
            <p:ph type="body" sz="quarter" idx="17"/>
          </p:nvPr>
        </p:nvSpPr>
        <p:spPr>
          <a:xfrm>
            <a:off x="8174573" y="6170723"/>
            <a:ext cx="3403643"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31" name="Content Placeholder 3">
            <a:extLst>
              <a:ext uri="{FF2B5EF4-FFF2-40B4-BE49-F238E27FC236}">
                <a16:creationId xmlns:a16="http://schemas.microsoft.com/office/drawing/2014/main" id="{4CCC79FF-C617-C74F-BF72-F5C76E459D28}"/>
              </a:ext>
            </a:extLst>
          </p:cNvPr>
          <p:cNvSpPr>
            <a:spLocks noGrp="1"/>
          </p:cNvSpPr>
          <p:nvPr>
            <p:ph sz="quarter" idx="19" hasCustomPrompt="1"/>
          </p:nvPr>
        </p:nvSpPr>
        <p:spPr>
          <a:xfrm>
            <a:off x="553156" y="386957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2" name="Content Placeholder 3">
            <a:extLst>
              <a:ext uri="{FF2B5EF4-FFF2-40B4-BE49-F238E27FC236}">
                <a16:creationId xmlns:a16="http://schemas.microsoft.com/office/drawing/2014/main" id="{C862AF82-E3E8-4149-8264-3D55C0745FF3}"/>
              </a:ext>
            </a:extLst>
          </p:cNvPr>
          <p:cNvSpPr>
            <a:spLocks noGrp="1"/>
          </p:cNvSpPr>
          <p:nvPr>
            <p:ph sz="quarter" idx="20" hasCustomPrompt="1"/>
          </p:nvPr>
        </p:nvSpPr>
        <p:spPr>
          <a:xfrm>
            <a:off x="4363864" y="157268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3" name="Content Placeholder 3">
            <a:extLst>
              <a:ext uri="{FF2B5EF4-FFF2-40B4-BE49-F238E27FC236}">
                <a16:creationId xmlns:a16="http://schemas.microsoft.com/office/drawing/2014/main" id="{89C9B33E-10C8-3E4B-B48E-B7D88ED06055}"/>
              </a:ext>
            </a:extLst>
          </p:cNvPr>
          <p:cNvSpPr>
            <a:spLocks noGrp="1"/>
          </p:cNvSpPr>
          <p:nvPr>
            <p:ph sz="quarter" idx="21" hasCustomPrompt="1"/>
          </p:nvPr>
        </p:nvSpPr>
        <p:spPr>
          <a:xfrm>
            <a:off x="4363864" y="386957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4" name="Content Placeholder 3">
            <a:extLst>
              <a:ext uri="{FF2B5EF4-FFF2-40B4-BE49-F238E27FC236}">
                <a16:creationId xmlns:a16="http://schemas.microsoft.com/office/drawing/2014/main" id="{5635AEBB-B1FB-6840-ADCC-1597D1AF3F91}"/>
              </a:ext>
            </a:extLst>
          </p:cNvPr>
          <p:cNvSpPr>
            <a:spLocks noGrp="1"/>
          </p:cNvSpPr>
          <p:nvPr>
            <p:ph sz="quarter" idx="22" hasCustomPrompt="1"/>
          </p:nvPr>
        </p:nvSpPr>
        <p:spPr>
          <a:xfrm>
            <a:off x="8174573" y="157268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5" name="Content Placeholder 3">
            <a:extLst>
              <a:ext uri="{FF2B5EF4-FFF2-40B4-BE49-F238E27FC236}">
                <a16:creationId xmlns:a16="http://schemas.microsoft.com/office/drawing/2014/main" id="{9E3CF042-61F1-6B48-A9AB-9D779D5930C7}"/>
              </a:ext>
            </a:extLst>
          </p:cNvPr>
          <p:cNvSpPr>
            <a:spLocks noGrp="1"/>
          </p:cNvSpPr>
          <p:nvPr>
            <p:ph sz="quarter" idx="23" hasCustomPrompt="1"/>
          </p:nvPr>
        </p:nvSpPr>
        <p:spPr>
          <a:xfrm>
            <a:off x="8174573" y="386957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 name="Title 1">
            <a:extLst>
              <a:ext uri="{FF2B5EF4-FFF2-40B4-BE49-F238E27FC236}">
                <a16:creationId xmlns:a16="http://schemas.microsoft.com/office/drawing/2014/main" id="{112FB729-071E-1871-BA5E-79483A528C42}"/>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500D1A7D-D4EF-9BAB-1744-2BE5E43E5FFA}"/>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6D13B62E-1EE5-3622-9E0A-519228BE4E07}"/>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B61B4EC2-6396-6CE8-6AB5-5F7C04DA813A}"/>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Graphic 3">
            <a:extLst>
              <a:ext uri="{FF2B5EF4-FFF2-40B4-BE49-F238E27FC236}">
                <a16:creationId xmlns:a16="http://schemas.microsoft.com/office/drawing/2014/main" id="{7EAAD02A-0E27-377C-DF89-293FF93D507B}"/>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843879082"/>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7" name="Rectangle 6">
            <a:extLst>
              <a:ext uri="{FF2B5EF4-FFF2-40B4-BE49-F238E27FC236}">
                <a16:creationId xmlns:a16="http://schemas.microsoft.com/office/drawing/2014/main" id="{9DB270F1-B40D-2246-A956-F1D47E227370}"/>
              </a:ext>
            </a:extLst>
          </p:cNvPr>
          <p:cNvSpPr/>
          <p:nvPr userDrawn="1"/>
        </p:nvSpPr>
        <p:spPr>
          <a:xfrm>
            <a:off x="0" y="1458000"/>
            <a:ext cx="12193588" cy="54675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2" name="Title 1">
            <a:extLst>
              <a:ext uri="{FF2B5EF4-FFF2-40B4-BE49-F238E27FC236}">
                <a16:creationId xmlns:a16="http://schemas.microsoft.com/office/drawing/2014/main" id="{C48E50A3-CD8F-C800-8D64-A2446E516B96}"/>
              </a:ext>
            </a:extLst>
          </p:cNvPr>
          <p:cNvSpPr>
            <a:spLocks noGrp="1"/>
          </p:cNvSpPr>
          <p:nvPr>
            <p:ph type="title"/>
          </p:nvPr>
        </p:nvSpPr>
        <p:spPr>
          <a:xfrm>
            <a:off x="565459" y="552715"/>
            <a:ext cx="10017711" cy="360099"/>
          </a:xfrm>
        </p:spPr>
        <p:txBody>
          <a:bodyPr/>
          <a:lstStyle>
            <a:lvl1pPr>
              <a:defRPr sz="2600">
                <a:solidFill>
                  <a:schemeClr val="tx1"/>
                </a:solidFill>
              </a:defRPr>
            </a:lvl1pPr>
          </a:lstStyle>
          <a:p>
            <a:r>
              <a:rPr lang="en-US"/>
              <a:t>Click to edit Master title style</a:t>
            </a:r>
          </a:p>
        </p:txBody>
      </p:sp>
      <p:sp>
        <p:nvSpPr>
          <p:cNvPr id="3" name="Text Placeholder 9">
            <a:extLst>
              <a:ext uri="{FF2B5EF4-FFF2-40B4-BE49-F238E27FC236}">
                <a16:creationId xmlns:a16="http://schemas.microsoft.com/office/drawing/2014/main" id="{BEEB4D7A-3FF8-2422-96A4-39526DE5BA7E}"/>
              </a:ext>
            </a:extLst>
          </p:cNvPr>
          <p:cNvSpPr>
            <a:spLocks noGrp="1"/>
          </p:cNvSpPr>
          <p:nvPr>
            <p:ph type="body" sz="quarter" idx="11"/>
          </p:nvPr>
        </p:nvSpPr>
        <p:spPr>
          <a:xfrm>
            <a:off x="565459"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CC426A7C-39F7-A545-D883-51CB79E99304}"/>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4" name="Graphic 3">
            <a:extLst>
              <a:ext uri="{FF2B5EF4-FFF2-40B4-BE49-F238E27FC236}">
                <a16:creationId xmlns:a16="http://schemas.microsoft.com/office/drawing/2014/main" id="{B1A855A4-BFFC-955D-0EC1-A8F75983548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137117046"/>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2" name="Rectangle 1">
            <a:extLst>
              <a:ext uri="{FF2B5EF4-FFF2-40B4-BE49-F238E27FC236}">
                <a16:creationId xmlns:a16="http://schemas.microsoft.com/office/drawing/2014/main" id="{13782217-6487-F6BB-01E4-499FC8E30A1F}"/>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3" name="Title 1">
            <a:extLst>
              <a:ext uri="{FF2B5EF4-FFF2-40B4-BE49-F238E27FC236}">
                <a16:creationId xmlns:a16="http://schemas.microsoft.com/office/drawing/2014/main" id="{89549BBD-E8E8-2346-3D50-48B478C393EF}"/>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18774A25-19A6-95AF-8FB4-98DFE8F1382B}"/>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9027F306-9D8C-2F25-FD18-D6EB3DE8FC5D}"/>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Tree>
    <p:extLst>
      <p:ext uri="{BB962C8B-B14F-4D97-AF65-F5344CB8AC3E}">
        <p14:creationId xmlns:p14="http://schemas.microsoft.com/office/powerpoint/2010/main" val="124395967"/>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1_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7" name="Rectangle 6">
            <a:extLst>
              <a:ext uri="{FF2B5EF4-FFF2-40B4-BE49-F238E27FC236}">
                <a16:creationId xmlns:a16="http://schemas.microsoft.com/office/drawing/2014/main" id="{9DB270F1-B40D-2246-A956-F1D47E227370}"/>
              </a:ext>
            </a:extLst>
          </p:cNvPr>
          <p:cNvSpPr/>
          <p:nvPr userDrawn="1"/>
        </p:nvSpPr>
        <p:spPr>
          <a:xfrm>
            <a:off x="0" y="1458000"/>
            <a:ext cx="12193588" cy="54675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2" name="Title 1">
            <a:extLst>
              <a:ext uri="{FF2B5EF4-FFF2-40B4-BE49-F238E27FC236}">
                <a16:creationId xmlns:a16="http://schemas.microsoft.com/office/drawing/2014/main" id="{C48E50A3-CD8F-C800-8D64-A2446E516B96}"/>
              </a:ext>
            </a:extLst>
          </p:cNvPr>
          <p:cNvSpPr>
            <a:spLocks noGrp="1"/>
          </p:cNvSpPr>
          <p:nvPr>
            <p:ph type="title"/>
          </p:nvPr>
        </p:nvSpPr>
        <p:spPr>
          <a:xfrm>
            <a:off x="565459" y="552715"/>
            <a:ext cx="10017711" cy="360099"/>
          </a:xfrm>
        </p:spPr>
        <p:txBody>
          <a:bodyPr/>
          <a:lstStyle>
            <a:lvl1pPr>
              <a:defRPr sz="2600">
                <a:solidFill>
                  <a:schemeClr val="tx1"/>
                </a:solidFill>
              </a:defRPr>
            </a:lvl1pPr>
          </a:lstStyle>
          <a:p>
            <a:r>
              <a:rPr lang="en-US"/>
              <a:t>Click to edit Master title style</a:t>
            </a:r>
          </a:p>
        </p:txBody>
      </p:sp>
      <p:sp>
        <p:nvSpPr>
          <p:cNvPr id="3" name="Text Placeholder 9">
            <a:extLst>
              <a:ext uri="{FF2B5EF4-FFF2-40B4-BE49-F238E27FC236}">
                <a16:creationId xmlns:a16="http://schemas.microsoft.com/office/drawing/2014/main" id="{BEEB4D7A-3FF8-2422-96A4-39526DE5BA7E}"/>
              </a:ext>
            </a:extLst>
          </p:cNvPr>
          <p:cNvSpPr>
            <a:spLocks noGrp="1"/>
          </p:cNvSpPr>
          <p:nvPr>
            <p:ph type="body" sz="quarter" idx="11"/>
          </p:nvPr>
        </p:nvSpPr>
        <p:spPr>
          <a:xfrm>
            <a:off x="565459"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CC426A7C-39F7-A545-D883-51CB79E99304}"/>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4" name="Graphic 3">
            <a:extLst>
              <a:ext uri="{FF2B5EF4-FFF2-40B4-BE49-F238E27FC236}">
                <a16:creationId xmlns:a16="http://schemas.microsoft.com/office/drawing/2014/main" id="{78FA8CE6-EF9A-4ECF-CFE0-C4A7B0E3BC25}"/>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3083769661"/>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_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2" name="Title 1">
            <a:extLst>
              <a:ext uri="{FF2B5EF4-FFF2-40B4-BE49-F238E27FC236}">
                <a16:creationId xmlns:a16="http://schemas.microsoft.com/office/drawing/2014/main" id="{083E5FDF-E153-FB83-59F8-C3342050DE2D}"/>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9DD7CAFE-A12E-5475-CF59-1899CB4CCFB7}"/>
              </a:ext>
            </a:extLst>
          </p:cNvPr>
          <p:cNvSpPr>
            <a:spLocks noGrp="1"/>
          </p:cNvSpPr>
          <p:nvPr>
            <p:ph type="body" sz="quarter" idx="11"/>
          </p:nvPr>
        </p:nvSpPr>
        <p:spPr>
          <a:xfrm>
            <a:off x="565459"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F2A6583E-996E-9E75-7882-FF852DCA2D48}"/>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0AD12B55-5B5E-CC98-9236-6E85084425FA}"/>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Graphic 3">
            <a:extLst>
              <a:ext uri="{FF2B5EF4-FFF2-40B4-BE49-F238E27FC236}">
                <a16:creationId xmlns:a16="http://schemas.microsoft.com/office/drawing/2014/main" id="{8E0A75A7-16ED-C3A9-C349-80678AA64C1C}"/>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4038468104"/>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9_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7" name="Rectangle 6">
            <a:extLst>
              <a:ext uri="{FF2B5EF4-FFF2-40B4-BE49-F238E27FC236}">
                <a16:creationId xmlns:a16="http://schemas.microsoft.com/office/drawing/2014/main" id="{9DB270F1-B40D-2246-A956-F1D47E227370}"/>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2" name="Title 1">
            <a:extLst>
              <a:ext uri="{FF2B5EF4-FFF2-40B4-BE49-F238E27FC236}">
                <a16:creationId xmlns:a16="http://schemas.microsoft.com/office/drawing/2014/main" id="{C48E50A3-CD8F-C800-8D64-A2446E516B96}"/>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BEEB4D7A-3FF8-2422-96A4-39526DE5BA7E}"/>
              </a:ext>
            </a:extLst>
          </p:cNvPr>
          <p:cNvSpPr>
            <a:spLocks noGrp="1"/>
          </p:cNvSpPr>
          <p:nvPr>
            <p:ph type="body" sz="quarter" idx="11"/>
          </p:nvPr>
        </p:nvSpPr>
        <p:spPr>
          <a:xfrm>
            <a:off x="565459"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CC426A7C-39F7-A545-D883-51CB79E99304}"/>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4" name="Graphic 3">
            <a:extLst>
              <a:ext uri="{FF2B5EF4-FFF2-40B4-BE49-F238E27FC236}">
                <a16:creationId xmlns:a16="http://schemas.microsoft.com/office/drawing/2014/main" id="{26EBCCD6-A230-6C28-31D9-8E47F9C07D72}"/>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3439274538"/>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3 images + descri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887A79-7AC5-5C4A-503C-92DC098B758E}"/>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4" name="Content Placeholder 3"/>
          <p:cNvSpPr>
            <a:spLocks noGrp="1"/>
          </p:cNvSpPr>
          <p:nvPr>
            <p:ph sz="quarter" idx="18" hasCustomPrompt="1"/>
          </p:nvPr>
        </p:nvSpPr>
        <p:spPr>
          <a:xfrm>
            <a:off x="565460"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5" name="Text Placeholder 4"/>
          <p:cNvSpPr>
            <a:spLocks noGrp="1"/>
          </p:cNvSpPr>
          <p:nvPr>
            <p:ph type="body" sz="quarter" idx="15"/>
          </p:nvPr>
        </p:nvSpPr>
        <p:spPr>
          <a:xfrm>
            <a:off x="551937" y="5098406"/>
            <a:ext cx="3529869"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6" name="Content Placeholder 3">
            <a:extLst>
              <a:ext uri="{FF2B5EF4-FFF2-40B4-BE49-F238E27FC236}">
                <a16:creationId xmlns:a16="http://schemas.microsoft.com/office/drawing/2014/main" id="{9E472C2D-B119-1348-ABB7-4B27DBE81FC4}"/>
              </a:ext>
            </a:extLst>
          </p:cNvPr>
          <p:cNvSpPr>
            <a:spLocks noGrp="1"/>
          </p:cNvSpPr>
          <p:nvPr>
            <p:ph sz="quarter" idx="19" hasCustomPrompt="1"/>
          </p:nvPr>
        </p:nvSpPr>
        <p:spPr>
          <a:xfrm>
            <a:off x="4315588"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7" name="Text Placeholder 4">
            <a:extLst>
              <a:ext uri="{FF2B5EF4-FFF2-40B4-BE49-F238E27FC236}">
                <a16:creationId xmlns:a16="http://schemas.microsoft.com/office/drawing/2014/main" id="{6B86DBF1-6757-494E-BB09-B02F75D7942F}"/>
              </a:ext>
            </a:extLst>
          </p:cNvPr>
          <p:cNvSpPr>
            <a:spLocks noGrp="1"/>
          </p:cNvSpPr>
          <p:nvPr>
            <p:ph type="body" sz="quarter" idx="20"/>
          </p:nvPr>
        </p:nvSpPr>
        <p:spPr>
          <a:xfrm>
            <a:off x="4315588" y="5098406"/>
            <a:ext cx="3529869"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28" name="Content Placeholder 3">
            <a:extLst>
              <a:ext uri="{FF2B5EF4-FFF2-40B4-BE49-F238E27FC236}">
                <a16:creationId xmlns:a16="http://schemas.microsoft.com/office/drawing/2014/main" id="{9D47F0CA-7587-3F49-929E-E48CC948FFEF}"/>
              </a:ext>
            </a:extLst>
          </p:cNvPr>
          <p:cNvSpPr>
            <a:spLocks noGrp="1"/>
          </p:cNvSpPr>
          <p:nvPr>
            <p:ph sz="quarter" idx="21" hasCustomPrompt="1"/>
          </p:nvPr>
        </p:nvSpPr>
        <p:spPr>
          <a:xfrm>
            <a:off x="8065717"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9" name="Text Placeholder 4">
            <a:extLst>
              <a:ext uri="{FF2B5EF4-FFF2-40B4-BE49-F238E27FC236}">
                <a16:creationId xmlns:a16="http://schemas.microsoft.com/office/drawing/2014/main" id="{C231C06B-3EE2-A348-A91C-CAFBBAF74FA0}"/>
              </a:ext>
            </a:extLst>
          </p:cNvPr>
          <p:cNvSpPr>
            <a:spLocks noGrp="1"/>
          </p:cNvSpPr>
          <p:nvPr>
            <p:ph type="body" sz="quarter" idx="22"/>
          </p:nvPr>
        </p:nvSpPr>
        <p:spPr>
          <a:xfrm>
            <a:off x="8065717" y="5098406"/>
            <a:ext cx="3529869" cy="152349"/>
          </a:xfrm>
          <a:prstGeom prst="rect">
            <a:avLst/>
          </a:prstGeom>
        </p:spPr>
        <p:txBody>
          <a:bodyPr lIns="0" tIns="0" rIns="0" bIns="0"/>
          <a:lstStyle>
            <a:lvl1pPr marL="0" indent="0">
              <a:buNone/>
              <a:defRPr sz="1100">
                <a:solidFill>
                  <a:schemeClr val="tx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Click to edit Master text styles</a:t>
            </a:r>
          </a:p>
        </p:txBody>
      </p:sp>
      <p:sp>
        <p:nvSpPr>
          <p:cNvPr id="3" name="Title 1">
            <a:extLst>
              <a:ext uri="{FF2B5EF4-FFF2-40B4-BE49-F238E27FC236}">
                <a16:creationId xmlns:a16="http://schemas.microsoft.com/office/drawing/2014/main" id="{DBF411DD-945C-4A72-1FBB-BC99017FA8F9}"/>
              </a:ext>
            </a:extLst>
          </p:cNvPr>
          <p:cNvSpPr>
            <a:spLocks noGrp="1"/>
          </p:cNvSpPr>
          <p:nvPr>
            <p:ph type="title"/>
          </p:nvPr>
        </p:nvSpPr>
        <p:spPr>
          <a:xfrm>
            <a:off x="565459" y="552715"/>
            <a:ext cx="10245477" cy="430112"/>
          </a:xfrm>
        </p:spPr>
        <p:txBody>
          <a:bodyPr/>
          <a:lstStyle>
            <a:lvl1pPr>
              <a:defRPr>
                <a:solidFill>
                  <a:schemeClr val="tx2"/>
                </a:solidFill>
              </a:defRPr>
            </a:lvl1pPr>
          </a:lstStyle>
          <a:p>
            <a:r>
              <a:rPr lang="en-US"/>
              <a:t>Click to edit Master title style</a:t>
            </a:r>
          </a:p>
        </p:txBody>
      </p:sp>
      <p:sp>
        <p:nvSpPr>
          <p:cNvPr id="6" name="Text Placeholder 9">
            <a:extLst>
              <a:ext uri="{FF2B5EF4-FFF2-40B4-BE49-F238E27FC236}">
                <a16:creationId xmlns:a16="http://schemas.microsoft.com/office/drawing/2014/main" id="{7945EEC3-B051-A336-D42E-3BB3BFCED291}"/>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8" name="TextBox 7">
            <a:extLst>
              <a:ext uri="{FF2B5EF4-FFF2-40B4-BE49-F238E27FC236}">
                <a16:creationId xmlns:a16="http://schemas.microsoft.com/office/drawing/2014/main" id="{18E0ADA8-4CE7-A0B6-7DF3-AD8AA6E44AE0}"/>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9" name="TextBox 8">
            <a:extLst>
              <a:ext uri="{FF2B5EF4-FFF2-40B4-BE49-F238E27FC236}">
                <a16:creationId xmlns:a16="http://schemas.microsoft.com/office/drawing/2014/main" id="{97EFE607-1873-412D-8757-FB24DA34D8B2}"/>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7" name="Graphic 6">
            <a:extLst>
              <a:ext uri="{FF2B5EF4-FFF2-40B4-BE49-F238E27FC236}">
                <a16:creationId xmlns:a16="http://schemas.microsoft.com/office/drawing/2014/main" id="{9E91E581-1974-A144-66DD-6ACB5B37D3DC}"/>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953425813"/>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ivider slide 3">
    <p:spTree>
      <p:nvGrpSpPr>
        <p:cNvPr id="1" name=""/>
        <p:cNvGrpSpPr/>
        <p:nvPr/>
      </p:nvGrpSpPr>
      <p:grpSpPr>
        <a:xfrm>
          <a:off x="0" y="0"/>
          <a:ext cx="0" cy="0"/>
          <a:chOff x="0" y="0"/>
          <a:chExt cx="0" cy="0"/>
        </a:xfrm>
      </p:grpSpPr>
      <p:sp>
        <p:nvSpPr>
          <p:cNvPr id="6" name="Title 8"/>
          <p:cNvSpPr>
            <a:spLocks noGrp="1"/>
          </p:cNvSpPr>
          <p:nvPr>
            <p:ph type="title"/>
          </p:nvPr>
        </p:nvSpPr>
        <p:spPr>
          <a:xfrm>
            <a:off x="838309" y="2385601"/>
            <a:ext cx="10516970" cy="415498"/>
          </a:xfrm>
        </p:spPr>
        <p:txBody>
          <a:bodyPr/>
          <a:lstStyle>
            <a:lvl1pPr algn="ctr">
              <a:defRPr>
                <a:solidFill>
                  <a:schemeClr val="tx2"/>
                </a:solidFill>
              </a:defRPr>
            </a:lvl1pPr>
          </a:lstStyle>
          <a:p>
            <a:r>
              <a:rPr lang="en-US"/>
              <a:t>Click to edit Master title style</a:t>
            </a:r>
          </a:p>
        </p:txBody>
      </p:sp>
      <p:sp>
        <p:nvSpPr>
          <p:cNvPr id="9" name="Text Placeholder 3"/>
          <p:cNvSpPr>
            <a:spLocks noGrp="1"/>
          </p:cNvSpPr>
          <p:nvPr>
            <p:ph type="body" sz="quarter" idx="11"/>
          </p:nvPr>
        </p:nvSpPr>
        <p:spPr>
          <a:xfrm>
            <a:off x="838309" y="3025859"/>
            <a:ext cx="10516970" cy="249299"/>
          </a:xfrm>
          <a:prstGeom prst="rect">
            <a:avLst/>
          </a:prstGeom>
        </p:spPr>
        <p:txBody>
          <a:bodyPr/>
          <a:lstStyle>
            <a:lvl1pPr marL="0" indent="0" algn="ctr">
              <a:buNone/>
              <a:defRPr b="0" i="0">
                <a:solidFill>
                  <a:schemeClr val="tx1"/>
                </a:solidFill>
                <a:latin typeface="Avenir Next LT Pro" panose="020B0504020202020204" pitchFamily="34" charset="77"/>
              </a:defRPr>
            </a:lvl1pPr>
          </a:lstStyle>
          <a:p>
            <a:pPr lvl="0"/>
            <a:r>
              <a:rPr lang="en-US"/>
              <a:t>Click to edit Master text styles</a:t>
            </a:r>
          </a:p>
        </p:txBody>
      </p:sp>
      <p:pic>
        <p:nvPicPr>
          <p:cNvPr id="2" name="Graphic 1">
            <a:extLst>
              <a:ext uri="{FF2B5EF4-FFF2-40B4-BE49-F238E27FC236}">
                <a16:creationId xmlns:a16="http://schemas.microsoft.com/office/drawing/2014/main" id="{7A8D0C93-FAFA-FB1B-D22F-C815117CA9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3544767297"/>
      </p:ext>
    </p:extLst>
  </p:cSld>
  <p:clrMapOvr>
    <a:masterClrMapping/>
  </p:clrMapOvr>
  <p:transition spd="slow">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9_Titles only">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2" name="Rectangle 1">
            <a:extLst>
              <a:ext uri="{FF2B5EF4-FFF2-40B4-BE49-F238E27FC236}">
                <a16:creationId xmlns:a16="http://schemas.microsoft.com/office/drawing/2014/main" id="{13782217-6487-F6BB-01E4-499FC8E30A1F}"/>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3" name="Title 1">
            <a:extLst>
              <a:ext uri="{FF2B5EF4-FFF2-40B4-BE49-F238E27FC236}">
                <a16:creationId xmlns:a16="http://schemas.microsoft.com/office/drawing/2014/main" id="{89549BBD-E8E8-2346-3D50-48B478C393EF}"/>
              </a:ext>
            </a:extLst>
          </p:cNvPr>
          <p:cNvSpPr>
            <a:spLocks noGrp="1"/>
          </p:cNvSpPr>
          <p:nvPr>
            <p:ph type="title"/>
          </p:nvPr>
        </p:nvSpPr>
        <p:spPr>
          <a:xfrm>
            <a:off x="565459" y="552715"/>
            <a:ext cx="10245477" cy="360099"/>
          </a:xfrm>
        </p:spPr>
        <p:txBody>
          <a:bodyPr/>
          <a:lstStyle>
            <a:lvl1pPr>
              <a:defRPr sz="2600">
                <a:solidFill>
                  <a:schemeClr val="tx1"/>
                </a:solidFill>
              </a:defRPr>
            </a:lvl1pPr>
          </a:lstStyle>
          <a:p>
            <a:r>
              <a:rPr lang="en-US"/>
              <a:t>Click to edit Master title style</a:t>
            </a:r>
          </a:p>
        </p:txBody>
      </p:sp>
      <p:sp>
        <p:nvSpPr>
          <p:cNvPr id="4" name="Text Placeholder 9">
            <a:extLst>
              <a:ext uri="{FF2B5EF4-FFF2-40B4-BE49-F238E27FC236}">
                <a16:creationId xmlns:a16="http://schemas.microsoft.com/office/drawing/2014/main" id="{18774A25-19A6-95AF-8FB4-98DFE8F1382B}"/>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9027F306-9D8C-2F25-FD18-D6EB3DE8FC5D}"/>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Tree>
    <p:extLst>
      <p:ext uri="{BB962C8B-B14F-4D97-AF65-F5344CB8AC3E}">
        <p14:creationId xmlns:p14="http://schemas.microsoft.com/office/powerpoint/2010/main" val="579822578"/>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1_Titles +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5DCBE4-2474-E18F-D85B-AD8A02BDAB2C}"/>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3" name="Title 1">
            <a:extLst>
              <a:ext uri="{FF2B5EF4-FFF2-40B4-BE49-F238E27FC236}">
                <a16:creationId xmlns:a16="http://schemas.microsoft.com/office/drawing/2014/main" id="{E0A6DB9D-E6AB-6967-43E9-EE1FC0BE859A}"/>
              </a:ext>
            </a:extLst>
          </p:cNvPr>
          <p:cNvSpPr>
            <a:spLocks noGrp="1"/>
          </p:cNvSpPr>
          <p:nvPr>
            <p:ph type="title"/>
          </p:nvPr>
        </p:nvSpPr>
        <p:spPr>
          <a:xfrm>
            <a:off x="565459" y="552715"/>
            <a:ext cx="10098869" cy="360099"/>
          </a:xfrm>
        </p:spPr>
        <p:txBody>
          <a:bodyPr/>
          <a:lstStyle>
            <a:lvl1pPr>
              <a:defRPr sz="2600">
                <a:solidFill>
                  <a:schemeClr val="tx1"/>
                </a:solidFill>
              </a:defRPr>
            </a:lvl1pPr>
          </a:lstStyle>
          <a:p>
            <a:r>
              <a:rPr lang="en-US"/>
              <a:t>Click to edit Master title style</a:t>
            </a:r>
          </a:p>
        </p:txBody>
      </p:sp>
      <p:sp>
        <p:nvSpPr>
          <p:cNvPr id="4" name="Text Placeholder 9">
            <a:extLst>
              <a:ext uri="{FF2B5EF4-FFF2-40B4-BE49-F238E27FC236}">
                <a16:creationId xmlns:a16="http://schemas.microsoft.com/office/drawing/2014/main" id="{286C8244-E396-CD67-B252-189D777C81BE}"/>
              </a:ext>
            </a:extLst>
          </p:cNvPr>
          <p:cNvSpPr>
            <a:spLocks noGrp="1"/>
          </p:cNvSpPr>
          <p:nvPr>
            <p:ph type="body" sz="quarter" idx="11"/>
          </p:nvPr>
        </p:nvSpPr>
        <p:spPr>
          <a:xfrm>
            <a:off x="565459"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12" name="Text Placeholder 5"/>
          <p:cNvSpPr>
            <a:spLocks noGrp="1"/>
          </p:cNvSpPr>
          <p:nvPr>
            <p:ph type="body" sz="quarter" idx="12"/>
          </p:nvPr>
        </p:nvSpPr>
        <p:spPr>
          <a:xfrm>
            <a:off x="565458" y="1634067"/>
            <a:ext cx="11029035" cy="457411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5" name="TextBox 4">
            <a:extLst>
              <a:ext uri="{FF2B5EF4-FFF2-40B4-BE49-F238E27FC236}">
                <a16:creationId xmlns:a16="http://schemas.microsoft.com/office/drawing/2014/main" id="{9AE4B553-B7AB-8210-F80F-5BEF4CCCCF0C}"/>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Graphic 5">
            <a:extLst>
              <a:ext uri="{FF2B5EF4-FFF2-40B4-BE49-F238E27FC236}">
                <a16:creationId xmlns:a16="http://schemas.microsoft.com/office/drawing/2014/main" id="{7DC6665A-5EBA-E817-19D8-F9BD7506449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2594380337"/>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0_Titles +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5DCBE4-2474-E18F-D85B-AD8A02BDAB2C}"/>
              </a:ext>
            </a:extLst>
          </p:cNvPr>
          <p:cNvSpPr/>
          <p:nvPr userDrawn="1"/>
        </p:nvSpPr>
        <p:spPr>
          <a:xfrm>
            <a:off x="0" y="1458000"/>
            <a:ext cx="12193588" cy="540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3" name="Title 1">
            <a:extLst>
              <a:ext uri="{FF2B5EF4-FFF2-40B4-BE49-F238E27FC236}">
                <a16:creationId xmlns:a16="http://schemas.microsoft.com/office/drawing/2014/main" id="{E0A6DB9D-E6AB-6967-43E9-EE1FC0BE859A}"/>
              </a:ext>
            </a:extLst>
          </p:cNvPr>
          <p:cNvSpPr>
            <a:spLocks noGrp="1"/>
          </p:cNvSpPr>
          <p:nvPr>
            <p:ph type="title"/>
          </p:nvPr>
        </p:nvSpPr>
        <p:spPr>
          <a:xfrm>
            <a:off x="565459" y="552715"/>
            <a:ext cx="10098869" cy="360099"/>
          </a:xfrm>
        </p:spPr>
        <p:txBody>
          <a:bodyPr/>
          <a:lstStyle>
            <a:lvl1pPr>
              <a:defRPr sz="2600">
                <a:solidFill>
                  <a:schemeClr val="tx1"/>
                </a:solidFill>
              </a:defRPr>
            </a:lvl1pPr>
          </a:lstStyle>
          <a:p>
            <a:r>
              <a:rPr lang="en-US"/>
              <a:t>Click to edit Master title style</a:t>
            </a:r>
          </a:p>
        </p:txBody>
      </p:sp>
      <p:sp>
        <p:nvSpPr>
          <p:cNvPr id="4" name="Text Placeholder 9">
            <a:extLst>
              <a:ext uri="{FF2B5EF4-FFF2-40B4-BE49-F238E27FC236}">
                <a16:creationId xmlns:a16="http://schemas.microsoft.com/office/drawing/2014/main" id="{286C8244-E396-CD67-B252-189D777C81BE}"/>
              </a:ext>
            </a:extLst>
          </p:cNvPr>
          <p:cNvSpPr>
            <a:spLocks noGrp="1"/>
          </p:cNvSpPr>
          <p:nvPr>
            <p:ph type="body" sz="quarter" idx="11"/>
          </p:nvPr>
        </p:nvSpPr>
        <p:spPr>
          <a:xfrm>
            <a:off x="565459"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9AE4B553-B7AB-8210-F80F-5BEF4CCCCF0C}"/>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Graphic 5">
            <a:extLst>
              <a:ext uri="{FF2B5EF4-FFF2-40B4-BE49-F238E27FC236}">
                <a16:creationId xmlns:a16="http://schemas.microsoft.com/office/drawing/2014/main" id="{3D3EB19C-D949-F29B-0265-D8EE8DCD827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2901634385"/>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8_Page break V1">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AD348AC-6CB6-9787-9690-FCC0ED20C326}"/>
              </a:ext>
            </a:extLst>
          </p:cNvPr>
          <p:cNvSpPr/>
          <p:nvPr userDrawn="1"/>
        </p:nvSpPr>
        <p:spPr>
          <a:xfrm>
            <a:off x="-10241" y="0"/>
            <a:ext cx="12203829" cy="6889150"/>
          </a:xfrm>
          <a:prstGeom prst="rect">
            <a:avLst/>
          </a:prstGeom>
          <a:solidFill>
            <a:srgbClr val="0019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5" name="Title 1">
            <a:extLst>
              <a:ext uri="{FF2B5EF4-FFF2-40B4-BE49-F238E27FC236}">
                <a16:creationId xmlns:a16="http://schemas.microsoft.com/office/drawing/2014/main" id="{32815878-B5E4-F12D-4AED-850BCEA8F7CB}"/>
              </a:ext>
            </a:extLst>
          </p:cNvPr>
          <p:cNvSpPr>
            <a:spLocks noGrp="1"/>
          </p:cNvSpPr>
          <p:nvPr>
            <p:ph type="title"/>
          </p:nvPr>
        </p:nvSpPr>
        <p:spPr>
          <a:xfrm>
            <a:off x="565459" y="552715"/>
            <a:ext cx="10017711" cy="387798"/>
          </a:xfrm>
        </p:spPr>
        <p:txBody>
          <a:bodyPr/>
          <a:lstStyle>
            <a:lvl1pPr>
              <a:defRPr>
                <a:solidFill>
                  <a:schemeClr val="bg1"/>
                </a:solidFill>
              </a:defRPr>
            </a:lvl1pPr>
          </a:lstStyle>
          <a:p>
            <a:r>
              <a:rPr lang="en-US"/>
              <a:t>Click to edit Master title style</a:t>
            </a:r>
          </a:p>
        </p:txBody>
      </p:sp>
      <p:sp>
        <p:nvSpPr>
          <p:cNvPr id="6" name="Text Placeholder 9">
            <a:extLst>
              <a:ext uri="{FF2B5EF4-FFF2-40B4-BE49-F238E27FC236}">
                <a16:creationId xmlns:a16="http://schemas.microsoft.com/office/drawing/2014/main" id="{2DCEFB29-3102-A477-5698-738DA1D8AC21}"/>
              </a:ext>
            </a:extLst>
          </p:cNvPr>
          <p:cNvSpPr>
            <a:spLocks noGrp="1"/>
          </p:cNvSpPr>
          <p:nvPr>
            <p:ph type="body" sz="quarter" idx="11"/>
          </p:nvPr>
        </p:nvSpPr>
        <p:spPr>
          <a:xfrm>
            <a:off x="565459"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7" name="Picture 6">
            <a:extLst>
              <a:ext uri="{FF2B5EF4-FFF2-40B4-BE49-F238E27FC236}">
                <a16:creationId xmlns:a16="http://schemas.microsoft.com/office/drawing/2014/main" id="{1A78ECC8-C96A-E75F-2FEC-CC0D28202CC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
        <p:nvSpPr>
          <p:cNvPr id="2" name="TextBox 1">
            <a:extLst>
              <a:ext uri="{FF2B5EF4-FFF2-40B4-BE49-F238E27FC236}">
                <a16:creationId xmlns:a16="http://schemas.microsoft.com/office/drawing/2014/main" id="{4B5C19FD-4528-B8DD-E922-26A9001C33BD}"/>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Tree>
    <p:extLst>
      <p:ext uri="{BB962C8B-B14F-4D97-AF65-F5344CB8AC3E}">
        <p14:creationId xmlns:p14="http://schemas.microsoft.com/office/powerpoint/2010/main" val="4138603626"/>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9_Page break V1">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AD348AC-6CB6-9787-9690-FCC0ED20C326}"/>
              </a:ext>
            </a:extLst>
          </p:cNvPr>
          <p:cNvSpPr/>
          <p:nvPr userDrawn="1"/>
        </p:nvSpPr>
        <p:spPr>
          <a:xfrm>
            <a:off x="-10241" y="0"/>
            <a:ext cx="12203829" cy="6889150"/>
          </a:xfrm>
          <a:prstGeom prst="rect">
            <a:avLst/>
          </a:prstGeom>
          <a:solidFill>
            <a:srgbClr val="0019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5" name="Title 1">
            <a:extLst>
              <a:ext uri="{FF2B5EF4-FFF2-40B4-BE49-F238E27FC236}">
                <a16:creationId xmlns:a16="http://schemas.microsoft.com/office/drawing/2014/main" id="{32815878-B5E4-F12D-4AED-850BCEA8F7CB}"/>
              </a:ext>
            </a:extLst>
          </p:cNvPr>
          <p:cNvSpPr>
            <a:spLocks noGrp="1"/>
          </p:cNvSpPr>
          <p:nvPr>
            <p:ph type="title"/>
          </p:nvPr>
        </p:nvSpPr>
        <p:spPr>
          <a:xfrm>
            <a:off x="565459" y="552715"/>
            <a:ext cx="10017711" cy="387798"/>
          </a:xfrm>
        </p:spPr>
        <p:txBody>
          <a:bodyPr/>
          <a:lstStyle>
            <a:lvl1pPr>
              <a:defRPr>
                <a:solidFill>
                  <a:schemeClr val="bg1"/>
                </a:solidFill>
              </a:defRPr>
            </a:lvl1pPr>
          </a:lstStyle>
          <a:p>
            <a:r>
              <a:rPr lang="en-US"/>
              <a:t>Click to edit Master title style</a:t>
            </a:r>
          </a:p>
        </p:txBody>
      </p:sp>
      <p:sp>
        <p:nvSpPr>
          <p:cNvPr id="6" name="Text Placeholder 9">
            <a:extLst>
              <a:ext uri="{FF2B5EF4-FFF2-40B4-BE49-F238E27FC236}">
                <a16:creationId xmlns:a16="http://schemas.microsoft.com/office/drawing/2014/main" id="{2DCEFB29-3102-A477-5698-738DA1D8AC21}"/>
              </a:ext>
            </a:extLst>
          </p:cNvPr>
          <p:cNvSpPr>
            <a:spLocks noGrp="1"/>
          </p:cNvSpPr>
          <p:nvPr>
            <p:ph type="body" sz="quarter" idx="11"/>
          </p:nvPr>
        </p:nvSpPr>
        <p:spPr>
          <a:xfrm>
            <a:off x="565459"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3" name="TextBox 2">
            <a:extLst>
              <a:ext uri="{FF2B5EF4-FFF2-40B4-BE49-F238E27FC236}">
                <a16:creationId xmlns:a16="http://schemas.microsoft.com/office/drawing/2014/main" id="{784D6875-EC0A-AA0E-48FF-39AF8972079A}"/>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bg1"/>
                </a:solidFill>
                <a:latin typeface="Avenir Next LT Pro" panose="020B0504020202020204" pitchFamily="34" charset="77"/>
              </a:rPr>
              <a:pPr algn="r"/>
              <a:t>‹#›</a:t>
            </a:fld>
            <a:endParaRPr lang="en-US" sz="1000" b="0" i="0" spc="40" baseline="0">
              <a:solidFill>
                <a:schemeClr val="bg1"/>
              </a:solidFill>
              <a:latin typeface="Avenir Next LT Pro" panose="020B0504020202020204" pitchFamily="34" charset="77"/>
            </a:endParaRPr>
          </a:p>
        </p:txBody>
      </p:sp>
      <p:pic>
        <p:nvPicPr>
          <p:cNvPr id="7" name="Picture 6">
            <a:extLst>
              <a:ext uri="{FF2B5EF4-FFF2-40B4-BE49-F238E27FC236}">
                <a16:creationId xmlns:a16="http://schemas.microsoft.com/office/drawing/2014/main" id="{D2AE3FC5-EDB1-99C3-A40A-D14DD45B017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583170" y="204718"/>
            <a:ext cx="1358721" cy="826913"/>
          </a:xfrm>
          <a:prstGeom prst="rect">
            <a:avLst/>
          </a:prstGeom>
        </p:spPr>
      </p:pic>
    </p:spTree>
    <p:extLst>
      <p:ext uri="{BB962C8B-B14F-4D97-AF65-F5344CB8AC3E}">
        <p14:creationId xmlns:p14="http://schemas.microsoft.com/office/powerpoint/2010/main" val="3099895196"/>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s + text">
    <p:spTree>
      <p:nvGrpSpPr>
        <p:cNvPr id="1" name=""/>
        <p:cNvGrpSpPr/>
        <p:nvPr/>
      </p:nvGrpSpPr>
      <p:grpSpPr>
        <a:xfrm>
          <a:off x="0" y="0"/>
          <a:ext cx="0" cy="0"/>
          <a:chOff x="0" y="0"/>
          <a:chExt cx="0" cy="0"/>
        </a:xfrm>
      </p:grpSpPr>
      <p:sp>
        <p:nvSpPr>
          <p:cNvPr id="15" name="TextBox 14"/>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2" name="Text Placeholder 5"/>
          <p:cNvSpPr>
            <a:spLocks noGrp="1"/>
          </p:cNvSpPr>
          <p:nvPr>
            <p:ph type="body" sz="quarter" idx="12"/>
          </p:nvPr>
        </p:nvSpPr>
        <p:spPr>
          <a:xfrm>
            <a:off x="565458" y="1634067"/>
            <a:ext cx="11029035" cy="457411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3" name="Title 1">
            <a:extLst>
              <a:ext uri="{FF2B5EF4-FFF2-40B4-BE49-F238E27FC236}">
                <a16:creationId xmlns:a16="http://schemas.microsoft.com/office/drawing/2014/main" id="{4320D004-6754-4910-E736-BD1ADFAF98CC}"/>
              </a:ext>
            </a:extLst>
          </p:cNvPr>
          <p:cNvSpPr>
            <a:spLocks noGrp="1"/>
          </p:cNvSpPr>
          <p:nvPr>
            <p:ph type="title"/>
          </p:nvPr>
        </p:nvSpPr>
        <p:spPr>
          <a:xfrm>
            <a:off x="565459" y="552715"/>
            <a:ext cx="10098869"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39C08247-062F-0676-8498-BA3B732A36AC}"/>
              </a:ext>
            </a:extLst>
          </p:cNvPr>
          <p:cNvSpPr>
            <a:spLocks noGrp="1"/>
          </p:cNvSpPr>
          <p:nvPr>
            <p:ph type="body" sz="quarter" idx="11"/>
          </p:nvPr>
        </p:nvSpPr>
        <p:spPr>
          <a:xfrm>
            <a:off x="565459"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151A6EC8-761A-C152-2663-47D998769EFC}"/>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Graphic 5">
            <a:extLst>
              <a:ext uri="{FF2B5EF4-FFF2-40B4-BE49-F238E27FC236}">
                <a16:creationId xmlns:a16="http://schemas.microsoft.com/office/drawing/2014/main" id="{8D3A7074-C221-F67F-C54A-A6DCEE33586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5_Page break V1">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BEBDAF5-8848-D89E-558B-E4CA4D265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 t="1730" r="1736"/>
          <a:stretch/>
        </p:blipFill>
        <p:spPr>
          <a:xfrm>
            <a:off x="6085761" y="0"/>
            <a:ext cx="6107826" cy="6858000"/>
          </a:xfrm>
          <a:prstGeom prst="rect">
            <a:avLst/>
          </a:prstGeom>
        </p:spPr>
      </p:pic>
      <p:sp>
        <p:nvSpPr>
          <p:cNvPr id="3" name="Rectangle 2">
            <a:extLst>
              <a:ext uri="{FF2B5EF4-FFF2-40B4-BE49-F238E27FC236}">
                <a16:creationId xmlns:a16="http://schemas.microsoft.com/office/drawing/2014/main" id="{94620260-3DA9-5AE3-1C8A-4CDFA2FD8360}"/>
              </a:ext>
            </a:extLst>
          </p:cNvPr>
          <p:cNvSpPr/>
          <p:nvPr userDrawn="1"/>
        </p:nvSpPr>
        <p:spPr>
          <a:xfrm>
            <a:off x="-10241" y="0"/>
            <a:ext cx="6096003" cy="6889150"/>
          </a:xfrm>
          <a:prstGeom prst="rect">
            <a:avLst/>
          </a:prstGeom>
          <a:solidFill>
            <a:srgbClr val="0019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b="0" i="0">
              <a:latin typeface="Avenir Next LT Pro" panose="020B0504020202020204" pitchFamily="34" charset="77"/>
            </a:endParaRPr>
          </a:p>
        </p:txBody>
      </p:sp>
      <p:sp>
        <p:nvSpPr>
          <p:cNvPr id="11" name="Title 1">
            <a:extLst>
              <a:ext uri="{FF2B5EF4-FFF2-40B4-BE49-F238E27FC236}">
                <a16:creationId xmlns:a16="http://schemas.microsoft.com/office/drawing/2014/main" id="{217B33A1-77D1-BA89-A17B-305986D5621F}"/>
              </a:ext>
            </a:extLst>
          </p:cNvPr>
          <p:cNvSpPr>
            <a:spLocks noGrp="1"/>
          </p:cNvSpPr>
          <p:nvPr>
            <p:ph type="title"/>
          </p:nvPr>
        </p:nvSpPr>
        <p:spPr>
          <a:xfrm>
            <a:off x="565459" y="2260113"/>
            <a:ext cx="5046447" cy="1155783"/>
          </a:xfrm>
          <a:prstGeom prst="rect">
            <a:avLst/>
          </a:prstGeom>
        </p:spPr>
        <p:txBody>
          <a:bodyPr lIns="0" tIns="0" rIns="0" bIns="0"/>
          <a:lstStyle>
            <a:lvl1pPr>
              <a:defRPr sz="3400" b="1" i="0">
                <a:solidFill>
                  <a:schemeClr val="accent2"/>
                </a:solidFill>
                <a:latin typeface="Avenir Next LT Pro" panose="020B0504020202020204" pitchFamily="34" charset="77"/>
              </a:defRPr>
            </a:lvl1pPr>
          </a:lstStyle>
          <a:p>
            <a:r>
              <a:rPr lang="en-US"/>
              <a:t>Click to edit Master title style</a:t>
            </a:r>
          </a:p>
        </p:txBody>
      </p:sp>
      <p:sp>
        <p:nvSpPr>
          <p:cNvPr id="13" name="Text Placeholder 9">
            <a:extLst>
              <a:ext uri="{FF2B5EF4-FFF2-40B4-BE49-F238E27FC236}">
                <a16:creationId xmlns:a16="http://schemas.microsoft.com/office/drawing/2014/main" id="{9BF14781-F7C5-28CD-EA36-2EA983C7DA17}"/>
              </a:ext>
            </a:extLst>
          </p:cNvPr>
          <p:cNvSpPr>
            <a:spLocks noGrp="1"/>
          </p:cNvSpPr>
          <p:nvPr>
            <p:ph type="body" sz="quarter" idx="12" hasCustomPrompt="1"/>
          </p:nvPr>
        </p:nvSpPr>
        <p:spPr>
          <a:xfrm>
            <a:off x="549242" y="4040923"/>
            <a:ext cx="4897401"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Insert location, place, date, time etc.)</a:t>
            </a:r>
          </a:p>
        </p:txBody>
      </p:sp>
    </p:spTree>
    <p:extLst>
      <p:ext uri="{BB962C8B-B14F-4D97-AF65-F5344CB8AC3E}">
        <p14:creationId xmlns:p14="http://schemas.microsoft.com/office/powerpoint/2010/main" val="905724793"/>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Frontpage V1">
    <p:bg>
      <p:bgPr>
        <a:solidFill>
          <a:schemeClr val="bg1"/>
        </a:solidFill>
        <a:effectLst/>
      </p:bgPr>
    </p:bg>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F743A93A-5C12-3CB4-C00E-E7C2F7B03A02}"/>
              </a:ext>
            </a:extLst>
          </p:cNvPr>
          <p:cNvSpPr>
            <a:spLocks noGrp="1"/>
          </p:cNvSpPr>
          <p:nvPr>
            <p:ph sz="half" idx="1" hasCustomPrompt="1"/>
          </p:nvPr>
        </p:nvSpPr>
        <p:spPr>
          <a:xfrm>
            <a:off x="565459" y="1520709"/>
            <a:ext cx="4084600" cy="3816585"/>
          </a:xfrm>
        </p:spPr>
        <p:txBody>
          <a:bodyPr>
            <a:normAutofit fontScale="92500" lnSpcReduction="20000"/>
          </a:bodyPr>
          <a:lstStyle>
            <a:lvl1pPr marL="0" indent="0" defTabSz="898525">
              <a:buNone/>
              <a:defRPr>
                <a:solidFill>
                  <a:schemeClr val="tx1"/>
                </a:solidFill>
              </a:defRPr>
            </a:lvl1pPr>
            <a:lvl2pPr>
              <a:defRPr>
                <a:solidFill>
                  <a:schemeClr val="tx1"/>
                </a:solidFill>
              </a:defRPr>
            </a:lvl2pPr>
          </a:lstStyle>
          <a:p>
            <a:pPr marL="0" indent="0" defTabSz="889000">
              <a:buNone/>
            </a:pPr>
            <a:r>
              <a:rPr lang="en-GB" b="1"/>
              <a:t>01  </a:t>
            </a:r>
            <a:r>
              <a:rPr lang="en-GB"/>
              <a:t>xxx</a:t>
            </a:r>
          </a:p>
          <a:p>
            <a:pPr marL="0" indent="0" defTabSz="889000">
              <a:buNone/>
            </a:pPr>
            <a:r>
              <a:rPr lang="en-GB" b="1"/>
              <a:t>02</a:t>
            </a:r>
            <a:r>
              <a:rPr lang="en-GB"/>
              <a:t>  xxx</a:t>
            </a:r>
          </a:p>
          <a:p>
            <a:pPr lvl="1" defTabSz="888911"/>
            <a:r>
              <a:rPr lang="en-GB" err="1"/>
              <a:t>xxxx</a:t>
            </a:r>
            <a:endParaRPr lang="en-GB"/>
          </a:p>
          <a:p>
            <a:pPr lvl="1" defTabSz="888911"/>
            <a:r>
              <a:rPr lang="en-GB"/>
              <a:t>xxx</a:t>
            </a:r>
          </a:p>
          <a:p>
            <a:pPr lvl="1" defTabSz="888911"/>
            <a:r>
              <a:rPr lang="en-GB"/>
              <a:t>xxx</a:t>
            </a:r>
          </a:p>
          <a:p>
            <a:pPr marL="0" indent="0" defTabSz="898525">
              <a:buNone/>
            </a:pPr>
            <a:r>
              <a:rPr lang="en-GB" b="1"/>
              <a:t>03</a:t>
            </a:r>
            <a:r>
              <a:rPr lang="en-GB"/>
              <a:t>  xxx</a:t>
            </a:r>
          </a:p>
          <a:p>
            <a:pPr marL="0" indent="0" defTabSz="898525">
              <a:buNone/>
            </a:pPr>
            <a:r>
              <a:rPr lang="en-GB" b="1"/>
              <a:t>04</a:t>
            </a:r>
            <a:r>
              <a:rPr lang="en-GB"/>
              <a:t>  xxx</a:t>
            </a:r>
          </a:p>
        </p:txBody>
      </p:sp>
      <p:sp>
        <p:nvSpPr>
          <p:cNvPr id="6" name="Title 1">
            <a:extLst>
              <a:ext uri="{FF2B5EF4-FFF2-40B4-BE49-F238E27FC236}">
                <a16:creationId xmlns:a16="http://schemas.microsoft.com/office/drawing/2014/main" id="{49FB2BD3-6474-3179-E074-EAF6DC6C38EE}"/>
              </a:ext>
            </a:extLst>
          </p:cNvPr>
          <p:cNvSpPr>
            <a:spLocks noGrp="1"/>
          </p:cNvSpPr>
          <p:nvPr>
            <p:ph type="title" hasCustomPrompt="1"/>
          </p:nvPr>
        </p:nvSpPr>
        <p:spPr>
          <a:xfrm>
            <a:off x="565460" y="552715"/>
            <a:ext cx="4084600" cy="430112"/>
          </a:xfrm>
        </p:spPr>
        <p:txBody>
          <a:bodyPr/>
          <a:lstStyle>
            <a:lvl1pPr>
              <a:defRPr>
                <a:solidFill>
                  <a:schemeClr val="tx1"/>
                </a:solidFill>
              </a:defRPr>
            </a:lvl1pPr>
          </a:lstStyle>
          <a:p>
            <a:r>
              <a:rPr lang="en-US"/>
              <a:t>Agenda for today</a:t>
            </a:r>
          </a:p>
        </p:txBody>
      </p:sp>
      <p:sp>
        <p:nvSpPr>
          <p:cNvPr id="2" name="TextBox 1">
            <a:extLst>
              <a:ext uri="{FF2B5EF4-FFF2-40B4-BE49-F238E27FC236}">
                <a16:creationId xmlns:a16="http://schemas.microsoft.com/office/drawing/2014/main" id="{D7B4C8E3-589E-BAF7-1374-B6C0353999D7}"/>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4" name="TextBox 3">
            <a:extLst>
              <a:ext uri="{FF2B5EF4-FFF2-40B4-BE49-F238E27FC236}">
                <a16:creationId xmlns:a16="http://schemas.microsoft.com/office/drawing/2014/main" id="{1FFBDFB2-7277-B7A3-4EB9-52A2334C44FC}"/>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extLst>
      <p:ext uri="{BB962C8B-B14F-4D97-AF65-F5344CB8AC3E}">
        <p14:creationId xmlns:p14="http://schemas.microsoft.com/office/powerpoint/2010/main" val="2646910355"/>
      </p:ext>
    </p:extLst>
  </p:cSld>
  <p:clrMapOvr>
    <a:masterClrMapping/>
  </p:clrMapOvr>
  <p:transition spd="slow">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9_Titles only">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7" name="Rectangle 6">
            <a:extLst>
              <a:ext uri="{FF2B5EF4-FFF2-40B4-BE49-F238E27FC236}">
                <a16:creationId xmlns:a16="http://schemas.microsoft.com/office/drawing/2014/main" id="{9DB270F1-B40D-2246-A956-F1D47E227370}"/>
              </a:ext>
            </a:extLst>
          </p:cNvPr>
          <p:cNvSpPr/>
          <p:nvPr userDrawn="1"/>
        </p:nvSpPr>
        <p:spPr>
          <a:xfrm>
            <a:off x="0" y="1458000"/>
            <a:ext cx="12193588" cy="540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2" name="Title 1">
            <a:extLst>
              <a:ext uri="{FF2B5EF4-FFF2-40B4-BE49-F238E27FC236}">
                <a16:creationId xmlns:a16="http://schemas.microsoft.com/office/drawing/2014/main" id="{C48E50A3-CD8F-C800-8D64-A2446E516B96}"/>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BEEB4D7A-3FF8-2422-96A4-39526DE5BA7E}"/>
              </a:ext>
            </a:extLst>
          </p:cNvPr>
          <p:cNvSpPr>
            <a:spLocks noGrp="1"/>
          </p:cNvSpPr>
          <p:nvPr>
            <p:ph type="body" sz="quarter" idx="11"/>
          </p:nvPr>
        </p:nvSpPr>
        <p:spPr>
          <a:xfrm>
            <a:off x="565460"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CC426A7C-39F7-A545-D883-51CB79E99304}"/>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4" name="Graphic 3">
            <a:extLst>
              <a:ext uri="{FF2B5EF4-FFF2-40B4-BE49-F238E27FC236}">
                <a16:creationId xmlns:a16="http://schemas.microsoft.com/office/drawing/2014/main" id="{171022DA-B5BA-E9E5-2B0B-467FAD37B57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1581830479"/>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7_Titles only">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2" name="Rectangle 1">
            <a:extLst>
              <a:ext uri="{FF2B5EF4-FFF2-40B4-BE49-F238E27FC236}">
                <a16:creationId xmlns:a16="http://schemas.microsoft.com/office/drawing/2014/main" id="{13782217-6487-F6BB-01E4-499FC8E30A1F}"/>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3" name="Title 1">
            <a:extLst>
              <a:ext uri="{FF2B5EF4-FFF2-40B4-BE49-F238E27FC236}">
                <a16:creationId xmlns:a16="http://schemas.microsoft.com/office/drawing/2014/main" id="{89549BBD-E8E8-2346-3D50-48B478C393EF}"/>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18774A25-19A6-95AF-8FB4-98DFE8F1382B}"/>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9027F306-9D8C-2F25-FD18-D6EB3DE8FC5D}"/>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Tree>
    <p:extLst>
      <p:ext uri="{BB962C8B-B14F-4D97-AF65-F5344CB8AC3E}">
        <p14:creationId xmlns:p14="http://schemas.microsoft.com/office/powerpoint/2010/main" val="1380283051"/>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6_Titles + text">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2" name="Text Placeholder 5"/>
          <p:cNvSpPr>
            <a:spLocks noGrp="1"/>
          </p:cNvSpPr>
          <p:nvPr>
            <p:ph type="body" sz="quarter" idx="12"/>
          </p:nvPr>
        </p:nvSpPr>
        <p:spPr>
          <a:xfrm>
            <a:off x="565459" y="1634068"/>
            <a:ext cx="11029035" cy="84843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3" name="Title 1">
            <a:extLst>
              <a:ext uri="{FF2B5EF4-FFF2-40B4-BE49-F238E27FC236}">
                <a16:creationId xmlns:a16="http://schemas.microsoft.com/office/drawing/2014/main" id="{4320D004-6754-4910-E736-BD1ADFAF98CC}"/>
              </a:ext>
            </a:extLst>
          </p:cNvPr>
          <p:cNvSpPr>
            <a:spLocks noGrp="1"/>
          </p:cNvSpPr>
          <p:nvPr>
            <p:ph type="title"/>
          </p:nvPr>
        </p:nvSpPr>
        <p:spPr>
          <a:xfrm>
            <a:off x="565460" y="552715"/>
            <a:ext cx="10098869"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39C08247-062F-0676-8498-BA3B732A36AC}"/>
              </a:ext>
            </a:extLst>
          </p:cNvPr>
          <p:cNvSpPr>
            <a:spLocks noGrp="1"/>
          </p:cNvSpPr>
          <p:nvPr>
            <p:ph type="body" sz="quarter" idx="11"/>
          </p:nvPr>
        </p:nvSpPr>
        <p:spPr>
          <a:xfrm>
            <a:off x="565460"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151A6EC8-761A-C152-2663-47D998769EFC}"/>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Graphic 5">
            <a:extLst>
              <a:ext uri="{FF2B5EF4-FFF2-40B4-BE49-F238E27FC236}">
                <a16:creationId xmlns:a16="http://schemas.microsoft.com/office/drawing/2014/main" id="{8D27DE7E-95FA-7E17-23F9-A9E068A4E78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1539611383"/>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5_Titles +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5DCBE4-2474-E18F-D85B-AD8A02BDAB2C}"/>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3" name="Title 1">
            <a:extLst>
              <a:ext uri="{FF2B5EF4-FFF2-40B4-BE49-F238E27FC236}">
                <a16:creationId xmlns:a16="http://schemas.microsoft.com/office/drawing/2014/main" id="{E0A6DB9D-E6AB-6967-43E9-EE1FC0BE859A}"/>
              </a:ext>
            </a:extLst>
          </p:cNvPr>
          <p:cNvSpPr>
            <a:spLocks noGrp="1"/>
          </p:cNvSpPr>
          <p:nvPr>
            <p:ph type="title"/>
          </p:nvPr>
        </p:nvSpPr>
        <p:spPr>
          <a:xfrm>
            <a:off x="565460" y="552715"/>
            <a:ext cx="10098869"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286C8244-E396-CD67-B252-189D777C81BE}"/>
              </a:ext>
            </a:extLst>
          </p:cNvPr>
          <p:cNvSpPr>
            <a:spLocks noGrp="1"/>
          </p:cNvSpPr>
          <p:nvPr>
            <p:ph type="body" sz="quarter" idx="11"/>
          </p:nvPr>
        </p:nvSpPr>
        <p:spPr>
          <a:xfrm>
            <a:off x="565460"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12" name="Text Placeholder 5"/>
          <p:cNvSpPr>
            <a:spLocks noGrp="1"/>
          </p:cNvSpPr>
          <p:nvPr>
            <p:ph type="body" sz="quarter" idx="12"/>
          </p:nvPr>
        </p:nvSpPr>
        <p:spPr>
          <a:xfrm>
            <a:off x="565459" y="1634068"/>
            <a:ext cx="11029035" cy="84843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5" name="TextBox 4">
            <a:extLst>
              <a:ext uri="{FF2B5EF4-FFF2-40B4-BE49-F238E27FC236}">
                <a16:creationId xmlns:a16="http://schemas.microsoft.com/office/drawing/2014/main" id="{9AE4B553-B7AB-8210-F80F-5BEF4CCCCF0C}"/>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Graphic 5">
            <a:extLst>
              <a:ext uri="{FF2B5EF4-FFF2-40B4-BE49-F238E27FC236}">
                <a16:creationId xmlns:a16="http://schemas.microsoft.com/office/drawing/2014/main" id="{DB0FDD32-3D91-00B8-516B-D7972FEC587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4178905528"/>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2 images + description">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5" name="Text Placeholder 4"/>
          <p:cNvSpPr>
            <a:spLocks noGrp="1"/>
          </p:cNvSpPr>
          <p:nvPr>
            <p:ph type="body" sz="quarter" idx="15"/>
          </p:nvPr>
        </p:nvSpPr>
        <p:spPr>
          <a:xfrm>
            <a:off x="565459" y="5689758"/>
            <a:ext cx="5342777"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7" name="Content Placeholder 6"/>
          <p:cNvSpPr>
            <a:spLocks noGrp="1"/>
          </p:cNvSpPr>
          <p:nvPr>
            <p:ph sz="quarter" idx="18" hasCustomPrompt="1"/>
          </p:nvPr>
        </p:nvSpPr>
        <p:spPr>
          <a:xfrm>
            <a:off x="565459" y="1614957"/>
            <a:ext cx="5342776" cy="3864451"/>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2" name="Text Placeholder 4"/>
          <p:cNvSpPr>
            <a:spLocks noGrp="1"/>
          </p:cNvSpPr>
          <p:nvPr>
            <p:ph type="body" sz="quarter" idx="19"/>
          </p:nvPr>
        </p:nvSpPr>
        <p:spPr>
          <a:xfrm>
            <a:off x="6251605" y="5689758"/>
            <a:ext cx="5342777"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33" name="Content Placeholder 6"/>
          <p:cNvSpPr>
            <a:spLocks noGrp="1"/>
          </p:cNvSpPr>
          <p:nvPr>
            <p:ph sz="quarter" idx="20" hasCustomPrompt="1"/>
          </p:nvPr>
        </p:nvSpPr>
        <p:spPr>
          <a:xfrm>
            <a:off x="6251605" y="1614957"/>
            <a:ext cx="5342776" cy="3864451"/>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 name="Title 1">
            <a:extLst>
              <a:ext uri="{FF2B5EF4-FFF2-40B4-BE49-F238E27FC236}">
                <a16:creationId xmlns:a16="http://schemas.microsoft.com/office/drawing/2014/main" id="{90E6320A-1F87-8EA3-F808-3E4EC991B123}"/>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9A5852C2-3026-2B9A-A292-E9D26B2874D0}"/>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C6B656C-52BA-08CB-942C-1AAFEA03D6B7}"/>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8" name="TextBox 7">
            <a:extLst>
              <a:ext uri="{FF2B5EF4-FFF2-40B4-BE49-F238E27FC236}">
                <a16:creationId xmlns:a16="http://schemas.microsoft.com/office/drawing/2014/main" id="{5406B0B8-DE6A-5EA0-6734-73B95E9FB636}"/>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6" name="Graphic 5">
            <a:extLst>
              <a:ext uri="{FF2B5EF4-FFF2-40B4-BE49-F238E27FC236}">
                <a16:creationId xmlns:a16="http://schemas.microsoft.com/office/drawing/2014/main" id="{679F1D76-7C79-F905-AECA-588E7E4EF0B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2919643453"/>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7_3 images + descri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887A79-7AC5-5C4A-503C-92DC098B758E}"/>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4" name="Content Placeholder 3"/>
          <p:cNvSpPr>
            <a:spLocks noGrp="1"/>
          </p:cNvSpPr>
          <p:nvPr>
            <p:ph sz="quarter" idx="18" hasCustomPrompt="1"/>
          </p:nvPr>
        </p:nvSpPr>
        <p:spPr>
          <a:xfrm>
            <a:off x="565460"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5" name="Text Placeholder 4"/>
          <p:cNvSpPr>
            <a:spLocks noGrp="1"/>
          </p:cNvSpPr>
          <p:nvPr>
            <p:ph type="body" sz="quarter" idx="15"/>
          </p:nvPr>
        </p:nvSpPr>
        <p:spPr>
          <a:xfrm>
            <a:off x="551938" y="5098408"/>
            <a:ext cx="3529869"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26" name="Content Placeholder 3">
            <a:extLst>
              <a:ext uri="{FF2B5EF4-FFF2-40B4-BE49-F238E27FC236}">
                <a16:creationId xmlns:a16="http://schemas.microsoft.com/office/drawing/2014/main" id="{9E472C2D-B119-1348-ABB7-4B27DBE81FC4}"/>
              </a:ext>
            </a:extLst>
          </p:cNvPr>
          <p:cNvSpPr>
            <a:spLocks noGrp="1"/>
          </p:cNvSpPr>
          <p:nvPr>
            <p:ph sz="quarter" idx="19" hasCustomPrompt="1"/>
          </p:nvPr>
        </p:nvSpPr>
        <p:spPr>
          <a:xfrm>
            <a:off x="4315588"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7" name="Text Placeholder 4">
            <a:extLst>
              <a:ext uri="{FF2B5EF4-FFF2-40B4-BE49-F238E27FC236}">
                <a16:creationId xmlns:a16="http://schemas.microsoft.com/office/drawing/2014/main" id="{6B86DBF1-6757-494E-BB09-B02F75D7942F}"/>
              </a:ext>
            </a:extLst>
          </p:cNvPr>
          <p:cNvSpPr>
            <a:spLocks noGrp="1"/>
          </p:cNvSpPr>
          <p:nvPr>
            <p:ph type="body" sz="quarter" idx="20"/>
          </p:nvPr>
        </p:nvSpPr>
        <p:spPr>
          <a:xfrm>
            <a:off x="4315589" y="5098408"/>
            <a:ext cx="3529869"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28" name="Content Placeholder 3">
            <a:extLst>
              <a:ext uri="{FF2B5EF4-FFF2-40B4-BE49-F238E27FC236}">
                <a16:creationId xmlns:a16="http://schemas.microsoft.com/office/drawing/2014/main" id="{9D47F0CA-7587-3F49-929E-E48CC948FFEF}"/>
              </a:ext>
            </a:extLst>
          </p:cNvPr>
          <p:cNvSpPr>
            <a:spLocks noGrp="1"/>
          </p:cNvSpPr>
          <p:nvPr>
            <p:ph sz="quarter" idx="21" hasCustomPrompt="1"/>
          </p:nvPr>
        </p:nvSpPr>
        <p:spPr>
          <a:xfrm>
            <a:off x="8065717"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9" name="Text Placeholder 4">
            <a:extLst>
              <a:ext uri="{FF2B5EF4-FFF2-40B4-BE49-F238E27FC236}">
                <a16:creationId xmlns:a16="http://schemas.microsoft.com/office/drawing/2014/main" id="{C231C06B-3EE2-A348-A91C-CAFBBAF74FA0}"/>
              </a:ext>
            </a:extLst>
          </p:cNvPr>
          <p:cNvSpPr>
            <a:spLocks noGrp="1"/>
          </p:cNvSpPr>
          <p:nvPr>
            <p:ph type="body" sz="quarter" idx="22"/>
          </p:nvPr>
        </p:nvSpPr>
        <p:spPr>
          <a:xfrm>
            <a:off x="8065718" y="5098408"/>
            <a:ext cx="3529869"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3" name="Title 1">
            <a:extLst>
              <a:ext uri="{FF2B5EF4-FFF2-40B4-BE49-F238E27FC236}">
                <a16:creationId xmlns:a16="http://schemas.microsoft.com/office/drawing/2014/main" id="{DBF411DD-945C-4A72-1FBB-BC99017FA8F9}"/>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6" name="Text Placeholder 9">
            <a:extLst>
              <a:ext uri="{FF2B5EF4-FFF2-40B4-BE49-F238E27FC236}">
                <a16:creationId xmlns:a16="http://schemas.microsoft.com/office/drawing/2014/main" id="{7945EEC3-B051-A336-D42E-3BB3BFCED291}"/>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8" name="TextBox 7">
            <a:extLst>
              <a:ext uri="{FF2B5EF4-FFF2-40B4-BE49-F238E27FC236}">
                <a16:creationId xmlns:a16="http://schemas.microsoft.com/office/drawing/2014/main" id="{18E0ADA8-4CE7-A0B6-7DF3-AD8AA6E44AE0}"/>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7" name="Graphic 6">
            <a:extLst>
              <a:ext uri="{FF2B5EF4-FFF2-40B4-BE49-F238E27FC236}">
                <a16:creationId xmlns:a16="http://schemas.microsoft.com/office/drawing/2014/main" id="{B81CEEE0-1307-E77E-75FF-DCF480D7F1C3}"/>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1267765955"/>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1 image + description">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5" name="Text Placeholder 4"/>
          <p:cNvSpPr>
            <a:spLocks noGrp="1"/>
          </p:cNvSpPr>
          <p:nvPr>
            <p:ph type="body" sz="quarter" idx="15"/>
          </p:nvPr>
        </p:nvSpPr>
        <p:spPr>
          <a:xfrm>
            <a:off x="2600684" y="5753952"/>
            <a:ext cx="6992222"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7" name="Content Placeholder 6"/>
          <p:cNvSpPr>
            <a:spLocks noGrp="1"/>
          </p:cNvSpPr>
          <p:nvPr>
            <p:ph sz="quarter" idx="18" hasCustomPrompt="1"/>
          </p:nvPr>
        </p:nvSpPr>
        <p:spPr>
          <a:xfrm>
            <a:off x="2600684" y="1614956"/>
            <a:ext cx="6992223" cy="3904102"/>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 name="Title 1">
            <a:extLst>
              <a:ext uri="{FF2B5EF4-FFF2-40B4-BE49-F238E27FC236}">
                <a16:creationId xmlns:a16="http://schemas.microsoft.com/office/drawing/2014/main" id="{9E7E88F5-D369-B5E8-346F-19CD58348CD4}"/>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C1A5512B-5BEA-917E-32FE-EA67BB6D091E}"/>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675A382E-848B-532C-6EE1-4DAC99A77161}"/>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8" name="TextBox 7">
            <a:extLst>
              <a:ext uri="{FF2B5EF4-FFF2-40B4-BE49-F238E27FC236}">
                <a16:creationId xmlns:a16="http://schemas.microsoft.com/office/drawing/2014/main" id="{56325CAD-D2AD-A4CC-7581-280CBE85E670}"/>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6" name="Graphic 5">
            <a:extLst>
              <a:ext uri="{FF2B5EF4-FFF2-40B4-BE49-F238E27FC236}">
                <a16:creationId xmlns:a16="http://schemas.microsoft.com/office/drawing/2014/main" id="{86CD1088-EF50-4D7A-9697-1A992A45B0D3}"/>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2517685345"/>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3 images + 2 descriptions">
    <p:spTree>
      <p:nvGrpSpPr>
        <p:cNvPr id="1" name=""/>
        <p:cNvGrpSpPr/>
        <p:nvPr/>
      </p:nvGrpSpPr>
      <p:grpSpPr>
        <a:xfrm>
          <a:off x="0" y="0"/>
          <a:ext cx="0" cy="0"/>
          <a:chOff x="0" y="0"/>
          <a:chExt cx="0" cy="0"/>
        </a:xfrm>
      </p:grpSpPr>
      <p:sp>
        <p:nvSpPr>
          <p:cNvPr id="39" name="Content Placeholder 3">
            <a:extLst>
              <a:ext uri="{FF2B5EF4-FFF2-40B4-BE49-F238E27FC236}">
                <a16:creationId xmlns:a16="http://schemas.microsoft.com/office/drawing/2014/main" id="{C5556837-BDFE-E242-99D1-8166180F539B}"/>
              </a:ext>
            </a:extLst>
          </p:cNvPr>
          <p:cNvSpPr>
            <a:spLocks noGrp="1"/>
          </p:cNvSpPr>
          <p:nvPr>
            <p:ph sz="quarter" idx="18" hasCustomPrompt="1"/>
          </p:nvPr>
        </p:nvSpPr>
        <p:spPr>
          <a:xfrm>
            <a:off x="565460" y="1643744"/>
            <a:ext cx="5813569" cy="4241088"/>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40" name="TextBox 39">
            <a:extLst>
              <a:ext uri="{FF2B5EF4-FFF2-40B4-BE49-F238E27FC236}">
                <a16:creationId xmlns:a16="http://schemas.microsoft.com/office/drawing/2014/main" id="{0048BF0C-D14A-7E47-833B-85CE24AA521B}"/>
              </a:ext>
            </a:extLst>
          </p:cNvPr>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41" name="Text Placeholder 4">
            <a:extLst>
              <a:ext uri="{FF2B5EF4-FFF2-40B4-BE49-F238E27FC236}">
                <a16:creationId xmlns:a16="http://schemas.microsoft.com/office/drawing/2014/main" id="{58350936-F007-3344-A8E4-C14AC8D0D88A}"/>
              </a:ext>
            </a:extLst>
          </p:cNvPr>
          <p:cNvSpPr>
            <a:spLocks noGrp="1"/>
          </p:cNvSpPr>
          <p:nvPr>
            <p:ph type="body" sz="quarter" idx="15"/>
          </p:nvPr>
        </p:nvSpPr>
        <p:spPr>
          <a:xfrm>
            <a:off x="551938" y="6137047"/>
            <a:ext cx="5827091" cy="152349"/>
          </a:xfrm>
          <a:prstGeom prst="rect">
            <a:avLst/>
          </a:prstGeom>
        </p:spPr>
        <p:txBody>
          <a:bodyPr lIns="0" tIns="0" rIns="0" bIns="0"/>
          <a:lstStyle>
            <a:lvl1pPr marL="0" indent="0">
              <a:buNone/>
              <a:defRPr sz="1100" b="0" i="0">
                <a:solidFill>
                  <a:schemeClr val="tx1"/>
                </a:solidFill>
                <a:latin typeface="Avenir Next LT Pro" panose="020B0504020202020204" pitchFamily="34" charset="77"/>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48" name="Content Placeholder 3">
            <a:extLst>
              <a:ext uri="{FF2B5EF4-FFF2-40B4-BE49-F238E27FC236}">
                <a16:creationId xmlns:a16="http://schemas.microsoft.com/office/drawing/2014/main" id="{1E636B30-B043-AE40-B4D1-1440A233CF1B}"/>
              </a:ext>
            </a:extLst>
          </p:cNvPr>
          <p:cNvSpPr>
            <a:spLocks noGrp="1"/>
          </p:cNvSpPr>
          <p:nvPr>
            <p:ph sz="quarter" idx="21" hasCustomPrompt="1"/>
          </p:nvPr>
        </p:nvSpPr>
        <p:spPr>
          <a:xfrm>
            <a:off x="6760029" y="1643746"/>
            <a:ext cx="4822372" cy="2015999"/>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49" name="Text Placeholder 4">
            <a:extLst>
              <a:ext uri="{FF2B5EF4-FFF2-40B4-BE49-F238E27FC236}">
                <a16:creationId xmlns:a16="http://schemas.microsoft.com/office/drawing/2014/main" id="{13317509-5BA7-7B49-B291-1D234B9200C0}"/>
              </a:ext>
            </a:extLst>
          </p:cNvPr>
          <p:cNvSpPr>
            <a:spLocks noGrp="1"/>
          </p:cNvSpPr>
          <p:nvPr>
            <p:ph type="body" sz="quarter" idx="22"/>
          </p:nvPr>
        </p:nvSpPr>
        <p:spPr>
          <a:xfrm>
            <a:off x="6760029" y="6137047"/>
            <a:ext cx="4834352" cy="152349"/>
          </a:xfrm>
          <a:prstGeom prst="rect">
            <a:avLst/>
          </a:prstGeom>
        </p:spPr>
        <p:txBody>
          <a:bodyPr lIns="0" tIns="0" rIns="0" bIns="0"/>
          <a:lstStyle>
            <a:lvl1pPr marL="0" indent="0">
              <a:buNone/>
              <a:defRPr sz="1100" b="0" i="0">
                <a:solidFill>
                  <a:schemeClr val="tx1"/>
                </a:solidFill>
                <a:latin typeface="Avenir Next LT Pro" panose="020B0504020202020204" pitchFamily="34" charset="77"/>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17" name="Content Placeholder 3">
            <a:extLst>
              <a:ext uri="{FF2B5EF4-FFF2-40B4-BE49-F238E27FC236}">
                <a16:creationId xmlns:a16="http://schemas.microsoft.com/office/drawing/2014/main" id="{555198F4-2AED-4042-90ED-D3C7174E0906}"/>
              </a:ext>
            </a:extLst>
          </p:cNvPr>
          <p:cNvSpPr>
            <a:spLocks noGrp="1"/>
          </p:cNvSpPr>
          <p:nvPr>
            <p:ph sz="quarter" idx="23" hasCustomPrompt="1"/>
          </p:nvPr>
        </p:nvSpPr>
        <p:spPr>
          <a:xfrm>
            <a:off x="6760029" y="3868835"/>
            <a:ext cx="4822372" cy="2015999"/>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 name="Title 1">
            <a:extLst>
              <a:ext uri="{FF2B5EF4-FFF2-40B4-BE49-F238E27FC236}">
                <a16:creationId xmlns:a16="http://schemas.microsoft.com/office/drawing/2014/main" id="{A1C802F1-24AD-3A78-7C86-064CB6E48912}"/>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855BFB9C-1F29-A563-18B2-BD4359EBF425}"/>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473329C1-6E5B-4C40-9A11-15766FF1966D}"/>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292EA12C-5836-B803-B30F-EF095C838C0B}"/>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Graphic 3">
            <a:extLst>
              <a:ext uri="{FF2B5EF4-FFF2-40B4-BE49-F238E27FC236}">
                <a16:creationId xmlns:a16="http://schemas.microsoft.com/office/drawing/2014/main" id="{B4552875-E900-B12E-DD7D-7C501E9C88C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796516693"/>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ith logo">
    <p:spTree>
      <p:nvGrpSpPr>
        <p:cNvPr id="1" name=""/>
        <p:cNvGrpSpPr/>
        <p:nvPr/>
      </p:nvGrpSpPr>
      <p:grpSpPr>
        <a:xfrm>
          <a:off x="0" y="0"/>
          <a:ext cx="0" cy="0"/>
          <a:chOff x="0" y="0"/>
          <a:chExt cx="0" cy="0"/>
        </a:xfrm>
      </p:grpSpPr>
      <p:sp>
        <p:nvSpPr>
          <p:cNvPr id="11" name="TextBox 10"/>
          <p:cNvSpPr txBox="1"/>
          <p:nvPr userDrawn="1"/>
        </p:nvSpPr>
        <p:spPr>
          <a:xfrm>
            <a:off x="11594381"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3" name="TextBox 2">
            <a:extLst>
              <a:ext uri="{FF2B5EF4-FFF2-40B4-BE49-F238E27FC236}">
                <a16:creationId xmlns:a16="http://schemas.microsoft.com/office/drawing/2014/main" id="{74007645-3940-90E7-9372-244CB8868E17}"/>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4" name="TextBox 3">
            <a:extLst>
              <a:ext uri="{FF2B5EF4-FFF2-40B4-BE49-F238E27FC236}">
                <a16:creationId xmlns:a16="http://schemas.microsoft.com/office/drawing/2014/main" id="{24BABFC5-BDD2-FF8A-6D55-428C6DA89640}"/>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2" name="Graphic 1">
            <a:extLst>
              <a:ext uri="{FF2B5EF4-FFF2-40B4-BE49-F238E27FC236}">
                <a16:creationId xmlns:a16="http://schemas.microsoft.com/office/drawing/2014/main" id="{36F1B69A-F581-922D-C13D-3C21E906EAF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4 images + 2 descriptions">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3F2B81F-6CDB-F24D-8286-75432400221E}"/>
              </a:ext>
            </a:extLst>
          </p:cNvPr>
          <p:cNvSpPr/>
          <p:nvPr userDrawn="1"/>
        </p:nvSpPr>
        <p:spPr>
          <a:xfrm>
            <a:off x="0" y="1378193"/>
            <a:ext cx="12193588" cy="554256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14" name="Content Placeholder 3">
            <a:extLst>
              <a:ext uri="{FF2B5EF4-FFF2-40B4-BE49-F238E27FC236}">
                <a16:creationId xmlns:a16="http://schemas.microsoft.com/office/drawing/2014/main" id="{78184602-ED9E-A547-B64C-B428E9D1E2BA}"/>
              </a:ext>
            </a:extLst>
          </p:cNvPr>
          <p:cNvSpPr>
            <a:spLocks noGrp="1"/>
          </p:cNvSpPr>
          <p:nvPr>
            <p:ph sz="quarter" idx="18" hasCustomPrompt="1"/>
          </p:nvPr>
        </p:nvSpPr>
        <p:spPr>
          <a:xfrm>
            <a:off x="553155" y="157268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3" name="Text Placeholder 4">
            <a:extLst>
              <a:ext uri="{FF2B5EF4-FFF2-40B4-BE49-F238E27FC236}">
                <a16:creationId xmlns:a16="http://schemas.microsoft.com/office/drawing/2014/main" id="{6D9F47C3-F248-E446-A670-634F129672B4}"/>
              </a:ext>
            </a:extLst>
          </p:cNvPr>
          <p:cNvSpPr>
            <a:spLocks noGrp="1"/>
          </p:cNvSpPr>
          <p:nvPr>
            <p:ph type="body" sz="quarter" idx="15"/>
          </p:nvPr>
        </p:nvSpPr>
        <p:spPr>
          <a:xfrm>
            <a:off x="553156" y="6170725"/>
            <a:ext cx="5388150"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29" name="Content Placeholder 3">
            <a:extLst>
              <a:ext uri="{FF2B5EF4-FFF2-40B4-BE49-F238E27FC236}">
                <a16:creationId xmlns:a16="http://schemas.microsoft.com/office/drawing/2014/main" id="{DBFE4DB6-4FEC-C543-9EB1-5F14AB473EFC}"/>
              </a:ext>
            </a:extLst>
          </p:cNvPr>
          <p:cNvSpPr>
            <a:spLocks noGrp="1"/>
          </p:cNvSpPr>
          <p:nvPr>
            <p:ph sz="quarter" idx="19" hasCustomPrompt="1"/>
          </p:nvPr>
        </p:nvSpPr>
        <p:spPr>
          <a:xfrm>
            <a:off x="553155" y="386957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0" name="Content Placeholder 3">
            <a:extLst>
              <a:ext uri="{FF2B5EF4-FFF2-40B4-BE49-F238E27FC236}">
                <a16:creationId xmlns:a16="http://schemas.microsoft.com/office/drawing/2014/main" id="{6990879E-A79F-3046-820F-0ED3521D3FBF}"/>
              </a:ext>
            </a:extLst>
          </p:cNvPr>
          <p:cNvSpPr>
            <a:spLocks noGrp="1"/>
          </p:cNvSpPr>
          <p:nvPr>
            <p:ph sz="quarter" idx="20" hasCustomPrompt="1"/>
          </p:nvPr>
        </p:nvSpPr>
        <p:spPr>
          <a:xfrm>
            <a:off x="6224614" y="157268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1" name="Text Placeholder 4">
            <a:extLst>
              <a:ext uri="{FF2B5EF4-FFF2-40B4-BE49-F238E27FC236}">
                <a16:creationId xmlns:a16="http://schemas.microsoft.com/office/drawing/2014/main" id="{D0AD178D-3412-A242-9FCD-611D216F2C6A}"/>
              </a:ext>
            </a:extLst>
          </p:cNvPr>
          <p:cNvSpPr>
            <a:spLocks noGrp="1"/>
          </p:cNvSpPr>
          <p:nvPr>
            <p:ph type="body" sz="quarter" idx="21"/>
          </p:nvPr>
        </p:nvSpPr>
        <p:spPr>
          <a:xfrm>
            <a:off x="6224614" y="6170725"/>
            <a:ext cx="5388150"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32" name="Content Placeholder 3">
            <a:extLst>
              <a:ext uri="{FF2B5EF4-FFF2-40B4-BE49-F238E27FC236}">
                <a16:creationId xmlns:a16="http://schemas.microsoft.com/office/drawing/2014/main" id="{F102D9E7-8CD9-FF47-BD72-00062EAA2C8C}"/>
              </a:ext>
            </a:extLst>
          </p:cNvPr>
          <p:cNvSpPr>
            <a:spLocks noGrp="1"/>
          </p:cNvSpPr>
          <p:nvPr>
            <p:ph sz="quarter" idx="22" hasCustomPrompt="1"/>
          </p:nvPr>
        </p:nvSpPr>
        <p:spPr>
          <a:xfrm>
            <a:off x="6224614" y="3869574"/>
            <a:ext cx="5368673"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 name="Title 1">
            <a:extLst>
              <a:ext uri="{FF2B5EF4-FFF2-40B4-BE49-F238E27FC236}">
                <a16:creationId xmlns:a16="http://schemas.microsoft.com/office/drawing/2014/main" id="{2F104133-4D7E-D456-337C-AAD749B9AF56}"/>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482525F2-8639-91D5-5A92-E03A1FA83782}"/>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1649404D-A47B-3834-7A04-D3603B3FE1B2}"/>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968A5D60-F214-33D8-BE42-D68156BF52C8}"/>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Graphic 3">
            <a:extLst>
              <a:ext uri="{FF2B5EF4-FFF2-40B4-BE49-F238E27FC236}">
                <a16:creationId xmlns:a16="http://schemas.microsoft.com/office/drawing/2014/main" id="{683A62C3-238D-ACFA-2C43-C86BFAD581C5}"/>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1664361543"/>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image left + text right">
    <p:spTree>
      <p:nvGrpSpPr>
        <p:cNvPr id="1" name=""/>
        <p:cNvGrpSpPr/>
        <p:nvPr/>
      </p:nvGrpSpPr>
      <p:grpSpPr>
        <a:xfrm>
          <a:off x="0" y="0"/>
          <a:ext cx="0" cy="0"/>
          <a:chOff x="0" y="0"/>
          <a:chExt cx="0" cy="0"/>
        </a:xfrm>
      </p:grpSpPr>
      <p:sp>
        <p:nvSpPr>
          <p:cNvPr id="17" name="TextBox 16"/>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1" name="Content Placeholder 6"/>
          <p:cNvSpPr>
            <a:spLocks noGrp="1"/>
          </p:cNvSpPr>
          <p:nvPr>
            <p:ph sz="quarter" idx="18" hasCustomPrompt="1"/>
          </p:nvPr>
        </p:nvSpPr>
        <p:spPr>
          <a:xfrm>
            <a:off x="565458" y="1676608"/>
            <a:ext cx="5719896" cy="4519943"/>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15" name="Text Placeholder 2"/>
          <p:cNvSpPr>
            <a:spLocks noGrp="1"/>
          </p:cNvSpPr>
          <p:nvPr>
            <p:ph type="body" sz="quarter" idx="12"/>
          </p:nvPr>
        </p:nvSpPr>
        <p:spPr>
          <a:xfrm>
            <a:off x="6631291" y="1676609"/>
            <a:ext cx="4963090" cy="84843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80CD31E6-457F-345A-584B-4FD13F51130D}"/>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4376E91E-6700-6F11-61ED-B6004D3C6C8D}"/>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FDDA0F93-8A90-0112-0786-678344CFE135}"/>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FA7DFE73-B464-BFF4-B6FB-7DBE2B3902B4}"/>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Graphic 3">
            <a:extLst>
              <a:ext uri="{FF2B5EF4-FFF2-40B4-BE49-F238E27FC236}">
                <a16:creationId xmlns:a16="http://schemas.microsoft.com/office/drawing/2014/main" id="{E6422654-A54F-2A15-C759-005A7E8475B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3429330107"/>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image right + text left">
    <p:spTree>
      <p:nvGrpSpPr>
        <p:cNvPr id="1" name=""/>
        <p:cNvGrpSpPr/>
        <p:nvPr/>
      </p:nvGrpSpPr>
      <p:grpSpPr>
        <a:xfrm>
          <a:off x="0" y="0"/>
          <a:ext cx="0" cy="0"/>
          <a:chOff x="0" y="0"/>
          <a:chExt cx="0" cy="0"/>
        </a:xfrm>
      </p:grpSpPr>
      <p:sp>
        <p:nvSpPr>
          <p:cNvPr id="17" name="TextBox 16"/>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3" name="Content Placeholder 6"/>
          <p:cNvSpPr>
            <a:spLocks noGrp="1"/>
          </p:cNvSpPr>
          <p:nvPr>
            <p:ph sz="quarter" idx="18" hasCustomPrompt="1"/>
          </p:nvPr>
        </p:nvSpPr>
        <p:spPr>
          <a:xfrm>
            <a:off x="5868400" y="1676608"/>
            <a:ext cx="5719896" cy="4519943"/>
          </a:xfrm>
          <a:prstGeom prst="rect">
            <a:avLst/>
          </a:prstGeom>
        </p:spPr>
        <p:txBody>
          <a:bodyPr>
            <a:normAutofit/>
          </a:bodyPr>
          <a:lstStyle>
            <a:lvl1pPr marL="0" indent="0">
              <a:buFont typeface="Arial" charset="0"/>
              <a:buNone/>
              <a:defRPr sz="2000"/>
            </a:lvl1pPr>
          </a:lstStyle>
          <a:p>
            <a:r>
              <a:rPr lang="en-US"/>
              <a:t>Insert graph </a:t>
            </a:r>
            <a:r>
              <a:rPr lang="mr-IN"/>
              <a:t>–</a:t>
            </a:r>
            <a:r>
              <a:rPr lang="en-US"/>
              <a:t> Drag picture to placeholder or click on icon </a:t>
            </a:r>
          </a:p>
        </p:txBody>
      </p:sp>
      <p:sp>
        <p:nvSpPr>
          <p:cNvPr id="16" name="Text Placeholder 2"/>
          <p:cNvSpPr>
            <a:spLocks noGrp="1"/>
          </p:cNvSpPr>
          <p:nvPr>
            <p:ph type="body" sz="quarter" idx="12"/>
          </p:nvPr>
        </p:nvSpPr>
        <p:spPr>
          <a:xfrm>
            <a:off x="565460" y="1676609"/>
            <a:ext cx="4963090" cy="84843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C20DAD90-B4BF-1D5F-D032-10D4F3E8D123}"/>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4D63374E-93AD-26A8-FE04-9A6DBDFE1C4D}"/>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1B07A46E-BDD6-9B21-DCA5-8D8A02B85D1F}"/>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3FE8C249-9948-5463-D195-11DD65F4A81D}"/>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Graphic 3">
            <a:extLst>
              <a:ext uri="{FF2B5EF4-FFF2-40B4-BE49-F238E27FC236}">
                <a16:creationId xmlns:a16="http://schemas.microsoft.com/office/drawing/2014/main" id="{3A206A78-2D36-2736-B590-194C5904A0B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2403998048"/>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6 images + 3 descriptions">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033F5C5-16D7-5349-8E7D-96E1C3D759DD}"/>
              </a:ext>
            </a:extLst>
          </p:cNvPr>
          <p:cNvSpPr/>
          <p:nvPr userDrawn="1"/>
        </p:nvSpPr>
        <p:spPr>
          <a:xfrm>
            <a:off x="0" y="1378193"/>
            <a:ext cx="12193588" cy="554256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14" name="Content Placeholder 3">
            <a:extLst>
              <a:ext uri="{FF2B5EF4-FFF2-40B4-BE49-F238E27FC236}">
                <a16:creationId xmlns:a16="http://schemas.microsoft.com/office/drawing/2014/main" id="{48548963-850E-7645-960B-31854F07CC34}"/>
              </a:ext>
            </a:extLst>
          </p:cNvPr>
          <p:cNvSpPr>
            <a:spLocks noGrp="1"/>
          </p:cNvSpPr>
          <p:nvPr>
            <p:ph sz="quarter" idx="18" hasCustomPrompt="1"/>
          </p:nvPr>
        </p:nvSpPr>
        <p:spPr>
          <a:xfrm>
            <a:off x="553156" y="157268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3" name="Text Placeholder 4">
            <a:extLst>
              <a:ext uri="{FF2B5EF4-FFF2-40B4-BE49-F238E27FC236}">
                <a16:creationId xmlns:a16="http://schemas.microsoft.com/office/drawing/2014/main" id="{0C8C808D-06BD-6347-9DEF-E094B0E9857F}"/>
              </a:ext>
            </a:extLst>
          </p:cNvPr>
          <p:cNvSpPr>
            <a:spLocks noGrp="1"/>
          </p:cNvSpPr>
          <p:nvPr>
            <p:ph type="body" sz="quarter" idx="15"/>
          </p:nvPr>
        </p:nvSpPr>
        <p:spPr>
          <a:xfrm>
            <a:off x="553156" y="6170725"/>
            <a:ext cx="3403643"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25" name="Text Placeholder 4">
            <a:extLst>
              <a:ext uri="{FF2B5EF4-FFF2-40B4-BE49-F238E27FC236}">
                <a16:creationId xmlns:a16="http://schemas.microsoft.com/office/drawing/2014/main" id="{204D55EA-A258-1E4C-A2FC-05363299092D}"/>
              </a:ext>
            </a:extLst>
          </p:cNvPr>
          <p:cNvSpPr>
            <a:spLocks noGrp="1"/>
          </p:cNvSpPr>
          <p:nvPr>
            <p:ph type="body" sz="quarter" idx="16"/>
          </p:nvPr>
        </p:nvSpPr>
        <p:spPr>
          <a:xfrm>
            <a:off x="4363864" y="6170725"/>
            <a:ext cx="3403643"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26" name="Text Placeholder 4">
            <a:extLst>
              <a:ext uri="{FF2B5EF4-FFF2-40B4-BE49-F238E27FC236}">
                <a16:creationId xmlns:a16="http://schemas.microsoft.com/office/drawing/2014/main" id="{71EFA00C-64E9-F849-BD3C-AACA0E678F63}"/>
              </a:ext>
            </a:extLst>
          </p:cNvPr>
          <p:cNvSpPr>
            <a:spLocks noGrp="1"/>
          </p:cNvSpPr>
          <p:nvPr>
            <p:ph type="body" sz="quarter" idx="17"/>
          </p:nvPr>
        </p:nvSpPr>
        <p:spPr>
          <a:xfrm>
            <a:off x="8174574" y="6170725"/>
            <a:ext cx="3403643"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31" name="Content Placeholder 3">
            <a:extLst>
              <a:ext uri="{FF2B5EF4-FFF2-40B4-BE49-F238E27FC236}">
                <a16:creationId xmlns:a16="http://schemas.microsoft.com/office/drawing/2014/main" id="{4CCC79FF-C617-C74F-BF72-F5C76E459D28}"/>
              </a:ext>
            </a:extLst>
          </p:cNvPr>
          <p:cNvSpPr>
            <a:spLocks noGrp="1"/>
          </p:cNvSpPr>
          <p:nvPr>
            <p:ph sz="quarter" idx="19" hasCustomPrompt="1"/>
          </p:nvPr>
        </p:nvSpPr>
        <p:spPr>
          <a:xfrm>
            <a:off x="553156" y="386957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2" name="Content Placeholder 3">
            <a:extLst>
              <a:ext uri="{FF2B5EF4-FFF2-40B4-BE49-F238E27FC236}">
                <a16:creationId xmlns:a16="http://schemas.microsoft.com/office/drawing/2014/main" id="{C862AF82-E3E8-4149-8264-3D55C0745FF3}"/>
              </a:ext>
            </a:extLst>
          </p:cNvPr>
          <p:cNvSpPr>
            <a:spLocks noGrp="1"/>
          </p:cNvSpPr>
          <p:nvPr>
            <p:ph sz="quarter" idx="20" hasCustomPrompt="1"/>
          </p:nvPr>
        </p:nvSpPr>
        <p:spPr>
          <a:xfrm>
            <a:off x="4363864" y="157268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3" name="Content Placeholder 3">
            <a:extLst>
              <a:ext uri="{FF2B5EF4-FFF2-40B4-BE49-F238E27FC236}">
                <a16:creationId xmlns:a16="http://schemas.microsoft.com/office/drawing/2014/main" id="{89C9B33E-10C8-3E4B-B48E-B7D88ED06055}"/>
              </a:ext>
            </a:extLst>
          </p:cNvPr>
          <p:cNvSpPr>
            <a:spLocks noGrp="1"/>
          </p:cNvSpPr>
          <p:nvPr>
            <p:ph sz="quarter" idx="21" hasCustomPrompt="1"/>
          </p:nvPr>
        </p:nvSpPr>
        <p:spPr>
          <a:xfrm>
            <a:off x="4363864" y="386957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4" name="Content Placeholder 3">
            <a:extLst>
              <a:ext uri="{FF2B5EF4-FFF2-40B4-BE49-F238E27FC236}">
                <a16:creationId xmlns:a16="http://schemas.microsoft.com/office/drawing/2014/main" id="{5635AEBB-B1FB-6840-ADCC-1597D1AF3F91}"/>
              </a:ext>
            </a:extLst>
          </p:cNvPr>
          <p:cNvSpPr>
            <a:spLocks noGrp="1"/>
          </p:cNvSpPr>
          <p:nvPr>
            <p:ph sz="quarter" idx="22" hasCustomPrompt="1"/>
          </p:nvPr>
        </p:nvSpPr>
        <p:spPr>
          <a:xfrm>
            <a:off x="8174573" y="157268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5" name="Content Placeholder 3">
            <a:extLst>
              <a:ext uri="{FF2B5EF4-FFF2-40B4-BE49-F238E27FC236}">
                <a16:creationId xmlns:a16="http://schemas.microsoft.com/office/drawing/2014/main" id="{9E3CF042-61F1-6B48-A9AB-9D779D5930C7}"/>
              </a:ext>
            </a:extLst>
          </p:cNvPr>
          <p:cNvSpPr>
            <a:spLocks noGrp="1"/>
          </p:cNvSpPr>
          <p:nvPr>
            <p:ph sz="quarter" idx="23" hasCustomPrompt="1"/>
          </p:nvPr>
        </p:nvSpPr>
        <p:spPr>
          <a:xfrm>
            <a:off x="8174573" y="3869574"/>
            <a:ext cx="3391340" cy="2081594"/>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 name="Title 1">
            <a:extLst>
              <a:ext uri="{FF2B5EF4-FFF2-40B4-BE49-F238E27FC236}">
                <a16:creationId xmlns:a16="http://schemas.microsoft.com/office/drawing/2014/main" id="{112FB729-071E-1871-BA5E-79483A528C42}"/>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500D1A7D-D4EF-9BAB-1744-2BE5E43E5FFA}"/>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6D13B62E-1EE5-3622-9E0A-519228BE4E07}"/>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B61B4EC2-6396-6CE8-6AB5-5F7C04DA813A}"/>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Graphic 3">
            <a:extLst>
              <a:ext uri="{FF2B5EF4-FFF2-40B4-BE49-F238E27FC236}">
                <a16:creationId xmlns:a16="http://schemas.microsoft.com/office/drawing/2014/main" id="{6A520081-9959-4A5F-9D22-2930AA0BFDAF}"/>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2194896263"/>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1_Right half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6096794" y="3"/>
            <a:ext cx="6096794" cy="221599"/>
          </a:xfrm>
          <a:prstGeom prst="rect">
            <a:avLst/>
          </a:prstGeom>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10" name="Text Placeholder 2"/>
          <p:cNvSpPr>
            <a:spLocks noGrp="1"/>
          </p:cNvSpPr>
          <p:nvPr>
            <p:ph type="body" sz="quarter" idx="12"/>
          </p:nvPr>
        </p:nvSpPr>
        <p:spPr>
          <a:xfrm>
            <a:off x="565225" y="1997777"/>
            <a:ext cx="5266953" cy="84843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616C7696-1129-ACBF-CBE9-7B0D8A3F8509}"/>
              </a:ext>
            </a:extLst>
          </p:cNvPr>
          <p:cNvSpPr>
            <a:spLocks noGrp="1"/>
          </p:cNvSpPr>
          <p:nvPr>
            <p:ph type="title"/>
          </p:nvPr>
        </p:nvSpPr>
        <p:spPr>
          <a:xfrm>
            <a:off x="565460" y="552716"/>
            <a:ext cx="5064376" cy="830997"/>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6422030B-6CEB-0FAB-8779-819BEDC3ED89}"/>
              </a:ext>
            </a:extLst>
          </p:cNvPr>
          <p:cNvSpPr>
            <a:spLocks noGrp="1"/>
          </p:cNvSpPr>
          <p:nvPr>
            <p:ph type="body" sz="quarter" idx="11"/>
          </p:nvPr>
        </p:nvSpPr>
        <p:spPr>
          <a:xfrm>
            <a:off x="565460" y="1021031"/>
            <a:ext cx="5064377" cy="207134"/>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4" name="Picture 3">
            <a:extLst>
              <a:ext uri="{FF2B5EF4-FFF2-40B4-BE49-F238E27FC236}">
                <a16:creationId xmlns:a16="http://schemas.microsoft.com/office/drawing/2014/main" id="{F95D5B66-2802-F64D-CA99-4B338D62B48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83170" y="204718"/>
            <a:ext cx="1358721" cy="826913"/>
          </a:xfrm>
          <a:prstGeom prst="rect">
            <a:avLst/>
          </a:prstGeom>
        </p:spPr>
      </p:pic>
      <p:sp>
        <p:nvSpPr>
          <p:cNvPr id="5" name="TextBox 4">
            <a:extLst>
              <a:ext uri="{FF2B5EF4-FFF2-40B4-BE49-F238E27FC236}">
                <a16:creationId xmlns:a16="http://schemas.microsoft.com/office/drawing/2014/main" id="{6BD23979-BEBD-2BF8-17AE-82B147276BF9}"/>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CA7883C1-F457-9ACB-4755-8CC5D9084EBB}"/>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extLst>
      <p:ext uri="{BB962C8B-B14F-4D97-AF65-F5344CB8AC3E}">
        <p14:creationId xmlns:p14="http://schemas.microsoft.com/office/powerpoint/2010/main" val="754043616"/>
      </p:ext>
    </p:extLst>
  </p:cSld>
  <p:clrMapOvr>
    <a:masterClrMapping/>
  </p:clrMapOvr>
  <p:transition spd="slow">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0_Right half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8DEE52-360F-D14A-9CAE-7B1FA2B9C68A}"/>
              </a:ext>
            </a:extLst>
          </p:cNvPr>
          <p:cNvSpPr/>
          <p:nvPr userDrawn="1"/>
        </p:nvSpPr>
        <p:spPr>
          <a:xfrm>
            <a:off x="0" y="0"/>
            <a:ext cx="609679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1800" b="0" i="0">
              <a:latin typeface="Avenir Next LT Pro" panose="020B0504020202020204" pitchFamily="34" charset="77"/>
            </a:endParaRPr>
          </a:p>
        </p:txBody>
      </p:sp>
      <p:sp>
        <p:nvSpPr>
          <p:cNvPr id="7" name="Picture Placeholder 3"/>
          <p:cNvSpPr>
            <a:spLocks noGrp="1"/>
          </p:cNvSpPr>
          <p:nvPr>
            <p:ph type="pic" sz="quarter" idx="10"/>
          </p:nvPr>
        </p:nvSpPr>
        <p:spPr>
          <a:xfrm>
            <a:off x="6096794" y="3"/>
            <a:ext cx="6096794" cy="221599"/>
          </a:xfrm>
          <a:prstGeom prst="rect">
            <a:avLst/>
          </a:prstGeom>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10" name="Text Placeholder 2"/>
          <p:cNvSpPr>
            <a:spLocks noGrp="1"/>
          </p:cNvSpPr>
          <p:nvPr>
            <p:ph type="body" sz="quarter" idx="12"/>
          </p:nvPr>
        </p:nvSpPr>
        <p:spPr>
          <a:xfrm>
            <a:off x="565225" y="1997778"/>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Title 1">
            <a:extLst>
              <a:ext uri="{FF2B5EF4-FFF2-40B4-BE49-F238E27FC236}">
                <a16:creationId xmlns:a16="http://schemas.microsoft.com/office/drawing/2014/main" id="{E12170D0-3B32-A0D7-A2D9-F64DF9CDD823}"/>
              </a:ext>
            </a:extLst>
          </p:cNvPr>
          <p:cNvSpPr>
            <a:spLocks noGrp="1"/>
          </p:cNvSpPr>
          <p:nvPr>
            <p:ph type="title"/>
          </p:nvPr>
        </p:nvSpPr>
        <p:spPr>
          <a:xfrm>
            <a:off x="565460" y="552716"/>
            <a:ext cx="5046447" cy="830997"/>
          </a:xfrm>
        </p:spPr>
        <p:txBody>
          <a:bodyPr/>
          <a:lstStyle>
            <a:lvl1pPr>
              <a:defRPr>
                <a:solidFill>
                  <a:schemeClr val="bg1"/>
                </a:solidFill>
              </a:defRPr>
            </a:lvl1pPr>
          </a:lstStyle>
          <a:p>
            <a:r>
              <a:rPr lang="en-US"/>
              <a:t>Click to edit Master title style</a:t>
            </a:r>
          </a:p>
        </p:txBody>
      </p:sp>
      <p:sp>
        <p:nvSpPr>
          <p:cNvPr id="4" name="Text Placeholder 9">
            <a:extLst>
              <a:ext uri="{FF2B5EF4-FFF2-40B4-BE49-F238E27FC236}">
                <a16:creationId xmlns:a16="http://schemas.microsoft.com/office/drawing/2014/main" id="{7C789ED9-BED9-7CDF-19E0-DA293B36E478}"/>
              </a:ext>
            </a:extLst>
          </p:cNvPr>
          <p:cNvSpPr>
            <a:spLocks noGrp="1"/>
          </p:cNvSpPr>
          <p:nvPr>
            <p:ph type="body" sz="quarter" idx="11"/>
          </p:nvPr>
        </p:nvSpPr>
        <p:spPr>
          <a:xfrm>
            <a:off x="565460" y="1021031"/>
            <a:ext cx="5040194"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5" name="Picture 4">
            <a:extLst>
              <a:ext uri="{FF2B5EF4-FFF2-40B4-BE49-F238E27FC236}">
                <a16:creationId xmlns:a16="http://schemas.microsoft.com/office/drawing/2014/main" id="{CD570D53-D6A9-8B3D-6294-1654E6CB465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83170" y="204718"/>
            <a:ext cx="1358721" cy="826913"/>
          </a:xfrm>
          <a:prstGeom prst="rect">
            <a:avLst/>
          </a:prstGeom>
        </p:spPr>
      </p:pic>
      <p:sp>
        <p:nvSpPr>
          <p:cNvPr id="6" name="TextBox 5">
            <a:extLst>
              <a:ext uri="{FF2B5EF4-FFF2-40B4-BE49-F238E27FC236}">
                <a16:creationId xmlns:a16="http://schemas.microsoft.com/office/drawing/2014/main" id="{6E8EDD47-C182-51B1-2C87-4F506A84C49D}"/>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8" name="TextBox 7">
            <a:extLst>
              <a:ext uri="{FF2B5EF4-FFF2-40B4-BE49-F238E27FC236}">
                <a16:creationId xmlns:a16="http://schemas.microsoft.com/office/drawing/2014/main" id="{81601D58-CDAD-05EF-75AA-FDE4E24526DD}"/>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extLst>
      <p:ext uri="{BB962C8B-B14F-4D97-AF65-F5344CB8AC3E}">
        <p14:creationId xmlns:p14="http://schemas.microsoft.com/office/powerpoint/2010/main" val="679682756"/>
      </p:ext>
    </p:extLst>
  </p:cSld>
  <p:clrMapOvr>
    <a:masterClrMapping/>
  </p:clrMapOvr>
  <p:transition spd="slow">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9_Right half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8DEE52-360F-D14A-9CAE-7B1FA2B9C68A}"/>
              </a:ext>
            </a:extLst>
          </p:cNvPr>
          <p:cNvSpPr/>
          <p:nvPr userDrawn="1"/>
        </p:nvSpPr>
        <p:spPr>
          <a:xfrm>
            <a:off x="0" y="0"/>
            <a:ext cx="60967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1800" b="0" i="0">
              <a:latin typeface="Avenir Next LT Pro" panose="020B0504020202020204" pitchFamily="34" charset="77"/>
            </a:endParaRPr>
          </a:p>
        </p:txBody>
      </p:sp>
      <p:sp>
        <p:nvSpPr>
          <p:cNvPr id="7" name="Picture Placeholder 3"/>
          <p:cNvSpPr>
            <a:spLocks noGrp="1"/>
          </p:cNvSpPr>
          <p:nvPr>
            <p:ph type="pic" sz="quarter" idx="10"/>
          </p:nvPr>
        </p:nvSpPr>
        <p:spPr>
          <a:xfrm>
            <a:off x="6096794" y="3"/>
            <a:ext cx="6096794" cy="221599"/>
          </a:xfrm>
          <a:prstGeom prst="rect">
            <a:avLst/>
          </a:prstGeom>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10" name="Text Placeholder 2"/>
          <p:cNvSpPr>
            <a:spLocks noGrp="1"/>
          </p:cNvSpPr>
          <p:nvPr>
            <p:ph type="body" sz="quarter" idx="12"/>
          </p:nvPr>
        </p:nvSpPr>
        <p:spPr>
          <a:xfrm>
            <a:off x="565225" y="1997778"/>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Title 1">
            <a:extLst>
              <a:ext uri="{FF2B5EF4-FFF2-40B4-BE49-F238E27FC236}">
                <a16:creationId xmlns:a16="http://schemas.microsoft.com/office/drawing/2014/main" id="{E12170D0-3B32-A0D7-A2D9-F64DF9CDD823}"/>
              </a:ext>
            </a:extLst>
          </p:cNvPr>
          <p:cNvSpPr>
            <a:spLocks noGrp="1"/>
          </p:cNvSpPr>
          <p:nvPr>
            <p:ph type="title"/>
          </p:nvPr>
        </p:nvSpPr>
        <p:spPr>
          <a:xfrm>
            <a:off x="565460" y="552716"/>
            <a:ext cx="5046447" cy="830997"/>
          </a:xfrm>
        </p:spPr>
        <p:txBody>
          <a:bodyPr/>
          <a:lstStyle>
            <a:lvl1pPr>
              <a:defRPr>
                <a:solidFill>
                  <a:schemeClr val="bg1"/>
                </a:solidFill>
              </a:defRPr>
            </a:lvl1pPr>
          </a:lstStyle>
          <a:p>
            <a:r>
              <a:rPr lang="en-US"/>
              <a:t>Click to edit Master title style</a:t>
            </a:r>
          </a:p>
        </p:txBody>
      </p:sp>
      <p:sp>
        <p:nvSpPr>
          <p:cNvPr id="4" name="Text Placeholder 9">
            <a:extLst>
              <a:ext uri="{FF2B5EF4-FFF2-40B4-BE49-F238E27FC236}">
                <a16:creationId xmlns:a16="http://schemas.microsoft.com/office/drawing/2014/main" id="{7C789ED9-BED9-7CDF-19E0-DA293B36E478}"/>
              </a:ext>
            </a:extLst>
          </p:cNvPr>
          <p:cNvSpPr>
            <a:spLocks noGrp="1"/>
          </p:cNvSpPr>
          <p:nvPr>
            <p:ph type="body" sz="quarter" idx="11"/>
          </p:nvPr>
        </p:nvSpPr>
        <p:spPr>
          <a:xfrm>
            <a:off x="565460" y="1021031"/>
            <a:ext cx="5040194"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5" name="Picture 4">
            <a:extLst>
              <a:ext uri="{FF2B5EF4-FFF2-40B4-BE49-F238E27FC236}">
                <a16:creationId xmlns:a16="http://schemas.microsoft.com/office/drawing/2014/main" id="{CD570D53-D6A9-8B3D-6294-1654E6CB465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83170" y="204718"/>
            <a:ext cx="1358721" cy="826913"/>
          </a:xfrm>
          <a:prstGeom prst="rect">
            <a:avLst/>
          </a:prstGeom>
        </p:spPr>
      </p:pic>
      <p:sp>
        <p:nvSpPr>
          <p:cNvPr id="6" name="TextBox 5">
            <a:extLst>
              <a:ext uri="{FF2B5EF4-FFF2-40B4-BE49-F238E27FC236}">
                <a16:creationId xmlns:a16="http://schemas.microsoft.com/office/drawing/2014/main" id="{6E8EDD47-C182-51B1-2C87-4F506A84C49D}"/>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8" name="TextBox 7">
            <a:extLst>
              <a:ext uri="{FF2B5EF4-FFF2-40B4-BE49-F238E27FC236}">
                <a16:creationId xmlns:a16="http://schemas.microsoft.com/office/drawing/2014/main" id="{81601D58-CDAD-05EF-75AA-FDE4E24526DD}"/>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extLst>
      <p:ext uri="{BB962C8B-B14F-4D97-AF65-F5344CB8AC3E}">
        <p14:creationId xmlns:p14="http://schemas.microsoft.com/office/powerpoint/2010/main" val="195891581"/>
      </p:ext>
    </p:extLst>
  </p:cSld>
  <p:clrMapOvr>
    <a:masterClrMapping/>
  </p:clrMapOvr>
  <p:transition spd="slow">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9_Left half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0" y="3"/>
            <a:ext cx="6096794" cy="2215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70" y="1924054"/>
            <a:ext cx="5266953" cy="84843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E3E4F818-3A7D-2AB5-57A3-ED45588D3948}"/>
              </a:ext>
            </a:extLst>
          </p:cNvPr>
          <p:cNvSpPr>
            <a:spLocks noGrp="1"/>
          </p:cNvSpPr>
          <p:nvPr>
            <p:ph type="title"/>
          </p:nvPr>
        </p:nvSpPr>
        <p:spPr>
          <a:xfrm>
            <a:off x="6446570" y="552716"/>
            <a:ext cx="5266953" cy="830997"/>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8A4AE163-B4FC-2BA1-4A79-5AC44435AD0C}"/>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pic>
        <p:nvPicPr>
          <p:cNvPr id="4" name="Picture 3">
            <a:extLst>
              <a:ext uri="{FF2B5EF4-FFF2-40B4-BE49-F238E27FC236}">
                <a16:creationId xmlns:a16="http://schemas.microsoft.com/office/drawing/2014/main" id="{C7E3A211-9B52-F264-6FDC-D3E77A7D400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50198" y="204718"/>
            <a:ext cx="1358721" cy="826913"/>
          </a:xfrm>
          <a:prstGeom prst="rect">
            <a:avLst/>
          </a:prstGeom>
        </p:spPr>
      </p:pic>
      <p:pic>
        <p:nvPicPr>
          <p:cNvPr id="5" name="Picture 4">
            <a:extLst>
              <a:ext uri="{FF2B5EF4-FFF2-40B4-BE49-F238E27FC236}">
                <a16:creationId xmlns:a16="http://schemas.microsoft.com/office/drawing/2014/main" id="{1BC274B4-07B7-5DA0-DF33-F57B9851733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2597" y="357118"/>
            <a:ext cx="1358721" cy="826913"/>
          </a:xfrm>
          <a:prstGeom prst="rect">
            <a:avLst/>
          </a:prstGeom>
        </p:spPr>
      </p:pic>
      <p:sp>
        <p:nvSpPr>
          <p:cNvPr id="8" name="TextBox 7">
            <a:extLst>
              <a:ext uri="{FF2B5EF4-FFF2-40B4-BE49-F238E27FC236}">
                <a16:creationId xmlns:a16="http://schemas.microsoft.com/office/drawing/2014/main" id="{EA7DD7ED-38EA-248E-6A37-DDDBF2A49851}"/>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9" name="TextBox 8">
            <a:extLst>
              <a:ext uri="{FF2B5EF4-FFF2-40B4-BE49-F238E27FC236}">
                <a16:creationId xmlns:a16="http://schemas.microsoft.com/office/drawing/2014/main" id="{67C06B24-EBD2-9679-25F3-969411C769BD}"/>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extLst>
      <p:ext uri="{BB962C8B-B14F-4D97-AF65-F5344CB8AC3E}">
        <p14:creationId xmlns:p14="http://schemas.microsoft.com/office/powerpoint/2010/main" val="4137736834"/>
      </p:ext>
    </p:extLst>
  </p:cSld>
  <p:clrMapOvr>
    <a:masterClrMapping/>
  </p:clrMapOvr>
  <p:transition spd="slow">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8_Left half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F95D9BF-B5A2-7247-9F4C-290817CA94AF}"/>
              </a:ext>
            </a:extLst>
          </p:cNvPr>
          <p:cNvSpPr/>
          <p:nvPr userDrawn="1"/>
        </p:nvSpPr>
        <p:spPr>
          <a:xfrm>
            <a:off x="6096794" y="0"/>
            <a:ext cx="609679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1800" b="0" i="0">
              <a:latin typeface="Avenir Next LT Pro" panose="020B0504020202020204" pitchFamily="34" charset="77"/>
            </a:endParaRPr>
          </a:p>
        </p:txBody>
      </p:sp>
      <p:sp>
        <p:nvSpPr>
          <p:cNvPr id="7" name="Picture Placeholder 3"/>
          <p:cNvSpPr>
            <a:spLocks noGrp="1"/>
          </p:cNvSpPr>
          <p:nvPr>
            <p:ph type="pic" sz="quarter" idx="10"/>
          </p:nvPr>
        </p:nvSpPr>
        <p:spPr>
          <a:xfrm>
            <a:off x="0" y="3"/>
            <a:ext cx="6096794" cy="2215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70" y="1924054"/>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4" name="Title 1">
            <a:extLst>
              <a:ext uri="{FF2B5EF4-FFF2-40B4-BE49-F238E27FC236}">
                <a16:creationId xmlns:a16="http://schemas.microsoft.com/office/drawing/2014/main" id="{DA047FE9-9C49-EB6D-2238-A8736778D9BF}"/>
              </a:ext>
            </a:extLst>
          </p:cNvPr>
          <p:cNvSpPr>
            <a:spLocks noGrp="1"/>
          </p:cNvSpPr>
          <p:nvPr>
            <p:ph type="title"/>
          </p:nvPr>
        </p:nvSpPr>
        <p:spPr>
          <a:xfrm>
            <a:off x="6446570" y="552716"/>
            <a:ext cx="5266953" cy="830997"/>
          </a:xfrm>
        </p:spPr>
        <p:txBody>
          <a:bodyPr/>
          <a:lstStyle>
            <a:lvl1pPr>
              <a:defRPr>
                <a:solidFill>
                  <a:schemeClr val="bg1"/>
                </a:solidFill>
              </a:defRPr>
            </a:lvl1pPr>
          </a:lstStyle>
          <a:p>
            <a:r>
              <a:rPr lang="en-US"/>
              <a:t>Click to edit Master title style</a:t>
            </a:r>
          </a:p>
        </p:txBody>
      </p:sp>
      <p:sp>
        <p:nvSpPr>
          <p:cNvPr id="5" name="Text Placeholder 9">
            <a:extLst>
              <a:ext uri="{FF2B5EF4-FFF2-40B4-BE49-F238E27FC236}">
                <a16:creationId xmlns:a16="http://schemas.microsoft.com/office/drawing/2014/main" id="{DEB7BC04-5F36-58FD-B27A-C6E6E6064FD4}"/>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2DC6463-53AF-2341-D32C-EDEAE3A3F7C8}"/>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bg1"/>
                </a:solidFill>
                <a:latin typeface="Avenir Next LT Pro" panose="020B0504020202020204" pitchFamily="34" charset="77"/>
              </a:rPr>
              <a:pPr algn="r"/>
              <a:t>‹#›</a:t>
            </a:fld>
            <a:endParaRPr lang="en-US" sz="1000" b="0" i="0" spc="40" baseline="0">
              <a:solidFill>
                <a:schemeClr val="bg1"/>
              </a:solidFill>
              <a:latin typeface="Avenir Next LT Pro" panose="020B0504020202020204" pitchFamily="34" charset="77"/>
            </a:endParaRPr>
          </a:p>
        </p:txBody>
      </p:sp>
    </p:spTree>
    <p:extLst>
      <p:ext uri="{BB962C8B-B14F-4D97-AF65-F5344CB8AC3E}">
        <p14:creationId xmlns:p14="http://schemas.microsoft.com/office/powerpoint/2010/main" val="3903374657"/>
      </p:ext>
    </p:extLst>
  </p:cSld>
  <p:clrMapOvr>
    <a:masterClrMapping/>
  </p:clrMapOvr>
  <p:transition spd="slow">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7_Left half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F95D9BF-B5A2-7247-9F4C-290817CA94AF}"/>
              </a:ext>
            </a:extLst>
          </p:cNvPr>
          <p:cNvSpPr/>
          <p:nvPr userDrawn="1"/>
        </p:nvSpPr>
        <p:spPr>
          <a:xfrm>
            <a:off x="6096794" y="0"/>
            <a:ext cx="6096794" cy="6858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1800" b="0" i="0">
              <a:latin typeface="Avenir Next LT Pro" panose="020B0504020202020204" pitchFamily="34" charset="77"/>
            </a:endParaRPr>
          </a:p>
        </p:txBody>
      </p:sp>
      <p:sp>
        <p:nvSpPr>
          <p:cNvPr id="7" name="Picture Placeholder 3"/>
          <p:cNvSpPr>
            <a:spLocks noGrp="1"/>
          </p:cNvSpPr>
          <p:nvPr>
            <p:ph type="pic" sz="quarter" idx="10"/>
          </p:nvPr>
        </p:nvSpPr>
        <p:spPr>
          <a:xfrm>
            <a:off x="0" y="3"/>
            <a:ext cx="6096794" cy="2215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70" y="1924054"/>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4" name="Title 1">
            <a:extLst>
              <a:ext uri="{FF2B5EF4-FFF2-40B4-BE49-F238E27FC236}">
                <a16:creationId xmlns:a16="http://schemas.microsoft.com/office/drawing/2014/main" id="{DA047FE9-9C49-EB6D-2238-A8736778D9BF}"/>
              </a:ext>
            </a:extLst>
          </p:cNvPr>
          <p:cNvSpPr>
            <a:spLocks noGrp="1"/>
          </p:cNvSpPr>
          <p:nvPr>
            <p:ph type="title"/>
          </p:nvPr>
        </p:nvSpPr>
        <p:spPr>
          <a:xfrm>
            <a:off x="6446570" y="552716"/>
            <a:ext cx="5266953" cy="830997"/>
          </a:xfrm>
        </p:spPr>
        <p:txBody>
          <a:bodyPr/>
          <a:lstStyle>
            <a:lvl1pPr>
              <a:defRPr>
                <a:solidFill>
                  <a:schemeClr val="bg1"/>
                </a:solidFill>
              </a:defRPr>
            </a:lvl1pPr>
          </a:lstStyle>
          <a:p>
            <a:r>
              <a:rPr lang="en-US"/>
              <a:t>Click to edit Master title style</a:t>
            </a:r>
          </a:p>
        </p:txBody>
      </p:sp>
      <p:sp>
        <p:nvSpPr>
          <p:cNvPr id="5" name="Text Placeholder 9">
            <a:extLst>
              <a:ext uri="{FF2B5EF4-FFF2-40B4-BE49-F238E27FC236}">
                <a16:creationId xmlns:a16="http://schemas.microsoft.com/office/drawing/2014/main" id="{DEB7BC04-5F36-58FD-B27A-C6E6E6064FD4}"/>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2DC6463-53AF-2341-D32C-EDEAE3A3F7C8}"/>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1"/>
                </a:solidFill>
                <a:latin typeface="Avenir Next LT Pro" panose="020B0504020202020204" pitchFamily="34" charset="77"/>
              </a:rPr>
              <a:pPr algn="r"/>
              <a:t>‹#›</a:t>
            </a:fld>
            <a:endParaRPr lang="en-US" sz="1000" b="0" i="0" spc="40" baseline="0">
              <a:solidFill>
                <a:schemeClr val="tx1"/>
              </a:solidFill>
              <a:latin typeface="Avenir Next LT Pro" panose="020B0504020202020204" pitchFamily="34" charset="77"/>
            </a:endParaRPr>
          </a:p>
        </p:txBody>
      </p:sp>
    </p:spTree>
    <p:extLst>
      <p:ext uri="{BB962C8B-B14F-4D97-AF65-F5344CB8AC3E}">
        <p14:creationId xmlns:p14="http://schemas.microsoft.com/office/powerpoint/2010/main" val="1228506649"/>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cSld>
  <p:clrMapOvr>
    <a:masterClrMapping/>
  </p:clrMapOvr>
  <p:transition spd="slow">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6_Left half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F95D9BF-B5A2-7247-9F4C-290817CA94AF}"/>
              </a:ext>
            </a:extLst>
          </p:cNvPr>
          <p:cNvSpPr/>
          <p:nvPr userDrawn="1"/>
        </p:nvSpPr>
        <p:spPr>
          <a:xfrm>
            <a:off x="6096794" y="0"/>
            <a:ext cx="6096794"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1800" b="0" i="0">
              <a:latin typeface="Avenir Next LT Pro" panose="020B0504020202020204" pitchFamily="34" charset="77"/>
            </a:endParaRPr>
          </a:p>
        </p:txBody>
      </p:sp>
      <p:sp>
        <p:nvSpPr>
          <p:cNvPr id="7" name="Picture Placeholder 3"/>
          <p:cNvSpPr>
            <a:spLocks noGrp="1"/>
          </p:cNvSpPr>
          <p:nvPr>
            <p:ph type="pic" sz="quarter" idx="10"/>
          </p:nvPr>
        </p:nvSpPr>
        <p:spPr>
          <a:xfrm>
            <a:off x="0" y="3"/>
            <a:ext cx="6096794" cy="2215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70" y="1924054"/>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4" name="Title 1">
            <a:extLst>
              <a:ext uri="{FF2B5EF4-FFF2-40B4-BE49-F238E27FC236}">
                <a16:creationId xmlns:a16="http://schemas.microsoft.com/office/drawing/2014/main" id="{DA047FE9-9C49-EB6D-2238-A8736778D9BF}"/>
              </a:ext>
            </a:extLst>
          </p:cNvPr>
          <p:cNvSpPr>
            <a:spLocks noGrp="1"/>
          </p:cNvSpPr>
          <p:nvPr>
            <p:ph type="title"/>
          </p:nvPr>
        </p:nvSpPr>
        <p:spPr>
          <a:xfrm>
            <a:off x="6446570" y="552716"/>
            <a:ext cx="5266953" cy="830997"/>
          </a:xfrm>
        </p:spPr>
        <p:txBody>
          <a:bodyPr/>
          <a:lstStyle>
            <a:lvl1pPr>
              <a:defRPr>
                <a:solidFill>
                  <a:schemeClr val="bg1"/>
                </a:solidFill>
              </a:defRPr>
            </a:lvl1pPr>
          </a:lstStyle>
          <a:p>
            <a:r>
              <a:rPr lang="en-US"/>
              <a:t>Click to edit Master title style</a:t>
            </a:r>
          </a:p>
        </p:txBody>
      </p:sp>
      <p:sp>
        <p:nvSpPr>
          <p:cNvPr id="5" name="Text Placeholder 9">
            <a:extLst>
              <a:ext uri="{FF2B5EF4-FFF2-40B4-BE49-F238E27FC236}">
                <a16:creationId xmlns:a16="http://schemas.microsoft.com/office/drawing/2014/main" id="{DEB7BC04-5F36-58FD-B27A-C6E6E6064FD4}"/>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2DC6463-53AF-2341-D32C-EDEAE3A3F7C8}"/>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1"/>
                </a:solidFill>
                <a:latin typeface="Avenir Next LT Pro" panose="020B0504020202020204" pitchFamily="34" charset="77"/>
              </a:rPr>
              <a:pPr algn="r"/>
              <a:t>‹#›</a:t>
            </a:fld>
            <a:endParaRPr lang="en-US" sz="1000" b="0" i="0" spc="40" baseline="0">
              <a:solidFill>
                <a:schemeClr val="tx1"/>
              </a:solidFill>
              <a:latin typeface="Avenir Next LT Pro" panose="020B0504020202020204" pitchFamily="34" charset="77"/>
            </a:endParaRPr>
          </a:p>
        </p:txBody>
      </p:sp>
    </p:spTree>
    <p:extLst>
      <p:ext uri="{BB962C8B-B14F-4D97-AF65-F5344CB8AC3E}">
        <p14:creationId xmlns:p14="http://schemas.microsoft.com/office/powerpoint/2010/main" val="669289980"/>
      </p:ext>
    </p:extLst>
  </p:cSld>
  <p:clrMapOvr>
    <a:masterClrMapping/>
  </p:clrMapOvr>
  <p:transition spd="slow">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7_Page break V1">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4620260-3DA9-5AE3-1C8A-4CDFA2FD8360}"/>
              </a:ext>
            </a:extLst>
          </p:cNvPr>
          <p:cNvSpPr/>
          <p:nvPr userDrawn="1"/>
        </p:nvSpPr>
        <p:spPr>
          <a:xfrm>
            <a:off x="-10240" y="0"/>
            <a:ext cx="6096003" cy="6889150"/>
          </a:xfrm>
          <a:prstGeom prst="rect">
            <a:avLst/>
          </a:prstGeom>
          <a:solidFill>
            <a:srgbClr val="0019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1800" b="0" i="0">
              <a:latin typeface="Avenir Next LT Pro" panose="020B0504020202020204" pitchFamily="34" charset="77"/>
            </a:endParaRPr>
          </a:p>
        </p:txBody>
      </p:sp>
      <p:sp>
        <p:nvSpPr>
          <p:cNvPr id="11" name="Title 1">
            <a:extLst>
              <a:ext uri="{FF2B5EF4-FFF2-40B4-BE49-F238E27FC236}">
                <a16:creationId xmlns:a16="http://schemas.microsoft.com/office/drawing/2014/main" id="{217B33A1-77D1-BA89-A17B-305986D5621F}"/>
              </a:ext>
            </a:extLst>
          </p:cNvPr>
          <p:cNvSpPr>
            <a:spLocks noGrp="1"/>
          </p:cNvSpPr>
          <p:nvPr>
            <p:ph type="title"/>
          </p:nvPr>
        </p:nvSpPr>
        <p:spPr>
          <a:xfrm>
            <a:off x="565460" y="2260114"/>
            <a:ext cx="5046447" cy="941796"/>
          </a:xfrm>
          <a:prstGeom prst="rect">
            <a:avLst/>
          </a:prstGeom>
        </p:spPr>
        <p:txBody>
          <a:bodyPr lIns="0" tIns="0" rIns="0" bIns="0"/>
          <a:lstStyle>
            <a:lvl1pPr>
              <a:defRPr sz="3400" b="1" i="0">
                <a:solidFill>
                  <a:schemeClr val="accent2"/>
                </a:solidFill>
                <a:latin typeface="Avenir Next LT Pro" panose="020B0504020202020204" pitchFamily="34" charset="77"/>
              </a:defRPr>
            </a:lvl1pPr>
          </a:lstStyle>
          <a:p>
            <a:r>
              <a:rPr lang="en-US"/>
              <a:t>Click to edit Master title style</a:t>
            </a:r>
          </a:p>
        </p:txBody>
      </p:sp>
      <p:sp>
        <p:nvSpPr>
          <p:cNvPr id="13" name="Text Placeholder 9">
            <a:extLst>
              <a:ext uri="{FF2B5EF4-FFF2-40B4-BE49-F238E27FC236}">
                <a16:creationId xmlns:a16="http://schemas.microsoft.com/office/drawing/2014/main" id="{9BF14781-F7C5-28CD-EA36-2EA983C7DA17}"/>
              </a:ext>
            </a:extLst>
          </p:cNvPr>
          <p:cNvSpPr>
            <a:spLocks noGrp="1"/>
          </p:cNvSpPr>
          <p:nvPr>
            <p:ph type="body" sz="quarter" idx="12" hasCustomPrompt="1"/>
          </p:nvPr>
        </p:nvSpPr>
        <p:spPr>
          <a:xfrm>
            <a:off x="549243" y="4040923"/>
            <a:ext cx="4897401"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Insert location, place, date, time etc.)</a:t>
            </a:r>
          </a:p>
        </p:txBody>
      </p:sp>
    </p:spTree>
    <p:extLst>
      <p:ext uri="{BB962C8B-B14F-4D97-AF65-F5344CB8AC3E}">
        <p14:creationId xmlns:p14="http://schemas.microsoft.com/office/powerpoint/2010/main" val="2815104771"/>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6_Titles only">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7" name="Rectangle 6">
            <a:extLst>
              <a:ext uri="{FF2B5EF4-FFF2-40B4-BE49-F238E27FC236}">
                <a16:creationId xmlns:a16="http://schemas.microsoft.com/office/drawing/2014/main" id="{9DB270F1-B40D-2246-A956-F1D47E227370}"/>
              </a:ext>
            </a:extLst>
          </p:cNvPr>
          <p:cNvSpPr/>
          <p:nvPr userDrawn="1"/>
        </p:nvSpPr>
        <p:spPr>
          <a:xfrm>
            <a:off x="0" y="1458000"/>
            <a:ext cx="12193588" cy="54675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2" name="Title 1">
            <a:extLst>
              <a:ext uri="{FF2B5EF4-FFF2-40B4-BE49-F238E27FC236}">
                <a16:creationId xmlns:a16="http://schemas.microsoft.com/office/drawing/2014/main" id="{C48E50A3-CD8F-C800-8D64-A2446E516B96}"/>
              </a:ext>
            </a:extLst>
          </p:cNvPr>
          <p:cNvSpPr>
            <a:spLocks noGrp="1"/>
          </p:cNvSpPr>
          <p:nvPr>
            <p:ph type="title"/>
          </p:nvPr>
        </p:nvSpPr>
        <p:spPr>
          <a:xfrm>
            <a:off x="565459" y="552717"/>
            <a:ext cx="10017711" cy="360099"/>
          </a:xfrm>
        </p:spPr>
        <p:txBody>
          <a:bodyPr/>
          <a:lstStyle>
            <a:lvl1pPr>
              <a:defRPr sz="2600">
                <a:solidFill>
                  <a:schemeClr val="tx1"/>
                </a:solidFill>
              </a:defRPr>
            </a:lvl1pPr>
          </a:lstStyle>
          <a:p>
            <a:r>
              <a:rPr lang="en-US"/>
              <a:t>Click to edit Master title style</a:t>
            </a:r>
          </a:p>
        </p:txBody>
      </p:sp>
      <p:sp>
        <p:nvSpPr>
          <p:cNvPr id="3" name="Text Placeholder 9">
            <a:extLst>
              <a:ext uri="{FF2B5EF4-FFF2-40B4-BE49-F238E27FC236}">
                <a16:creationId xmlns:a16="http://schemas.microsoft.com/office/drawing/2014/main" id="{BEEB4D7A-3FF8-2422-96A4-39526DE5BA7E}"/>
              </a:ext>
            </a:extLst>
          </p:cNvPr>
          <p:cNvSpPr>
            <a:spLocks noGrp="1"/>
          </p:cNvSpPr>
          <p:nvPr>
            <p:ph type="body" sz="quarter" idx="11"/>
          </p:nvPr>
        </p:nvSpPr>
        <p:spPr>
          <a:xfrm>
            <a:off x="565460"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CC426A7C-39F7-A545-D883-51CB79E99304}"/>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4" name="Graphic 3">
            <a:extLst>
              <a:ext uri="{FF2B5EF4-FFF2-40B4-BE49-F238E27FC236}">
                <a16:creationId xmlns:a16="http://schemas.microsoft.com/office/drawing/2014/main" id="{D24D4D3A-AB79-5963-B609-8DF022F4E7AA}"/>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604089561"/>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5_Titles only">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7" name="Rectangle 6">
            <a:extLst>
              <a:ext uri="{FF2B5EF4-FFF2-40B4-BE49-F238E27FC236}">
                <a16:creationId xmlns:a16="http://schemas.microsoft.com/office/drawing/2014/main" id="{9DB270F1-B40D-2246-A956-F1D47E227370}"/>
              </a:ext>
            </a:extLst>
          </p:cNvPr>
          <p:cNvSpPr/>
          <p:nvPr userDrawn="1"/>
        </p:nvSpPr>
        <p:spPr>
          <a:xfrm>
            <a:off x="0" y="1458000"/>
            <a:ext cx="12193588" cy="54675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2" name="Title 1">
            <a:extLst>
              <a:ext uri="{FF2B5EF4-FFF2-40B4-BE49-F238E27FC236}">
                <a16:creationId xmlns:a16="http://schemas.microsoft.com/office/drawing/2014/main" id="{C48E50A3-CD8F-C800-8D64-A2446E516B96}"/>
              </a:ext>
            </a:extLst>
          </p:cNvPr>
          <p:cNvSpPr>
            <a:spLocks noGrp="1"/>
          </p:cNvSpPr>
          <p:nvPr>
            <p:ph type="title"/>
          </p:nvPr>
        </p:nvSpPr>
        <p:spPr>
          <a:xfrm>
            <a:off x="565459" y="552717"/>
            <a:ext cx="10017711" cy="360099"/>
          </a:xfrm>
        </p:spPr>
        <p:txBody>
          <a:bodyPr/>
          <a:lstStyle>
            <a:lvl1pPr>
              <a:defRPr sz="2600">
                <a:solidFill>
                  <a:schemeClr val="tx1"/>
                </a:solidFill>
              </a:defRPr>
            </a:lvl1pPr>
          </a:lstStyle>
          <a:p>
            <a:r>
              <a:rPr lang="en-US"/>
              <a:t>Click to edit Master title style</a:t>
            </a:r>
          </a:p>
        </p:txBody>
      </p:sp>
      <p:sp>
        <p:nvSpPr>
          <p:cNvPr id="3" name="Text Placeholder 9">
            <a:extLst>
              <a:ext uri="{FF2B5EF4-FFF2-40B4-BE49-F238E27FC236}">
                <a16:creationId xmlns:a16="http://schemas.microsoft.com/office/drawing/2014/main" id="{BEEB4D7A-3FF8-2422-96A4-39526DE5BA7E}"/>
              </a:ext>
            </a:extLst>
          </p:cNvPr>
          <p:cNvSpPr>
            <a:spLocks noGrp="1"/>
          </p:cNvSpPr>
          <p:nvPr>
            <p:ph type="body" sz="quarter" idx="11"/>
          </p:nvPr>
        </p:nvSpPr>
        <p:spPr>
          <a:xfrm>
            <a:off x="565460"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CC426A7C-39F7-A545-D883-51CB79E99304}"/>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4" name="Graphic 3">
            <a:extLst>
              <a:ext uri="{FF2B5EF4-FFF2-40B4-BE49-F238E27FC236}">
                <a16:creationId xmlns:a16="http://schemas.microsoft.com/office/drawing/2014/main" id="{051E701C-C1CE-3406-C1A8-11F328C86F35}"/>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1189236818"/>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3_Titles only">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7" name="Rectangle 6">
            <a:extLst>
              <a:ext uri="{FF2B5EF4-FFF2-40B4-BE49-F238E27FC236}">
                <a16:creationId xmlns:a16="http://schemas.microsoft.com/office/drawing/2014/main" id="{9DB270F1-B40D-2246-A956-F1D47E227370}"/>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2" name="Title 1">
            <a:extLst>
              <a:ext uri="{FF2B5EF4-FFF2-40B4-BE49-F238E27FC236}">
                <a16:creationId xmlns:a16="http://schemas.microsoft.com/office/drawing/2014/main" id="{C48E50A3-CD8F-C800-8D64-A2446E516B96}"/>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BEEB4D7A-3FF8-2422-96A4-39526DE5BA7E}"/>
              </a:ext>
            </a:extLst>
          </p:cNvPr>
          <p:cNvSpPr>
            <a:spLocks noGrp="1"/>
          </p:cNvSpPr>
          <p:nvPr>
            <p:ph type="body" sz="quarter" idx="11"/>
          </p:nvPr>
        </p:nvSpPr>
        <p:spPr>
          <a:xfrm>
            <a:off x="565460"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CC426A7C-39F7-A545-D883-51CB79E99304}"/>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4" name="Graphic 3">
            <a:extLst>
              <a:ext uri="{FF2B5EF4-FFF2-40B4-BE49-F238E27FC236}">
                <a16:creationId xmlns:a16="http://schemas.microsoft.com/office/drawing/2014/main" id="{F1C9822C-B5F4-D9B7-21EF-0A1845B42C8A}"/>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2047683972"/>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2_Titles only">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2" name="Rectangle 1">
            <a:extLst>
              <a:ext uri="{FF2B5EF4-FFF2-40B4-BE49-F238E27FC236}">
                <a16:creationId xmlns:a16="http://schemas.microsoft.com/office/drawing/2014/main" id="{13782217-6487-F6BB-01E4-499FC8E30A1F}"/>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3" name="Title 1">
            <a:extLst>
              <a:ext uri="{FF2B5EF4-FFF2-40B4-BE49-F238E27FC236}">
                <a16:creationId xmlns:a16="http://schemas.microsoft.com/office/drawing/2014/main" id="{89549BBD-E8E8-2346-3D50-48B478C393EF}"/>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18774A25-19A6-95AF-8FB4-98DFE8F1382B}"/>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9027F306-9D8C-2F25-FD18-D6EB3DE8FC5D}"/>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382D8668-7E35-E451-A960-F5E235DC9D98}"/>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spTree>
    <p:extLst>
      <p:ext uri="{BB962C8B-B14F-4D97-AF65-F5344CB8AC3E}">
        <p14:creationId xmlns:p14="http://schemas.microsoft.com/office/powerpoint/2010/main" val="3851787743"/>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6_3 images + descri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887A79-7AC5-5C4A-503C-92DC098B758E}"/>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4" name="Content Placeholder 3"/>
          <p:cNvSpPr>
            <a:spLocks noGrp="1"/>
          </p:cNvSpPr>
          <p:nvPr>
            <p:ph sz="quarter" idx="18" hasCustomPrompt="1"/>
          </p:nvPr>
        </p:nvSpPr>
        <p:spPr>
          <a:xfrm>
            <a:off x="565460"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5" name="Text Placeholder 4"/>
          <p:cNvSpPr>
            <a:spLocks noGrp="1"/>
          </p:cNvSpPr>
          <p:nvPr>
            <p:ph type="body" sz="quarter" idx="15"/>
          </p:nvPr>
        </p:nvSpPr>
        <p:spPr>
          <a:xfrm>
            <a:off x="551938" y="5098408"/>
            <a:ext cx="3529869"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26" name="Content Placeholder 3">
            <a:extLst>
              <a:ext uri="{FF2B5EF4-FFF2-40B4-BE49-F238E27FC236}">
                <a16:creationId xmlns:a16="http://schemas.microsoft.com/office/drawing/2014/main" id="{9E472C2D-B119-1348-ABB7-4B27DBE81FC4}"/>
              </a:ext>
            </a:extLst>
          </p:cNvPr>
          <p:cNvSpPr>
            <a:spLocks noGrp="1"/>
          </p:cNvSpPr>
          <p:nvPr>
            <p:ph sz="quarter" idx="19" hasCustomPrompt="1"/>
          </p:nvPr>
        </p:nvSpPr>
        <p:spPr>
          <a:xfrm>
            <a:off x="4315588"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7" name="Text Placeholder 4">
            <a:extLst>
              <a:ext uri="{FF2B5EF4-FFF2-40B4-BE49-F238E27FC236}">
                <a16:creationId xmlns:a16="http://schemas.microsoft.com/office/drawing/2014/main" id="{6B86DBF1-6757-494E-BB09-B02F75D7942F}"/>
              </a:ext>
            </a:extLst>
          </p:cNvPr>
          <p:cNvSpPr>
            <a:spLocks noGrp="1"/>
          </p:cNvSpPr>
          <p:nvPr>
            <p:ph type="body" sz="quarter" idx="20"/>
          </p:nvPr>
        </p:nvSpPr>
        <p:spPr>
          <a:xfrm>
            <a:off x="4315589" y="5098408"/>
            <a:ext cx="3529869"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28" name="Content Placeholder 3">
            <a:extLst>
              <a:ext uri="{FF2B5EF4-FFF2-40B4-BE49-F238E27FC236}">
                <a16:creationId xmlns:a16="http://schemas.microsoft.com/office/drawing/2014/main" id="{9D47F0CA-7587-3F49-929E-E48CC948FFEF}"/>
              </a:ext>
            </a:extLst>
          </p:cNvPr>
          <p:cNvSpPr>
            <a:spLocks noGrp="1"/>
          </p:cNvSpPr>
          <p:nvPr>
            <p:ph sz="quarter" idx="21" hasCustomPrompt="1"/>
          </p:nvPr>
        </p:nvSpPr>
        <p:spPr>
          <a:xfrm>
            <a:off x="8065717"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9" name="Text Placeholder 4">
            <a:extLst>
              <a:ext uri="{FF2B5EF4-FFF2-40B4-BE49-F238E27FC236}">
                <a16:creationId xmlns:a16="http://schemas.microsoft.com/office/drawing/2014/main" id="{C231C06B-3EE2-A348-A91C-CAFBBAF74FA0}"/>
              </a:ext>
            </a:extLst>
          </p:cNvPr>
          <p:cNvSpPr>
            <a:spLocks noGrp="1"/>
          </p:cNvSpPr>
          <p:nvPr>
            <p:ph type="body" sz="quarter" idx="22"/>
          </p:nvPr>
        </p:nvSpPr>
        <p:spPr>
          <a:xfrm>
            <a:off x="8065718" y="5098408"/>
            <a:ext cx="3529869"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3" name="Title 1">
            <a:extLst>
              <a:ext uri="{FF2B5EF4-FFF2-40B4-BE49-F238E27FC236}">
                <a16:creationId xmlns:a16="http://schemas.microsoft.com/office/drawing/2014/main" id="{DBF411DD-945C-4A72-1FBB-BC99017FA8F9}"/>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6" name="Text Placeholder 9">
            <a:extLst>
              <a:ext uri="{FF2B5EF4-FFF2-40B4-BE49-F238E27FC236}">
                <a16:creationId xmlns:a16="http://schemas.microsoft.com/office/drawing/2014/main" id="{7945EEC3-B051-A336-D42E-3BB3BFCED291}"/>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8" name="TextBox 7">
            <a:extLst>
              <a:ext uri="{FF2B5EF4-FFF2-40B4-BE49-F238E27FC236}">
                <a16:creationId xmlns:a16="http://schemas.microsoft.com/office/drawing/2014/main" id="{18E0ADA8-4CE7-A0B6-7DF3-AD8AA6E44AE0}"/>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9" name="TextBox 8">
            <a:extLst>
              <a:ext uri="{FF2B5EF4-FFF2-40B4-BE49-F238E27FC236}">
                <a16:creationId xmlns:a16="http://schemas.microsoft.com/office/drawing/2014/main" id="{97EFE607-1873-412D-8757-FB24DA34D8B2}"/>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7" name="Graphic 6">
            <a:extLst>
              <a:ext uri="{FF2B5EF4-FFF2-40B4-BE49-F238E27FC236}">
                <a16:creationId xmlns:a16="http://schemas.microsoft.com/office/drawing/2014/main" id="{10C65B7C-FB44-F0E8-A6B6-D74728393EAB}"/>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2224637045"/>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5_Left half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F95D9BF-B5A2-7247-9F4C-290817CA94AF}"/>
              </a:ext>
            </a:extLst>
          </p:cNvPr>
          <p:cNvSpPr/>
          <p:nvPr userDrawn="1"/>
        </p:nvSpPr>
        <p:spPr>
          <a:xfrm>
            <a:off x="6096794" y="0"/>
            <a:ext cx="609679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sz="1800" b="0" i="0">
              <a:latin typeface="Avenir Next LT Pro" panose="020B0504020202020204" pitchFamily="34" charset="77"/>
            </a:endParaRPr>
          </a:p>
        </p:txBody>
      </p:sp>
      <p:sp>
        <p:nvSpPr>
          <p:cNvPr id="7" name="Picture Placeholder 3"/>
          <p:cNvSpPr>
            <a:spLocks noGrp="1"/>
          </p:cNvSpPr>
          <p:nvPr>
            <p:ph type="pic" sz="quarter" idx="10"/>
          </p:nvPr>
        </p:nvSpPr>
        <p:spPr>
          <a:xfrm>
            <a:off x="0" y="3"/>
            <a:ext cx="6096794" cy="221599"/>
          </a:xfrm>
          <a:prstGeom prst="rect">
            <a:avLst/>
          </a:prstGeom>
          <a:noFill/>
          <a:ln w="9525">
            <a:noFill/>
          </a:ln>
        </p:spPr>
        <p:txBody>
          <a:bodyPr/>
          <a:lstStyle>
            <a:lvl1pPr marL="0" indent="0">
              <a:buNone/>
              <a:defRPr sz="1600" b="0" i="0">
                <a:solidFill>
                  <a:schemeClr val="accent4"/>
                </a:solidFill>
                <a:latin typeface="Avenir Next LT Pro" panose="020B0504020202020204" pitchFamily="34" charset="77"/>
              </a:defRPr>
            </a:lvl1pPr>
          </a:lstStyle>
          <a:p>
            <a:r>
              <a:rPr lang="en-US"/>
              <a:t>Click icon to add picture</a:t>
            </a:r>
          </a:p>
        </p:txBody>
      </p:sp>
      <p:sp>
        <p:nvSpPr>
          <p:cNvPr id="6" name="Text Placeholder 2"/>
          <p:cNvSpPr>
            <a:spLocks noGrp="1"/>
          </p:cNvSpPr>
          <p:nvPr>
            <p:ph type="body" sz="quarter" idx="12"/>
          </p:nvPr>
        </p:nvSpPr>
        <p:spPr>
          <a:xfrm>
            <a:off x="6446570" y="1924054"/>
            <a:ext cx="5266953" cy="84843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4" name="Title 1">
            <a:extLst>
              <a:ext uri="{FF2B5EF4-FFF2-40B4-BE49-F238E27FC236}">
                <a16:creationId xmlns:a16="http://schemas.microsoft.com/office/drawing/2014/main" id="{DA047FE9-9C49-EB6D-2238-A8736778D9BF}"/>
              </a:ext>
            </a:extLst>
          </p:cNvPr>
          <p:cNvSpPr>
            <a:spLocks noGrp="1"/>
          </p:cNvSpPr>
          <p:nvPr>
            <p:ph type="title"/>
          </p:nvPr>
        </p:nvSpPr>
        <p:spPr>
          <a:xfrm>
            <a:off x="6446570" y="552716"/>
            <a:ext cx="5266953" cy="830997"/>
          </a:xfrm>
        </p:spPr>
        <p:txBody>
          <a:bodyPr/>
          <a:lstStyle>
            <a:lvl1pPr>
              <a:defRPr>
                <a:solidFill>
                  <a:schemeClr val="bg1"/>
                </a:solidFill>
              </a:defRPr>
            </a:lvl1pPr>
          </a:lstStyle>
          <a:p>
            <a:r>
              <a:rPr lang="en-US"/>
              <a:t>Click to edit Master title style</a:t>
            </a:r>
          </a:p>
        </p:txBody>
      </p:sp>
      <p:sp>
        <p:nvSpPr>
          <p:cNvPr id="5" name="Text Placeholder 9">
            <a:extLst>
              <a:ext uri="{FF2B5EF4-FFF2-40B4-BE49-F238E27FC236}">
                <a16:creationId xmlns:a16="http://schemas.microsoft.com/office/drawing/2014/main" id="{DEB7BC04-5F36-58FD-B27A-C6E6E6064FD4}"/>
              </a:ext>
            </a:extLst>
          </p:cNvPr>
          <p:cNvSpPr>
            <a:spLocks noGrp="1"/>
          </p:cNvSpPr>
          <p:nvPr>
            <p:ph type="body" sz="quarter" idx="11"/>
          </p:nvPr>
        </p:nvSpPr>
        <p:spPr>
          <a:xfrm>
            <a:off x="6446570" y="1021031"/>
            <a:ext cx="5260426"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2DC6463-53AF-2341-D32C-EDEAE3A3F7C8}"/>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1"/>
                </a:solidFill>
                <a:latin typeface="Avenir Next LT Pro" panose="020B0504020202020204" pitchFamily="34" charset="77"/>
              </a:rPr>
              <a:pPr algn="r"/>
              <a:t>‹#›</a:t>
            </a:fld>
            <a:endParaRPr lang="en-US" sz="1000" b="0" i="0" spc="40" baseline="0">
              <a:solidFill>
                <a:schemeClr val="tx1"/>
              </a:solidFill>
              <a:latin typeface="Avenir Next LT Pro" panose="020B0504020202020204" pitchFamily="34" charset="77"/>
            </a:endParaRPr>
          </a:p>
        </p:txBody>
      </p:sp>
    </p:spTree>
    <p:extLst>
      <p:ext uri="{BB962C8B-B14F-4D97-AF65-F5344CB8AC3E}">
        <p14:creationId xmlns:p14="http://schemas.microsoft.com/office/powerpoint/2010/main" val="3854699784"/>
      </p:ext>
    </p:extLst>
  </p:cSld>
  <p:clrMapOvr>
    <a:masterClrMapping/>
  </p:clrMapOvr>
  <p:transition spd="slow">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Divider slide 3">
    <p:spTree>
      <p:nvGrpSpPr>
        <p:cNvPr id="1" name=""/>
        <p:cNvGrpSpPr/>
        <p:nvPr/>
      </p:nvGrpSpPr>
      <p:grpSpPr>
        <a:xfrm>
          <a:off x="0" y="0"/>
          <a:ext cx="0" cy="0"/>
          <a:chOff x="0" y="0"/>
          <a:chExt cx="0" cy="0"/>
        </a:xfrm>
      </p:grpSpPr>
      <p:sp>
        <p:nvSpPr>
          <p:cNvPr id="6" name="Title 8"/>
          <p:cNvSpPr>
            <a:spLocks noGrp="1"/>
          </p:cNvSpPr>
          <p:nvPr>
            <p:ph type="title"/>
          </p:nvPr>
        </p:nvSpPr>
        <p:spPr>
          <a:xfrm>
            <a:off x="838309" y="2385601"/>
            <a:ext cx="10516970" cy="415498"/>
          </a:xfrm>
        </p:spPr>
        <p:txBody>
          <a:bodyPr/>
          <a:lstStyle>
            <a:lvl1pPr algn="ctr">
              <a:defRPr>
                <a:solidFill>
                  <a:schemeClr val="tx2"/>
                </a:solidFill>
              </a:defRPr>
            </a:lvl1pPr>
          </a:lstStyle>
          <a:p>
            <a:r>
              <a:rPr lang="en-US"/>
              <a:t>Click to edit Master title style</a:t>
            </a:r>
          </a:p>
        </p:txBody>
      </p:sp>
      <p:sp>
        <p:nvSpPr>
          <p:cNvPr id="9" name="Text Placeholder 3"/>
          <p:cNvSpPr>
            <a:spLocks noGrp="1"/>
          </p:cNvSpPr>
          <p:nvPr>
            <p:ph type="body" sz="quarter" idx="11"/>
          </p:nvPr>
        </p:nvSpPr>
        <p:spPr>
          <a:xfrm>
            <a:off x="838309" y="3025861"/>
            <a:ext cx="10516970" cy="249299"/>
          </a:xfrm>
          <a:prstGeom prst="rect">
            <a:avLst/>
          </a:prstGeom>
        </p:spPr>
        <p:txBody>
          <a:bodyPr/>
          <a:lstStyle>
            <a:lvl1pPr marL="0" indent="0" algn="ctr">
              <a:buNone/>
              <a:defRPr b="0" i="0">
                <a:solidFill>
                  <a:schemeClr val="tx1"/>
                </a:solidFill>
                <a:latin typeface="Avenir Next LT Pro" panose="020B0504020202020204" pitchFamily="34" charset="77"/>
              </a:defRPr>
            </a:lvl1pPr>
          </a:lstStyle>
          <a:p>
            <a:pPr lvl="0"/>
            <a:r>
              <a:rPr lang="en-US"/>
              <a:t>Click to edit Master text styles</a:t>
            </a:r>
          </a:p>
        </p:txBody>
      </p:sp>
      <p:pic>
        <p:nvPicPr>
          <p:cNvPr id="2" name="Graphic 1">
            <a:extLst>
              <a:ext uri="{FF2B5EF4-FFF2-40B4-BE49-F238E27FC236}">
                <a16:creationId xmlns:a16="http://schemas.microsoft.com/office/drawing/2014/main" id="{245A9844-E214-EDC2-D08B-947D8DE6DAD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1058290314"/>
      </p:ext>
    </p:extLst>
  </p:cSld>
  <p:clrMapOvr>
    <a:masterClrMapping/>
  </p:clrMapOvr>
  <p:transition spd="slow">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5_Titles only">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2" name="Title 1">
            <a:extLst>
              <a:ext uri="{FF2B5EF4-FFF2-40B4-BE49-F238E27FC236}">
                <a16:creationId xmlns:a16="http://schemas.microsoft.com/office/drawing/2014/main" id="{083E5FDF-E153-FB83-59F8-C3342050DE2D}"/>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9DD7CAFE-A12E-5475-CF59-1899CB4CCFB7}"/>
              </a:ext>
            </a:extLst>
          </p:cNvPr>
          <p:cNvSpPr>
            <a:spLocks noGrp="1"/>
          </p:cNvSpPr>
          <p:nvPr>
            <p:ph type="body" sz="quarter" idx="11"/>
          </p:nvPr>
        </p:nvSpPr>
        <p:spPr>
          <a:xfrm>
            <a:off x="565460"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F2A6583E-996E-9E75-7882-FF852DCA2D48}"/>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4" name="Graphic 3">
            <a:extLst>
              <a:ext uri="{FF2B5EF4-FFF2-40B4-BE49-F238E27FC236}">
                <a16:creationId xmlns:a16="http://schemas.microsoft.com/office/drawing/2014/main" id="{33828F19-F14B-70A0-E465-C2A254EAB62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1035716224"/>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s +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5DCBE4-2474-E18F-D85B-AD8A02BDAB2C}"/>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b="0" i="0">
              <a:latin typeface="Avenir Next LT Pro" panose="020B0504020202020204" pitchFamily="34" charset="77"/>
            </a:endParaRPr>
          </a:p>
        </p:txBody>
      </p:sp>
      <p:sp>
        <p:nvSpPr>
          <p:cNvPr id="3" name="Title 1">
            <a:extLst>
              <a:ext uri="{FF2B5EF4-FFF2-40B4-BE49-F238E27FC236}">
                <a16:creationId xmlns:a16="http://schemas.microsoft.com/office/drawing/2014/main" id="{E0A6DB9D-E6AB-6967-43E9-EE1FC0BE859A}"/>
              </a:ext>
            </a:extLst>
          </p:cNvPr>
          <p:cNvSpPr>
            <a:spLocks noGrp="1"/>
          </p:cNvSpPr>
          <p:nvPr>
            <p:ph type="title"/>
          </p:nvPr>
        </p:nvSpPr>
        <p:spPr>
          <a:xfrm>
            <a:off x="565459" y="552715"/>
            <a:ext cx="10098869"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286C8244-E396-CD67-B252-189D777C81BE}"/>
              </a:ext>
            </a:extLst>
          </p:cNvPr>
          <p:cNvSpPr>
            <a:spLocks noGrp="1"/>
          </p:cNvSpPr>
          <p:nvPr>
            <p:ph type="body" sz="quarter" idx="11"/>
          </p:nvPr>
        </p:nvSpPr>
        <p:spPr>
          <a:xfrm>
            <a:off x="565459"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12" name="Text Placeholder 5"/>
          <p:cNvSpPr>
            <a:spLocks noGrp="1"/>
          </p:cNvSpPr>
          <p:nvPr>
            <p:ph type="body" sz="quarter" idx="12"/>
          </p:nvPr>
        </p:nvSpPr>
        <p:spPr>
          <a:xfrm>
            <a:off x="565458" y="1634067"/>
            <a:ext cx="11029035" cy="457411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5" name="TextBox 4">
            <a:extLst>
              <a:ext uri="{FF2B5EF4-FFF2-40B4-BE49-F238E27FC236}">
                <a16:creationId xmlns:a16="http://schemas.microsoft.com/office/drawing/2014/main" id="{9AE4B553-B7AB-8210-F80F-5BEF4CCCCF0C}"/>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Graphic 5">
            <a:extLst>
              <a:ext uri="{FF2B5EF4-FFF2-40B4-BE49-F238E27FC236}">
                <a16:creationId xmlns:a16="http://schemas.microsoft.com/office/drawing/2014/main" id="{4B930850-0D20-8B2F-3BB3-623EFC907C1D}"/>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3500185704"/>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4_Titles only">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7" name="Rectangle 6">
            <a:extLst>
              <a:ext uri="{FF2B5EF4-FFF2-40B4-BE49-F238E27FC236}">
                <a16:creationId xmlns:a16="http://schemas.microsoft.com/office/drawing/2014/main" id="{9DB270F1-B40D-2246-A956-F1D47E227370}"/>
              </a:ext>
            </a:extLst>
          </p:cNvPr>
          <p:cNvSpPr/>
          <p:nvPr userDrawn="1"/>
        </p:nvSpPr>
        <p:spPr>
          <a:xfrm>
            <a:off x="0" y="1458000"/>
            <a:ext cx="12193588" cy="540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2" name="Title 1">
            <a:extLst>
              <a:ext uri="{FF2B5EF4-FFF2-40B4-BE49-F238E27FC236}">
                <a16:creationId xmlns:a16="http://schemas.microsoft.com/office/drawing/2014/main" id="{C48E50A3-CD8F-C800-8D64-A2446E516B96}"/>
              </a:ext>
            </a:extLst>
          </p:cNvPr>
          <p:cNvSpPr>
            <a:spLocks noGrp="1"/>
          </p:cNvSpPr>
          <p:nvPr>
            <p:ph type="title"/>
          </p:nvPr>
        </p:nvSpPr>
        <p:spPr>
          <a:xfrm>
            <a:off x="565459" y="552715"/>
            <a:ext cx="10017711"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BEEB4D7A-3FF8-2422-96A4-39526DE5BA7E}"/>
              </a:ext>
            </a:extLst>
          </p:cNvPr>
          <p:cNvSpPr>
            <a:spLocks noGrp="1"/>
          </p:cNvSpPr>
          <p:nvPr>
            <p:ph type="body" sz="quarter" idx="11"/>
          </p:nvPr>
        </p:nvSpPr>
        <p:spPr>
          <a:xfrm>
            <a:off x="565460" y="1021031"/>
            <a:ext cx="10005297"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CC426A7C-39F7-A545-D883-51CB79E99304}"/>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4" name="Graphic 3">
            <a:extLst>
              <a:ext uri="{FF2B5EF4-FFF2-40B4-BE49-F238E27FC236}">
                <a16:creationId xmlns:a16="http://schemas.microsoft.com/office/drawing/2014/main" id="{E5C21A66-DF9F-89A2-2189-1D79DA9DCABB}"/>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3516645056"/>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3_Titles only">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2" name="Rectangle 1">
            <a:extLst>
              <a:ext uri="{FF2B5EF4-FFF2-40B4-BE49-F238E27FC236}">
                <a16:creationId xmlns:a16="http://schemas.microsoft.com/office/drawing/2014/main" id="{13782217-6487-F6BB-01E4-499FC8E30A1F}"/>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3" name="Title 1">
            <a:extLst>
              <a:ext uri="{FF2B5EF4-FFF2-40B4-BE49-F238E27FC236}">
                <a16:creationId xmlns:a16="http://schemas.microsoft.com/office/drawing/2014/main" id="{89549BBD-E8E8-2346-3D50-48B478C393EF}"/>
              </a:ext>
            </a:extLst>
          </p:cNvPr>
          <p:cNvSpPr>
            <a:spLocks noGrp="1"/>
          </p:cNvSpPr>
          <p:nvPr>
            <p:ph type="title"/>
          </p:nvPr>
        </p:nvSpPr>
        <p:spPr>
          <a:xfrm>
            <a:off x="565460" y="552717"/>
            <a:ext cx="10245477" cy="360099"/>
          </a:xfrm>
        </p:spPr>
        <p:txBody>
          <a:bodyPr/>
          <a:lstStyle>
            <a:lvl1pPr>
              <a:defRPr sz="2600">
                <a:solidFill>
                  <a:schemeClr val="tx1"/>
                </a:solidFill>
              </a:defRPr>
            </a:lvl1pPr>
          </a:lstStyle>
          <a:p>
            <a:r>
              <a:rPr lang="en-US"/>
              <a:t>Click to edit Master title style</a:t>
            </a:r>
          </a:p>
        </p:txBody>
      </p:sp>
      <p:sp>
        <p:nvSpPr>
          <p:cNvPr id="4" name="Text Placeholder 9">
            <a:extLst>
              <a:ext uri="{FF2B5EF4-FFF2-40B4-BE49-F238E27FC236}">
                <a16:creationId xmlns:a16="http://schemas.microsoft.com/office/drawing/2014/main" id="{18774A25-19A6-95AF-8FB4-98DFE8F1382B}"/>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9027F306-9D8C-2F25-FD18-D6EB3DE8FC5D}"/>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Tree>
    <p:extLst>
      <p:ext uri="{BB962C8B-B14F-4D97-AF65-F5344CB8AC3E}">
        <p14:creationId xmlns:p14="http://schemas.microsoft.com/office/powerpoint/2010/main" val="1939198192"/>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1_Titles + text">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12" name="Text Placeholder 5"/>
          <p:cNvSpPr>
            <a:spLocks noGrp="1"/>
          </p:cNvSpPr>
          <p:nvPr>
            <p:ph type="body" sz="quarter" idx="12"/>
          </p:nvPr>
        </p:nvSpPr>
        <p:spPr>
          <a:xfrm>
            <a:off x="565459" y="1634068"/>
            <a:ext cx="11029035" cy="84843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3" name="Title 1">
            <a:extLst>
              <a:ext uri="{FF2B5EF4-FFF2-40B4-BE49-F238E27FC236}">
                <a16:creationId xmlns:a16="http://schemas.microsoft.com/office/drawing/2014/main" id="{4320D004-6754-4910-E736-BD1ADFAF98CC}"/>
              </a:ext>
            </a:extLst>
          </p:cNvPr>
          <p:cNvSpPr>
            <a:spLocks noGrp="1"/>
          </p:cNvSpPr>
          <p:nvPr>
            <p:ph type="title"/>
          </p:nvPr>
        </p:nvSpPr>
        <p:spPr>
          <a:xfrm>
            <a:off x="565460" y="552715"/>
            <a:ext cx="10098869"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39C08247-062F-0676-8498-BA3B732A36AC}"/>
              </a:ext>
            </a:extLst>
          </p:cNvPr>
          <p:cNvSpPr>
            <a:spLocks noGrp="1"/>
          </p:cNvSpPr>
          <p:nvPr>
            <p:ph type="body" sz="quarter" idx="11"/>
          </p:nvPr>
        </p:nvSpPr>
        <p:spPr>
          <a:xfrm>
            <a:off x="565460"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151A6EC8-761A-C152-2663-47D998769EFC}"/>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Graphic 5">
            <a:extLst>
              <a:ext uri="{FF2B5EF4-FFF2-40B4-BE49-F238E27FC236}">
                <a16:creationId xmlns:a16="http://schemas.microsoft.com/office/drawing/2014/main" id="{0F79A8C1-0D2E-AA35-CA40-A1234B0BCBAC}"/>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3316126561"/>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0_Titles +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5DCBE4-2474-E18F-D85B-AD8A02BDAB2C}"/>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3" name="Title 1">
            <a:extLst>
              <a:ext uri="{FF2B5EF4-FFF2-40B4-BE49-F238E27FC236}">
                <a16:creationId xmlns:a16="http://schemas.microsoft.com/office/drawing/2014/main" id="{E0A6DB9D-E6AB-6967-43E9-EE1FC0BE859A}"/>
              </a:ext>
            </a:extLst>
          </p:cNvPr>
          <p:cNvSpPr>
            <a:spLocks noGrp="1"/>
          </p:cNvSpPr>
          <p:nvPr>
            <p:ph type="title"/>
          </p:nvPr>
        </p:nvSpPr>
        <p:spPr>
          <a:xfrm>
            <a:off x="565460" y="552717"/>
            <a:ext cx="10098869" cy="360099"/>
          </a:xfrm>
        </p:spPr>
        <p:txBody>
          <a:bodyPr/>
          <a:lstStyle>
            <a:lvl1pPr>
              <a:defRPr sz="2600">
                <a:solidFill>
                  <a:schemeClr val="tx1"/>
                </a:solidFill>
              </a:defRPr>
            </a:lvl1pPr>
          </a:lstStyle>
          <a:p>
            <a:r>
              <a:rPr lang="en-US"/>
              <a:t>Click to edit Master title style</a:t>
            </a:r>
          </a:p>
        </p:txBody>
      </p:sp>
      <p:sp>
        <p:nvSpPr>
          <p:cNvPr id="4" name="Text Placeholder 9">
            <a:extLst>
              <a:ext uri="{FF2B5EF4-FFF2-40B4-BE49-F238E27FC236}">
                <a16:creationId xmlns:a16="http://schemas.microsoft.com/office/drawing/2014/main" id="{286C8244-E396-CD67-B252-189D777C81BE}"/>
              </a:ext>
            </a:extLst>
          </p:cNvPr>
          <p:cNvSpPr>
            <a:spLocks noGrp="1"/>
          </p:cNvSpPr>
          <p:nvPr>
            <p:ph type="body" sz="quarter" idx="11"/>
          </p:nvPr>
        </p:nvSpPr>
        <p:spPr>
          <a:xfrm>
            <a:off x="565460"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12" name="Text Placeholder 5"/>
          <p:cNvSpPr>
            <a:spLocks noGrp="1"/>
          </p:cNvSpPr>
          <p:nvPr>
            <p:ph type="body" sz="quarter" idx="12"/>
          </p:nvPr>
        </p:nvSpPr>
        <p:spPr>
          <a:xfrm>
            <a:off x="565459" y="1634068"/>
            <a:ext cx="11029035" cy="84843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5" name="TextBox 4">
            <a:extLst>
              <a:ext uri="{FF2B5EF4-FFF2-40B4-BE49-F238E27FC236}">
                <a16:creationId xmlns:a16="http://schemas.microsoft.com/office/drawing/2014/main" id="{9AE4B553-B7AB-8210-F80F-5BEF4CCCCF0C}"/>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Graphic 5">
            <a:extLst>
              <a:ext uri="{FF2B5EF4-FFF2-40B4-BE49-F238E27FC236}">
                <a16:creationId xmlns:a16="http://schemas.microsoft.com/office/drawing/2014/main" id="{5FCC53B9-AD24-C01C-0D03-C237B5C5C21F}"/>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781873374"/>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9_Titles +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5DCBE4-2474-E18F-D85B-AD8A02BDAB2C}"/>
              </a:ext>
            </a:extLst>
          </p:cNvPr>
          <p:cNvSpPr/>
          <p:nvPr userDrawn="1"/>
        </p:nvSpPr>
        <p:spPr>
          <a:xfrm>
            <a:off x="0" y="1458000"/>
            <a:ext cx="12193588" cy="540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3" name="Title 1">
            <a:extLst>
              <a:ext uri="{FF2B5EF4-FFF2-40B4-BE49-F238E27FC236}">
                <a16:creationId xmlns:a16="http://schemas.microsoft.com/office/drawing/2014/main" id="{E0A6DB9D-E6AB-6967-43E9-EE1FC0BE859A}"/>
              </a:ext>
            </a:extLst>
          </p:cNvPr>
          <p:cNvSpPr>
            <a:spLocks noGrp="1"/>
          </p:cNvSpPr>
          <p:nvPr>
            <p:ph type="title"/>
          </p:nvPr>
        </p:nvSpPr>
        <p:spPr>
          <a:xfrm>
            <a:off x="565460" y="552717"/>
            <a:ext cx="10098869" cy="360099"/>
          </a:xfrm>
        </p:spPr>
        <p:txBody>
          <a:bodyPr/>
          <a:lstStyle>
            <a:lvl1pPr>
              <a:defRPr sz="2600">
                <a:solidFill>
                  <a:schemeClr val="tx1"/>
                </a:solidFill>
              </a:defRPr>
            </a:lvl1pPr>
          </a:lstStyle>
          <a:p>
            <a:r>
              <a:rPr lang="en-US"/>
              <a:t>Click to edit Master title style</a:t>
            </a:r>
          </a:p>
        </p:txBody>
      </p:sp>
      <p:sp>
        <p:nvSpPr>
          <p:cNvPr id="4" name="Text Placeholder 9">
            <a:extLst>
              <a:ext uri="{FF2B5EF4-FFF2-40B4-BE49-F238E27FC236}">
                <a16:creationId xmlns:a16="http://schemas.microsoft.com/office/drawing/2014/main" id="{286C8244-E396-CD67-B252-189D777C81BE}"/>
              </a:ext>
            </a:extLst>
          </p:cNvPr>
          <p:cNvSpPr>
            <a:spLocks noGrp="1"/>
          </p:cNvSpPr>
          <p:nvPr>
            <p:ph type="body" sz="quarter" idx="11"/>
          </p:nvPr>
        </p:nvSpPr>
        <p:spPr>
          <a:xfrm>
            <a:off x="565460" y="1021031"/>
            <a:ext cx="10086355" cy="208006"/>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9AE4B553-B7AB-8210-F80F-5BEF4CCCCF0C}"/>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6" name="Graphic 5">
            <a:extLst>
              <a:ext uri="{FF2B5EF4-FFF2-40B4-BE49-F238E27FC236}">
                <a16:creationId xmlns:a16="http://schemas.microsoft.com/office/drawing/2014/main" id="{D2A28311-50D5-30B7-DBF1-AA98415A3562}"/>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2833961536"/>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Blank with logo">
    <p:spTree>
      <p:nvGrpSpPr>
        <p:cNvPr id="1" name=""/>
        <p:cNvGrpSpPr/>
        <p:nvPr/>
      </p:nvGrpSpPr>
      <p:grpSpPr>
        <a:xfrm>
          <a:off x="0" y="0"/>
          <a:ext cx="0" cy="0"/>
          <a:chOff x="0" y="0"/>
          <a:chExt cx="0" cy="0"/>
        </a:xfrm>
      </p:grpSpPr>
      <p:sp>
        <p:nvSpPr>
          <p:cNvPr id="11" name="TextBox 10"/>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3" name="TextBox 2">
            <a:extLst>
              <a:ext uri="{FF2B5EF4-FFF2-40B4-BE49-F238E27FC236}">
                <a16:creationId xmlns:a16="http://schemas.microsoft.com/office/drawing/2014/main" id="{74007645-3940-90E7-9372-244CB8868E17}"/>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4" name="TextBox 3">
            <a:extLst>
              <a:ext uri="{FF2B5EF4-FFF2-40B4-BE49-F238E27FC236}">
                <a16:creationId xmlns:a16="http://schemas.microsoft.com/office/drawing/2014/main" id="{24BABFC5-BDD2-FF8A-6D55-428C6DA89640}"/>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2" name="Graphic 1">
            <a:extLst>
              <a:ext uri="{FF2B5EF4-FFF2-40B4-BE49-F238E27FC236}">
                <a16:creationId xmlns:a16="http://schemas.microsoft.com/office/drawing/2014/main" id="{F60D7FB0-951F-1082-1AC7-02A724D2A12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1687722487"/>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1 image + description">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5" name="Text Placeholder 4"/>
          <p:cNvSpPr>
            <a:spLocks noGrp="1"/>
          </p:cNvSpPr>
          <p:nvPr>
            <p:ph type="body" sz="quarter" idx="15"/>
          </p:nvPr>
        </p:nvSpPr>
        <p:spPr>
          <a:xfrm>
            <a:off x="2600684" y="5753952"/>
            <a:ext cx="6992222"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7" name="Content Placeholder 6"/>
          <p:cNvSpPr>
            <a:spLocks noGrp="1"/>
          </p:cNvSpPr>
          <p:nvPr>
            <p:ph sz="quarter" idx="18" hasCustomPrompt="1"/>
          </p:nvPr>
        </p:nvSpPr>
        <p:spPr>
          <a:xfrm>
            <a:off x="2600684" y="1614956"/>
            <a:ext cx="6992223" cy="3904102"/>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 name="Title 1">
            <a:extLst>
              <a:ext uri="{FF2B5EF4-FFF2-40B4-BE49-F238E27FC236}">
                <a16:creationId xmlns:a16="http://schemas.microsoft.com/office/drawing/2014/main" id="{9E7E88F5-D369-B5E8-346F-19CD58348CD4}"/>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C1A5512B-5BEA-917E-32FE-EA67BB6D091E}"/>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675A382E-848B-532C-6EE1-4DAC99A77161}"/>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8" name="TextBox 7">
            <a:extLst>
              <a:ext uri="{FF2B5EF4-FFF2-40B4-BE49-F238E27FC236}">
                <a16:creationId xmlns:a16="http://schemas.microsoft.com/office/drawing/2014/main" id="{56325CAD-D2AD-A4CC-7581-280CBE85E670}"/>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6" name="Graphic 5">
            <a:extLst>
              <a:ext uri="{FF2B5EF4-FFF2-40B4-BE49-F238E27FC236}">
                <a16:creationId xmlns:a16="http://schemas.microsoft.com/office/drawing/2014/main" id="{885DD1F3-3CA6-5871-2195-4C3753709FA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2021050816"/>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_2 images + description">
    <p:spTree>
      <p:nvGrpSpPr>
        <p:cNvPr id="1" name=""/>
        <p:cNvGrpSpPr/>
        <p:nvPr/>
      </p:nvGrpSpPr>
      <p:grpSpPr>
        <a:xfrm>
          <a:off x="0" y="0"/>
          <a:ext cx="0" cy="0"/>
          <a:chOff x="0" y="0"/>
          <a:chExt cx="0" cy="0"/>
        </a:xfrm>
      </p:grpSpPr>
      <p:sp>
        <p:nvSpPr>
          <p:cNvPr id="15" name="TextBox 14"/>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5" name="Text Placeholder 4"/>
          <p:cNvSpPr>
            <a:spLocks noGrp="1"/>
          </p:cNvSpPr>
          <p:nvPr>
            <p:ph type="body" sz="quarter" idx="15"/>
          </p:nvPr>
        </p:nvSpPr>
        <p:spPr>
          <a:xfrm>
            <a:off x="565459" y="5689758"/>
            <a:ext cx="5342777"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7" name="Content Placeholder 6"/>
          <p:cNvSpPr>
            <a:spLocks noGrp="1"/>
          </p:cNvSpPr>
          <p:nvPr>
            <p:ph sz="quarter" idx="18" hasCustomPrompt="1"/>
          </p:nvPr>
        </p:nvSpPr>
        <p:spPr>
          <a:xfrm>
            <a:off x="565459" y="1614957"/>
            <a:ext cx="5342776" cy="3864451"/>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2" name="Text Placeholder 4"/>
          <p:cNvSpPr>
            <a:spLocks noGrp="1"/>
          </p:cNvSpPr>
          <p:nvPr>
            <p:ph type="body" sz="quarter" idx="19"/>
          </p:nvPr>
        </p:nvSpPr>
        <p:spPr>
          <a:xfrm>
            <a:off x="6251605" y="5689758"/>
            <a:ext cx="5342777"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33" name="Content Placeholder 6"/>
          <p:cNvSpPr>
            <a:spLocks noGrp="1"/>
          </p:cNvSpPr>
          <p:nvPr>
            <p:ph sz="quarter" idx="20" hasCustomPrompt="1"/>
          </p:nvPr>
        </p:nvSpPr>
        <p:spPr>
          <a:xfrm>
            <a:off x="6251605" y="1614957"/>
            <a:ext cx="5342776" cy="3864451"/>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3" name="Title 1">
            <a:extLst>
              <a:ext uri="{FF2B5EF4-FFF2-40B4-BE49-F238E27FC236}">
                <a16:creationId xmlns:a16="http://schemas.microsoft.com/office/drawing/2014/main" id="{90E6320A-1F87-8EA3-F808-3E4EC991B123}"/>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9A5852C2-3026-2B9A-A292-E9D26B2874D0}"/>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2" name="TextBox 1">
            <a:extLst>
              <a:ext uri="{FF2B5EF4-FFF2-40B4-BE49-F238E27FC236}">
                <a16:creationId xmlns:a16="http://schemas.microsoft.com/office/drawing/2014/main" id="{2C6B656C-52BA-08CB-942C-1AAFEA03D6B7}"/>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8" name="TextBox 7">
            <a:extLst>
              <a:ext uri="{FF2B5EF4-FFF2-40B4-BE49-F238E27FC236}">
                <a16:creationId xmlns:a16="http://schemas.microsoft.com/office/drawing/2014/main" id="{5406B0B8-DE6A-5EA0-6734-73B95E9FB636}"/>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6" name="Graphic 5">
            <a:extLst>
              <a:ext uri="{FF2B5EF4-FFF2-40B4-BE49-F238E27FC236}">
                <a16:creationId xmlns:a16="http://schemas.microsoft.com/office/drawing/2014/main" id="{7BD58355-70A0-DCA6-433D-15B8665BB7FC}"/>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990849590"/>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9_3 images + descri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887A79-7AC5-5C4A-503C-92DC098B758E}"/>
              </a:ext>
            </a:extLst>
          </p:cNvPr>
          <p:cNvSpPr/>
          <p:nvPr userDrawn="1"/>
        </p:nvSpPr>
        <p:spPr>
          <a:xfrm>
            <a:off x="0" y="1458000"/>
            <a:ext cx="12193588" cy="5400000"/>
          </a:xfrm>
          <a:prstGeom prst="rect">
            <a:avLst/>
          </a:prstGeom>
          <a:solidFill>
            <a:srgbClr val="EB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b="0" i="0">
              <a:latin typeface="Avenir Next LT Pro" panose="020B0504020202020204" pitchFamily="34" charset="77"/>
            </a:endParaRPr>
          </a:p>
        </p:txBody>
      </p:sp>
      <p:sp>
        <p:nvSpPr>
          <p:cNvPr id="4" name="Content Placeholder 3"/>
          <p:cNvSpPr>
            <a:spLocks noGrp="1"/>
          </p:cNvSpPr>
          <p:nvPr>
            <p:ph sz="quarter" idx="18" hasCustomPrompt="1"/>
          </p:nvPr>
        </p:nvSpPr>
        <p:spPr>
          <a:xfrm>
            <a:off x="565460"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5" name="Text Placeholder 4"/>
          <p:cNvSpPr>
            <a:spLocks noGrp="1"/>
          </p:cNvSpPr>
          <p:nvPr>
            <p:ph type="body" sz="quarter" idx="15"/>
          </p:nvPr>
        </p:nvSpPr>
        <p:spPr>
          <a:xfrm>
            <a:off x="551938" y="5098408"/>
            <a:ext cx="3529869"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26" name="Content Placeholder 3">
            <a:extLst>
              <a:ext uri="{FF2B5EF4-FFF2-40B4-BE49-F238E27FC236}">
                <a16:creationId xmlns:a16="http://schemas.microsoft.com/office/drawing/2014/main" id="{9E472C2D-B119-1348-ABB7-4B27DBE81FC4}"/>
              </a:ext>
            </a:extLst>
          </p:cNvPr>
          <p:cNvSpPr>
            <a:spLocks noGrp="1"/>
          </p:cNvSpPr>
          <p:nvPr>
            <p:ph sz="quarter" idx="19" hasCustomPrompt="1"/>
          </p:nvPr>
        </p:nvSpPr>
        <p:spPr>
          <a:xfrm>
            <a:off x="4315588"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7" name="Text Placeholder 4">
            <a:extLst>
              <a:ext uri="{FF2B5EF4-FFF2-40B4-BE49-F238E27FC236}">
                <a16:creationId xmlns:a16="http://schemas.microsoft.com/office/drawing/2014/main" id="{6B86DBF1-6757-494E-BB09-B02F75D7942F}"/>
              </a:ext>
            </a:extLst>
          </p:cNvPr>
          <p:cNvSpPr>
            <a:spLocks noGrp="1"/>
          </p:cNvSpPr>
          <p:nvPr>
            <p:ph type="body" sz="quarter" idx="20"/>
          </p:nvPr>
        </p:nvSpPr>
        <p:spPr>
          <a:xfrm>
            <a:off x="4315589" y="5098408"/>
            <a:ext cx="3529869"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28" name="Content Placeholder 3">
            <a:extLst>
              <a:ext uri="{FF2B5EF4-FFF2-40B4-BE49-F238E27FC236}">
                <a16:creationId xmlns:a16="http://schemas.microsoft.com/office/drawing/2014/main" id="{9D47F0CA-7587-3F49-929E-E48CC948FFEF}"/>
              </a:ext>
            </a:extLst>
          </p:cNvPr>
          <p:cNvSpPr>
            <a:spLocks noGrp="1"/>
          </p:cNvSpPr>
          <p:nvPr>
            <p:ph sz="quarter" idx="21" hasCustomPrompt="1"/>
          </p:nvPr>
        </p:nvSpPr>
        <p:spPr>
          <a:xfrm>
            <a:off x="8065717" y="1877485"/>
            <a:ext cx="3516684" cy="3024716"/>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9" name="Text Placeholder 4">
            <a:extLst>
              <a:ext uri="{FF2B5EF4-FFF2-40B4-BE49-F238E27FC236}">
                <a16:creationId xmlns:a16="http://schemas.microsoft.com/office/drawing/2014/main" id="{C231C06B-3EE2-A348-A91C-CAFBBAF74FA0}"/>
              </a:ext>
            </a:extLst>
          </p:cNvPr>
          <p:cNvSpPr>
            <a:spLocks noGrp="1"/>
          </p:cNvSpPr>
          <p:nvPr>
            <p:ph type="body" sz="quarter" idx="22"/>
          </p:nvPr>
        </p:nvSpPr>
        <p:spPr>
          <a:xfrm>
            <a:off x="8065718" y="5098408"/>
            <a:ext cx="3529869" cy="152349"/>
          </a:xfrm>
          <a:prstGeom prst="rect">
            <a:avLst/>
          </a:prstGeom>
        </p:spPr>
        <p:txBody>
          <a:bodyPr lIns="0" tIns="0" rIns="0" bIns="0"/>
          <a:lstStyle>
            <a:lvl1pPr marL="0" indent="0">
              <a:buNone/>
              <a:defRPr sz="1100">
                <a:solidFill>
                  <a:schemeClr val="tx1"/>
                </a:solidFill>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3" name="Title 1">
            <a:extLst>
              <a:ext uri="{FF2B5EF4-FFF2-40B4-BE49-F238E27FC236}">
                <a16:creationId xmlns:a16="http://schemas.microsoft.com/office/drawing/2014/main" id="{DBF411DD-945C-4A72-1FBB-BC99017FA8F9}"/>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6" name="Text Placeholder 9">
            <a:extLst>
              <a:ext uri="{FF2B5EF4-FFF2-40B4-BE49-F238E27FC236}">
                <a16:creationId xmlns:a16="http://schemas.microsoft.com/office/drawing/2014/main" id="{7945EEC3-B051-A336-D42E-3BB3BFCED291}"/>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8" name="TextBox 7">
            <a:extLst>
              <a:ext uri="{FF2B5EF4-FFF2-40B4-BE49-F238E27FC236}">
                <a16:creationId xmlns:a16="http://schemas.microsoft.com/office/drawing/2014/main" id="{18E0ADA8-4CE7-A0B6-7DF3-AD8AA6E44AE0}"/>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pic>
        <p:nvPicPr>
          <p:cNvPr id="7" name="Graphic 6">
            <a:extLst>
              <a:ext uri="{FF2B5EF4-FFF2-40B4-BE49-F238E27FC236}">
                <a16:creationId xmlns:a16="http://schemas.microsoft.com/office/drawing/2014/main" id="{F056282F-2C77-0EBC-5E8F-5C67BC0161F5}"/>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3736953981"/>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_3 images + 2 descriptions">
    <p:spTree>
      <p:nvGrpSpPr>
        <p:cNvPr id="1" name=""/>
        <p:cNvGrpSpPr/>
        <p:nvPr/>
      </p:nvGrpSpPr>
      <p:grpSpPr>
        <a:xfrm>
          <a:off x="0" y="0"/>
          <a:ext cx="0" cy="0"/>
          <a:chOff x="0" y="0"/>
          <a:chExt cx="0" cy="0"/>
        </a:xfrm>
      </p:grpSpPr>
      <p:sp>
        <p:nvSpPr>
          <p:cNvPr id="39" name="Content Placeholder 3">
            <a:extLst>
              <a:ext uri="{FF2B5EF4-FFF2-40B4-BE49-F238E27FC236}">
                <a16:creationId xmlns:a16="http://schemas.microsoft.com/office/drawing/2014/main" id="{C5556837-BDFE-E242-99D1-8166180F539B}"/>
              </a:ext>
            </a:extLst>
          </p:cNvPr>
          <p:cNvSpPr>
            <a:spLocks noGrp="1"/>
          </p:cNvSpPr>
          <p:nvPr>
            <p:ph sz="quarter" idx="18" hasCustomPrompt="1"/>
          </p:nvPr>
        </p:nvSpPr>
        <p:spPr>
          <a:xfrm>
            <a:off x="565460" y="1643744"/>
            <a:ext cx="5813569" cy="4241088"/>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40" name="TextBox 39">
            <a:extLst>
              <a:ext uri="{FF2B5EF4-FFF2-40B4-BE49-F238E27FC236}">
                <a16:creationId xmlns:a16="http://schemas.microsoft.com/office/drawing/2014/main" id="{0048BF0C-D14A-7E47-833B-85CE24AA521B}"/>
              </a:ext>
            </a:extLst>
          </p:cNvPr>
          <p:cNvSpPr txBox="1"/>
          <p:nvPr userDrawn="1"/>
        </p:nvSpPr>
        <p:spPr>
          <a:xfrm>
            <a:off x="11594382" y="6399575"/>
            <a:ext cx="276027" cy="164212"/>
          </a:xfrm>
          <a:prstGeom prst="rect">
            <a:avLst/>
          </a:prstGeom>
          <a:noFill/>
        </p:spPr>
        <p:txBody>
          <a:bodyPr wrap="square" lIns="0" tIns="0" rIns="0" bIns="0" rtlCol="0">
            <a:spAutoFit/>
          </a:bodyPr>
          <a:lstStyle/>
          <a:p>
            <a:pPr algn="r"/>
            <a:fld id="{27692F5A-FC14-4E83-B4CC-18F6C2D780A4}" type="slidenum">
              <a:rPr lang="en-US" sz="1067" b="0" i="0" spc="40" baseline="0" smtClean="0">
                <a:solidFill>
                  <a:schemeClr val="accent4"/>
                </a:solidFill>
                <a:latin typeface="Avenir Next LT Pro" panose="020B0504020202020204" pitchFamily="34" charset="77"/>
              </a:rPr>
              <a:pPr algn="r"/>
              <a:t>‹#›</a:t>
            </a:fld>
            <a:endParaRPr lang="en-US" sz="1067" b="0" i="0" spc="40" baseline="0">
              <a:solidFill>
                <a:schemeClr val="accent4"/>
              </a:solidFill>
              <a:latin typeface="Avenir Next LT Pro" panose="020B0504020202020204" pitchFamily="34" charset="77"/>
            </a:endParaRPr>
          </a:p>
        </p:txBody>
      </p:sp>
      <p:sp>
        <p:nvSpPr>
          <p:cNvPr id="41" name="Text Placeholder 4">
            <a:extLst>
              <a:ext uri="{FF2B5EF4-FFF2-40B4-BE49-F238E27FC236}">
                <a16:creationId xmlns:a16="http://schemas.microsoft.com/office/drawing/2014/main" id="{58350936-F007-3344-A8E4-C14AC8D0D88A}"/>
              </a:ext>
            </a:extLst>
          </p:cNvPr>
          <p:cNvSpPr>
            <a:spLocks noGrp="1"/>
          </p:cNvSpPr>
          <p:nvPr>
            <p:ph type="body" sz="quarter" idx="15"/>
          </p:nvPr>
        </p:nvSpPr>
        <p:spPr>
          <a:xfrm>
            <a:off x="551938" y="6137047"/>
            <a:ext cx="5827091" cy="152349"/>
          </a:xfrm>
          <a:prstGeom prst="rect">
            <a:avLst/>
          </a:prstGeom>
        </p:spPr>
        <p:txBody>
          <a:bodyPr lIns="0" tIns="0" rIns="0" bIns="0"/>
          <a:lstStyle>
            <a:lvl1pPr marL="0" indent="0">
              <a:buNone/>
              <a:defRPr sz="1100" b="0" i="0">
                <a:solidFill>
                  <a:schemeClr val="tx1"/>
                </a:solidFill>
                <a:latin typeface="Avenir Next LT Pro" panose="020B0504020202020204" pitchFamily="34" charset="77"/>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48" name="Content Placeholder 3">
            <a:extLst>
              <a:ext uri="{FF2B5EF4-FFF2-40B4-BE49-F238E27FC236}">
                <a16:creationId xmlns:a16="http://schemas.microsoft.com/office/drawing/2014/main" id="{1E636B30-B043-AE40-B4D1-1440A233CF1B}"/>
              </a:ext>
            </a:extLst>
          </p:cNvPr>
          <p:cNvSpPr>
            <a:spLocks noGrp="1"/>
          </p:cNvSpPr>
          <p:nvPr>
            <p:ph sz="quarter" idx="21" hasCustomPrompt="1"/>
          </p:nvPr>
        </p:nvSpPr>
        <p:spPr>
          <a:xfrm>
            <a:off x="6760029" y="1643746"/>
            <a:ext cx="4822372" cy="2015999"/>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49" name="Text Placeholder 4">
            <a:extLst>
              <a:ext uri="{FF2B5EF4-FFF2-40B4-BE49-F238E27FC236}">
                <a16:creationId xmlns:a16="http://schemas.microsoft.com/office/drawing/2014/main" id="{13317509-5BA7-7B49-B291-1D234B9200C0}"/>
              </a:ext>
            </a:extLst>
          </p:cNvPr>
          <p:cNvSpPr>
            <a:spLocks noGrp="1"/>
          </p:cNvSpPr>
          <p:nvPr>
            <p:ph type="body" sz="quarter" idx="22"/>
          </p:nvPr>
        </p:nvSpPr>
        <p:spPr>
          <a:xfrm>
            <a:off x="6760029" y="6137047"/>
            <a:ext cx="4834352" cy="152349"/>
          </a:xfrm>
          <a:prstGeom prst="rect">
            <a:avLst/>
          </a:prstGeom>
        </p:spPr>
        <p:txBody>
          <a:bodyPr lIns="0" tIns="0" rIns="0" bIns="0"/>
          <a:lstStyle>
            <a:lvl1pPr marL="0" indent="0">
              <a:buNone/>
              <a:defRPr sz="1100" b="0" i="0">
                <a:solidFill>
                  <a:schemeClr val="tx1"/>
                </a:solidFill>
                <a:latin typeface="Avenir Next LT Pro" panose="020B0504020202020204" pitchFamily="34" charset="77"/>
              </a:defRPr>
            </a:lvl1pPr>
            <a:lvl2pPr marL="457143" indent="0">
              <a:buNone/>
              <a:defRPr sz="1600"/>
            </a:lvl2pPr>
            <a:lvl3pPr marL="914286" indent="0">
              <a:buNone/>
              <a:defRPr sz="1600"/>
            </a:lvl3pPr>
            <a:lvl4pPr marL="1371429" indent="0">
              <a:buNone/>
              <a:defRPr sz="1600"/>
            </a:lvl4pPr>
            <a:lvl5pPr marL="1828571" indent="0">
              <a:buNone/>
              <a:defRPr sz="1600"/>
            </a:lvl5pPr>
          </a:lstStyle>
          <a:p>
            <a:pPr lvl="0"/>
            <a:r>
              <a:rPr lang="en-US"/>
              <a:t>Click to edit Master text styles</a:t>
            </a:r>
          </a:p>
        </p:txBody>
      </p:sp>
      <p:sp>
        <p:nvSpPr>
          <p:cNvPr id="17" name="Content Placeholder 3">
            <a:extLst>
              <a:ext uri="{FF2B5EF4-FFF2-40B4-BE49-F238E27FC236}">
                <a16:creationId xmlns:a16="http://schemas.microsoft.com/office/drawing/2014/main" id="{555198F4-2AED-4042-90ED-D3C7174E0906}"/>
              </a:ext>
            </a:extLst>
          </p:cNvPr>
          <p:cNvSpPr>
            <a:spLocks noGrp="1"/>
          </p:cNvSpPr>
          <p:nvPr>
            <p:ph sz="quarter" idx="23" hasCustomPrompt="1"/>
          </p:nvPr>
        </p:nvSpPr>
        <p:spPr>
          <a:xfrm>
            <a:off x="6760029" y="3868835"/>
            <a:ext cx="4822372" cy="2015999"/>
          </a:xfrm>
          <a:prstGeom prst="rect">
            <a:avLst/>
          </a:prstGeom>
        </p:spPr>
        <p:txBody>
          <a:bodyPr>
            <a:normAutofit/>
          </a:bodyPr>
          <a:lstStyle>
            <a:lvl1pPr marL="0" indent="0">
              <a:buFont typeface="Arial" charset="0"/>
              <a:buNone/>
              <a:defRPr sz="2000">
                <a:solidFill>
                  <a:schemeClr val="accent4"/>
                </a:solidFill>
              </a:defRPr>
            </a:lvl1pPr>
          </a:lstStyle>
          <a:p>
            <a:r>
              <a:rPr lang="en-US"/>
              <a:t>Insert graph </a:t>
            </a:r>
            <a:r>
              <a:rPr lang="mr-IN"/>
              <a:t>–</a:t>
            </a:r>
            <a:r>
              <a:rPr lang="en-US"/>
              <a:t> Drag picture to placeholder or click on icon </a:t>
            </a:r>
          </a:p>
        </p:txBody>
      </p:sp>
      <p:sp>
        <p:nvSpPr>
          <p:cNvPr id="2" name="Title 1">
            <a:extLst>
              <a:ext uri="{FF2B5EF4-FFF2-40B4-BE49-F238E27FC236}">
                <a16:creationId xmlns:a16="http://schemas.microsoft.com/office/drawing/2014/main" id="{A1C802F1-24AD-3A78-7C86-064CB6E48912}"/>
              </a:ext>
            </a:extLst>
          </p:cNvPr>
          <p:cNvSpPr>
            <a:spLocks noGrp="1"/>
          </p:cNvSpPr>
          <p:nvPr>
            <p:ph type="title"/>
          </p:nvPr>
        </p:nvSpPr>
        <p:spPr>
          <a:xfrm>
            <a:off x="565460" y="552715"/>
            <a:ext cx="10245477" cy="430112"/>
          </a:xfrm>
        </p:spPr>
        <p:txBody>
          <a:bodyPr/>
          <a:lstStyle>
            <a:lvl1pPr>
              <a:defRPr>
                <a:solidFill>
                  <a:schemeClr val="tx2"/>
                </a:solidFill>
              </a:defRPr>
            </a:lvl1pPr>
          </a:lstStyle>
          <a:p>
            <a:r>
              <a:rPr lang="en-US"/>
              <a:t>Click to edit Master title style</a:t>
            </a:r>
          </a:p>
        </p:txBody>
      </p:sp>
      <p:sp>
        <p:nvSpPr>
          <p:cNvPr id="3" name="Text Placeholder 9">
            <a:extLst>
              <a:ext uri="{FF2B5EF4-FFF2-40B4-BE49-F238E27FC236}">
                <a16:creationId xmlns:a16="http://schemas.microsoft.com/office/drawing/2014/main" id="{855BFB9C-1F29-A563-18B2-BD4359EBF425}"/>
              </a:ext>
            </a:extLst>
          </p:cNvPr>
          <p:cNvSpPr>
            <a:spLocks noGrp="1"/>
          </p:cNvSpPr>
          <p:nvPr>
            <p:ph type="body" sz="quarter" idx="11"/>
          </p:nvPr>
        </p:nvSpPr>
        <p:spPr>
          <a:xfrm>
            <a:off x="565459" y="1021031"/>
            <a:ext cx="10232781" cy="208006"/>
          </a:xfrm>
          <a:prstGeom prst="rect">
            <a:avLst/>
          </a:prstGeom>
        </p:spPr>
        <p:txBody>
          <a:bodyPr lIns="0" tIns="0" rIns="0" bIns="0">
            <a:spAutoFit/>
          </a:bodyPr>
          <a:lstStyle>
            <a:lvl1pPr marL="0" indent="0" algn="l">
              <a:lnSpc>
                <a:spcPts val="1600"/>
              </a:lnSpc>
              <a:spcBef>
                <a:spcPts val="0"/>
              </a:spcBef>
              <a:buNone/>
              <a:defRPr sz="1600" b="0" i="0" cap="none" spc="0" baseline="0">
                <a:solidFill>
                  <a:schemeClr val="tx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lvl="0"/>
            <a:r>
              <a:rPr lang="en-US"/>
              <a:t>Click to edit Master text styles</a:t>
            </a:r>
          </a:p>
        </p:txBody>
      </p:sp>
      <p:sp>
        <p:nvSpPr>
          <p:cNvPr id="5" name="TextBox 4">
            <a:extLst>
              <a:ext uri="{FF2B5EF4-FFF2-40B4-BE49-F238E27FC236}">
                <a16:creationId xmlns:a16="http://schemas.microsoft.com/office/drawing/2014/main" id="{473329C1-6E5B-4C40-9A11-15766FF1966D}"/>
              </a:ext>
            </a:extLst>
          </p:cNvPr>
          <p:cNvSpPr txBox="1"/>
          <p:nvPr userDrawn="1"/>
        </p:nvSpPr>
        <p:spPr>
          <a:xfrm>
            <a:off x="11594382"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a:t>
            </a:fld>
            <a:endParaRPr lang="en-US" sz="1000" b="0" i="0" spc="40" baseline="0">
              <a:solidFill>
                <a:schemeClr val="tx2"/>
              </a:solidFill>
              <a:latin typeface="Avenir Next LT Pro" panose="020B0504020202020204" pitchFamily="34" charset="77"/>
            </a:endParaRPr>
          </a:p>
        </p:txBody>
      </p:sp>
      <p:sp>
        <p:nvSpPr>
          <p:cNvPr id="6" name="TextBox 5">
            <a:extLst>
              <a:ext uri="{FF2B5EF4-FFF2-40B4-BE49-F238E27FC236}">
                <a16:creationId xmlns:a16="http://schemas.microsoft.com/office/drawing/2014/main" id="{292EA12C-5836-B803-B30F-EF095C838C0B}"/>
              </a:ext>
            </a:extLst>
          </p:cNvPr>
          <p:cNvSpPr txBox="1"/>
          <p:nvPr userDrawn="1"/>
        </p:nvSpPr>
        <p:spPr>
          <a:xfrm>
            <a:off x="9102437" y="6399575"/>
            <a:ext cx="2443774" cy="153888"/>
          </a:xfrm>
          <a:prstGeom prst="rect">
            <a:avLst/>
          </a:prstGeom>
          <a:noFill/>
        </p:spPr>
        <p:txBody>
          <a:bodyPr wrap="square" lIns="0" tIns="0" rIns="0" bIns="0" rtlCol="0">
            <a:spAutoFit/>
          </a:bodyPr>
          <a:lstStyle/>
          <a:p>
            <a:pPr algn="r"/>
            <a:r>
              <a:rPr lang="en-US" sz="1000" b="1" i="0" spc="30" baseline="0" err="1">
                <a:solidFill>
                  <a:schemeClr val="tx2"/>
                </a:solidFill>
                <a:latin typeface="Avenir Next LT Pro" panose="020B0504020202020204" pitchFamily="34" charset="77"/>
              </a:rPr>
              <a:t>Gubra</a:t>
            </a:r>
            <a:r>
              <a:rPr lang="en-US" sz="1000" b="0" i="0" spc="30" baseline="0">
                <a:solidFill>
                  <a:schemeClr val="tx2"/>
                </a:solidFill>
                <a:latin typeface="Avenir Next LT Pro" panose="020B0504020202020204" pitchFamily="34" charset="77"/>
              </a:rPr>
              <a:t> </a:t>
            </a:r>
            <a:r>
              <a:rPr lang="en-US" sz="1000" b="0" i="0" spc="20" baseline="0">
                <a:solidFill>
                  <a:schemeClr val="tx2"/>
                </a:solidFill>
                <a:latin typeface="Avenir Next LT Pro" panose="020B0504020202020204" pitchFamily="34" charset="77"/>
              </a:rPr>
              <a:t>presentation</a:t>
            </a:r>
          </a:p>
        </p:txBody>
      </p:sp>
      <p:pic>
        <p:nvPicPr>
          <p:cNvPr id="4" name="Graphic 3">
            <a:extLst>
              <a:ext uri="{FF2B5EF4-FFF2-40B4-BE49-F238E27FC236}">
                <a16:creationId xmlns:a16="http://schemas.microsoft.com/office/drawing/2014/main" id="{C9A6A8B1-A9F7-C230-DB2F-E671B64BBD0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92255" y="311151"/>
            <a:ext cx="986918" cy="469900"/>
          </a:xfrm>
          <a:prstGeom prst="rect">
            <a:avLst/>
          </a:prstGeom>
        </p:spPr>
      </p:pic>
    </p:spTree>
    <p:extLst>
      <p:ext uri="{BB962C8B-B14F-4D97-AF65-F5344CB8AC3E}">
        <p14:creationId xmlns:p14="http://schemas.microsoft.com/office/powerpoint/2010/main" val="1059076793"/>
      </p:ext>
    </p:extLst>
  </p:cSld>
  <p:clrMapOvr>
    <a:masterClrMapping/>
  </p:clrMapOvr>
  <p:transition spd="slow">
    <p:fade/>
  </p:transition>
  <p:extLst>
    <p:ext uri="{DCECCB84-F9BA-43D5-87BE-67443E8EF086}">
      <p15:sldGuideLst xmlns:p15="http://schemas.microsoft.com/office/powerpoint/2012/main">
        <p15:guide id="1" orient="horz" pos="3600">
          <p15:clr>
            <a:srgbClr val="FBAE40"/>
          </p15:clr>
        </p15:guide>
        <p15:guide id="2" pos="7180">
          <p15:clr>
            <a:srgbClr val="FBAE40"/>
          </p15:clr>
        </p15:guide>
        <p15:guide id="3" pos="499">
          <p15:clr>
            <a:srgbClr val="FBAE40"/>
          </p15:clr>
        </p15:guide>
        <p15:guide id="4" orient="horz" pos="408">
          <p15:clr>
            <a:srgbClr val="FBAE40"/>
          </p15:clr>
        </p15:guide>
        <p15:guide id="5" orient="horz" pos="1296">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tags" Target="../tags/tag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oleObject" Target="../embeddings/oleObject1.bin"/><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14"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tags" Target="../tags/tag13.xml"/><Relationship Id="rId3" Type="http://schemas.openxmlformats.org/officeDocument/2006/relationships/slideLayout" Target="../slideLayouts/slideLayout256.xml"/><Relationship Id="rId7" Type="http://schemas.openxmlformats.org/officeDocument/2006/relationships/slideLayout" Target="../slideLayouts/slideLayout260.xml"/><Relationship Id="rId12" Type="http://schemas.openxmlformats.org/officeDocument/2006/relationships/theme" Target="../theme/theme10.xml"/><Relationship Id="rId2" Type="http://schemas.openxmlformats.org/officeDocument/2006/relationships/slideLayout" Target="../slideLayouts/slideLayout255.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slideLayout" Target="../slideLayouts/slideLayout264.xml"/><Relationship Id="rId5" Type="http://schemas.openxmlformats.org/officeDocument/2006/relationships/slideLayout" Target="../slideLayouts/slideLayout258.xml"/><Relationship Id="rId15" Type="http://schemas.openxmlformats.org/officeDocument/2006/relationships/image" Target="../media/image30.emf"/><Relationship Id="rId10" Type="http://schemas.openxmlformats.org/officeDocument/2006/relationships/slideLayout" Target="../slideLayouts/slideLayout263.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oleObject" Target="../embeddings/oleObject12.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tags" Target="../tags/tag14.xml"/><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theme" Target="../theme/theme11.xml"/><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5" Type="http://schemas.openxmlformats.org/officeDocument/2006/relationships/slideLayout" Target="../slideLayouts/slideLayout269.xml"/><Relationship Id="rId15" Type="http://schemas.openxmlformats.org/officeDocument/2006/relationships/image" Target="../media/image30.emf"/><Relationship Id="rId10" Type="http://schemas.openxmlformats.org/officeDocument/2006/relationships/slideLayout" Target="../slideLayouts/slideLayout274.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oleObject" Target="../embeddings/oleObject13.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3.xml"/><Relationship Id="rId13" Type="http://schemas.openxmlformats.org/officeDocument/2006/relationships/slideLayout" Target="../slideLayouts/slideLayout288.xml"/><Relationship Id="rId3" Type="http://schemas.openxmlformats.org/officeDocument/2006/relationships/slideLayout" Target="../slideLayouts/slideLayout278.xml"/><Relationship Id="rId7" Type="http://schemas.openxmlformats.org/officeDocument/2006/relationships/slideLayout" Target="../slideLayouts/slideLayout282.xml"/><Relationship Id="rId12" Type="http://schemas.openxmlformats.org/officeDocument/2006/relationships/slideLayout" Target="../slideLayouts/slideLayout287.xml"/><Relationship Id="rId17" Type="http://schemas.openxmlformats.org/officeDocument/2006/relationships/image" Target="../media/image37.emf"/><Relationship Id="rId2" Type="http://schemas.openxmlformats.org/officeDocument/2006/relationships/slideLayout" Target="../slideLayouts/slideLayout277.xml"/><Relationship Id="rId16" Type="http://schemas.openxmlformats.org/officeDocument/2006/relationships/oleObject" Target="../embeddings/oleObject14.bin"/><Relationship Id="rId1" Type="http://schemas.openxmlformats.org/officeDocument/2006/relationships/slideLayout" Target="../slideLayouts/slideLayout276.xml"/><Relationship Id="rId6" Type="http://schemas.openxmlformats.org/officeDocument/2006/relationships/slideLayout" Target="../slideLayouts/slideLayout281.xml"/><Relationship Id="rId11" Type="http://schemas.openxmlformats.org/officeDocument/2006/relationships/slideLayout" Target="../slideLayouts/slideLayout286.xml"/><Relationship Id="rId5" Type="http://schemas.openxmlformats.org/officeDocument/2006/relationships/slideLayout" Target="../slideLayouts/slideLayout280.xml"/><Relationship Id="rId15" Type="http://schemas.openxmlformats.org/officeDocument/2006/relationships/tags" Target="../tags/tag15.xml"/><Relationship Id="rId10" Type="http://schemas.openxmlformats.org/officeDocument/2006/relationships/slideLayout" Target="../slideLayouts/slideLayout285.xml"/><Relationship Id="rId4" Type="http://schemas.openxmlformats.org/officeDocument/2006/relationships/slideLayout" Target="../slideLayouts/slideLayout279.xml"/><Relationship Id="rId9" Type="http://schemas.openxmlformats.org/officeDocument/2006/relationships/slideLayout" Target="../slideLayouts/slideLayout284.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theme" Target="../theme/theme13.xml"/><Relationship Id="rId3" Type="http://schemas.openxmlformats.org/officeDocument/2006/relationships/slideLayout" Target="../slideLayouts/slideLayout291.xml"/><Relationship Id="rId7" Type="http://schemas.openxmlformats.org/officeDocument/2006/relationships/slideLayout" Target="../slideLayouts/slideLayout295.xml"/><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image" Target="../media/image38.emf"/><Relationship Id="rId5" Type="http://schemas.openxmlformats.org/officeDocument/2006/relationships/slideLayout" Target="../slideLayouts/slideLayout293.xml"/><Relationship Id="rId10" Type="http://schemas.openxmlformats.org/officeDocument/2006/relationships/oleObject" Target="../embeddings/oleObject15.bin"/><Relationship Id="rId4" Type="http://schemas.openxmlformats.org/officeDocument/2006/relationships/slideLayout" Target="../slideLayouts/slideLayout292.xml"/><Relationship Id="rId9" Type="http://schemas.openxmlformats.org/officeDocument/2006/relationships/tags" Target="../tags/tag1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tags" Target="../tags/tag3.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2.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5" Type="http://schemas.openxmlformats.org/officeDocument/2006/relationships/image" Target="../media/image1.emf"/><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image" Target="../media/image18.emf"/><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oleObject" Target="../embeddings/oleObject5.bin"/><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tags" Target="../tags/tag6.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theme" Target="../theme/theme3.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theme" Target="../theme/theme4.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2" Type="http://schemas.openxmlformats.org/officeDocument/2006/relationships/slideLayout" Target="../slideLayouts/slideLayout145.xml"/><Relationship Id="rId16" Type="http://schemas.openxmlformats.org/officeDocument/2006/relationships/image" Target="../media/image1.emf"/><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oleObject" Target="../embeddings/oleObject6.bin"/><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tags" Target="../tags/tag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26" Type="http://schemas.openxmlformats.org/officeDocument/2006/relationships/slideLayout" Target="../slideLayouts/slideLayout181.xml"/><Relationship Id="rId39" Type="http://schemas.openxmlformats.org/officeDocument/2006/relationships/image" Target="../media/image1.emf"/><Relationship Id="rId21" Type="http://schemas.openxmlformats.org/officeDocument/2006/relationships/slideLayout" Target="../slideLayouts/slideLayout176.xml"/><Relationship Id="rId34" Type="http://schemas.openxmlformats.org/officeDocument/2006/relationships/slideLayout" Target="../slideLayouts/slideLayout189.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5" Type="http://schemas.openxmlformats.org/officeDocument/2006/relationships/slideLayout" Target="../slideLayouts/slideLayout180.xml"/><Relationship Id="rId33" Type="http://schemas.openxmlformats.org/officeDocument/2006/relationships/slideLayout" Target="../slideLayouts/slideLayout188.xml"/><Relationship Id="rId38" Type="http://schemas.openxmlformats.org/officeDocument/2006/relationships/oleObject" Target="../embeddings/oleObject7.bin"/><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slideLayout" Target="../slideLayouts/slideLayout175.xml"/><Relationship Id="rId29" Type="http://schemas.openxmlformats.org/officeDocument/2006/relationships/slideLayout" Target="../slideLayouts/slideLayout184.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24" Type="http://schemas.openxmlformats.org/officeDocument/2006/relationships/slideLayout" Target="../slideLayouts/slideLayout179.xml"/><Relationship Id="rId32" Type="http://schemas.openxmlformats.org/officeDocument/2006/relationships/slideLayout" Target="../slideLayouts/slideLayout187.xml"/><Relationship Id="rId37" Type="http://schemas.openxmlformats.org/officeDocument/2006/relationships/tags" Target="../tags/tag8.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23" Type="http://schemas.openxmlformats.org/officeDocument/2006/relationships/slideLayout" Target="../slideLayouts/slideLayout178.xml"/><Relationship Id="rId28" Type="http://schemas.openxmlformats.org/officeDocument/2006/relationships/slideLayout" Target="../slideLayouts/slideLayout183.xml"/><Relationship Id="rId36" Type="http://schemas.openxmlformats.org/officeDocument/2006/relationships/theme" Target="../theme/theme5.xml"/><Relationship Id="rId10" Type="http://schemas.openxmlformats.org/officeDocument/2006/relationships/slideLayout" Target="../slideLayouts/slideLayout165.xml"/><Relationship Id="rId19" Type="http://schemas.openxmlformats.org/officeDocument/2006/relationships/slideLayout" Target="../slideLayouts/slideLayout174.xml"/><Relationship Id="rId31" Type="http://schemas.openxmlformats.org/officeDocument/2006/relationships/slideLayout" Target="../slideLayouts/slideLayout186.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slideLayout" Target="../slideLayouts/slideLayout177.xml"/><Relationship Id="rId27" Type="http://schemas.openxmlformats.org/officeDocument/2006/relationships/slideLayout" Target="../slideLayouts/slideLayout182.xml"/><Relationship Id="rId30" Type="http://schemas.openxmlformats.org/officeDocument/2006/relationships/slideLayout" Target="../slideLayouts/slideLayout185.xml"/><Relationship Id="rId35" Type="http://schemas.openxmlformats.org/officeDocument/2006/relationships/slideLayout" Target="../slideLayouts/slideLayout190.xml"/><Relationship Id="rId8" Type="http://schemas.openxmlformats.org/officeDocument/2006/relationships/slideLayout" Target="../slideLayouts/slideLayout163.xml"/><Relationship Id="rId3" Type="http://schemas.openxmlformats.org/officeDocument/2006/relationships/slideLayout" Target="../slideLayouts/slideLayout158.xml"/></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heme" Target="../theme/theme6.xml"/><Relationship Id="rId1" Type="http://schemas.openxmlformats.org/officeDocument/2006/relationships/slideLayout" Target="../slideLayouts/slideLayout191.xml"/><Relationship Id="rId5" Type="http://schemas.openxmlformats.org/officeDocument/2006/relationships/image" Target="../media/image24.emf"/><Relationship Id="rId4" Type="http://schemas.openxmlformats.org/officeDocument/2006/relationships/oleObject" Target="../embeddings/oleObject8.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theme" Target="../theme/theme7.xml"/><Relationship Id="rId3" Type="http://schemas.openxmlformats.org/officeDocument/2006/relationships/slideLayout" Target="../slideLayouts/slideLayout194.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2" Type="http://schemas.openxmlformats.org/officeDocument/2006/relationships/slideLayout" Target="../slideLayouts/slideLayout193.xml"/><Relationship Id="rId16" Type="http://schemas.openxmlformats.org/officeDocument/2006/relationships/image" Target="../media/image30.emf"/><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5" Type="http://schemas.openxmlformats.org/officeDocument/2006/relationships/oleObject" Target="../embeddings/oleObject9.bin"/><Relationship Id="rId10" Type="http://schemas.openxmlformats.org/officeDocument/2006/relationships/slideLayout" Target="../slideLayouts/slideLayout201.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tags" Target="../tags/tag1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slideLayout" Target="../slideLayouts/slideLayout216.xml"/><Relationship Id="rId18" Type="http://schemas.openxmlformats.org/officeDocument/2006/relationships/image" Target="../media/image30.emf"/><Relationship Id="rId3" Type="http://schemas.openxmlformats.org/officeDocument/2006/relationships/slideLayout" Target="../slideLayouts/slideLayout206.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17" Type="http://schemas.openxmlformats.org/officeDocument/2006/relationships/oleObject" Target="../embeddings/oleObject10.bin"/><Relationship Id="rId2" Type="http://schemas.openxmlformats.org/officeDocument/2006/relationships/slideLayout" Target="../slideLayouts/slideLayout205.xml"/><Relationship Id="rId16" Type="http://schemas.openxmlformats.org/officeDocument/2006/relationships/tags" Target="../tags/tag11.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5" Type="http://schemas.openxmlformats.org/officeDocument/2006/relationships/slideLayout" Target="../slideLayouts/slideLayout208.xml"/><Relationship Id="rId15" Type="http://schemas.openxmlformats.org/officeDocument/2006/relationships/theme" Target="../theme/theme8.xml"/><Relationship Id="rId10" Type="http://schemas.openxmlformats.org/officeDocument/2006/relationships/slideLayout" Target="../slideLayouts/slideLayout213.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26" Type="http://schemas.openxmlformats.org/officeDocument/2006/relationships/slideLayout" Target="../slideLayouts/slideLayout243.xml"/><Relationship Id="rId39" Type="http://schemas.openxmlformats.org/officeDocument/2006/relationships/oleObject" Target="../embeddings/oleObject11.bin"/><Relationship Id="rId21" Type="http://schemas.openxmlformats.org/officeDocument/2006/relationships/slideLayout" Target="../slideLayouts/slideLayout238.xml"/><Relationship Id="rId34" Type="http://schemas.openxmlformats.org/officeDocument/2006/relationships/slideLayout" Target="../slideLayouts/slideLayout251.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5" Type="http://schemas.openxmlformats.org/officeDocument/2006/relationships/slideLayout" Target="../slideLayouts/slideLayout242.xml"/><Relationship Id="rId33" Type="http://schemas.openxmlformats.org/officeDocument/2006/relationships/slideLayout" Target="../slideLayouts/slideLayout250.xml"/><Relationship Id="rId38" Type="http://schemas.openxmlformats.org/officeDocument/2006/relationships/tags" Target="../tags/tag12.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slideLayout" Target="../slideLayouts/slideLayout237.xml"/><Relationship Id="rId29" Type="http://schemas.openxmlformats.org/officeDocument/2006/relationships/slideLayout" Target="../slideLayouts/slideLayout246.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24" Type="http://schemas.openxmlformats.org/officeDocument/2006/relationships/slideLayout" Target="../slideLayouts/slideLayout241.xml"/><Relationship Id="rId32" Type="http://schemas.openxmlformats.org/officeDocument/2006/relationships/slideLayout" Target="../slideLayouts/slideLayout249.xml"/><Relationship Id="rId37" Type="http://schemas.openxmlformats.org/officeDocument/2006/relationships/theme" Target="../theme/theme9.xml"/><Relationship Id="rId40" Type="http://schemas.openxmlformats.org/officeDocument/2006/relationships/image" Target="../media/image1.emf"/><Relationship Id="rId5" Type="http://schemas.openxmlformats.org/officeDocument/2006/relationships/slideLayout" Target="../slideLayouts/slideLayout222.xml"/><Relationship Id="rId15" Type="http://schemas.openxmlformats.org/officeDocument/2006/relationships/slideLayout" Target="../slideLayouts/slideLayout232.xml"/><Relationship Id="rId23" Type="http://schemas.openxmlformats.org/officeDocument/2006/relationships/slideLayout" Target="../slideLayouts/slideLayout240.xml"/><Relationship Id="rId28" Type="http://schemas.openxmlformats.org/officeDocument/2006/relationships/slideLayout" Target="../slideLayouts/slideLayout245.xml"/><Relationship Id="rId36" Type="http://schemas.openxmlformats.org/officeDocument/2006/relationships/slideLayout" Target="../slideLayouts/slideLayout253.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31" Type="http://schemas.openxmlformats.org/officeDocument/2006/relationships/slideLayout" Target="../slideLayouts/slideLayout248.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slideLayout" Target="../slideLayouts/slideLayout239.xml"/><Relationship Id="rId27" Type="http://schemas.openxmlformats.org/officeDocument/2006/relationships/slideLayout" Target="../slideLayouts/slideLayout244.xml"/><Relationship Id="rId30" Type="http://schemas.openxmlformats.org/officeDocument/2006/relationships/slideLayout" Target="../slideLayouts/slideLayout247.xml"/><Relationship Id="rId35" Type="http://schemas.openxmlformats.org/officeDocument/2006/relationships/slideLayout" Target="../slideLayouts/slideLayout252.xml"/><Relationship Id="rId8" Type="http://schemas.openxmlformats.org/officeDocument/2006/relationships/slideLayout" Target="../slideLayouts/slideLayout225.xml"/><Relationship Id="rId3" Type="http://schemas.openxmlformats.org/officeDocument/2006/relationships/slideLayout" Target="../slideLayouts/slideLayout2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DD4C7F-381E-3A18-9BAD-A1D8DC01ACBF}"/>
              </a:ext>
            </a:extLst>
          </p:cNvPr>
          <p:cNvGraphicFramePr>
            <a:graphicFrameLocks/>
          </p:cNvGraphicFramePr>
          <p:nvPr userDrawn="1">
            <p:custDataLst>
              <p:tags r:id="rId112"/>
            </p:custDataLst>
            <p:extLst>
              <p:ext uri="{D42A27DB-BD31-4B8C-83A1-F6EECF244321}">
                <p14:modId xmlns:p14="http://schemas.microsoft.com/office/powerpoint/2010/main" val="4037929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3" imgW="473" imgH="476" progId="TCLayout.ActiveDocument.1">
                  <p:embed/>
                </p:oleObj>
              </mc:Choice>
              <mc:Fallback>
                <p:oleObj name="think-cell Slide" r:id="rId113" imgW="473" imgH="476" progId="TCLayout.ActiveDocument.1">
                  <p:embed/>
                  <p:pic>
                    <p:nvPicPr>
                      <p:cNvPr id="3" name="Object 2" hidden="1">
                        <a:extLst>
                          <a:ext uri="{FF2B5EF4-FFF2-40B4-BE49-F238E27FC236}">
                            <a16:creationId xmlns:a16="http://schemas.microsoft.com/office/drawing/2014/main" id="{A3DD4C7F-381E-3A18-9BAD-A1D8DC01ACBF}"/>
                          </a:ext>
                        </a:extLst>
                      </p:cNvPr>
                      <p:cNvPicPr/>
                      <p:nvPr/>
                    </p:nvPicPr>
                    <p:blipFill>
                      <a:blip r:embed="rId114"/>
                      <a:stretch>
                        <a:fillRect/>
                      </a:stretch>
                    </p:blipFill>
                    <p:spPr>
                      <a:xfrm>
                        <a:off x="1588" y="1588"/>
                        <a:ext cx="1588" cy="1588"/>
                      </a:xfrm>
                      <a:prstGeom prst="rect">
                        <a:avLst/>
                      </a:prstGeom>
                    </p:spPr>
                  </p:pic>
                </p:oleObj>
              </mc:Fallback>
            </mc:AlternateContent>
          </a:graphicData>
        </a:graphic>
      </p:graphicFrame>
      <p:sp>
        <p:nvSpPr>
          <p:cNvPr id="4" name="Title Placeholder 1"/>
          <p:cNvSpPr>
            <a:spLocks noGrp="1"/>
          </p:cNvSpPr>
          <p:nvPr>
            <p:ph type="title"/>
          </p:nvPr>
        </p:nvSpPr>
        <p:spPr>
          <a:xfrm>
            <a:off x="552762" y="675967"/>
            <a:ext cx="11025227" cy="430112"/>
          </a:xfrm>
          <a:prstGeom prst="rect">
            <a:avLst/>
          </a:prstGeom>
        </p:spPr>
        <p:txBody>
          <a:bodyPr vert="horz" lIns="0" tIns="0" rIns="0" bIns="0" rtlCol="0" anchor="t" anchorCtr="0">
            <a:spAutoFit/>
          </a:bodyPr>
          <a:lstStyle/>
          <a:p>
            <a:endParaRPr lang="en-US"/>
          </a:p>
        </p:txBody>
      </p:sp>
      <p:sp>
        <p:nvSpPr>
          <p:cNvPr id="6" name="Text Placeholder 2"/>
          <p:cNvSpPr>
            <a:spLocks noGrp="1"/>
          </p:cNvSpPr>
          <p:nvPr>
            <p:ph type="body" idx="1"/>
          </p:nvPr>
        </p:nvSpPr>
        <p:spPr>
          <a:xfrm>
            <a:off x="838309" y="1826683"/>
            <a:ext cx="10491074" cy="848437"/>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8009213"/>
      </p:ext>
    </p:extLst>
  </p:cSld>
  <p:clrMap bg1="lt1" tx1="dk1" bg2="lt2" tx2="dk2" accent1="accent1" accent2="accent2" accent3="accent3" accent4="accent4" accent5="accent5" accent6="accent6" hlink="hlink" folHlink="folHlink"/>
  <p:sldLayoutIdLst>
    <p:sldLayoutId id="2147483730" r:id="rId1"/>
    <p:sldLayoutId id="2147483734" r:id="rId2"/>
    <p:sldLayoutId id="2147483735" r:id="rId3"/>
    <p:sldLayoutId id="2147483820" r:id="rId4"/>
    <p:sldLayoutId id="2147483821" r:id="rId5"/>
    <p:sldLayoutId id="2147483748" r:id="rId6"/>
    <p:sldLayoutId id="2147483736" r:id="rId7"/>
    <p:sldLayoutId id="2147483737" r:id="rId8"/>
    <p:sldLayoutId id="2147483822" r:id="rId9"/>
    <p:sldLayoutId id="2147483739" r:id="rId10"/>
    <p:sldLayoutId id="2147483738" r:id="rId11"/>
    <p:sldLayoutId id="2147483762" r:id="rId12"/>
    <p:sldLayoutId id="2147483757" r:id="rId13"/>
    <p:sldLayoutId id="2147483755" r:id="rId14"/>
    <p:sldLayoutId id="2147483740" r:id="rId15"/>
    <p:sldLayoutId id="2147483741" r:id="rId16"/>
    <p:sldLayoutId id="2147483753" r:id="rId17"/>
    <p:sldLayoutId id="2147483742" r:id="rId18"/>
    <p:sldLayoutId id="2147483827" r:id="rId19"/>
    <p:sldLayoutId id="2147483840" r:id="rId20"/>
    <p:sldLayoutId id="2147483828" r:id="rId21"/>
    <p:sldLayoutId id="2147483743" r:id="rId22"/>
    <p:sldLayoutId id="2147483839" r:id="rId23"/>
    <p:sldLayoutId id="2147483842" r:id="rId24"/>
    <p:sldLayoutId id="2147483857" r:id="rId25"/>
    <p:sldLayoutId id="2147484219" r:id="rId26"/>
    <p:sldLayoutId id="2147484218" r:id="rId27"/>
    <p:sldLayoutId id="2147483898" r:id="rId28"/>
    <p:sldLayoutId id="2147483899" r:id="rId29"/>
    <p:sldLayoutId id="2147483900" r:id="rId30"/>
    <p:sldLayoutId id="2147483901" r:id="rId31"/>
    <p:sldLayoutId id="2147483902" r:id="rId32"/>
    <p:sldLayoutId id="2147483907" r:id="rId33"/>
    <p:sldLayoutId id="2147483918" r:id="rId34"/>
    <p:sldLayoutId id="2147484222" r:id="rId35"/>
    <p:sldLayoutId id="2147484223" r:id="rId36"/>
    <p:sldLayoutId id="2147484224" r:id="rId37"/>
    <p:sldLayoutId id="2147484226" r:id="rId38"/>
    <p:sldLayoutId id="2147484227" r:id="rId39"/>
    <p:sldLayoutId id="2147484229" r:id="rId40"/>
    <p:sldLayoutId id="2147484230" r:id="rId41"/>
    <p:sldLayoutId id="2147484231" r:id="rId42"/>
    <p:sldLayoutId id="2147484232" r:id="rId43"/>
    <p:sldLayoutId id="2147484233" r:id="rId44"/>
    <p:sldLayoutId id="2147484234" r:id="rId45"/>
    <p:sldLayoutId id="2147484235" r:id="rId46"/>
    <p:sldLayoutId id="2147484236" r:id="rId47"/>
    <p:sldLayoutId id="2147484237" r:id="rId48"/>
    <p:sldLayoutId id="2147484246" r:id="rId49"/>
    <p:sldLayoutId id="2147484247" r:id="rId50"/>
    <p:sldLayoutId id="2147484248" r:id="rId51"/>
    <p:sldLayoutId id="2147484249" r:id="rId52"/>
    <p:sldLayoutId id="2147484253" r:id="rId53"/>
    <p:sldLayoutId id="2147484257" r:id="rId54"/>
    <p:sldLayoutId id="2147484260" r:id="rId55"/>
    <p:sldLayoutId id="2147484262" r:id="rId56"/>
    <p:sldLayoutId id="2147484263" r:id="rId57"/>
    <p:sldLayoutId id="2147484281" r:id="rId58"/>
    <p:sldLayoutId id="2147484290" r:id="rId59"/>
    <p:sldLayoutId id="2147484291" r:id="rId60"/>
    <p:sldLayoutId id="2147484318" r:id="rId61"/>
    <p:sldLayoutId id="2147484320" r:id="rId62"/>
    <p:sldLayoutId id="2147484322" r:id="rId63"/>
    <p:sldLayoutId id="2147484323" r:id="rId64"/>
    <p:sldLayoutId id="2147484326" r:id="rId65"/>
    <p:sldLayoutId id="2147484327" r:id="rId66"/>
    <p:sldLayoutId id="2147484328" r:id="rId67"/>
    <p:sldLayoutId id="2147484329" r:id="rId68"/>
    <p:sldLayoutId id="2147484330" r:id="rId69"/>
    <p:sldLayoutId id="2147484331" r:id="rId70"/>
    <p:sldLayoutId id="2147484332" r:id="rId71"/>
    <p:sldLayoutId id="2147484333" r:id="rId72"/>
    <p:sldLayoutId id="2147484334" r:id="rId73"/>
    <p:sldLayoutId id="2147484335" r:id="rId74"/>
    <p:sldLayoutId id="2147484336" r:id="rId75"/>
    <p:sldLayoutId id="2147484337" r:id="rId76"/>
    <p:sldLayoutId id="2147484338" r:id="rId77"/>
    <p:sldLayoutId id="2147484339" r:id="rId78"/>
    <p:sldLayoutId id="2147484340" r:id="rId79"/>
    <p:sldLayoutId id="2147484341" r:id="rId80"/>
    <p:sldLayoutId id="2147484342" r:id="rId81"/>
    <p:sldLayoutId id="2147484343" r:id="rId82"/>
    <p:sldLayoutId id="2147484344" r:id="rId83"/>
    <p:sldLayoutId id="2147484346" r:id="rId84"/>
    <p:sldLayoutId id="2147484347" r:id="rId85"/>
    <p:sldLayoutId id="2147484350" r:id="rId86"/>
    <p:sldLayoutId id="2147484351" r:id="rId87"/>
    <p:sldLayoutId id="2147484354" r:id="rId88"/>
    <p:sldLayoutId id="2147484355" r:id="rId89"/>
    <p:sldLayoutId id="2147484356" r:id="rId90"/>
    <p:sldLayoutId id="2147484357" r:id="rId91"/>
    <p:sldLayoutId id="2147484358" r:id="rId92"/>
    <p:sldLayoutId id="2147484359" r:id="rId93"/>
    <p:sldLayoutId id="2147484360" r:id="rId94"/>
    <p:sldLayoutId id="2147484361" r:id="rId95"/>
    <p:sldLayoutId id="2147484363" r:id="rId96"/>
    <p:sldLayoutId id="2147484364" r:id="rId97"/>
    <p:sldLayoutId id="2147484365" r:id="rId98"/>
    <p:sldLayoutId id="2147484366" r:id="rId99"/>
    <p:sldLayoutId id="2147484367" r:id="rId100"/>
    <p:sldLayoutId id="2147484368" r:id="rId101"/>
    <p:sldLayoutId id="2147484369" r:id="rId102"/>
    <p:sldLayoutId id="2147484370" r:id="rId103"/>
    <p:sldLayoutId id="2147484378" r:id="rId104"/>
    <p:sldLayoutId id="2147484380" r:id="rId105"/>
    <p:sldLayoutId id="2147484381" r:id="rId106"/>
    <p:sldLayoutId id="2147484384" r:id="rId107"/>
    <p:sldLayoutId id="2147484385" r:id="rId108"/>
    <p:sldLayoutId id="2147484387" r:id="rId109"/>
    <p:sldLayoutId id="2147484388" r:id="rId110"/>
  </p:sldLayoutIdLst>
  <p:transition spd="slow">
    <p:fade/>
  </p:transition>
  <p:txStyles>
    <p:titleStyle>
      <a:lvl1pPr algn="l" defTabSz="914377" rtl="0" eaLnBrk="1" latinLnBrk="0" hangingPunct="1">
        <a:lnSpc>
          <a:spcPct val="90000"/>
        </a:lnSpc>
        <a:spcBef>
          <a:spcPct val="0"/>
        </a:spcBef>
        <a:buNone/>
        <a:defRPr sz="3000" b="1" i="0" kern="1200">
          <a:solidFill>
            <a:schemeClr val="tx1"/>
          </a:solidFill>
          <a:latin typeface="Avenir Next LT Pro" panose="020B0504020202020204" pitchFamily="34" charset="77"/>
          <a:ea typeface="Avenir Next LT Pro" panose="020B0504020202020204" pitchFamily="34" charset="77"/>
          <a:cs typeface="Avenir Next LT Pro" panose="020B0504020202020204" pitchFamily="34" charset="77"/>
        </a:defRPr>
      </a:lvl1pPr>
    </p:titleStyle>
    <p:bodyStyle>
      <a:lvl1pPr marL="383990" indent="-383990" algn="l" defTabSz="914377" rtl="0" eaLnBrk="1" latinLnBrk="0" hangingPunct="1">
        <a:lnSpc>
          <a:spcPct val="90000"/>
        </a:lnSpc>
        <a:spcBef>
          <a:spcPts val="1000"/>
        </a:spcBef>
        <a:buClr>
          <a:schemeClr val="accent2"/>
        </a:buClr>
        <a:buFont typeface="LucidaGrande" charset="0"/>
        <a:buChar char="+"/>
        <a:defRPr sz="1800" b="0" i="0" kern="1200">
          <a:solidFill>
            <a:schemeClr val="tx1"/>
          </a:solidFill>
          <a:latin typeface="Avenir Next LT Pro" panose="020B0504020202020204" pitchFamily="34" charset="77"/>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Avenir Next LT Pro" panose="020B0504020202020204" pitchFamily="34" charset="77"/>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Avenir Next LT Pro" panose="020B0504020202020204" pitchFamily="34"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849004B-1738-AD0E-2F08-9710882D1545}"/>
              </a:ext>
            </a:extLst>
          </p:cNvPr>
          <p:cNvGraphicFramePr>
            <a:graphicFrameLocks noChangeAspect="1"/>
          </p:cNvGraphicFramePr>
          <p:nvPr userDrawn="1">
            <p:custDataLst>
              <p:tags r:id="rId13"/>
            </p:custDataLst>
            <p:extLst>
              <p:ext uri="{D42A27DB-BD31-4B8C-83A1-F6EECF244321}">
                <p14:modId xmlns:p14="http://schemas.microsoft.com/office/powerpoint/2010/main" val="3937220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4" imgH="345" progId="TCLayout.ActiveDocument.1">
                  <p:embed/>
                </p:oleObj>
              </mc:Choice>
              <mc:Fallback>
                <p:oleObj name="think-cell Slide" r:id="rId14" imgW="344" imgH="345" progId="TCLayout.ActiveDocument.1">
                  <p:embed/>
                  <p:pic>
                    <p:nvPicPr>
                      <p:cNvPr id="8" name="think-cell data - do not delete" hidden="1">
                        <a:extLst>
                          <a:ext uri="{FF2B5EF4-FFF2-40B4-BE49-F238E27FC236}">
                            <a16:creationId xmlns:a16="http://schemas.microsoft.com/office/drawing/2014/main" id="{2849004B-1738-AD0E-2F08-9710882D154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C0D1B7B-516E-B6E8-05B3-C54D5C0F3838}"/>
              </a:ext>
            </a:extLst>
          </p:cNvPr>
          <p:cNvSpPr>
            <a:spLocks noGrp="1"/>
          </p:cNvSpPr>
          <p:nvPr>
            <p:ph type="title"/>
          </p:nvPr>
        </p:nvSpPr>
        <p:spPr>
          <a:xfrm>
            <a:off x="516005" y="514350"/>
            <a:ext cx="11163166" cy="1176338"/>
          </a:xfrm>
          <a:prstGeom prst="rect">
            <a:avLst/>
          </a:prstGeom>
        </p:spPr>
        <p:txBody>
          <a:bodyPr vert="horz" lIns="0" tIns="0" rIns="0" bIns="0" rtlCol="0" anchor="b" anchorCtr="0">
            <a:noAutofit/>
          </a:bodyPr>
          <a:lstStyle/>
          <a:p>
            <a:r>
              <a:rPr lang="en-US"/>
              <a:t>Click to edit Master title style</a:t>
            </a:r>
            <a:endParaRPr lang="sv-SE"/>
          </a:p>
        </p:txBody>
      </p:sp>
      <p:sp>
        <p:nvSpPr>
          <p:cNvPr id="3" name="Text Placeholder 2">
            <a:extLst>
              <a:ext uri="{FF2B5EF4-FFF2-40B4-BE49-F238E27FC236}">
                <a16:creationId xmlns:a16="http://schemas.microsoft.com/office/drawing/2014/main" id="{2ACB2F28-C7ED-98B3-FA9C-0D11A5DEC106}"/>
              </a:ext>
            </a:extLst>
          </p:cNvPr>
          <p:cNvSpPr>
            <a:spLocks noGrp="1"/>
          </p:cNvSpPr>
          <p:nvPr>
            <p:ph type="body" idx="1"/>
          </p:nvPr>
        </p:nvSpPr>
        <p:spPr>
          <a:xfrm>
            <a:off x="516005" y="1825625"/>
            <a:ext cx="11163166"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0908225C-C275-F75D-2FBD-5104BD5243C6}"/>
              </a:ext>
            </a:extLst>
          </p:cNvPr>
          <p:cNvSpPr>
            <a:spLocks noGrp="1"/>
          </p:cNvSpPr>
          <p:nvPr>
            <p:ph type="dt" sz="half" idx="2"/>
          </p:nvPr>
        </p:nvSpPr>
        <p:spPr>
          <a:xfrm>
            <a:off x="516005" y="6328262"/>
            <a:ext cx="2743557" cy="153888"/>
          </a:xfrm>
          <a:prstGeom prst="rect">
            <a:avLst/>
          </a:prstGeom>
        </p:spPr>
        <p:txBody>
          <a:bodyPr vert="horz" lIns="0" tIns="0" rIns="0" bIns="0" rtlCol="0" anchor="ctr">
            <a:spAutoFit/>
          </a:bodyPr>
          <a:lstStyle>
            <a:lvl1pPr algn="l">
              <a:defRPr sz="1000">
                <a:solidFill>
                  <a:schemeClr val="tx1"/>
                </a:solidFill>
              </a:defRPr>
            </a:lvl1pPr>
          </a:lstStyle>
          <a:p>
            <a:fld id="{F09AE9E9-79C3-4E6B-BF48-BE14C72316A1}" type="datetime1">
              <a:rPr lang="en-US" smtClean="0"/>
              <a:t>5/13/2026</a:t>
            </a:fld>
            <a:endParaRPr lang="sv-SE"/>
          </a:p>
        </p:txBody>
      </p:sp>
      <p:sp>
        <p:nvSpPr>
          <p:cNvPr id="5" name="Footer Placeholder 4">
            <a:extLst>
              <a:ext uri="{FF2B5EF4-FFF2-40B4-BE49-F238E27FC236}">
                <a16:creationId xmlns:a16="http://schemas.microsoft.com/office/drawing/2014/main" id="{E331CDC2-F261-E399-98C2-17CC29C1AA4A}"/>
              </a:ext>
            </a:extLst>
          </p:cNvPr>
          <p:cNvSpPr>
            <a:spLocks noGrp="1"/>
          </p:cNvSpPr>
          <p:nvPr>
            <p:ph type="ftr" sz="quarter" idx="3"/>
          </p:nvPr>
        </p:nvSpPr>
        <p:spPr>
          <a:xfrm>
            <a:off x="516005" y="6494949"/>
            <a:ext cx="4115336" cy="153888"/>
          </a:xfrm>
          <a:prstGeom prst="rect">
            <a:avLst/>
          </a:prstGeom>
        </p:spPr>
        <p:txBody>
          <a:bodyPr vert="horz" lIns="0" tIns="0" rIns="0" bIns="0" rtlCol="0" anchor="ctr">
            <a:spAutoFit/>
          </a:bodyPr>
          <a:lstStyle>
            <a:lvl1pPr algn="l">
              <a:defRPr sz="1000">
                <a:solidFill>
                  <a:schemeClr val="tx2">
                    <a:lumMod val="60000"/>
                    <a:lumOff val="40000"/>
                  </a:schemeClr>
                </a:solidFill>
              </a:defRPr>
            </a:lvl1pPr>
          </a:lstStyle>
          <a:p>
            <a:endParaRPr lang="sv-SE"/>
          </a:p>
        </p:txBody>
      </p:sp>
      <p:sp>
        <p:nvSpPr>
          <p:cNvPr id="6" name="Slide Number Placeholder 5">
            <a:extLst>
              <a:ext uri="{FF2B5EF4-FFF2-40B4-BE49-F238E27FC236}">
                <a16:creationId xmlns:a16="http://schemas.microsoft.com/office/drawing/2014/main" id="{5EE4FA62-20CF-D995-ECF5-8B0A42A0EF56}"/>
              </a:ext>
            </a:extLst>
          </p:cNvPr>
          <p:cNvSpPr>
            <a:spLocks noGrp="1"/>
          </p:cNvSpPr>
          <p:nvPr>
            <p:ph type="sldNum" sz="quarter" idx="4"/>
          </p:nvPr>
        </p:nvSpPr>
        <p:spPr>
          <a:xfrm>
            <a:off x="11302884" y="6494949"/>
            <a:ext cx="374699" cy="153888"/>
          </a:xfrm>
          <a:prstGeom prst="rect">
            <a:avLst/>
          </a:prstGeom>
        </p:spPr>
        <p:txBody>
          <a:bodyPr vert="horz" wrap="square" lIns="0" tIns="0" rIns="0" bIns="0" rtlCol="0" anchor="ctr">
            <a:spAutoFit/>
          </a:bodyPr>
          <a:lstStyle>
            <a:lvl1pPr algn="r">
              <a:defRPr sz="1000">
                <a:solidFill>
                  <a:schemeClr val="tx2">
                    <a:lumMod val="60000"/>
                    <a:lumOff val="40000"/>
                  </a:schemeClr>
                </a:solidFill>
              </a:defRPr>
            </a:lvl1pPr>
          </a:lstStyle>
          <a:p>
            <a:fld id="{C2F92818-9D0C-420B-84CB-20E21C25F84F}" type="slidenum">
              <a:rPr lang="sv-SE" smtClean="0"/>
              <a:pPr/>
              <a:t>‹#›</a:t>
            </a:fld>
            <a:endParaRPr lang="sv-SE"/>
          </a:p>
        </p:txBody>
      </p:sp>
    </p:spTree>
    <p:extLst>
      <p:ext uri="{BB962C8B-B14F-4D97-AF65-F5344CB8AC3E}">
        <p14:creationId xmlns:p14="http://schemas.microsoft.com/office/powerpoint/2010/main" val="939627240"/>
      </p:ext>
    </p:extLst>
  </p:cSld>
  <p:clrMap bg1="lt1" tx1="dk1" bg2="lt2" tx2="dk2" accent1="accent1" accent2="accent2" accent3="accent3" accent4="accent4" accent5="accent5" accent6="accent6" hlink="hlink" folHlink="folHlink"/>
  <p:sldLayoutIdLst>
    <p:sldLayoutId id="2147484442" r:id="rId1"/>
    <p:sldLayoutId id="2147484443" r:id="rId2"/>
    <p:sldLayoutId id="2147484444" r:id="rId3"/>
    <p:sldLayoutId id="2147484445" r:id="rId4"/>
    <p:sldLayoutId id="2147484446" r:id="rId5"/>
    <p:sldLayoutId id="2147484447" r:id="rId6"/>
    <p:sldLayoutId id="2147484448" r:id="rId7"/>
    <p:sldLayoutId id="2147484449" r:id="rId8"/>
    <p:sldLayoutId id="2147484450" r:id="rId9"/>
    <p:sldLayoutId id="2147484451" r:id="rId10"/>
    <p:sldLayoutId id="2147484452" r:id="rId11"/>
  </p:sldLayoutIdLst>
  <p:hf hdr="0" ftr="0" dt="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66700" indent="-266700" algn="l" defTabSz="914400"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75" indent="-180975" algn="l" defTabSz="914400" rtl="0" eaLnBrk="1" latinLnBrk="0" hangingPunct="1">
        <a:lnSpc>
          <a:spcPct val="90000"/>
        </a:lnSpc>
        <a:spcBef>
          <a:spcPts val="700"/>
        </a:spcBef>
        <a:buClr>
          <a:schemeClr val="tx2"/>
        </a:buClr>
        <a:buFont typeface="Arial" panose="020B0604020202020204" pitchFamily="34" charset="0"/>
        <a:buChar char="•"/>
        <a:defRPr sz="1800" kern="1200">
          <a:solidFill>
            <a:schemeClr val="tx1"/>
          </a:solidFill>
          <a:latin typeface="+mn-lt"/>
          <a:ea typeface="+mn-ea"/>
          <a:cs typeface="+mn-cs"/>
        </a:defRPr>
      </a:lvl2pPr>
      <a:lvl3pPr marL="628650" indent="-180975" algn="l" defTabSz="914400" rtl="0" eaLnBrk="1" latinLnBrk="0" hangingPunct="1">
        <a:lnSpc>
          <a:spcPct val="90000"/>
        </a:lnSpc>
        <a:spcBef>
          <a:spcPts val="700"/>
        </a:spcBef>
        <a:buClr>
          <a:schemeClr val="tx2"/>
        </a:buClr>
        <a:buFont typeface="Arial" panose="020B0604020202020204" pitchFamily="34" charset="0"/>
        <a:buChar char="•"/>
        <a:defRPr sz="1600" kern="1200">
          <a:solidFill>
            <a:schemeClr val="tx1"/>
          </a:solidFill>
          <a:latin typeface="+mn-lt"/>
          <a:ea typeface="+mn-ea"/>
          <a:cs typeface="+mn-cs"/>
        </a:defRPr>
      </a:lvl3pPr>
      <a:lvl4pPr marL="809625" indent="-180975" algn="l" defTabSz="914400" rtl="0" eaLnBrk="1" latinLnBrk="0" hangingPunct="1">
        <a:lnSpc>
          <a:spcPct val="90000"/>
        </a:lnSpc>
        <a:spcBef>
          <a:spcPts val="700"/>
        </a:spcBef>
        <a:buClr>
          <a:schemeClr val="tx2"/>
        </a:buClr>
        <a:buFont typeface="Arial" panose="020B0604020202020204" pitchFamily="34" charset="0"/>
        <a:buChar char="•"/>
        <a:defRPr sz="1400" kern="1200">
          <a:solidFill>
            <a:schemeClr val="tx1"/>
          </a:solidFill>
          <a:latin typeface="+mn-lt"/>
          <a:ea typeface="+mn-ea"/>
          <a:cs typeface="+mn-cs"/>
        </a:defRPr>
      </a:lvl4pPr>
      <a:lvl5pPr marL="990600" indent="-180975" algn="l" defTabSz="914400" rtl="0" eaLnBrk="1" latinLnBrk="0" hangingPunct="1">
        <a:lnSpc>
          <a:spcPct val="90000"/>
        </a:lnSpc>
        <a:spcBef>
          <a:spcPts val="7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4" pos="325">
          <p15:clr>
            <a:srgbClr val="F26B43"/>
          </p15:clr>
        </p15:guide>
        <p15:guide id="5" pos="7356">
          <p15:clr>
            <a:srgbClr val="F26B43"/>
          </p15:clr>
        </p15:guide>
        <p15:guide id="6" orient="horz" pos="324">
          <p15:clr>
            <a:srgbClr val="F26B43"/>
          </p15:clr>
        </p15:guide>
        <p15:guide id="7" orient="horz" pos="399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849004B-1738-AD0E-2F08-9710882D1545}"/>
              </a:ext>
            </a:extLst>
          </p:cNvPr>
          <p:cNvGraphicFramePr>
            <a:graphicFrameLocks/>
          </p:cNvGraphicFramePr>
          <p:nvPr userDrawn="1">
            <p:custDataLst>
              <p:tags r:id="rId13"/>
            </p:custDataLst>
            <p:extLst>
              <p:ext uri="{D42A27DB-BD31-4B8C-83A1-F6EECF244321}">
                <p14:modId xmlns:p14="http://schemas.microsoft.com/office/powerpoint/2010/main" val="151636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4" imgH="345" progId="TCLayout.ActiveDocument.1">
                  <p:embed/>
                </p:oleObj>
              </mc:Choice>
              <mc:Fallback>
                <p:oleObj name="think-cell Slide" r:id="rId14" imgW="344" imgH="345" progId="TCLayout.ActiveDocument.1">
                  <p:embed/>
                  <p:pic>
                    <p:nvPicPr>
                      <p:cNvPr id="8" name="think-cell data - do not delete" hidden="1">
                        <a:extLst>
                          <a:ext uri="{FF2B5EF4-FFF2-40B4-BE49-F238E27FC236}">
                            <a16:creationId xmlns:a16="http://schemas.microsoft.com/office/drawing/2014/main" id="{2849004B-1738-AD0E-2F08-9710882D154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C0D1B7B-516E-B6E8-05B3-C54D5C0F3838}"/>
              </a:ext>
            </a:extLst>
          </p:cNvPr>
          <p:cNvSpPr>
            <a:spLocks noGrp="1"/>
          </p:cNvSpPr>
          <p:nvPr>
            <p:ph type="title"/>
          </p:nvPr>
        </p:nvSpPr>
        <p:spPr>
          <a:xfrm>
            <a:off x="516005" y="514350"/>
            <a:ext cx="11163166" cy="1176338"/>
          </a:xfrm>
          <a:prstGeom prst="rect">
            <a:avLst/>
          </a:prstGeom>
        </p:spPr>
        <p:txBody>
          <a:bodyPr vert="horz" lIns="0" tIns="0" rIns="0" bIns="0" rtlCol="0" anchor="b" anchorCtr="0">
            <a:noAutofit/>
          </a:bodyPr>
          <a:lstStyle/>
          <a:p>
            <a:r>
              <a:rPr lang="en-GB"/>
              <a:t>Click to edit Master title style</a:t>
            </a:r>
          </a:p>
        </p:txBody>
      </p:sp>
      <p:sp>
        <p:nvSpPr>
          <p:cNvPr id="3" name="Text Placeholder 2">
            <a:extLst>
              <a:ext uri="{FF2B5EF4-FFF2-40B4-BE49-F238E27FC236}">
                <a16:creationId xmlns:a16="http://schemas.microsoft.com/office/drawing/2014/main" id="{2ACB2F28-C7ED-98B3-FA9C-0D11A5DEC106}"/>
              </a:ext>
            </a:extLst>
          </p:cNvPr>
          <p:cNvSpPr>
            <a:spLocks noGrp="1"/>
          </p:cNvSpPr>
          <p:nvPr>
            <p:ph type="body" idx="1"/>
          </p:nvPr>
        </p:nvSpPr>
        <p:spPr>
          <a:xfrm>
            <a:off x="516005" y="1825625"/>
            <a:ext cx="11163166" cy="435133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0908225C-C275-F75D-2FBD-5104BD5243C6}"/>
              </a:ext>
            </a:extLst>
          </p:cNvPr>
          <p:cNvSpPr>
            <a:spLocks noGrp="1"/>
          </p:cNvSpPr>
          <p:nvPr>
            <p:ph type="dt" sz="half" idx="2"/>
          </p:nvPr>
        </p:nvSpPr>
        <p:spPr>
          <a:xfrm>
            <a:off x="516005" y="6328262"/>
            <a:ext cx="2743557" cy="153888"/>
          </a:xfrm>
          <a:prstGeom prst="rect">
            <a:avLst/>
          </a:prstGeom>
        </p:spPr>
        <p:txBody>
          <a:bodyPr vert="horz" lIns="0" tIns="0" rIns="0" bIns="0" rtlCol="0" anchor="ctr">
            <a:spAutoFit/>
          </a:bodyPr>
          <a:lstStyle>
            <a:lvl1pPr algn="l">
              <a:defRPr sz="1000">
                <a:solidFill>
                  <a:schemeClr val="tx1"/>
                </a:solidFill>
              </a:defRPr>
            </a:lvl1pPr>
          </a:lstStyle>
          <a:p>
            <a:fld id="{F09AE9E9-79C3-4E6B-BF48-BE14C72316A1}" type="datetime1">
              <a:rPr lang="en-GB" smtClean="0"/>
              <a:t>13/05/2026</a:t>
            </a:fld>
            <a:endParaRPr lang="en-GB"/>
          </a:p>
        </p:txBody>
      </p:sp>
      <p:sp>
        <p:nvSpPr>
          <p:cNvPr id="5" name="Footer Placeholder 4">
            <a:extLst>
              <a:ext uri="{FF2B5EF4-FFF2-40B4-BE49-F238E27FC236}">
                <a16:creationId xmlns:a16="http://schemas.microsoft.com/office/drawing/2014/main" id="{E331CDC2-F261-E399-98C2-17CC29C1AA4A}"/>
              </a:ext>
            </a:extLst>
          </p:cNvPr>
          <p:cNvSpPr>
            <a:spLocks noGrp="1"/>
          </p:cNvSpPr>
          <p:nvPr>
            <p:ph type="ftr" sz="quarter" idx="3"/>
          </p:nvPr>
        </p:nvSpPr>
        <p:spPr>
          <a:xfrm>
            <a:off x="516005" y="6494949"/>
            <a:ext cx="4115336" cy="153888"/>
          </a:xfrm>
          <a:prstGeom prst="rect">
            <a:avLst/>
          </a:prstGeom>
        </p:spPr>
        <p:txBody>
          <a:bodyPr vert="horz" lIns="0" tIns="0" rIns="0" bIns="0" rtlCol="0" anchor="ctr">
            <a:spAutoFit/>
          </a:bodyPr>
          <a:lstStyle>
            <a:lvl1pPr algn="l">
              <a:defRPr sz="1000">
                <a:solidFill>
                  <a:schemeClr val="tx2">
                    <a:lumMod val="60000"/>
                    <a:lumOff val="40000"/>
                  </a:schemeClr>
                </a:solidFill>
              </a:defRPr>
            </a:lvl1pPr>
          </a:lstStyle>
          <a:p>
            <a:endParaRPr lang="en-GB"/>
          </a:p>
        </p:txBody>
      </p:sp>
      <p:sp>
        <p:nvSpPr>
          <p:cNvPr id="6" name="Slide Number Placeholder 5">
            <a:extLst>
              <a:ext uri="{FF2B5EF4-FFF2-40B4-BE49-F238E27FC236}">
                <a16:creationId xmlns:a16="http://schemas.microsoft.com/office/drawing/2014/main" id="{5EE4FA62-20CF-D995-ECF5-8B0A42A0EF56}"/>
              </a:ext>
            </a:extLst>
          </p:cNvPr>
          <p:cNvSpPr>
            <a:spLocks noGrp="1"/>
          </p:cNvSpPr>
          <p:nvPr>
            <p:ph type="sldNum" sz="quarter" idx="4"/>
          </p:nvPr>
        </p:nvSpPr>
        <p:spPr>
          <a:xfrm>
            <a:off x="11302885" y="6494949"/>
            <a:ext cx="374699" cy="153888"/>
          </a:xfrm>
          <a:prstGeom prst="rect">
            <a:avLst/>
          </a:prstGeom>
        </p:spPr>
        <p:txBody>
          <a:bodyPr vert="horz" wrap="square" lIns="0" tIns="0" rIns="0" bIns="0" rtlCol="0" anchor="ctr">
            <a:spAutoFit/>
          </a:bodyPr>
          <a:lstStyle>
            <a:lvl1pPr algn="r">
              <a:defRPr sz="1000">
                <a:solidFill>
                  <a:schemeClr val="tx2">
                    <a:lumMod val="60000"/>
                    <a:lumOff val="40000"/>
                  </a:schemeClr>
                </a:solidFill>
              </a:defRPr>
            </a:lvl1pPr>
          </a:lstStyle>
          <a:p>
            <a:fld id="{C2F92818-9D0C-420B-84CB-20E21C25F84F}" type="slidenum">
              <a:rPr lang="en-GB" smtClean="0"/>
              <a:pPr/>
              <a:t>‹#›</a:t>
            </a:fld>
            <a:endParaRPr lang="en-GB"/>
          </a:p>
        </p:txBody>
      </p:sp>
    </p:spTree>
    <p:extLst>
      <p:ext uri="{BB962C8B-B14F-4D97-AF65-F5344CB8AC3E}">
        <p14:creationId xmlns:p14="http://schemas.microsoft.com/office/powerpoint/2010/main" val="1128662493"/>
      </p:ext>
    </p:extLst>
  </p:cSld>
  <p:clrMap bg1="lt1" tx1="dk1" bg2="lt2" tx2="dk2" accent1="accent1" accent2="accent2" accent3="accent3" accent4="accent4" accent5="accent5" accent6="accent6" hlink="hlink" folHlink="folHlink"/>
  <p:sldLayoutIdLst>
    <p:sldLayoutId id="2147484454" r:id="rId1"/>
    <p:sldLayoutId id="2147484455" r:id="rId2"/>
    <p:sldLayoutId id="2147484456" r:id="rId3"/>
    <p:sldLayoutId id="2147484457" r:id="rId4"/>
    <p:sldLayoutId id="2147484458" r:id="rId5"/>
    <p:sldLayoutId id="2147484459" r:id="rId6"/>
    <p:sldLayoutId id="2147484460" r:id="rId7"/>
    <p:sldLayoutId id="2147484461" r:id="rId8"/>
    <p:sldLayoutId id="2147484462" r:id="rId9"/>
    <p:sldLayoutId id="2147484463" r:id="rId10"/>
    <p:sldLayoutId id="2147484464" r:id="rId11"/>
  </p:sldLayoutIdLst>
  <p:hf hdr="0" ftr="0" dt="0"/>
  <p:txStyles>
    <p:titleStyle>
      <a:lvl1pPr algn="l" defTabSz="914309"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66673" indent="-266673" algn="l" defTabSz="914309"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30" indent="-180957" algn="l" defTabSz="914309" rtl="0" eaLnBrk="1" latinLnBrk="0" hangingPunct="1">
        <a:lnSpc>
          <a:spcPct val="90000"/>
        </a:lnSpc>
        <a:spcBef>
          <a:spcPts val="700"/>
        </a:spcBef>
        <a:buClr>
          <a:schemeClr val="tx2"/>
        </a:buClr>
        <a:buFont typeface="Arial" panose="020B0604020202020204" pitchFamily="34" charset="0"/>
        <a:buChar char="•"/>
        <a:defRPr sz="1800" kern="1200">
          <a:solidFill>
            <a:schemeClr val="tx1"/>
          </a:solidFill>
          <a:latin typeface="+mn-lt"/>
          <a:ea typeface="+mn-ea"/>
          <a:cs typeface="+mn-cs"/>
        </a:defRPr>
      </a:lvl2pPr>
      <a:lvl3pPr marL="628587" indent="-180957" algn="l" defTabSz="914309" rtl="0" eaLnBrk="1" latinLnBrk="0" hangingPunct="1">
        <a:lnSpc>
          <a:spcPct val="90000"/>
        </a:lnSpc>
        <a:spcBef>
          <a:spcPts val="700"/>
        </a:spcBef>
        <a:buClr>
          <a:schemeClr val="tx2"/>
        </a:buClr>
        <a:buFont typeface="Arial" panose="020B0604020202020204" pitchFamily="34" charset="0"/>
        <a:buChar char="•"/>
        <a:defRPr sz="1600" kern="1200">
          <a:solidFill>
            <a:schemeClr val="tx1"/>
          </a:solidFill>
          <a:latin typeface="+mn-lt"/>
          <a:ea typeface="+mn-ea"/>
          <a:cs typeface="+mn-cs"/>
        </a:defRPr>
      </a:lvl3pPr>
      <a:lvl4pPr marL="809544" indent="-180957" algn="l" defTabSz="914309" rtl="0" eaLnBrk="1" latinLnBrk="0" hangingPunct="1">
        <a:lnSpc>
          <a:spcPct val="90000"/>
        </a:lnSpc>
        <a:spcBef>
          <a:spcPts val="700"/>
        </a:spcBef>
        <a:buClr>
          <a:schemeClr val="tx2"/>
        </a:buClr>
        <a:buFont typeface="Arial" panose="020B0604020202020204" pitchFamily="34" charset="0"/>
        <a:buChar char="•"/>
        <a:defRPr sz="1400" kern="1200">
          <a:solidFill>
            <a:schemeClr val="tx1"/>
          </a:solidFill>
          <a:latin typeface="+mn-lt"/>
          <a:ea typeface="+mn-ea"/>
          <a:cs typeface="+mn-cs"/>
        </a:defRPr>
      </a:lvl4pPr>
      <a:lvl5pPr marL="990501" indent="-180957" algn="l" defTabSz="914309" rtl="0" eaLnBrk="1" latinLnBrk="0" hangingPunct="1">
        <a:lnSpc>
          <a:spcPct val="90000"/>
        </a:lnSpc>
        <a:spcBef>
          <a:spcPts val="7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4" pos="325">
          <p15:clr>
            <a:srgbClr val="F26B43"/>
          </p15:clr>
        </p15:guide>
        <p15:guide id="5" pos="7356">
          <p15:clr>
            <a:srgbClr val="F26B43"/>
          </p15:clr>
        </p15:guide>
        <p15:guide id="6" orient="horz" pos="324">
          <p15:clr>
            <a:srgbClr val="F26B43"/>
          </p15:clr>
        </p15:guide>
        <p15:guide id="7" orient="horz" pos="3996">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01EF5DC-5C59-407A-F58B-83BA00EF085C}"/>
              </a:ext>
            </a:extLst>
          </p:cNvPr>
          <p:cNvGraphicFramePr>
            <a:graphicFrameLocks/>
          </p:cNvGraphicFramePr>
          <p:nvPr userDrawn="1">
            <p:custDataLst>
              <p:tags r:id="rId15"/>
            </p:custDataLst>
            <p:extLst>
              <p:ext uri="{D42A27DB-BD31-4B8C-83A1-F6EECF244321}">
                <p14:modId xmlns:p14="http://schemas.microsoft.com/office/powerpoint/2010/main" val="1826357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4" imgH="344" progId="TCLayout.ActiveDocument.1">
                  <p:embed/>
                </p:oleObj>
              </mc:Choice>
              <mc:Fallback>
                <p:oleObj name="think-cell Slide" r:id="rId16" imgW="344" imgH="344" progId="TCLayout.ActiveDocument.1">
                  <p:embed/>
                  <p:pic>
                    <p:nvPicPr>
                      <p:cNvPr id="10" name="think-cell data - do not delete" hidden="1">
                        <a:extLst>
                          <a:ext uri="{FF2B5EF4-FFF2-40B4-BE49-F238E27FC236}">
                            <a16:creationId xmlns:a16="http://schemas.microsoft.com/office/drawing/2014/main" id="{D01EF5DC-5C59-407A-F58B-83BA00EF085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C0D1B7B-516E-B6E8-05B3-C54D5C0F3838}"/>
              </a:ext>
            </a:extLst>
          </p:cNvPr>
          <p:cNvSpPr>
            <a:spLocks noGrp="1"/>
          </p:cNvSpPr>
          <p:nvPr>
            <p:ph type="title"/>
          </p:nvPr>
        </p:nvSpPr>
        <p:spPr>
          <a:xfrm>
            <a:off x="516005" y="514350"/>
            <a:ext cx="11163166" cy="1176338"/>
          </a:xfrm>
          <a:prstGeom prst="rect">
            <a:avLst/>
          </a:prstGeom>
        </p:spPr>
        <p:txBody>
          <a:bodyPr vert="horz" lIns="0" tIns="0" rIns="0" bIns="0" rtlCol="0" anchor="b" anchorCtr="0">
            <a:noAutofit/>
          </a:bodyPr>
          <a:lstStyle/>
          <a:p>
            <a:r>
              <a:rPr lang="en-GB"/>
              <a:t>Click to edit Master title style</a:t>
            </a:r>
          </a:p>
        </p:txBody>
      </p:sp>
      <p:sp>
        <p:nvSpPr>
          <p:cNvPr id="3" name="Text Placeholder 2">
            <a:extLst>
              <a:ext uri="{FF2B5EF4-FFF2-40B4-BE49-F238E27FC236}">
                <a16:creationId xmlns:a16="http://schemas.microsoft.com/office/drawing/2014/main" id="{2ACB2F28-C7ED-98B3-FA9C-0D11A5DEC106}"/>
              </a:ext>
            </a:extLst>
          </p:cNvPr>
          <p:cNvSpPr>
            <a:spLocks noGrp="1"/>
          </p:cNvSpPr>
          <p:nvPr>
            <p:ph type="body" idx="1"/>
          </p:nvPr>
        </p:nvSpPr>
        <p:spPr>
          <a:xfrm>
            <a:off x="516005" y="1825625"/>
            <a:ext cx="11163166" cy="435133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0908225C-C275-F75D-2FBD-5104BD5243C6}"/>
              </a:ext>
            </a:extLst>
          </p:cNvPr>
          <p:cNvSpPr>
            <a:spLocks noGrp="1"/>
          </p:cNvSpPr>
          <p:nvPr>
            <p:ph type="dt" sz="half" idx="2"/>
          </p:nvPr>
        </p:nvSpPr>
        <p:spPr>
          <a:xfrm>
            <a:off x="516005" y="6328262"/>
            <a:ext cx="2743557" cy="153888"/>
          </a:xfrm>
          <a:prstGeom prst="rect">
            <a:avLst/>
          </a:prstGeom>
        </p:spPr>
        <p:txBody>
          <a:bodyPr vert="horz" lIns="0" tIns="0" rIns="0" bIns="0" rtlCol="0" anchor="ctr">
            <a:spAutoFit/>
          </a:bodyPr>
          <a:lstStyle>
            <a:lvl1pPr algn="l">
              <a:defRPr sz="1000">
                <a:solidFill>
                  <a:schemeClr val="tx1"/>
                </a:solidFill>
              </a:defRPr>
            </a:lvl1pPr>
          </a:lstStyle>
          <a:p>
            <a:fld id="{C5F73EEB-9E5B-FC45-9C1F-57DC5805244D}" type="datetime3">
              <a:rPr lang="en-GB" smtClean="0"/>
              <a:t>13 May, 2026</a:t>
            </a:fld>
            <a:endParaRPr lang="en-GB"/>
          </a:p>
        </p:txBody>
      </p:sp>
      <p:sp>
        <p:nvSpPr>
          <p:cNvPr id="5" name="Footer Placeholder 4">
            <a:extLst>
              <a:ext uri="{FF2B5EF4-FFF2-40B4-BE49-F238E27FC236}">
                <a16:creationId xmlns:a16="http://schemas.microsoft.com/office/drawing/2014/main" id="{E331CDC2-F261-E399-98C2-17CC29C1AA4A}"/>
              </a:ext>
            </a:extLst>
          </p:cNvPr>
          <p:cNvSpPr>
            <a:spLocks noGrp="1"/>
          </p:cNvSpPr>
          <p:nvPr>
            <p:ph type="ftr" sz="quarter" idx="3"/>
          </p:nvPr>
        </p:nvSpPr>
        <p:spPr>
          <a:xfrm>
            <a:off x="516005" y="6494949"/>
            <a:ext cx="4115336" cy="153888"/>
          </a:xfrm>
          <a:prstGeom prst="rect">
            <a:avLst/>
          </a:prstGeom>
        </p:spPr>
        <p:txBody>
          <a:bodyPr vert="horz" lIns="0" tIns="0" rIns="0" bIns="0" rtlCol="0" anchor="ctr">
            <a:spAutoFit/>
          </a:bodyPr>
          <a:lstStyle>
            <a:lvl1pPr algn="l">
              <a:defRPr sz="1000">
                <a:solidFill>
                  <a:schemeClr val="tx2">
                    <a:lumMod val="60000"/>
                    <a:lumOff val="40000"/>
                  </a:schemeClr>
                </a:solidFill>
              </a:defRPr>
            </a:lvl1pPr>
          </a:lstStyle>
          <a:p>
            <a:endParaRPr lang="en-GB"/>
          </a:p>
        </p:txBody>
      </p:sp>
      <p:sp>
        <p:nvSpPr>
          <p:cNvPr id="6" name="Slide Number Placeholder 5">
            <a:extLst>
              <a:ext uri="{FF2B5EF4-FFF2-40B4-BE49-F238E27FC236}">
                <a16:creationId xmlns:a16="http://schemas.microsoft.com/office/drawing/2014/main" id="{5EE4FA62-20CF-D995-ECF5-8B0A42A0EF56}"/>
              </a:ext>
            </a:extLst>
          </p:cNvPr>
          <p:cNvSpPr>
            <a:spLocks noGrp="1"/>
          </p:cNvSpPr>
          <p:nvPr>
            <p:ph type="sldNum" sz="quarter" idx="4"/>
          </p:nvPr>
        </p:nvSpPr>
        <p:spPr>
          <a:xfrm>
            <a:off x="11302884" y="6494949"/>
            <a:ext cx="374699" cy="153888"/>
          </a:xfrm>
          <a:prstGeom prst="rect">
            <a:avLst/>
          </a:prstGeom>
        </p:spPr>
        <p:txBody>
          <a:bodyPr vert="horz" wrap="square" lIns="0" tIns="0" rIns="0" bIns="0" rtlCol="0" anchor="ctr">
            <a:spAutoFit/>
          </a:bodyPr>
          <a:lstStyle>
            <a:lvl1pPr algn="r">
              <a:defRPr sz="1000">
                <a:solidFill>
                  <a:schemeClr val="tx2">
                    <a:lumMod val="60000"/>
                    <a:lumOff val="40000"/>
                  </a:schemeClr>
                </a:solidFill>
              </a:defRPr>
            </a:lvl1pPr>
          </a:lstStyle>
          <a:p>
            <a:fld id="{C2F92818-9D0C-420B-84CB-20E21C25F84F}" type="slidenum">
              <a:rPr lang="en-GB" smtClean="0"/>
              <a:pPr/>
              <a:t>‹#›</a:t>
            </a:fld>
            <a:endParaRPr lang="en-GB"/>
          </a:p>
        </p:txBody>
      </p:sp>
    </p:spTree>
    <p:extLst>
      <p:ext uri="{BB962C8B-B14F-4D97-AF65-F5344CB8AC3E}">
        <p14:creationId xmlns:p14="http://schemas.microsoft.com/office/powerpoint/2010/main" val="3476055019"/>
      </p:ext>
    </p:extLst>
  </p:cSld>
  <p:clrMap bg1="lt1" tx1="dk1" bg2="lt2" tx2="dk2" accent1="accent1" accent2="accent2" accent3="accent3" accent4="accent4" accent5="accent5" accent6="accent6" hlink="hlink" folHlink="folHlink"/>
  <p:sldLayoutIdLst>
    <p:sldLayoutId id="2147484466" r:id="rId1"/>
    <p:sldLayoutId id="2147484467" r:id="rId2"/>
    <p:sldLayoutId id="2147484468" r:id="rId3"/>
    <p:sldLayoutId id="2147484469" r:id="rId4"/>
    <p:sldLayoutId id="2147484470" r:id="rId5"/>
    <p:sldLayoutId id="2147484471" r:id="rId6"/>
    <p:sldLayoutId id="2147484472" r:id="rId7"/>
    <p:sldLayoutId id="2147484473" r:id="rId8"/>
    <p:sldLayoutId id="2147484474" r:id="rId9"/>
    <p:sldLayoutId id="2147484475" r:id="rId10"/>
    <p:sldLayoutId id="2147484476" r:id="rId11"/>
    <p:sldLayoutId id="2147484483" r:id="rId12"/>
    <p:sldLayoutId id="2147484484" r:id="rId13"/>
  </p:sldLayoutIdLst>
  <p:hf hdr="0" ftr="0" dt="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66700" indent="-266700" algn="l" defTabSz="914400"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75" indent="-180975" algn="l" defTabSz="914400" rtl="0" eaLnBrk="1" latinLnBrk="0" hangingPunct="1">
        <a:lnSpc>
          <a:spcPct val="90000"/>
        </a:lnSpc>
        <a:spcBef>
          <a:spcPts val="700"/>
        </a:spcBef>
        <a:buClr>
          <a:schemeClr val="tx2"/>
        </a:buClr>
        <a:buFont typeface="Arial" panose="020B0604020202020204" pitchFamily="34" charset="0"/>
        <a:buChar char="•"/>
        <a:defRPr sz="1800" kern="1200">
          <a:solidFill>
            <a:schemeClr val="tx1"/>
          </a:solidFill>
          <a:latin typeface="+mn-lt"/>
          <a:ea typeface="+mn-ea"/>
          <a:cs typeface="+mn-cs"/>
        </a:defRPr>
      </a:lvl2pPr>
      <a:lvl3pPr marL="628650" indent="-180975" algn="l" defTabSz="914400" rtl="0" eaLnBrk="1" latinLnBrk="0" hangingPunct="1">
        <a:lnSpc>
          <a:spcPct val="90000"/>
        </a:lnSpc>
        <a:spcBef>
          <a:spcPts val="700"/>
        </a:spcBef>
        <a:buClr>
          <a:schemeClr val="tx2"/>
        </a:buClr>
        <a:buFont typeface="Arial" panose="020B0604020202020204" pitchFamily="34" charset="0"/>
        <a:buChar char="•"/>
        <a:defRPr sz="1600" kern="1200">
          <a:solidFill>
            <a:schemeClr val="tx1"/>
          </a:solidFill>
          <a:latin typeface="+mn-lt"/>
          <a:ea typeface="+mn-ea"/>
          <a:cs typeface="+mn-cs"/>
        </a:defRPr>
      </a:lvl3pPr>
      <a:lvl4pPr marL="809625" indent="-180975" algn="l" defTabSz="914400" rtl="0" eaLnBrk="1" latinLnBrk="0" hangingPunct="1">
        <a:lnSpc>
          <a:spcPct val="90000"/>
        </a:lnSpc>
        <a:spcBef>
          <a:spcPts val="700"/>
        </a:spcBef>
        <a:buClr>
          <a:schemeClr val="tx2"/>
        </a:buClr>
        <a:buFont typeface="Arial" panose="020B0604020202020204" pitchFamily="34" charset="0"/>
        <a:buChar char="•"/>
        <a:defRPr sz="1400" kern="1200">
          <a:solidFill>
            <a:schemeClr val="tx1"/>
          </a:solidFill>
          <a:latin typeface="+mn-lt"/>
          <a:ea typeface="+mn-ea"/>
          <a:cs typeface="+mn-cs"/>
        </a:defRPr>
      </a:lvl4pPr>
      <a:lvl5pPr marL="990600" indent="-180975" algn="l" defTabSz="914400" rtl="0" eaLnBrk="1" latinLnBrk="0" hangingPunct="1">
        <a:lnSpc>
          <a:spcPct val="90000"/>
        </a:lnSpc>
        <a:spcBef>
          <a:spcPts val="7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4" pos="325">
          <p15:clr>
            <a:srgbClr val="F26B43"/>
          </p15:clr>
        </p15:guide>
        <p15:guide id="5" pos="7356">
          <p15:clr>
            <a:srgbClr val="F26B43"/>
          </p15:clr>
        </p15:guide>
        <p15:guide id="6" orient="horz" pos="324">
          <p15:clr>
            <a:srgbClr val="F26B43"/>
          </p15:clr>
        </p15:guide>
        <p15:guide id="7" orient="horz" pos="3996">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E6554F5-D785-F55E-A665-F2112AC34E2F}"/>
              </a:ext>
            </a:extLst>
          </p:cNvPr>
          <p:cNvGraphicFramePr>
            <a:graphicFrameLocks/>
          </p:cNvGraphicFramePr>
          <p:nvPr userDrawn="1">
            <p:custDataLst>
              <p:tags r:id="rId9"/>
            </p:custDataLst>
            <p:extLst>
              <p:ext uri="{D42A27DB-BD31-4B8C-83A1-F6EECF244321}">
                <p14:modId xmlns:p14="http://schemas.microsoft.com/office/powerpoint/2010/main" val="1162382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0" imgH="409" progId="TCLayout.ActiveDocument.1">
                  <p:embed/>
                </p:oleObj>
              </mc:Choice>
              <mc:Fallback>
                <p:oleObj name="think-cell Slide" r:id="rId10" imgW="410" imgH="409" progId="TCLayout.ActiveDocument.1">
                  <p:embed/>
                  <p:pic>
                    <p:nvPicPr>
                      <p:cNvPr id="8" name="think-cell data - do not delete" hidden="1">
                        <a:extLst>
                          <a:ext uri="{FF2B5EF4-FFF2-40B4-BE49-F238E27FC236}">
                            <a16:creationId xmlns:a16="http://schemas.microsoft.com/office/drawing/2014/main" id="{4E6554F5-D785-F55E-A665-F2112AC34E2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C0D1B7B-516E-B6E8-05B3-C54D5C0F3838}"/>
              </a:ext>
            </a:extLst>
          </p:cNvPr>
          <p:cNvSpPr>
            <a:spLocks noGrp="1"/>
          </p:cNvSpPr>
          <p:nvPr>
            <p:ph type="title"/>
          </p:nvPr>
        </p:nvSpPr>
        <p:spPr>
          <a:xfrm>
            <a:off x="516005" y="514350"/>
            <a:ext cx="11163166" cy="1176338"/>
          </a:xfrm>
          <a:prstGeom prst="rect">
            <a:avLst/>
          </a:prstGeom>
        </p:spPr>
        <p:txBody>
          <a:bodyPr vert="horz" lIns="0" tIns="0" rIns="0" bIns="0" rtlCol="0" anchor="b" anchorCtr="0">
            <a:noAutofit/>
          </a:bodyPr>
          <a:lstStyle/>
          <a:p>
            <a:r>
              <a:rPr lang="en-US"/>
              <a:t>Click to edit Master title style</a:t>
            </a:r>
            <a:endParaRPr lang="sv-SE"/>
          </a:p>
        </p:txBody>
      </p:sp>
      <p:sp>
        <p:nvSpPr>
          <p:cNvPr id="3" name="Text Placeholder 2">
            <a:extLst>
              <a:ext uri="{FF2B5EF4-FFF2-40B4-BE49-F238E27FC236}">
                <a16:creationId xmlns:a16="http://schemas.microsoft.com/office/drawing/2014/main" id="{2ACB2F28-C7ED-98B3-FA9C-0D11A5DEC106}"/>
              </a:ext>
            </a:extLst>
          </p:cNvPr>
          <p:cNvSpPr>
            <a:spLocks noGrp="1"/>
          </p:cNvSpPr>
          <p:nvPr>
            <p:ph type="body" idx="1"/>
          </p:nvPr>
        </p:nvSpPr>
        <p:spPr>
          <a:xfrm>
            <a:off x="516005" y="1825625"/>
            <a:ext cx="11163166"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0908225C-C275-F75D-2FBD-5104BD5243C6}"/>
              </a:ext>
            </a:extLst>
          </p:cNvPr>
          <p:cNvSpPr>
            <a:spLocks noGrp="1"/>
          </p:cNvSpPr>
          <p:nvPr>
            <p:ph type="dt" sz="half" idx="2"/>
          </p:nvPr>
        </p:nvSpPr>
        <p:spPr>
          <a:xfrm>
            <a:off x="516005" y="6328262"/>
            <a:ext cx="2743557" cy="153888"/>
          </a:xfrm>
          <a:prstGeom prst="rect">
            <a:avLst/>
          </a:prstGeom>
        </p:spPr>
        <p:txBody>
          <a:bodyPr vert="horz" lIns="0" tIns="0" rIns="0" bIns="0" rtlCol="0" anchor="ctr">
            <a:spAutoFit/>
          </a:bodyPr>
          <a:lstStyle>
            <a:lvl1pPr algn="l">
              <a:defRPr sz="1000">
                <a:solidFill>
                  <a:schemeClr val="tx1"/>
                </a:solidFill>
              </a:defRPr>
            </a:lvl1pPr>
          </a:lstStyle>
          <a:p>
            <a:fld id="{AD34E49F-FDB4-4E40-9D92-648595D4AD27}" type="datetime3">
              <a:rPr lang="da-DK" smtClean="0"/>
              <a:t>13.05.2026</a:t>
            </a:fld>
            <a:endParaRPr lang="sv-SE"/>
          </a:p>
        </p:txBody>
      </p:sp>
      <p:sp>
        <p:nvSpPr>
          <p:cNvPr id="5" name="Footer Placeholder 4">
            <a:extLst>
              <a:ext uri="{FF2B5EF4-FFF2-40B4-BE49-F238E27FC236}">
                <a16:creationId xmlns:a16="http://schemas.microsoft.com/office/drawing/2014/main" id="{E331CDC2-F261-E399-98C2-17CC29C1AA4A}"/>
              </a:ext>
            </a:extLst>
          </p:cNvPr>
          <p:cNvSpPr>
            <a:spLocks noGrp="1"/>
          </p:cNvSpPr>
          <p:nvPr>
            <p:ph type="ftr" sz="quarter" idx="3"/>
          </p:nvPr>
        </p:nvSpPr>
        <p:spPr>
          <a:xfrm>
            <a:off x="516005" y="6494949"/>
            <a:ext cx="4115336" cy="153888"/>
          </a:xfrm>
          <a:prstGeom prst="rect">
            <a:avLst/>
          </a:prstGeom>
        </p:spPr>
        <p:txBody>
          <a:bodyPr vert="horz" lIns="0" tIns="0" rIns="0" bIns="0" rtlCol="0" anchor="ctr">
            <a:spAutoFit/>
          </a:bodyPr>
          <a:lstStyle>
            <a:lvl1pPr algn="l">
              <a:defRPr sz="1000">
                <a:solidFill>
                  <a:schemeClr val="tx2">
                    <a:lumMod val="60000"/>
                    <a:lumOff val="40000"/>
                  </a:schemeClr>
                </a:solidFill>
              </a:defRPr>
            </a:lvl1pPr>
          </a:lstStyle>
          <a:p>
            <a:endParaRPr lang="sv-SE"/>
          </a:p>
        </p:txBody>
      </p:sp>
      <p:sp>
        <p:nvSpPr>
          <p:cNvPr id="6" name="Slide Number Placeholder 5">
            <a:extLst>
              <a:ext uri="{FF2B5EF4-FFF2-40B4-BE49-F238E27FC236}">
                <a16:creationId xmlns:a16="http://schemas.microsoft.com/office/drawing/2014/main" id="{5EE4FA62-20CF-D995-ECF5-8B0A42A0EF56}"/>
              </a:ext>
            </a:extLst>
          </p:cNvPr>
          <p:cNvSpPr>
            <a:spLocks noGrp="1"/>
          </p:cNvSpPr>
          <p:nvPr>
            <p:ph type="sldNum" sz="quarter" idx="4"/>
          </p:nvPr>
        </p:nvSpPr>
        <p:spPr>
          <a:xfrm>
            <a:off x="11302884" y="6494949"/>
            <a:ext cx="374699" cy="153888"/>
          </a:xfrm>
          <a:prstGeom prst="rect">
            <a:avLst/>
          </a:prstGeom>
        </p:spPr>
        <p:txBody>
          <a:bodyPr vert="horz" wrap="square" lIns="0" tIns="0" rIns="0" bIns="0" rtlCol="0" anchor="ctr">
            <a:spAutoFit/>
          </a:bodyPr>
          <a:lstStyle>
            <a:lvl1pPr algn="r">
              <a:defRPr sz="1000">
                <a:solidFill>
                  <a:schemeClr val="tx2">
                    <a:lumMod val="60000"/>
                    <a:lumOff val="40000"/>
                  </a:schemeClr>
                </a:solidFill>
              </a:defRPr>
            </a:lvl1pPr>
          </a:lstStyle>
          <a:p>
            <a:fld id="{C2F92818-9D0C-420B-84CB-20E21C25F84F}" type="slidenum">
              <a:rPr lang="sv-SE" smtClean="0"/>
              <a:pPr/>
              <a:t>‹#›</a:t>
            </a:fld>
            <a:endParaRPr lang="sv-SE"/>
          </a:p>
        </p:txBody>
      </p:sp>
    </p:spTree>
    <p:extLst>
      <p:ext uri="{BB962C8B-B14F-4D97-AF65-F5344CB8AC3E}">
        <p14:creationId xmlns:p14="http://schemas.microsoft.com/office/powerpoint/2010/main" val="3625401588"/>
      </p:ext>
    </p:extLst>
  </p:cSld>
  <p:clrMap bg1="lt1" tx1="dk1" bg2="lt2" tx2="dk2" accent1="accent1" accent2="accent2" accent3="accent3" accent4="accent4" accent5="accent5" accent6="accent6" hlink="hlink" folHlink="folHlink"/>
  <p:sldLayoutIdLst>
    <p:sldLayoutId id="2147484574" r:id="rId1"/>
    <p:sldLayoutId id="2147484575" r:id="rId2"/>
    <p:sldLayoutId id="2147484576" r:id="rId3"/>
    <p:sldLayoutId id="2147484577" r:id="rId4"/>
    <p:sldLayoutId id="2147484578" r:id="rId5"/>
    <p:sldLayoutId id="2147484579" r:id="rId6"/>
    <p:sldLayoutId id="2147484580" r:id="rId7"/>
  </p:sldLayoutIdLst>
  <p:hf hdr="0" ftr="0" dt="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66700" indent="-266700" algn="l" defTabSz="914400"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75" indent="-180975" algn="l" defTabSz="914400" rtl="0" eaLnBrk="1" latinLnBrk="0" hangingPunct="1">
        <a:lnSpc>
          <a:spcPct val="90000"/>
        </a:lnSpc>
        <a:spcBef>
          <a:spcPts val="700"/>
        </a:spcBef>
        <a:buClr>
          <a:schemeClr val="tx2"/>
        </a:buClr>
        <a:buFont typeface="Arial" panose="020B0604020202020204" pitchFamily="34" charset="0"/>
        <a:buChar char="•"/>
        <a:defRPr sz="1800" kern="1200">
          <a:solidFill>
            <a:schemeClr val="tx1"/>
          </a:solidFill>
          <a:latin typeface="+mn-lt"/>
          <a:ea typeface="+mn-ea"/>
          <a:cs typeface="+mn-cs"/>
        </a:defRPr>
      </a:lvl2pPr>
      <a:lvl3pPr marL="628650" indent="-180975" algn="l" defTabSz="914400" rtl="0" eaLnBrk="1" latinLnBrk="0" hangingPunct="1">
        <a:lnSpc>
          <a:spcPct val="90000"/>
        </a:lnSpc>
        <a:spcBef>
          <a:spcPts val="700"/>
        </a:spcBef>
        <a:buClr>
          <a:schemeClr val="tx2"/>
        </a:buClr>
        <a:buFont typeface="Arial" panose="020B0604020202020204" pitchFamily="34" charset="0"/>
        <a:buChar char="•"/>
        <a:defRPr sz="1600" kern="1200">
          <a:solidFill>
            <a:schemeClr val="tx1"/>
          </a:solidFill>
          <a:latin typeface="+mn-lt"/>
          <a:ea typeface="+mn-ea"/>
          <a:cs typeface="+mn-cs"/>
        </a:defRPr>
      </a:lvl3pPr>
      <a:lvl4pPr marL="809625" indent="-180975" algn="l" defTabSz="914400" rtl="0" eaLnBrk="1" latinLnBrk="0" hangingPunct="1">
        <a:lnSpc>
          <a:spcPct val="90000"/>
        </a:lnSpc>
        <a:spcBef>
          <a:spcPts val="700"/>
        </a:spcBef>
        <a:buClr>
          <a:schemeClr val="tx2"/>
        </a:buClr>
        <a:buFont typeface="Arial" panose="020B0604020202020204" pitchFamily="34" charset="0"/>
        <a:buChar char="•"/>
        <a:defRPr sz="1400" kern="1200">
          <a:solidFill>
            <a:schemeClr val="tx1"/>
          </a:solidFill>
          <a:latin typeface="+mn-lt"/>
          <a:ea typeface="+mn-ea"/>
          <a:cs typeface="+mn-cs"/>
        </a:defRPr>
      </a:lvl4pPr>
      <a:lvl5pPr marL="990600" indent="-180975" algn="l" defTabSz="914400" rtl="0" eaLnBrk="1" latinLnBrk="0" hangingPunct="1">
        <a:lnSpc>
          <a:spcPct val="90000"/>
        </a:lnSpc>
        <a:spcBef>
          <a:spcPts val="7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4" pos="325">
          <p15:clr>
            <a:srgbClr val="F26B43"/>
          </p15:clr>
        </p15:guide>
        <p15:guide id="5" pos="7356">
          <p15:clr>
            <a:srgbClr val="F26B43"/>
          </p15:clr>
        </p15:guide>
        <p15:guide id="6" orient="horz" pos="324">
          <p15:clr>
            <a:srgbClr val="F26B43"/>
          </p15:clr>
        </p15:guide>
        <p15:guide id="7" orient="horz" pos="39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2C8F14-FD4A-1D4D-26D3-5A9D3F18F59A}"/>
              </a:ext>
            </a:extLst>
          </p:cNvPr>
          <p:cNvGraphicFramePr>
            <a:graphicFrameLocks noChangeAspect="1"/>
          </p:cNvGraphicFramePr>
          <p:nvPr userDrawn="1">
            <p:custDataLst>
              <p:tags r:id="rId13"/>
            </p:custDataLst>
            <p:extLst>
              <p:ext uri="{D42A27DB-BD31-4B8C-83A1-F6EECF244321}">
                <p14:modId xmlns:p14="http://schemas.microsoft.com/office/powerpoint/2010/main" val="3440775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73" imgH="476" progId="TCLayout.ActiveDocument.1">
                  <p:embed/>
                </p:oleObj>
              </mc:Choice>
              <mc:Fallback>
                <p:oleObj name="think-cell Slide" r:id="rId14" imgW="473" imgH="476" progId="TCLayout.ActiveDocument.1">
                  <p:embed/>
                  <p:pic>
                    <p:nvPicPr>
                      <p:cNvPr id="3" name="Object 2" hidden="1">
                        <a:extLst>
                          <a:ext uri="{FF2B5EF4-FFF2-40B4-BE49-F238E27FC236}">
                            <a16:creationId xmlns:a16="http://schemas.microsoft.com/office/drawing/2014/main" id="{EE2C8F14-FD4A-1D4D-26D3-5A9D3F18F59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93D1765-106E-10B9-9029-02C57D56F375}"/>
              </a:ext>
            </a:extLst>
          </p:cNvPr>
          <p:cNvSpPr txBox="1"/>
          <p:nvPr userDrawn="1"/>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bg1"/>
                </a:solidFill>
                <a:latin typeface="Avenir Next LT Pro" panose="020B0504020202020204" pitchFamily="34" charset="77"/>
              </a:rPr>
              <a:pPr algn="r"/>
              <a:t>‹#›</a:t>
            </a:fld>
            <a:endParaRPr lang="en-US" sz="1000" b="0" i="0" spc="40" baseline="0">
              <a:solidFill>
                <a:schemeClr val="bg1"/>
              </a:solidFill>
              <a:latin typeface="Avenir Next LT Pro" panose="020B0504020202020204" pitchFamily="34" charset="77"/>
            </a:endParaRPr>
          </a:p>
        </p:txBody>
      </p:sp>
    </p:spTree>
    <p:extLst>
      <p:ext uri="{BB962C8B-B14F-4D97-AF65-F5344CB8AC3E}">
        <p14:creationId xmlns:p14="http://schemas.microsoft.com/office/powerpoint/2010/main" val="356907838"/>
      </p:ext>
    </p:extLst>
  </p:cSld>
  <p:clrMap bg1="lt1" tx1="dk1" bg2="lt2" tx2="dk2" accent1="accent1" accent2="accent2" accent3="accent3" accent4="accent4" accent5="accent5" accent6="accent6" hlink="hlink" folHlink="folHlink"/>
  <p:sldLayoutIdLst>
    <p:sldLayoutId id="2147483835"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3086B61-4D71-DC19-F1C6-1460B1622613}"/>
              </a:ext>
            </a:extLst>
          </p:cNvPr>
          <p:cNvGraphicFramePr>
            <a:graphicFrameLocks noChangeAspect="1"/>
          </p:cNvGraphicFramePr>
          <p:nvPr userDrawn="1">
            <p:custDataLst>
              <p:tags r:id="rId24"/>
            </p:custDataLst>
            <p:extLst>
              <p:ext uri="{D42A27DB-BD31-4B8C-83A1-F6EECF244321}">
                <p14:modId xmlns:p14="http://schemas.microsoft.com/office/powerpoint/2010/main" val="3765801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47" imgH="348" progId="TCLayout.ActiveDocument.1">
                  <p:embed/>
                </p:oleObj>
              </mc:Choice>
              <mc:Fallback>
                <p:oleObj name="think-cell Slide" r:id="rId25" imgW="347" imgH="348" progId="TCLayout.ActiveDocument.1">
                  <p:embed/>
                  <p:pic>
                    <p:nvPicPr>
                      <p:cNvPr id="2" name="think-cell data - do not delete" hidden="1">
                        <a:extLst>
                          <a:ext uri="{FF2B5EF4-FFF2-40B4-BE49-F238E27FC236}">
                            <a16:creationId xmlns:a16="http://schemas.microsoft.com/office/drawing/2014/main" id="{73086B61-4D71-DC19-F1C6-1460B1622613}"/>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4" name="Title Placeholder 1"/>
          <p:cNvSpPr>
            <a:spLocks noGrp="1"/>
          </p:cNvSpPr>
          <p:nvPr>
            <p:ph type="title"/>
          </p:nvPr>
        </p:nvSpPr>
        <p:spPr>
          <a:xfrm>
            <a:off x="552762" y="675967"/>
            <a:ext cx="11025227" cy="387798"/>
          </a:xfrm>
          <a:prstGeom prst="rect">
            <a:avLst/>
          </a:prstGeom>
        </p:spPr>
        <p:txBody>
          <a:bodyPr vert="horz" lIns="0" tIns="0" rIns="0" bIns="0" rtlCol="0" anchor="t" anchorCtr="0">
            <a:spAutoFit/>
          </a:bodyPr>
          <a:lstStyle/>
          <a:p>
            <a:endParaRPr lang="en-US"/>
          </a:p>
        </p:txBody>
      </p:sp>
      <p:sp>
        <p:nvSpPr>
          <p:cNvPr id="6" name="Text Placeholder 2"/>
          <p:cNvSpPr>
            <a:spLocks noGrp="1"/>
          </p:cNvSpPr>
          <p:nvPr>
            <p:ph type="body" idx="1"/>
          </p:nvPr>
        </p:nvSpPr>
        <p:spPr>
          <a:xfrm>
            <a:off x="838309" y="1826683"/>
            <a:ext cx="10491074" cy="848437"/>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99013507"/>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4011" r:id="rId22"/>
  </p:sldLayoutIdLst>
  <p:transition spd="slow">
    <p:fade/>
  </p:transition>
  <p:txStyles>
    <p:titleStyle>
      <a:lvl1pPr algn="l" defTabSz="914377" rtl="0" eaLnBrk="1" latinLnBrk="0" hangingPunct="1">
        <a:lnSpc>
          <a:spcPct val="90000"/>
        </a:lnSpc>
        <a:spcBef>
          <a:spcPct val="0"/>
        </a:spcBef>
        <a:buNone/>
        <a:defRPr sz="2800" b="1" i="0" kern="1200">
          <a:solidFill>
            <a:schemeClr val="tx1"/>
          </a:solidFill>
          <a:latin typeface="Avenir Next LT Pro" panose="020B0504020202020204" pitchFamily="34" charset="77"/>
          <a:ea typeface="Avenir Next LT Pro" panose="020B0504020202020204" pitchFamily="34" charset="77"/>
          <a:cs typeface="Avenir Next LT Pro" panose="020B0504020202020204" pitchFamily="34" charset="77"/>
        </a:defRPr>
      </a:lvl1pPr>
    </p:titleStyle>
    <p:bodyStyle>
      <a:lvl1pPr marL="383990" indent="-383990" algn="l" defTabSz="914377" rtl="0" eaLnBrk="1" latinLnBrk="0" hangingPunct="1">
        <a:lnSpc>
          <a:spcPct val="90000"/>
        </a:lnSpc>
        <a:spcBef>
          <a:spcPts val="1000"/>
        </a:spcBef>
        <a:buClr>
          <a:schemeClr val="accent2"/>
        </a:buClr>
        <a:buFont typeface="LucidaGrande" charset="0"/>
        <a:buChar char="+"/>
        <a:defRPr sz="1800" b="0" i="0" kern="1200">
          <a:solidFill>
            <a:schemeClr val="tx1"/>
          </a:solidFill>
          <a:latin typeface="Avenir Next LT Pro" panose="020B0504020202020204" pitchFamily="34" charset="77"/>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Avenir Next LT Pro" panose="020B0504020202020204" pitchFamily="34" charset="77"/>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Avenir Next LT Pro" panose="020B0504020202020204" pitchFamily="34"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32F9968-C902-6479-397B-3CA4B664840E}"/>
              </a:ext>
            </a:extLst>
          </p:cNvPr>
          <p:cNvGraphicFramePr>
            <a:graphicFrameLocks noChangeAspect="1"/>
          </p:cNvGraphicFramePr>
          <p:nvPr userDrawn="1">
            <p:custDataLst>
              <p:tags r:id="rId14"/>
            </p:custDataLst>
            <p:extLst>
              <p:ext uri="{D42A27DB-BD31-4B8C-83A1-F6EECF244321}">
                <p14:modId xmlns:p14="http://schemas.microsoft.com/office/powerpoint/2010/main" val="3039060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92" imgH="595" progId="TCLayout.ActiveDocument.1">
                  <p:embed/>
                </p:oleObj>
              </mc:Choice>
              <mc:Fallback>
                <p:oleObj name="think-cell Slide" r:id="rId15" imgW="592" imgH="595" progId="TCLayout.ActiveDocument.1">
                  <p:embed/>
                  <p:pic>
                    <p:nvPicPr>
                      <p:cNvPr id="8" name="think-cell data - do not delete" hidden="1">
                        <a:extLst>
                          <a:ext uri="{FF2B5EF4-FFF2-40B4-BE49-F238E27FC236}">
                            <a16:creationId xmlns:a16="http://schemas.microsoft.com/office/drawing/2014/main" id="{C32F9968-C902-6479-397B-3CA4B664840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C0D1B7B-516E-B6E8-05B3-C54D5C0F3838}"/>
              </a:ext>
            </a:extLst>
          </p:cNvPr>
          <p:cNvSpPr>
            <a:spLocks noGrp="1"/>
          </p:cNvSpPr>
          <p:nvPr>
            <p:ph type="title"/>
          </p:nvPr>
        </p:nvSpPr>
        <p:spPr>
          <a:xfrm>
            <a:off x="516005" y="514350"/>
            <a:ext cx="11163166" cy="1176338"/>
          </a:xfrm>
          <a:prstGeom prst="rect">
            <a:avLst/>
          </a:prstGeom>
        </p:spPr>
        <p:txBody>
          <a:bodyPr vert="horz" lIns="0" tIns="0" rIns="0" bIns="0" rtlCol="0" anchor="b" anchorCtr="0">
            <a:noAutofit/>
          </a:bodyPr>
          <a:lstStyle/>
          <a:p>
            <a:r>
              <a:rPr lang="en-US"/>
              <a:t>Click to edit Master title style</a:t>
            </a:r>
            <a:endParaRPr lang="sv-SE"/>
          </a:p>
        </p:txBody>
      </p:sp>
      <p:sp>
        <p:nvSpPr>
          <p:cNvPr id="3" name="Text Placeholder 2">
            <a:extLst>
              <a:ext uri="{FF2B5EF4-FFF2-40B4-BE49-F238E27FC236}">
                <a16:creationId xmlns:a16="http://schemas.microsoft.com/office/drawing/2014/main" id="{2ACB2F28-C7ED-98B3-FA9C-0D11A5DEC106}"/>
              </a:ext>
            </a:extLst>
          </p:cNvPr>
          <p:cNvSpPr>
            <a:spLocks noGrp="1"/>
          </p:cNvSpPr>
          <p:nvPr>
            <p:ph type="body" idx="1"/>
          </p:nvPr>
        </p:nvSpPr>
        <p:spPr>
          <a:xfrm>
            <a:off x="516005" y="1825625"/>
            <a:ext cx="11163166"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0908225C-C275-F75D-2FBD-5104BD5243C6}"/>
              </a:ext>
            </a:extLst>
          </p:cNvPr>
          <p:cNvSpPr>
            <a:spLocks noGrp="1"/>
          </p:cNvSpPr>
          <p:nvPr>
            <p:ph type="dt" sz="half" idx="2"/>
          </p:nvPr>
        </p:nvSpPr>
        <p:spPr>
          <a:xfrm>
            <a:off x="516005" y="6328262"/>
            <a:ext cx="2743557" cy="153888"/>
          </a:xfrm>
          <a:prstGeom prst="rect">
            <a:avLst/>
          </a:prstGeom>
        </p:spPr>
        <p:txBody>
          <a:bodyPr vert="horz" lIns="0" tIns="0" rIns="0" bIns="0" rtlCol="0" anchor="ctr">
            <a:spAutoFit/>
          </a:bodyPr>
          <a:lstStyle>
            <a:lvl1pPr algn="l">
              <a:defRPr sz="1000">
                <a:solidFill>
                  <a:schemeClr val="tx1"/>
                </a:solidFill>
              </a:defRPr>
            </a:lvl1pPr>
          </a:lstStyle>
          <a:p>
            <a:fld id="{3999539A-F75B-42E8-95D0-7BAC8B7AF27E}" type="datetime3">
              <a:rPr lang="en-US" smtClean="0"/>
              <a:t>13 May 2026</a:t>
            </a:fld>
            <a:endParaRPr lang="sv-SE"/>
          </a:p>
        </p:txBody>
      </p:sp>
      <p:sp>
        <p:nvSpPr>
          <p:cNvPr id="5" name="Footer Placeholder 4">
            <a:extLst>
              <a:ext uri="{FF2B5EF4-FFF2-40B4-BE49-F238E27FC236}">
                <a16:creationId xmlns:a16="http://schemas.microsoft.com/office/drawing/2014/main" id="{E331CDC2-F261-E399-98C2-17CC29C1AA4A}"/>
              </a:ext>
            </a:extLst>
          </p:cNvPr>
          <p:cNvSpPr>
            <a:spLocks noGrp="1"/>
          </p:cNvSpPr>
          <p:nvPr>
            <p:ph type="ftr" sz="quarter" idx="3"/>
          </p:nvPr>
        </p:nvSpPr>
        <p:spPr>
          <a:xfrm>
            <a:off x="516005" y="6494949"/>
            <a:ext cx="4115336" cy="153888"/>
          </a:xfrm>
          <a:prstGeom prst="rect">
            <a:avLst/>
          </a:prstGeom>
        </p:spPr>
        <p:txBody>
          <a:bodyPr vert="horz" lIns="0" tIns="0" rIns="0" bIns="0" rtlCol="0" anchor="ctr">
            <a:spAutoFit/>
          </a:bodyPr>
          <a:lstStyle>
            <a:lvl1pPr algn="l">
              <a:defRPr sz="1000">
                <a:solidFill>
                  <a:schemeClr val="tx2">
                    <a:lumMod val="60000"/>
                    <a:lumOff val="40000"/>
                  </a:schemeClr>
                </a:solidFill>
              </a:defRPr>
            </a:lvl1pPr>
          </a:lstStyle>
          <a:p>
            <a:endParaRPr lang="sv-SE"/>
          </a:p>
        </p:txBody>
      </p:sp>
      <p:sp>
        <p:nvSpPr>
          <p:cNvPr id="6" name="Slide Number Placeholder 5">
            <a:extLst>
              <a:ext uri="{FF2B5EF4-FFF2-40B4-BE49-F238E27FC236}">
                <a16:creationId xmlns:a16="http://schemas.microsoft.com/office/drawing/2014/main" id="{5EE4FA62-20CF-D995-ECF5-8B0A42A0EF56}"/>
              </a:ext>
            </a:extLst>
          </p:cNvPr>
          <p:cNvSpPr>
            <a:spLocks noGrp="1"/>
          </p:cNvSpPr>
          <p:nvPr>
            <p:ph type="sldNum" sz="quarter" idx="4"/>
          </p:nvPr>
        </p:nvSpPr>
        <p:spPr>
          <a:xfrm>
            <a:off x="11302884" y="6494949"/>
            <a:ext cx="374699" cy="153888"/>
          </a:xfrm>
          <a:prstGeom prst="rect">
            <a:avLst/>
          </a:prstGeom>
        </p:spPr>
        <p:txBody>
          <a:bodyPr vert="horz" wrap="square" lIns="0" tIns="0" rIns="0" bIns="0" rtlCol="0" anchor="ctr">
            <a:spAutoFit/>
          </a:bodyPr>
          <a:lstStyle>
            <a:lvl1pPr algn="r">
              <a:defRPr sz="1000">
                <a:solidFill>
                  <a:schemeClr val="tx2">
                    <a:lumMod val="60000"/>
                    <a:lumOff val="40000"/>
                  </a:schemeClr>
                </a:solidFill>
              </a:defRPr>
            </a:lvl1pPr>
          </a:lstStyle>
          <a:p>
            <a:fld id="{C2F92818-9D0C-420B-84CB-20E21C25F84F}" type="slidenum">
              <a:rPr lang="sv-SE" smtClean="0"/>
              <a:pPr/>
              <a:t>‹#›</a:t>
            </a:fld>
            <a:endParaRPr lang="sv-SE"/>
          </a:p>
        </p:txBody>
      </p:sp>
    </p:spTree>
    <p:extLst>
      <p:ext uri="{BB962C8B-B14F-4D97-AF65-F5344CB8AC3E}">
        <p14:creationId xmlns:p14="http://schemas.microsoft.com/office/powerpoint/2010/main" val="3244882590"/>
      </p:ext>
    </p:extLst>
  </p:cSld>
  <p:clrMap bg1="lt1" tx1="dk1" bg2="lt2" tx2="dk2" accent1="accent1" accent2="accent2" accent3="accent3" accent4="accent4" accent5="accent5" accent6="accent6" hlink="hlink" folHlink="folHlink"/>
  <p:sldLayoutIdLst>
    <p:sldLayoutId id="2147484151" r:id="rId1"/>
    <p:sldLayoutId id="2147484152" r:id="rId2"/>
    <p:sldLayoutId id="2147484153" r:id="rId3"/>
    <p:sldLayoutId id="2147484154" r:id="rId4"/>
    <p:sldLayoutId id="2147484155" r:id="rId5"/>
    <p:sldLayoutId id="2147484156" r:id="rId6"/>
    <p:sldLayoutId id="2147484157" r:id="rId7"/>
    <p:sldLayoutId id="2147484158" r:id="rId8"/>
    <p:sldLayoutId id="2147484159" r:id="rId9"/>
    <p:sldLayoutId id="2147484160" r:id="rId10"/>
    <p:sldLayoutId id="2147484161" r:id="rId11"/>
    <p:sldLayoutId id="2147484162" r:id="rId12"/>
  </p:sldLayoutIdLst>
  <p:hf sldNum="0" hdr="0" ftr="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66700" indent="-266700" algn="l" defTabSz="914400"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75" indent="-180975" algn="l" defTabSz="914400" rtl="0" eaLnBrk="1" latinLnBrk="0" hangingPunct="1">
        <a:lnSpc>
          <a:spcPct val="90000"/>
        </a:lnSpc>
        <a:spcBef>
          <a:spcPts val="700"/>
        </a:spcBef>
        <a:buClr>
          <a:schemeClr val="tx2"/>
        </a:buClr>
        <a:buFont typeface="Arial" panose="020B0604020202020204" pitchFamily="34" charset="0"/>
        <a:buChar char="•"/>
        <a:defRPr sz="1800" kern="1200">
          <a:solidFill>
            <a:schemeClr val="tx1"/>
          </a:solidFill>
          <a:latin typeface="+mn-lt"/>
          <a:ea typeface="+mn-ea"/>
          <a:cs typeface="+mn-cs"/>
        </a:defRPr>
      </a:lvl2pPr>
      <a:lvl3pPr marL="628650" indent="-180975" algn="l" defTabSz="914400" rtl="0" eaLnBrk="1" latinLnBrk="0" hangingPunct="1">
        <a:lnSpc>
          <a:spcPct val="90000"/>
        </a:lnSpc>
        <a:spcBef>
          <a:spcPts val="700"/>
        </a:spcBef>
        <a:buClr>
          <a:schemeClr val="tx2"/>
        </a:buClr>
        <a:buFont typeface="Arial" panose="020B0604020202020204" pitchFamily="34" charset="0"/>
        <a:buChar char="•"/>
        <a:defRPr sz="1600" kern="1200">
          <a:solidFill>
            <a:schemeClr val="tx1"/>
          </a:solidFill>
          <a:latin typeface="+mn-lt"/>
          <a:ea typeface="+mn-ea"/>
          <a:cs typeface="+mn-cs"/>
        </a:defRPr>
      </a:lvl3pPr>
      <a:lvl4pPr marL="809625" indent="-180975" algn="l" defTabSz="914400" rtl="0" eaLnBrk="1" latinLnBrk="0" hangingPunct="1">
        <a:lnSpc>
          <a:spcPct val="90000"/>
        </a:lnSpc>
        <a:spcBef>
          <a:spcPts val="700"/>
        </a:spcBef>
        <a:buClr>
          <a:schemeClr val="tx2"/>
        </a:buClr>
        <a:buFont typeface="Arial" panose="020B0604020202020204" pitchFamily="34" charset="0"/>
        <a:buChar char="•"/>
        <a:defRPr sz="1400" kern="1200">
          <a:solidFill>
            <a:schemeClr val="tx1"/>
          </a:solidFill>
          <a:latin typeface="+mn-lt"/>
          <a:ea typeface="+mn-ea"/>
          <a:cs typeface="+mn-cs"/>
        </a:defRPr>
      </a:lvl4pPr>
      <a:lvl5pPr marL="990600" indent="-180975" algn="l" defTabSz="914400" rtl="0" eaLnBrk="1" latinLnBrk="0" hangingPunct="1">
        <a:lnSpc>
          <a:spcPct val="90000"/>
        </a:lnSpc>
        <a:spcBef>
          <a:spcPts val="7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4" pos="325">
          <p15:clr>
            <a:srgbClr val="F26B43"/>
          </p15:clr>
        </p15:guide>
        <p15:guide id="5" pos="7356">
          <p15:clr>
            <a:srgbClr val="F26B43"/>
          </p15:clr>
        </p15:guide>
        <p15:guide id="6" orient="horz" pos="324">
          <p15:clr>
            <a:srgbClr val="F26B43"/>
          </p15:clr>
        </p15:guide>
        <p15:guide id="7" orient="horz" pos="399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DD4C7F-381E-3A18-9BAD-A1D8DC01ACBF}"/>
              </a:ext>
            </a:extLst>
          </p:cNvPr>
          <p:cNvGraphicFramePr>
            <a:graphicFrameLocks noChangeAspect="1"/>
          </p:cNvGraphicFramePr>
          <p:nvPr userDrawn="1">
            <p:custDataLst>
              <p:tags r:id="rId37"/>
            </p:custDataLst>
            <p:extLst>
              <p:ext uri="{D42A27DB-BD31-4B8C-83A1-F6EECF244321}">
                <p14:modId xmlns:p14="http://schemas.microsoft.com/office/powerpoint/2010/main" val="2755662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73" imgH="476" progId="TCLayout.ActiveDocument.1">
                  <p:embed/>
                </p:oleObj>
              </mc:Choice>
              <mc:Fallback>
                <p:oleObj name="think-cell Slide" r:id="rId38" imgW="473" imgH="476" progId="TCLayout.ActiveDocument.1">
                  <p:embed/>
                  <p:pic>
                    <p:nvPicPr>
                      <p:cNvPr id="3" name="Object 2" hidden="1">
                        <a:extLst>
                          <a:ext uri="{FF2B5EF4-FFF2-40B4-BE49-F238E27FC236}">
                            <a16:creationId xmlns:a16="http://schemas.microsoft.com/office/drawing/2014/main" id="{A3DD4C7F-381E-3A18-9BAD-A1D8DC01ACBF}"/>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4" name="Title Placeholder 1"/>
          <p:cNvSpPr>
            <a:spLocks noGrp="1"/>
          </p:cNvSpPr>
          <p:nvPr>
            <p:ph type="title"/>
          </p:nvPr>
        </p:nvSpPr>
        <p:spPr>
          <a:xfrm>
            <a:off x="552762" y="675967"/>
            <a:ext cx="11025227" cy="430112"/>
          </a:xfrm>
          <a:prstGeom prst="rect">
            <a:avLst/>
          </a:prstGeom>
        </p:spPr>
        <p:txBody>
          <a:bodyPr vert="horz" lIns="0" tIns="0" rIns="0" bIns="0" rtlCol="0" anchor="t" anchorCtr="0">
            <a:spAutoFit/>
          </a:bodyPr>
          <a:lstStyle/>
          <a:p>
            <a:endParaRPr lang="en-US"/>
          </a:p>
        </p:txBody>
      </p:sp>
      <p:sp>
        <p:nvSpPr>
          <p:cNvPr id="6" name="Text Placeholder 2"/>
          <p:cNvSpPr>
            <a:spLocks noGrp="1"/>
          </p:cNvSpPr>
          <p:nvPr>
            <p:ph type="body" idx="1"/>
          </p:nvPr>
        </p:nvSpPr>
        <p:spPr>
          <a:xfrm>
            <a:off x="838309" y="1826683"/>
            <a:ext cx="10491074" cy="848437"/>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60266613"/>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 id="2147484185" r:id="rId8"/>
    <p:sldLayoutId id="2147484186" r:id="rId9"/>
    <p:sldLayoutId id="2147484187" r:id="rId10"/>
    <p:sldLayoutId id="2147484188" r:id="rId11"/>
    <p:sldLayoutId id="2147484189" r:id="rId12"/>
    <p:sldLayoutId id="2147484190" r:id="rId13"/>
    <p:sldLayoutId id="2147484191" r:id="rId14"/>
    <p:sldLayoutId id="2147484192" r:id="rId15"/>
    <p:sldLayoutId id="2147484193" r:id="rId16"/>
    <p:sldLayoutId id="2147484194" r:id="rId17"/>
    <p:sldLayoutId id="2147484195" r:id="rId18"/>
    <p:sldLayoutId id="2147484196" r:id="rId19"/>
    <p:sldLayoutId id="2147484197" r:id="rId20"/>
    <p:sldLayoutId id="2147484198" r:id="rId21"/>
    <p:sldLayoutId id="2147484199" r:id="rId22"/>
    <p:sldLayoutId id="2147484200" r:id="rId23"/>
    <p:sldLayoutId id="2147484201" r:id="rId24"/>
    <p:sldLayoutId id="2147484202" r:id="rId25"/>
    <p:sldLayoutId id="2147484203" r:id="rId26"/>
    <p:sldLayoutId id="2147484204" r:id="rId27"/>
    <p:sldLayoutId id="2147484205" r:id="rId28"/>
    <p:sldLayoutId id="2147484206" r:id="rId29"/>
    <p:sldLayoutId id="2147484207" r:id="rId30"/>
    <p:sldLayoutId id="2147484208" r:id="rId31"/>
    <p:sldLayoutId id="2147484209" r:id="rId32"/>
    <p:sldLayoutId id="2147484210" r:id="rId33"/>
    <p:sldLayoutId id="2147484211" r:id="rId34"/>
    <p:sldLayoutId id="2147484213" r:id="rId35"/>
  </p:sldLayoutIdLst>
  <p:transition spd="slow">
    <p:fade/>
  </p:transition>
  <p:txStyles>
    <p:titleStyle>
      <a:lvl1pPr algn="l" defTabSz="914377" rtl="0" eaLnBrk="1" latinLnBrk="0" hangingPunct="1">
        <a:lnSpc>
          <a:spcPct val="90000"/>
        </a:lnSpc>
        <a:spcBef>
          <a:spcPct val="0"/>
        </a:spcBef>
        <a:buNone/>
        <a:defRPr sz="3000" b="1" i="0" kern="1200">
          <a:solidFill>
            <a:schemeClr val="tx1"/>
          </a:solidFill>
          <a:latin typeface="Avenir Next LT Pro" panose="020B0504020202020204" pitchFamily="34" charset="77"/>
          <a:ea typeface="Avenir Next LT Pro" panose="020B0504020202020204" pitchFamily="34" charset="77"/>
          <a:cs typeface="Avenir Next LT Pro" panose="020B0504020202020204" pitchFamily="34" charset="77"/>
        </a:defRPr>
      </a:lvl1pPr>
    </p:titleStyle>
    <p:bodyStyle>
      <a:lvl1pPr marL="383990" indent="-383990" algn="l" defTabSz="914377" rtl="0" eaLnBrk="1" latinLnBrk="0" hangingPunct="1">
        <a:lnSpc>
          <a:spcPct val="90000"/>
        </a:lnSpc>
        <a:spcBef>
          <a:spcPts val="1000"/>
        </a:spcBef>
        <a:buClr>
          <a:schemeClr val="accent2"/>
        </a:buClr>
        <a:buFont typeface="LucidaGrande" charset="0"/>
        <a:buChar char="+"/>
        <a:defRPr sz="1800" b="0" i="0" kern="1200">
          <a:solidFill>
            <a:schemeClr val="tx1"/>
          </a:solidFill>
          <a:latin typeface="Avenir Next LT Pro" panose="020B0504020202020204" pitchFamily="34" charset="77"/>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Avenir Next LT Pro" panose="020B0504020202020204" pitchFamily="34" charset="77"/>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Avenir Next LT Pro" panose="020B0504020202020204" pitchFamily="34"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00D830D-A2C4-BA34-E597-5CB40235D41C}"/>
              </a:ext>
            </a:extLst>
          </p:cNvPr>
          <p:cNvGraphicFramePr>
            <a:graphicFrameLocks noChangeAspect="1"/>
          </p:cNvGraphicFramePr>
          <p:nvPr userDrawn="1">
            <p:custDataLst>
              <p:tags r:id="rId3"/>
            </p:custDataLst>
            <p:extLst>
              <p:ext uri="{D42A27DB-BD31-4B8C-83A1-F6EECF244321}">
                <p14:modId xmlns:p14="http://schemas.microsoft.com/office/powerpoint/2010/main" val="242742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8" name="think-cell data - do not delete" hidden="1">
                        <a:extLst>
                          <a:ext uri="{FF2B5EF4-FFF2-40B4-BE49-F238E27FC236}">
                            <a16:creationId xmlns:a16="http://schemas.microsoft.com/office/drawing/2014/main" id="{200D830D-A2C4-BA34-E597-5CB40235D4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C0D1B7B-516E-B6E8-05B3-C54D5C0F3838}"/>
              </a:ext>
            </a:extLst>
          </p:cNvPr>
          <p:cNvSpPr>
            <a:spLocks noGrp="1"/>
          </p:cNvSpPr>
          <p:nvPr>
            <p:ph type="title"/>
          </p:nvPr>
        </p:nvSpPr>
        <p:spPr>
          <a:xfrm>
            <a:off x="516005" y="514350"/>
            <a:ext cx="11163166" cy="1176338"/>
          </a:xfrm>
          <a:prstGeom prst="rect">
            <a:avLst/>
          </a:prstGeom>
        </p:spPr>
        <p:txBody>
          <a:bodyPr vert="horz" lIns="0" tIns="0" rIns="0" bIns="0" rtlCol="0" anchor="b" anchorCtr="0">
            <a:noAutofit/>
          </a:bodyPr>
          <a:lstStyle/>
          <a:p>
            <a:r>
              <a:rPr lang="en-US"/>
              <a:t>Click to edit Master title style</a:t>
            </a:r>
            <a:endParaRPr lang="sv-SE"/>
          </a:p>
        </p:txBody>
      </p:sp>
      <p:sp>
        <p:nvSpPr>
          <p:cNvPr id="3" name="Text Placeholder 2">
            <a:extLst>
              <a:ext uri="{FF2B5EF4-FFF2-40B4-BE49-F238E27FC236}">
                <a16:creationId xmlns:a16="http://schemas.microsoft.com/office/drawing/2014/main" id="{2ACB2F28-C7ED-98B3-FA9C-0D11A5DEC106}"/>
              </a:ext>
            </a:extLst>
          </p:cNvPr>
          <p:cNvSpPr>
            <a:spLocks noGrp="1"/>
          </p:cNvSpPr>
          <p:nvPr>
            <p:ph type="body" idx="1"/>
          </p:nvPr>
        </p:nvSpPr>
        <p:spPr>
          <a:xfrm>
            <a:off x="516005" y="1825625"/>
            <a:ext cx="11163166"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0908225C-C275-F75D-2FBD-5104BD5243C6}"/>
              </a:ext>
            </a:extLst>
          </p:cNvPr>
          <p:cNvSpPr>
            <a:spLocks noGrp="1"/>
          </p:cNvSpPr>
          <p:nvPr>
            <p:ph type="dt" sz="half" idx="2"/>
          </p:nvPr>
        </p:nvSpPr>
        <p:spPr>
          <a:xfrm>
            <a:off x="516005" y="6328262"/>
            <a:ext cx="2743557" cy="153888"/>
          </a:xfrm>
          <a:prstGeom prst="rect">
            <a:avLst/>
          </a:prstGeom>
        </p:spPr>
        <p:txBody>
          <a:bodyPr vert="horz" lIns="0" tIns="0" rIns="0" bIns="0" rtlCol="0" anchor="ctr">
            <a:spAutoFit/>
          </a:bodyPr>
          <a:lstStyle>
            <a:lvl1pPr algn="l">
              <a:defRPr sz="1000">
                <a:solidFill>
                  <a:schemeClr val="tx2">
                    <a:lumMod val="60000"/>
                    <a:lumOff val="40000"/>
                  </a:schemeClr>
                </a:solidFill>
              </a:defRPr>
            </a:lvl1pPr>
          </a:lstStyle>
          <a:p>
            <a:fld id="{1932D32A-A281-452F-8343-45FCD511D0A0}" type="datetime3">
              <a:rPr lang="en-US" smtClean="0"/>
              <a:t>13 May 2026</a:t>
            </a:fld>
            <a:endParaRPr lang="sv-SE"/>
          </a:p>
        </p:txBody>
      </p:sp>
      <p:sp>
        <p:nvSpPr>
          <p:cNvPr id="5" name="Footer Placeholder 4">
            <a:extLst>
              <a:ext uri="{FF2B5EF4-FFF2-40B4-BE49-F238E27FC236}">
                <a16:creationId xmlns:a16="http://schemas.microsoft.com/office/drawing/2014/main" id="{E331CDC2-F261-E399-98C2-17CC29C1AA4A}"/>
              </a:ext>
            </a:extLst>
          </p:cNvPr>
          <p:cNvSpPr>
            <a:spLocks noGrp="1"/>
          </p:cNvSpPr>
          <p:nvPr>
            <p:ph type="ftr" sz="quarter" idx="3"/>
          </p:nvPr>
        </p:nvSpPr>
        <p:spPr>
          <a:xfrm>
            <a:off x="516005" y="6494949"/>
            <a:ext cx="4115336" cy="153888"/>
          </a:xfrm>
          <a:prstGeom prst="rect">
            <a:avLst/>
          </a:prstGeom>
        </p:spPr>
        <p:txBody>
          <a:bodyPr vert="horz" lIns="0" tIns="0" rIns="0" bIns="0" rtlCol="0" anchor="ctr">
            <a:spAutoFit/>
          </a:bodyPr>
          <a:lstStyle>
            <a:lvl1pPr algn="l">
              <a:defRPr sz="1000">
                <a:solidFill>
                  <a:schemeClr val="tx2">
                    <a:lumMod val="60000"/>
                    <a:lumOff val="40000"/>
                  </a:schemeClr>
                </a:solidFill>
              </a:defRPr>
            </a:lvl1pPr>
          </a:lstStyle>
          <a:p>
            <a:endParaRPr lang="sv-SE"/>
          </a:p>
        </p:txBody>
      </p:sp>
      <p:sp>
        <p:nvSpPr>
          <p:cNvPr id="7" name="Slide Number Placeholder 5">
            <a:extLst>
              <a:ext uri="{FF2B5EF4-FFF2-40B4-BE49-F238E27FC236}">
                <a16:creationId xmlns:a16="http://schemas.microsoft.com/office/drawing/2014/main" id="{C73C9081-DEBE-C6F9-5146-AA132CD9F3DC}"/>
              </a:ext>
            </a:extLst>
          </p:cNvPr>
          <p:cNvSpPr>
            <a:spLocks noGrp="1"/>
          </p:cNvSpPr>
          <p:nvPr>
            <p:ph type="sldNum" sz="quarter" idx="4"/>
          </p:nvPr>
        </p:nvSpPr>
        <p:spPr>
          <a:xfrm>
            <a:off x="11304472" y="6510338"/>
            <a:ext cx="374699" cy="123111"/>
          </a:xfrm>
          <a:prstGeom prst="rect">
            <a:avLst/>
          </a:prstGeom>
        </p:spPr>
        <p:txBody>
          <a:bodyPr lIns="0" tIns="0" rIns="0" bIns="0"/>
          <a:lstStyle>
            <a:lvl1pPr algn="r">
              <a:defRPr sz="1000">
                <a:solidFill>
                  <a:schemeClr val="tx2">
                    <a:lumMod val="60000"/>
                    <a:lumOff val="40000"/>
                  </a:schemeClr>
                </a:solidFill>
              </a:defRPr>
            </a:lvl1pPr>
          </a:lstStyle>
          <a:p>
            <a:fld id="{C2F92818-9D0C-420B-84CB-20E21C25F84F}" type="slidenum">
              <a:rPr lang="sv-SE" smtClean="0"/>
              <a:pPr/>
              <a:t>‹#›</a:t>
            </a:fld>
            <a:endParaRPr lang="sv-SE"/>
          </a:p>
        </p:txBody>
      </p:sp>
    </p:spTree>
    <p:extLst>
      <p:ext uri="{BB962C8B-B14F-4D97-AF65-F5344CB8AC3E}">
        <p14:creationId xmlns:p14="http://schemas.microsoft.com/office/powerpoint/2010/main" val="2692478285"/>
      </p:ext>
    </p:extLst>
  </p:cSld>
  <p:clrMap bg1="lt1" tx1="dk1" bg2="lt2" tx2="dk2" accent1="accent1" accent2="accent2" accent3="accent3" accent4="accent4" accent5="accent5" accent6="accent6" hlink="hlink" folHlink="folHlink"/>
  <p:sldLayoutIdLst>
    <p:sldLayoutId id="2147484217" r:id="rId1"/>
  </p:sldLayoutIdLst>
  <p:hf sldNum="0" hdr="0" ftr="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66700" indent="-266700" algn="l" defTabSz="914400"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75" indent="-180975" algn="l" defTabSz="914400" rtl="0" eaLnBrk="1" latinLnBrk="0" hangingPunct="1">
        <a:lnSpc>
          <a:spcPct val="90000"/>
        </a:lnSpc>
        <a:spcBef>
          <a:spcPts val="700"/>
        </a:spcBef>
        <a:buClr>
          <a:schemeClr val="tx2"/>
        </a:buClr>
        <a:buFont typeface="Arial" panose="020B0604020202020204" pitchFamily="34" charset="0"/>
        <a:buChar char="•"/>
        <a:defRPr sz="1800" kern="1200">
          <a:solidFill>
            <a:schemeClr val="tx1"/>
          </a:solidFill>
          <a:latin typeface="+mn-lt"/>
          <a:ea typeface="+mn-ea"/>
          <a:cs typeface="+mn-cs"/>
        </a:defRPr>
      </a:lvl2pPr>
      <a:lvl3pPr marL="628650" indent="-180975" algn="l" defTabSz="914400" rtl="0" eaLnBrk="1" latinLnBrk="0" hangingPunct="1">
        <a:lnSpc>
          <a:spcPct val="90000"/>
        </a:lnSpc>
        <a:spcBef>
          <a:spcPts val="700"/>
        </a:spcBef>
        <a:buClr>
          <a:schemeClr val="tx2"/>
        </a:buClr>
        <a:buFont typeface="Arial" panose="020B0604020202020204" pitchFamily="34" charset="0"/>
        <a:buChar char="•"/>
        <a:defRPr sz="1600" kern="1200">
          <a:solidFill>
            <a:schemeClr val="tx1"/>
          </a:solidFill>
          <a:latin typeface="+mn-lt"/>
          <a:ea typeface="+mn-ea"/>
          <a:cs typeface="+mn-cs"/>
        </a:defRPr>
      </a:lvl3pPr>
      <a:lvl4pPr marL="809625" indent="-180975" algn="l" defTabSz="914400" rtl="0" eaLnBrk="1" latinLnBrk="0" hangingPunct="1">
        <a:lnSpc>
          <a:spcPct val="90000"/>
        </a:lnSpc>
        <a:spcBef>
          <a:spcPts val="700"/>
        </a:spcBef>
        <a:buClr>
          <a:schemeClr val="tx2"/>
        </a:buClr>
        <a:buFont typeface="Arial" panose="020B0604020202020204" pitchFamily="34" charset="0"/>
        <a:buChar char="•"/>
        <a:defRPr sz="1400" kern="1200">
          <a:solidFill>
            <a:schemeClr val="tx1"/>
          </a:solidFill>
          <a:latin typeface="+mn-lt"/>
          <a:ea typeface="+mn-ea"/>
          <a:cs typeface="+mn-cs"/>
        </a:defRPr>
      </a:lvl4pPr>
      <a:lvl5pPr marL="990600" indent="-180975" algn="l" defTabSz="914400" rtl="0" eaLnBrk="1" latinLnBrk="0" hangingPunct="1">
        <a:lnSpc>
          <a:spcPct val="90000"/>
        </a:lnSpc>
        <a:spcBef>
          <a:spcPts val="7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4" pos="325">
          <p15:clr>
            <a:srgbClr val="F26B43"/>
          </p15:clr>
        </p15:guide>
        <p15:guide id="5" pos="7356">
          <p15:clr>
            <a:srgbClr val="F26B43"/>
          </p15:clr>
        </p15:guide>
        <p15:guide id="6" orient="horz" pos="324">
          <p15:clr>
            <a:srgbClr val="F26B43"/>
          </p15:clr>
        </p15:guide>
        <p15:guide id="7" orient="horz" pos="399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6AA16CA-D793-2F30-A56F-3485CE21B854}"/>
              </a:ext>
            </a:extLst>
          </p:cNvPr>
          <p:cNvGraphicFramePr>
            <a:graphicFrameLocks noChangeAspect="1"/>
          </p:cNvGraphicFramePr>
          <p:nvPr userDrawn="1">
            <p:custDataLst>
              <p:tags r:id="rId14"/>
            </p:custDataLst>
            <p:extLst>
              <p:ext uri="{D42A27DB-BD31-4B8C-83A1-F6EECF244321}">
                <p14:modId xmlns:p14="http://schemas.microsoft.com/office/powerpoint/2010/main" val="1342579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4" imgH="345" progId="TCLayout.ActiveDocument.1">
                  <p:embed/>
                </p:oleObj>
              </mc:Choice>
              <mc:Fallback>
                <p:oleObj name="think-cell Slide" r:id="rId15" imgW="344" imgH="345" progId="TCLayout.ActiveDocument.1">
                  <p:embed/>
                  <p:pic>
                    <p:nvPicPr>
                      <p:cNvPr id="8" name="think-cell data - do not delete" hidden="1">
                        <a:extLst>
                          <a:ext uri="{FF2B5EF4-FFF2-40B4-BE49-F238E27FC236}">
                            <a16:creationId xmlns:a16="http://schemas.microsoft.com/office/drawing/2014/main" id="{26AA16CA-D793-2F30-A56F-3485CE21B85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C0D1B7B-516E-B6E8-05B3-C54D5C0F3838}"/>
              </a:ext>
            </a:extLst>
          </p:cNvPr>
          <p:cNvSpPr>
            <a:spLocks noGrp="1"/>
          </p:cNvSpPr>
          <p:nvPr>
            <p:ph type="title"/>
          </p:nvPr>
        </p:nvSpPr>
        <p:spPr>
          <a:xfrm>
            <a:off x="516005" y="514350"/>
            <a:ext cx="11163166" cy="1176338"/>
          </a:xfrm>
          <a:prstGeom prst="rect">
            <a:avLst/>
          </a:prstGeom>
        </p:spPr>
        <p:txBody>
          <a:bodyPr vert="horz" lIns="0" tIns="0" rIns="0" bIns="0" rtlCol="0" anchor="b" anchorCtr="0">
            <a:noAutofit/>
          </a:bodyPr>
          <a:lstStyle/>
          <a:p>
            <a:r>
              <a:rPr lang="en-US"/>
              <a:t>Click to edit Master title style</a:t>
            </a:r>
            <a:endParaRPr lang="sv-SE"/>
          </a:p>
        </p:txBody>
      </p:sp>
      <p:sp>
        <p:nvSpPr>
          <p:cNvPr id="3" name="Text Placeholder 2">
            <a:extLst>
              <a:ext uri="{FF2B5EF4-FFF2-40B4-BE49-F238E27FC236}">
                <a16:creationId xmlns:a16="http://schemas.microsoft.com/office/drawing/2014/main" id="{2ACB2F28-C7ED-98B3-FA9C-0D11A5DEC106}"/>
              </a:ext>
            </a:extLst>
          </p:cNvPr>
          <p:cNvSpPr>
            <a:spLocks noGrp="1"/>
          </p:cNvSpPr>
          <p:nvPr>
            <p:ph type="body" idx="1"/>
          </p:nvPr>
        </p:nvSpPr>
        <p:spPr>
          <a:xfrm>
            <a:off x="516005" y="1825625"/>
            <a:ext cx="11163166"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0908225C-C275-F75D-2FBD-5104BD5243C6}"/>
              </a:ext>
            </a:extLst>
          </p:cNvPr>
          <p:cNvSpPr>
            <a:spLocks noGrp="1"/>
          </p:cNvSpPr>
          <p:nvPr>
            <p:ph type="dt" sz="half" idx="2"/>
          </p:nvPr>
        </p:nvSpPr>
        <p:spPr>
          <a:xfrm>
            <a:off x="516005" y="6328262"/>
            <a:ext cx="2743557" cy="153888"/>
          </a:xfrm>
          <a:prstGeom prst="rect">
            <a:avLst/>
          </a:prstGeom>
        </p:spPr>
        <p:txBody>
          <a:bodyPr vert="horz" lIns="0" tIns="0" rIns="0" bIns="0" rtlCol="0" anchor="ctr">
            <a:spAutoFit/>
          </a:bodyPr>
          <a:lstStyle>
            <a:lvl1pPr algn="l">
              <a:defRPr sz="1000">
                <a:solidFill>
                  <a:schemeClr val="tx1"/>
                </a:solidFill>
              </a:defRPr>
            </a:lvl1pPr>
          </a:lstStyle>
          <a:p>
            <a:fld id="{C5F73EEB-9E5B-FC45-9C1F-57DC5805244D}" type="datetime3">
              <a:rPr lang="da-DK" smtClean="0"/>
              <a:t>13.05.2026</a:t>
            </a:fld>
            <a:endParaRPr lang="sv-SE"/>
          </a:p>
        </p:txBody>
      </p:sp>
      <p:sp>
        <p:nvSpPr>
          <p:cNvPr id="5" name="Footer Placeholder 4">
            <a:extLst>
              <a:ext uri="{FF2B5EF4-FFF2-40B4-BE49-F238E27FC236}">
                <a16:creationId xmlns:a16="http://schemas.microsoft.com/office/drawing/2014/main" id="{E331CDC2-F261-E399-98C2-17CC29C1AA4A}"/>
              </a:ext>
            </a:extLst>
          </p:cNvPr>
          <p:cNvSpPr>
            <a:spLocks noGrp="1"/>
          </p:cNvSpPr>
          <p:nvPr>
            <p:ph type="ftr" sz="quarter" idx="3"/>
          </p:nvPr>
        </p:nvSpPr>
        <p:spPr>
          <a:xfrm>
            <a:off x="516005" y="6494949"/>
            <a:ext cx="4115336" cy="153888"/>
          </a:xfrm>
          <a:prstGeom prst="rect">
            <a:avLst/>
          </a:prstGeom>
        </p:spPr>
        <p:txBody>
          <a:bodyPr vert="horz" lIns="0" tIns="0" rIns="0" bIns="0" rtlCol="0" anchor="ctr">
            <a:spAutoFit/>
          </a:bodyPr>
          <a:lstStyle>
            <a:lvl1pPr algn="l">
              <a:defRPr sz="1000">
                <a:solidFill>
                  <a:schemeClr val="tx2">
                    <a:lumMod val="60000"/>
                    <a:lumOff val="40000"/>
                  </a:schemeClr>
                </a:solidFill>
              </a:defRPr>
            </a:lvl1pPr>
          </a:lstStyle>
          <a:p>
            <a:endParaRPr lang="sv-SE"/>
          </a:p>
        </p:txBody>
      </p:sp>
      <p:sp>
        <p:nvSpPr>
          <p:cNvPr id="6" name="Slide Number Placeholder 5">
            <a:extLst>
              <a:ext uri="{FF2B5EF4-FFF2-40B4-BE49-F238E27FC236}">
                <a16:creationId xmlns:a16="http://schemas.microsoft.com/office/drawing/2014/main" id="{5EE4FA62-20CF-D995-ECF5-8B0A42A0EF56}"/>
              </a:ext>
            </a:extLst>
          </p:cNvPr>
          <p:cNvSpPr>
            <a:spLocks noGrp="1"/>
          </p:cNvSpPr>
          <p:nvPr>
            <p:ph type="sldNum" sz="quarter" idx="4"/>
          </p:nvPr>
        </p:nvSpPr>
        <p:spPr>
          <a:xfrm>
            <a:off x="11302884" y="6494949"/>
            <a:ext cx="374699" cy="153888"/>
          </a:xfrm>
          <a:prstGeom prst="rect">
            <a:avLst/>
          </a:prstGeom>
        </p:spPr>
        <p:txBody>
          <a:bodyPr vert="horz" wrap="square" lIns="0" tIns="0" rIns="0" bIns="0" rtlCol="0" anchor="ctr">
            <a:spAutoFit/>
          </a:bodyPr>
          <a:lstStyle>
            <a:lvl1pPr algn="r">
              <a:defRPr sz="1000">
                <a:solidFill>
                  <a:schemeClr val="tx2">
                    <a:lumMod val="60000"/>
                    <a:lumOff val="40000"/>
                  </a:schemeClr>
                </a:solidFill>
              </a:defRPr>
            </a:lvl1pPr>
          </a:lstStyle>
          <a:p>
            <a:fld id="{C2F92818-9D0C-420B-84CB-20E21C25F84F}" type="slidenum">
              <a:rPr lang="sv-SE" smtClean="0"/>
              <a:pPr/>
              <a:t>‹#›</a:t>
            </a:fld>
            <a:endParaRPr lang="sv-SE"/>
          </a:p>
        </p:txBody>
      </p:sp>
    </p:spTree>
    <p:extLst>
      <p:ext uri="{BB962C8B-B14F-4D97-AF65-F5344CB8AC3E}">
        <p14:creationId xmlns:p14="http://schemas.microsoft.com/office/powerpoint/2010/main" val="1819936458"/>
      </p:ext>
    </p:extLst>
  </p:cSld>
  <p:clrMap bg1="lt1" tx1="dk1" bg2="lt2" tx2="dk2" accent1="accent1" accent2="accent2" accent3="accent3" accent4="accent4" accent5="accent5" accent6="accent6" hlink="hlink" folHlink="folHlink"/>
  <p:sldLayoutIdLst>
    <p:sldLayoutId id="2147484305" r:id="rId1"/>
    <p:sldLayoutId id="2147484306" r:id="rId2"/>
    <p:sldLayoutId id="2147484307" r:id="rId3"/>
    <p:sldLayoutId id="2147484308" r:id="rId4"/>
    <p:sldLayoutId id="2147484309" r:id="rId5"/>
    <p:sldLayoutId id="2147484310" r:id="rId6"/>
    <p:sldLayoutId id="2147484311" r:id="rId7"/>
    <p:sldLayoutId id="2147484312" r:id="rId8"/>
    <p:sldLayoutId id="2147484313" r:id="rId9"/>
    <p:sldLayoutId id="2147484314" r:id="rId10"/>
    <p:sldLayoutId id="2147484315" r:id="rId11"/>
    <p:sldLayoutId id="2147484316" r:id="rId12"/>
  </p:sldLayoutIdLst>
  <p:hf hdr="0" ftr="0" dt="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66700" indent="-266700" algn="l" defTabSz="914400"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75" indent="-180975" algn="l" defTabSz="914400" rtl="0" eaLnBrk="1" latinLnBrk="0" hangingPunct="1">
        <a:lnSpc>
          <a:spcPct val="90000"/>
        </a:lnSpc>
        <a:spcBef>
          <a:spcPts val="700"/>
        </a:spcBef>
        <a:buClr>
          <a:schemeClr val="tx2"/>
        </a:buClr>
        <a:buFont typeface="Arial" panose="020B0604020202020204" pitchFamily="34" charset="0"/>
        <a:buChar char="•"/>
        <a:defRPr sz="1800" kern="1200">
          <a:solidFill>
            <a:schemeClr val="tx1"/>
          </a:solidFill>
          <a:latin typeface="+mn-lt"/>
          <a:ea typeface="+mn-ea"/>
          <a:cs typeface="+mn-cs"/>
        </a:defRPr>
      </a:lvl2pPr>
      <a:lvl3pPr marL="628650" indent="-180975" algn="l" defTabSz="914400" rtl="0" eaLnBrk="1" latinLnBrk="0" hangingPunct="1">
        <a:lnSpc>
          <a:spcPct val="90000"/>
        </a:lnSpc>
        <a:spcBef>
          <a:spcPts val="700"/>
        </a:spcBef>
        <a:buClr>
          <a:schemeClr val="tx2"/>
        </a:buClr>
        <a:buFont typeface="Arial" panose="020B0604020202020204" pitchFamily="34" charset="0"/>
        <a:buChar char="•"/>
        <a:defRPr sz="1600" kern="1200">
          <a:solidFill>
            <a:schemeClr val="tx1"/>
          </a:solidFill>
          <a:latin typeface="+mn-lt"/>
          <a:ea typeface="+mn-ea"/>
          <a:cs typeface="+mn-cs"/>
        </a:defRPr>
      </a:lvl3pPr>
      <a:lvl4pPr marL="809625" indent="-180975" algn="l" defTabSz="914400" rtl="0" eaLnBrk="1" latinLnBrk="0" hangingPunct="1">
        <a:lnSpc>
          <a:spcPct val="90000"/>
        </a:lnSpc>
        <a:spcBef>
          <a:spcPts val="700"/>
        </a:spcBef>
        <a:buClr>
          <a:schemeClr val="tx2"/>
        </a:buClr>
        <a:buFont typeface="Arial" panose="020B0604020202020204" pitchFamily="34" charset="0"/>
        <a:buChar char="•"/>
        <a:defRPr sz="1400" kern="1200">
          <a:solidFill>
            <a:schemeClr val="tx1"/>
          </a:solidFill>
          <a:latin typeface="+mn-lt"/>
          <a:ea typeface="+mn-ea"/>
          <a:cs typeface="+mn-cs"/>
        </a:defRPr>
      </a:lvl4pPr>
      <a:lvl5pPr marL="990600" indent="-180975" algn="l" defTabSz="914400" rtl="0" eaLnBrk="1" latinLnBrk="0" hangingPunct="1">
        <a:lnSpc>
          <a:spcPct val="90000"/>
        </a:lnSpc>
        <a:spcBef>
          <a:spcPts val="7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4" pos="325">
          <p15:clr>
            <a:srgbClr val="F26B43"/>
          </p15:clr>
        </p15:guide>
        <p15:guide id="5" pos="7356">
          <p15:clr>
            <a:srgbClr val="F26B43"/>
          </p15:clr>
        </p15:guide>
        <p15:guide id="6" orient="horz" pos="324">
          <p15:clr>
            <a:srgbClr val="F26B43"/>
          </p15:clr>
        </p15:guide>
        <p15:guide id="7" orient="horz" pos="399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D4BC778-101F-6A30-A107-FBC1CDFB8C99}"/>
              </a:ext>
            </a:extLst>
          </p:cNvPr>
          <p:cNvGraphicFramePr>
            <a:graphicFrameLocks noChangeAspect="1"/>
          </p:cNvGraphicFramePr>
          <p:nvPr userDrawn="1">
            <p:custDataLst>
              <p:tags r:id="rId16"/>
            </p:custDataLst>
            <p:extLst>
              <p:ext uri="{D42A27DB-BD31-4B8C-83A1-F6EECF244321}">
                <p14:modId xmlns:p14="http://schemas.microsoft.com/office/powerpoint/2010/main" val="4206776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44" imgH="345" progId="TCLayout.ActiveDocument.1">
                  <p:embed/>
                </p:oleObj>
              </mc:Choice>
              <mc:Fallback>
                <p:oleObj name="think-cell Slide" r:id="rId17" imgW="344" imgH="345" progId="TCLayout.ActiveDocument.1">
                  <p:embed/>
                  <p:pic>
                    <p:nvPicPr>
                      <p:cNvPr id="8" name="think-cell data - do not delete" hidden="1">
                        <a:extLst>
                          <a:ext uri="{FF2B5EF4-FFF2-40B4-BE49-F238E27FC236}">
                            <a16:creationId xmlns:a16="http://schemas.microsoft.com/office/drawing/2014/main" id="{FD4BC778-101F-6A30-A107-FBC1CDFB8C99}"/>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C0D1B7B-516E-B6E8-05B3-C54D5C0F3838}"/>
              </a:ext>
            </a:extLst>
          </p:cNvPr>
          <p:cNvSpPr>
            <a:spLocks noGrp="1"/>
          </p:cNvSpPr>
          <p:nvPr>
            <p:ph type="title"/>
          </p:nvPr>
        </p:nvSpPr>
        <p:spPr>
          <a:xfrm>
            <a:off x="516005" y="514350"/>
            <a:ext cx="11163166" cy="1176338"/>
          </a:xfrm>
          <a:prstGeom prst="rect">
            <a:avLst/>
          </a:prstGeom>
        </p:spPr>
        <p:txBody>
          <a:bodyPr vert="horz" lIns="0" tIns="0" rIns="0" bIns="0" rtlCol="0" anchor="b" anchorCtr="0">
            <a:noAutofit/>
          </a:bodyPr>
          <a:lstStyle/>
          <a:p>
            <a:r>
              <a:rPr lang="en-US" noProof="0"/>
              <a:t>Click to edit Master title style</a:t>
            </a:r>
            <a:endParaRPr lang="en-GB" noProof="0"/>
          </a:p>
        </p:txBody>
      </p:sp>
      <p:sp>
        <p:nvSpPr>
          <p:cNvPr id="3" name="Text Placeholder 2">
            <a:extLst>
              <a:ext uri="{FF2B5EF4-FFF2-40B4-BE49-F238E27FC236}">
                <a16:creationId xmlns:a16="http://schemas.microsoft.com/office/drawing/2014/main" id="{2ACB2F28-C7ED-98B3-FA9C-0D11A5DEC106}"/>
              </a:ext>
            </a:extLst>
          </p:cNvPr>
          <p:cNvSpPr>
            <a:spLocks noGrp="1"/>
          </p:cNvSpPr>
          <p:nvPr>
            <p:ph type="body" idx="1"/>
          </p:nvPr>
        </p:nvSpPr>
        <p:spPr>
          <a:xfrm>
            <a:off x="516005" y="1825625"/>
            <a:ext cx="11163166" cy="4351338"/>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 Placeholder 3">
            <a:extLst>
              <a:ext uri="{FF2B5EF4-FFF2-40B4-BE49-F238E27FC236}">
                <a16:creationId xmlns:a16="http://schemas.microsoft.com/office/drawing/2014/main" id="{0908225C-C275-F75D-2FBD-5104BD5243C6}"/>
              </a:ext>
            </a:extLst>
          </p:cNvPr>
          <p:cNvSpPr>
            <a:spLocks noGrp="1"/>
          </p:cNvSpPr>
          <p:nvPr>
            <p:ph type="dt" sz="half" idx="2"/>
          </p:nvPr>
        </p:nvSpPr>
        <p:spPr>
          <a:xfrm>
            <a:off x="516005" y="6328262"/>
            <a:ext cx="2743557" cy="153888"/>
          </a:xfrm>
          <a:prstGeom prst="rect">
            <a:avLst/>
          </a:prstGeom>
        </p:spPr>
        <p:txBody>
          <a:bodyPr vert="horz" lIns="0" tIns="0" rIns="0" bIns="0" rtlCol="0" anchor="ctr">
            <a:spAutoFit/>
          </a:bodyPr>
          <a:lstStyle>
            <a:lvl1pPr algn="l">
              <a:defRPr sz="1000">
                <a:solidFill>
                  <a:schemeClr val="tx1"/>
                </a:solidFill>
              </a:defRPr>
            </a:lvl1pPr>
          </a:lstStyle>
          <a:p>
            <a:fld id="{0F926710-FD92-4045-983B-B75BFBFD4AFF}" type="datetime1">
              <a:rPr lang="en-US" noProof="0" smtClean="0"/>
              <a:t>5/13/2026</a:t>
            </a:fld>
            <a:endParaRPr lang="en-GB" noProof="0"/>
          </a:p>
        </p:txBody>
      </p:sp>
      <p:sp>
        <p:nvSpPr>
          <p:cNvPr id="5" name="Footer Placeholder 4">
            <a:extLst>
              <a:ext uri="{FF2B5EF4-FFF2-40B4-BE49-F238E27FC236}">
                <a16:creationId xmlns:a16="http://schemas.microsoft.com/office/drawing/2014/main" id="{E331CDC2-F261-E399-98C2-17CC29C1AA4A}"/>
              </a:ext>
            </a:extLst>
          </p:cNvPr>
          <p:cNvSpPr>
            <a:spLocks noGrp="1"/>
          </p:cNvSpPr>
          <p:nvPr>
            <p:ph type="ftr" sz="quarter" idx="3"/>
          </p:nvPr>
        </p:nvSpPr>
        <p:spPr>
          <a:xfrm>
            <a:off x="516005" y="6494949"/>
            <a:ext cx="4115336" cy="153888"/>
          </a:xfrm>
          <a:prstGeom prst="rect">
            <a:avLst/>
          </a:prstGeom>
        </p:spPr>
        <p:txBody>
          <a:bodyPr vert="horz" lIns="0" tIns="0" rIns="0" bIns="0" rtlCol="0" anchor="ctr">
            <a:spAutoFit/>
          </a:bodyPr>
          <a:lstStyle>
            <a:lvl1pPr algn="l">
              <a:defRPr sz="1000">
                <a:solidFill>
                  <a:schemeClr val="tx2">
                    <a:lumMod val="60000"/>
                    <a:lumOff val="40000"/>
                  </a:schemeClr>
                </a:solidFill>
              </a:defRPr>
            </a:lvl1pPr>
          </a:lstStyle>
          <a:p>
            <a:endParaRPr lang="en-GB" noProof="0"/>
          </a:p>
        </p:txBody>
      </p:sp>
      <p:sp>
        <p:nvSpPr>
          <p:cNvPr id="6" name="Slide Number Placeholder 5">
            <a:extLst>
              <a:ext uri="{FF2B5EF4-FFF2-40B4-BE49-F238E27FC236}">
                <a16:creationId xmlns:a16="http://schemas.microsoft.com/office/drawing/2014/main" id="{5EE4FA62-20CF-D995-ECF5-8B0A42A0EF56}"/>
              </a:ext>
            </a:extLst>
          </p:cNvPr>
          <p:cNvSpPr>
            <a:spLocks noGrp="1"/>
          </p:cNvSpPr>
          <p:nvPr>
            <p:ph type="sldNum" sz="quarter" idx="4"/>
          </p:nvPr>
        </p:nvSpPr>
        <p:spPr>
          <a:xfrm>
            <a:off x="11302885" y="6494949"/>
            <a:ext cx="374699" cy="153888"/>
          </a:xfrm>
          <a:prstGeom prst="rect">
            <a:avLst/>
          </a:prstGeom>
        </p:spPr>
        <p:txBody>
          <a:bodyPr vert="horz" wrap="square" lIns="0" tIns="0" rIns="0" bIns="0" rtlCol="0" anchor="ctr">
            <a:spAutoFit/>
          </a:bodyPr>
          <a:lstStyle>
            <a:lvl1pPr algn="r">
              <a:defRPr sz="1000">
                <a:solidFill>
                  <a:schemeClr val="tx2">
                    <a:lumMod val="60000"/>
                    <a:lumOff val="40000"/>
                  </a:schemeClr>
                </a:solidFill>
              </a:defRPr>
            </a:lvl1pPr>
          </a:lstStyle>
          <a:p>
            <a:fld id="{C2F92818-9D0C-420B-84CB-20E21C25F84F}" type="slidenum">
              <a:rPr lang="en-GB" noProof="0" smtClean="0"/>
              <a:pPr/>
              <a:t>‹#›</a:t>
            </a:fld>
            <a:endParaRPr lang="en-GB" noProof="0"/>
          </a:p>
        </p:txBody>
      </p:sp>
    </p:spTree>
    <p:extLst>
      <p:ext uri="{BB962C8B-B14F-4D97-AF65-F5344CB8AC3E}">
        <p14:creationId xmlns:p14="http://schemas.microsoft.com/office/powerpoint/2010/main" val="815887294"/>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Lst>
  <p:hf hdr="0" ftr="0" dt="0"/>
  <p:txStyles>
    <p:titleStyle>
      <a:lvl1pPr algn="l" defTabSz="914309"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66673" indent="-266673" algn="l" defTabSz="914309"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30" indent="-180957" algn="l" defTabSz="914309"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628587" indent="-180957" algn="l" defTabSz="914309"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809544" indent="-180957" algn="l" defTabSz="914309"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990501" indent="-180957" algn="l" defTabSz="914309" rtl="0" eaLnBrk="1" latinLnBrk="0" hangingPunct="1">
        <a:lnSpc>
          <a:spcPct val="90000"/>
        </a:lnSpc>
        <a:spcBef>
          <a:spcPts val="5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4" pos="325">
          <p15:clr>
            <a:srgbClr val="F26B43"/>
          </p15:clr>
        </p15:guide>
        <p15:guide id="5" pos="7356">
          <p15:clr>
            <a:srgbClr val="F26B43"/>
          </p15:clr>
        </p15:guide>
        <p15:guide id="6" orient="horz" pos="324">
          <p15:clr>
            <a:srgbClr val="F26B43"/>
          </p15:clr>
        </p15:guide>
        <p15:guide id="7" orient="horz" pos="3996">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DD4C7F-381E-3A18-9BAD-A1D8DC01ACBF}"/>
              </a:ext>
            </a:extLst>
          </p:cNvPr>
          <p:cNvGraphicFramePr>
            <a:graphicFrameLocks noChangeAspect="1"/>
          </p:cNvGraphicFramePr>
          <p:nvPr userDrawn="1">
            <p:custDataLst>
              <p:tags r:id="rId38"/>
            </p:custDataLst>
            <p:extLst>
              <p:ext uri="{D42A27DB-BD31-4B8C-83A1-F6EECF244321}">
                <p14:modId xmlns:p14="http://schemas.microsoft.com/office/powerpoint/2010/main" val="3751094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73" imgH="476" progId="TCLayout.ActiveDocument.1">
                  <p:embed/>
                </p:oleObj>
              </mc:Choice>
              <mc:Fallback>
                <p:oleObj name="think-cell Slide" r:id="rId39" imgW="473" imgH="476" progId="TCLayout.ActiveDocument.1">
                  <p:embed/>
                  <p:pic>
                    <p:nvPicPr>
                      <p:cNvPr id="3" name="Object 2" hidden="1">
                        <a:extLst>
                          <a:ext uri="{FF2B5EF4-FFF2-40B4-BE49-F238E27FC236}">
                            <a16:creationId xmlns:a16="http://schemas.microsoft.com/office/drawing/2014/main" id="{A3DD4C7F-381E-3A18-9BAD-A1D8DC01ACBF}"/>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4" name="Title Placeholder 1"/>
          <p:cNvSpPr>
            <a:spLocks noGrp="1"/>
          </p:cNvSpPr>
          <p:nvPr>
            <p:ph type="title"/>
          </p:nvPr>
        </p:nvSpPr>
        <p:spPr>
          <a:xfrm>
            <a:off x="552763" y="675967"/>
            <a:ext cx="11025227" cy="430112"/>
          </a:xfrm>
          <a:prstGeom prst="rect">
            <a:avLst/>
          </a:prstGeom>
        </p:spPr>
        <p:txBody>
          <a:bodyPr vert="horz" lIns="0" tIns="0" rIns="0" bIns="0" rtlCol="0" anchor="t" anchorCtr="0">
            <a:spAutoFit/>
          </a:bodyPr>
          <a:lstStyle/>
          <a:p>
            <a:endParaRPr lang="en-US"/>
          </a:p>
        </p:txBody>
      </p:sp>
      <p:sp>
        <p:nvSpPr>
          <p:cNvPr id="6" name="Text Placeholder 2"/>
          <p:cNvSpPr>
            <a:spLocks noGrp="1"/>
          </p:cNvSpPr>
          <p:nvPr>
            <p:ph type="body" idx="1"/>
          </p:nvPr>
        </p:nvSpPr>
        <p:spPr>
          <a:xfrm>
            <a:off x="838309" y="1826685"/>
            <a:ext cx="10491074" cy="848437"/>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568679"/>
      </p:ext>
    </p:extLst>
  </p:cSld>
  <p:clrMap bg1="lt1" tx1="dk1" bg2="lt2" tx2="dk2" accent1="accent1" accent2="accent2" accent3="accent3" accent4="accent4" accent5="accent5" accent6="accent6" hlink="hlink" folHlink="folHlink"/>
  <p:sldLayoutIdLst>
    <p:sldLayoutId id="2147484405" r:id="rId1"/>
    <p:sldLayoutId id="2147484406" r:id="rId2"/>
    <p:sldLayoutId id="2147484407"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 id="2147484417" r:id="rId13"/>
    <p:sldLayoutId id="2147484418" r:id="rId14"/>
    <p:sldLayoutId id="2147484419" r:id="rId15"/>
    <p:sldLayoutId id="2147484420" r:id="rId16"/>
    <p:sldLayoutId id="2147484421" r:id="rId17"/>
    <p:sldLayoutId id="2147484422" r:id="rId18"/>
    <p:sldLayoutId id="2147484423" r:id="rId19"/>
    <p:sldLayoutId id="2147484424" r:id="rId20"/>
    <p:sldLayoutId id="2147484425" r:id="rId21"/>
    <p:sldLayoutId id="2147484426" r:id="rId22"/>
    <p:sldLayoutId id="2147484427" r:id="rId23"/>
    <p:sldLayoutId id="2147484428" r:id="rId24"/>
    <p:sldLayoutId id="2147484429" r:id="rId25"/>
    <p:sldLayoutId id="2147484430" r:id="rId26"/>
    <p:sldLayoutId id="2147484431" r:id="rId27"/>
    <p:sldLayoutId id="2147484432" r:id="rId28"/>
    <p:sldLayoutId id="2147484433" r:id="rId29"/>
    <p:sldLayoutId id="2147484434" r:id="rId30"/>
    <p:sldLayoutId id="2147484435" r:id="rId31"/>
    <p:sldLayoutId id="2147484436" r:id="rId32"/>
    <p:sldLayoutId id="2147484437" r:id="rId33"/>
    <p:sldLayoutId id="2147484438" r:id="rId34"/>
    <p:sldLayoutId id="2147484439" r:id="rId35"/>
    <p:sldLayoutId id="2147484440" r:id="rId36"/>
  </p:sldLayoutIdLst>
  <p:transition spd="slow">
    <p:fade/>
  </p:transition>
  <p:txStyles>
    <p:titleStyle>
      <a:lvl1pPr algn="l" defTabSz="914286" rtl="0" eaLnBrk="1" latinLnBrk="0" hangingPunct="1">
        <a:lnSpc>
          <a:spcPct val="90000"/>
        </a:lnSpc>
        <a:spcBef>
          <a:spcPct val="0"/>
        </a:spcBef>
        <a:buNone/>
        <a:defRPr sz="3000" b="1" i="0" kern="1200">
          <a:solidFill>
            <a:schemeClr val="tx1"/>
          </a:solidFill>
          <a:latin typeface="Avenir Next LT Pro" panose="020B0504020202020204" pitchFamily="34" charset="77"/>
          <a:ea typeface="Avenir Next LT Pro" panose="020B0504020202020204" pitchFamily="34" charset="77"/>
          <a:cs typeface="Avenir Next LT Pro" panose="020B0504020202020204" pitchFamily="34" charset="77"/>
        </a:defRPr>
      </a:lvl1pPr>
    </p:titleStyle>
    <p:bodyStyle>
      <a:lvl1pPr marL="383952" indent="-383952" algn="l" defTabSz="914286" rtl="0" eaLnBrk="1" latinLnBrk="0" hangingPunct="1">
        <a:lnSpc>
          <a:spcPct val="90000"/>
        </a:lnSpc>
        <a:spcBef>
          <a:spcPts val="1000"/>
        </a:spcBef>
        <a:buClr>
          <a:schemeClr val="accent2"/>
        </a:buClr>
        <a:buFont typeface="LucidaGrande" charset="0"/>
        <a:buChar char="+"/>
        <a:defRPr sz="1800" b="0" i="0" kern="1200">
          <a:solidFill>
            <a:schemeClr val="tx1"/>
          </a:solidFill>
          <a:latin typeface="Avenir Next LT Pro" panose="020B0504020202020204" pitchFamily="34" charset="77"/>
          <a:ea typeface="+mn-ea"/>
          <a:cs typeface="+mn-cs"/>
        </a:defRPr>
      </a:lvl1pPr>
      <a:lvl2pPr marL="685714" indent="-228571" algn="l" defTabSz="914286"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Avenir Next LT Pro" panose="020B0504020202020204" pitchFamily="34" charset="77"/>
          <a:ea typeface="+mn-ea"/>
          <a:cs typeface="+mn-cs"/>
        </a:defRPr>
      </a:lvl2pPr>
      <a:lvl3pPr marL="1142857" indent="-228571" algn="l" defTabSz="914286"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Avenir Next LT Pro" panose="020B0504020202020204" pitchFamily="34" charset="77"/>
          <a:ea typeface="+mn-ea"/>
          <a:cs typeface="+mn-cs"/>
        </a:defRPr>
      </a:lvl3pPr>
      <a:lvl4pPr marL="1600000" indent="-228571"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43" indent="-228571"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286" indent="-228571"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29" indent="-228571"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1" indent="-228571"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4" indent="-228571"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4"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emf"/><Relationship Id="rId2" Type="http://schemas.openxmlformats.org/officeDocument/2006/relationships/slideLayout" Target="../slideLayouts/slideLayout111.xml"/><Relationship Id="rId1" Type="http://schemas.openxmlformats.org/officeDocument/2006/relationships/tags" Target="../tags/tag18.xml"/><Relationship Id="rId6" Type="http://schemas.openxmlformats.org/officeDocument/2006/relationships/oleObject" Target="../embeddings/oleObject16.bin"/><Relationship Id="rId5" Type="http://schemas.openxmlformats.org/officeDocument/2006/relationships/image" Target="../media/image46.png"/><Relationship Id="rId4" Type="http://schemas.openxmlformats.org/officeDocument/2006/relationships/image" Target="../media/image45.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7.xml"/><Relationship Id="rId1" Type="http://schemas.openxmlformats.org/officeDocument/2006/relationships/tags" Target="../tags/tag27.xml"/><Relationship Id="rId6" Type="http://schemas.openxmlformats.org/officeDocument/2006/relationships/image" Target="../media/image61.svg"/><Relationship Id="rId5" Type="http://schemas.openxmlformats.org/officeDocument/2006/relationships/image" Target="../media/image18.emf"/><Relationship Id="rId4" Type="http://schemas.openxmlformats.org/officeDocument/2006/relationships/oleObject" Target="../embeddings/oleObject2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9.xml"/><Relationship Id="rId1" Type="http://schemas.openxmlformats.org/officeDocument/2006/relationships/tags" Target="../tags/tag28.xml"/><Relationship Id="rId6" Type="http://schemas.openxmlformats.org/officeDocument/2006/relationships/image" Target="../media/image18.emf"/><Relationship Id="rId5" Type="http://schemas.openxmlformats.org/officeDocument/2006/relationships/oleObject" Target="../embeddings/oleObject26.bin"/><Relationship Id="rId4" Type="http://schemas.openxmlformats.org/officeDocument/2006/relationships/image" Target="../media/image62.png"/></Relationships>
</file>

<file path=ppt/slides/_rels/slide12.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slideLayout" Target="../slideLayouts/slideLayout182.xml"/><Relationship Id="rId1" Type="http://schemas.openxmlformats.org/officeDocument/2006/relationships/tags" Target="../tags/tag29.xml"/><Relationship Id="rId6" Type="http://schemas.openxmlformats.org/officeDocument/2006/relationships/image" Target="../media/image59.png"/><Relationship Id="rId5" Type="http://schemas.openxmlformats.org/officeDocument/2006/relationships/image" Target="../media/image1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66.svg"/><Relationship Id="rId2" Type="http://schemas.openxmlformats.org/officeDocument/2006/relationships/slideLayout" Target="../slideLayouts/slideLayout3.xml"/><Relationship Id="rId1" Type="http://schemas.openxmlformats.org/officeDocument/2006/relationships/tags" Target="../tags/tag30.xml"/><Relationship Id="rId6" Type="http://schemas.openxmlformats.org/officeDocument/2006/relationships/image" Target="../media/image65.svg"/><Relationship Id="rId5" Type="http://schemas.openxmlformats.org/officeDocument/2006/relationships/image" Target="../media/image64.svg"/><Relationship Id="rId4" Type="http://schemas.openxmlformats.org/officeDocument/2006/relationships/image" Target="../media/image10.emf"/></Relationships>
</file>

<file path=ppt/slides/_rels/slide14.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74.svg"/><Relationship Id="rId3" Type="http://schemas.openxmlformats.org/officeDocument/2006/relationships/notesSlide" Target="../notesSlides/notesSlide10.xml"/><Relationship Id="rId7" Type="http://schemas.openxmlformats.org/officeDocument/2006/relationships/image" Target="../media/image68.svg"/><Relationship Id="rId12" Type="http://schemas.openxmlformats.org/officeDocument/2006/relationships/image" Target="../media/image73.svg"/><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image" Target="../media/image67.svg"/><Relationship Id="rId11" Type="http://schemas.openxmlformats.org/officeDocument/2006/relationships/image" Target="../media/image72.svg"/><Relationship Id="rId5" Type="http://schemas.openxmlformats.org/officeDocument/2006/relationships/image" Target="../media/image10.emf"/><Relationship Id="rId10" Type="http://schemas.openxmlformats.org/officeDocument/2006/relationships/image" Target="../media/image71.svg"/><Relationship Id="rId4" Type="http://schemas.openxmlformats.org/officeDocument/2006/relationships/oleObject" Target="../embeddings/oleObject29.bin"/><Relationship Id="rId9" Type="http://schemas.openxmlformats.org/officeDocument/2006/relationships/image" Target="../media/image70.sv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54.xml"/><Relationship Id="rId7" Type="http://schemas.openxmlformats.org/officeDocument/2006/relationships/image" Target="../media/image75.sv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57.svg"/><Relationship Id="rId5" Type="http://schemas.openxmlformats.org/officeDocument/2006/relationships/image" Target="../media/image56.emf"/><Relationship Id="rId4" Type="http://schemas.openxmlformats.org/officeDocument/2006/relationships/oleObject" Target="../embeddings/oleObject30.bin"/></Relationships>
</file>

<file path=ppt/slides/_rels/slide16.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image" Target="../media/image76.jpeg"/><Relationship Id="rId7" Type="http://schemas.openxmlformats.org/officeDocument/2006/relationships/image" Target="../media/image70.svg"/><Relationship Id="rId2" Type="http://schemas.openxmlformats.org/officeDocument/2006/relationships/slideLayout" Target="../slideLayouts/slideLayout94.xml"/><Relationship Id="rId1" Type="http://schemas.openxmlformats.org/officeDocument/2006/relationships/tags" Target="../tags/tag34.xml"/><Relationship Id="rId6" Type="http://schemas.openxmlformats.org/officeDocument/2006/relationships/image" Target="../media/image67.svg"/><Relationship Id="rId5" Type="http://schemas.openxmlformats.org/officeDocument/2006/relationships/image" Target="../media/image10.emf"/><Relationship Id="rId4" Type="http://schemas.openxmlformats.org/officeDocument/2006/relationships/oleObject" Target="../embeddings/oleObject31.bin"/></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59.png"/><Relationship Id="rId2" Type="http://schemas.openxmlformats.org/officeDocument/2006/relationships/slideLayout" Target="../slideLayouts/slideLayout190.xml"/><Relationship Id="rId1" Type="http://schemas.openxmlformats.org/officeDocument/2006/relationships/tags" Target="../tags/tag35.xml"/><Relationship Id="rId6" Type="http://schemas.openxmlformats.org/officeDocument/2006/relationships/image" Target="../media/image77.jpeg"/><Relationship Id="rId5" Type="http://schemas.openxmlformats.org/officeDocument/2006/relationships/image" Target="../media/image18.emf"/><Relationship Id="rId4" Type="http://schemas.openxmlformats.org/officeDocument/2006/relationships/oleObject" Target="../embeddings/oleObject32.bin"/></Relationships>
</file>

<file path=ppt/slides/_rels/slide19.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75.svg"/><Relationship Id="rId3" Type="http://schemas.openxmlformats.org/officeDocument/2006/relationships/notesSlide" Target="../notesSlides/notesSlide13.xml"/><Relationship Id="rId7" Type="http://schemas.openxmlformats.org/officeDocument/2006/relationships/image" Target="../media/image79.png"/><Relationship Id="rId12" Type="http://schemas.openxmlformats.org/officeDocument/2006/relationships/image" Target="../media/image57.svg"/><Relationship Id="rId2" Type="http://schemas.openxmlformats.org/officeDocument/2006/relationships/slideLayout" Target="../slideLayouts/slideLayout158.xml"/><Relationship Id="rId1" Type="http://schemas.openxmlformats.org/officeDocument/2006/relationships/tags" Target="../tags/tag36.xml"/><Relationship Id="rId6" Type="http://schemas.openxmlformats.org/officeDocument/2006/relationships/image" Target="../media/image10.emf"/><Relationship Id="rId11" Type="http://schemas.openxmlformats.org/officeDocument/2006/relationships/image" Target="../media/image83.svg"/><Relationship Id="rId5" Type="http://schemas.openxmlformats.org/officeDocument/2006/relationships/oleObject" Target="../embeddings/oleObject33.bin"/><Relationship Id="rId10" Type="http://schemas.openxmlformats.org/officeDocument/2006/relationships/image" Target="../media/image82.png"/><Relationship Id="rId4" Type="http://schemas.openxmlformats.org/officeDocument/2006/relationships/image" Target="../media/image78.png"/><Relationship Id="rId9" Type="http://schemas.openxmlformats.org/officeDocument/2006/relationships/image" Target="../media/image81.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7.xml"/><Relationship Id="rId1" Type="http://schemas.openxmlformats.org/officeDocument/2006/relationships/tags" Target="../tags/tag19.xml"/><Relationship Id="rId4" Type="http://schemas.openxmlformats.org/officeDocument/2006/relationships/image" Target="../media/image18.emf"/></Relationships>
</file>

<file path=ppt/slides/_rels/slide20.xml.rels><?xml version="1.0" encoding="UTF-8" standalone="yes"?>
<Relationships xmlns="http://schemas.openxmlformats.org/package/2006/relationships"><Relationship Id="rId8" Type="http://schemas.openxmlformats.org/officeDocument/2006/relationships/image" Target="../media/image84.emf"/><Relationship Id="rId3" Type="http://schemas.openxmlformats.org/officeDocument/2006/relationships/notesSlide" Target="../notesSlides/notesSlide14.xml"/><Relationship Id="rId7" Type="http://schemas.openxmlformats.org/officeDocument/2006/relationships/oleObject" Target="../embeddings/oleObject35.bin"/><Relationship Id="rId2" Type="http://schemas.openxmlformats.org/officeDocument/2006/relationships/slideLayout" Target="../slideLayouts/slideLayout27.xml"/><Relationship Id="rId1" Type="http://schemas.openxmlformats.org/officeDocument/2006/relationships/tags" Target="../tags/tag37.xml"/><Relationship Id="rId6" Type="http://schemas.openxmlformats.org/officeDocument/2006/relationships/image" Target="../media/image75.svg"/><Relationship Id="rId5" Type="http://schemas.openxmlformats.org/officeDocument/2006/relationships/image" Target="../media/image18.emf"/><Relationship Id="rId4" Type="http://schemas.openxmlformats.org/officeDocument/2006/relationships/oleObject" Target="../embeddings/oleObject34.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7.xml"/><Relationship Id="rId1" Type="http://schemas.openxmlformats.org/officeDocument/2006/relationships/tags" Target="../tags/tag38.xml"/><Relationship Id="rId6" Type="http://schemas.openxmlformats.org/officeDocument/2006/relationships/image" Target="../media/image75.svg"/><Relationship Id="rId5" Type="http://schemas.openxmlformats.org/officeDocument/2006/relationships/image" Target="../media/image18.emf"/><Relationship Id="rId4" Type="http://schemas.openxmlformats.org/officeDocument/2006/relationships/oleObject" Target="../embeddings/oleObject34.bin"/></Relationships>
</file>

<file path=ppt/slides/_rels/slide22.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notesSlide" Target="../notesSlides/notesSlide16.xml"/><Relationship Id="rId7" Type="http://schemas.openxmlformats.org/officeDocument/2006/relationships/image" Target="../media/image86.emf"/><Relationship Id="rId2" Type="http://schemas.openxmlformats.org/officeDocument/2006/relationships/slideLayout" Target="../slideLayouts/slideLayout6.xml"/><Relationship Id="rId1" Type="http://schemas.openxmlformats.org/officeDocument/2006/relationships/tags" Target="../tags/tag39.xml"/><Relationship Id="rId6" Type="http://schemas.openxmlformats.org/officeDocument/2006/relationships/image" Target="../media/image85.png"/><Relationship Id="rId5" Type="http://schemas.openxmlformats.org/officeDocument/2006/relationships/image" Target="../media/image18.emf"/><Relationship Id="rId4" Type="http://schemas.openxmlformats.org/officeDocument/2006/relationships/oleObject" Target="../embeddings/oleObject36.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75.svg"/><Relationship Id="rId2" Type="http://schemas.openxmlformats.org/officeDocument/2006/relationships/slideLayout" Target="../slideLayouts/slideLayout27.xml"/><Relationship Id="rId1" Type="http://schemas.openxmlformats.org/officeDocument/2006/relationships/tags" Target="../tags/tag40.xml"/><Relationship Id="rId6" Type="http://schemas.openxmlformats.org/officeDocument/2006/relationships/image" Target="../media/image87.jpeg"/><Relationship Id="rId5" Type="http://schemas.openxmlformats.org/officeDocument/2006/relationships/image" Target="../media/image18.emf"/><Relationship Id="rId4" Type="http://schemas.openxmlformats.org/officeDocument/2006/relationships/oleObject" Target="../embeddings/oleObject3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57.svg"/><Relationship Id="rId2" Type="http://schemas.openxmlformats.org/officeDocument/2006/relationships/slideLayout" Target="../slideLayouts/slideLayout192.xml"/><Relationship Id="rId1" Type="http://schemas.openxmlformats.org/officeDocument/2006/relationships/tags" Target="../tags/tag41.xml"/><Relationship Id="rId6" Type="http://schemas.openxmlformats.org/officeDocument/2006/relationships/image" Target="../media/image88.jpeg"/><Relationship Id="rId5" Type="http://schemas.openxmlformats.org/officeDocument/2006/relationships/image" Target="../media/image56.emf"/><Relationship Id="rId4" Type="http://schemas.openxmlformats.org/officeDocument/2006/relationships/oleObject" Target="../embeddings/oleObject38.bin"/></Relationships>
</file>

<file path=ppt/slides/_rels/slide2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notesSlide" Target="../notesSlides/notesSlide19.xml"/><Relationship Id="rId7" Type="http://schemas.openxmlformats.org/officeDocument/2006/relationships/image" Target="../media/image91.svg"/><Relationship Id="rId2" Type="http://schemas.openxmlformats.org/officeDocument/2006/relationships/slideLayout" Target="../slideLayouts/slideLayout158.xml"/><Relationship Id="rId1" Type="http://schemas.openxmlformats.org/officeDocument/2006/relationships/tags" Target="../tags/tag42.xml"/><Relationship Id="rId6" Type="http://schemas.openxmlformats.org/officeDocument/2006/relationships/image" Target="../media/image90.emf"/><Relationship Id="rId5" Type="http://schemas.openxmlformats.org/officeDocument/2006/relationships/oleObject" Target="../embeddings/oleObject39.bin"/><Relationship Id="rId4" Type="http://schemas.openxmlformats.org/officeDocument/2006/relationships/image" Target="../media/image89.jpeg"/><Relationship Id="rId9" Type="http://schemas.openxmlformats.org/officeDocument/2006/relationships/image" Target="../media/image92.svg"/></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158.xml"/><Relationship Id="rId1" Type="http://schemas.openxmlformats.org/officeDocument/2006/relationships/tags" Target="../tags/tag43.xml"/><Relationship Id="rId6" Type="http://schemas.openxmlformats.org/officeDocument/2006/relationships/image" Target="../media/image59.png"/><Relationship Id="rId5" Type="http://schemas.openxmlformats.org/officeDocument/2006/relationships/image" Target="../media/image88.jpeg"/><Relationship Id="rId4" Type="http://schemas.openxmlformats.org/officeDocument/2006/relationships/image" Target="../media/image10.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76.xml"/><Relationship Id="rId1" Type="http://schemas.openxmlformats.org/officeDocument/2006/relationships/tags" Target="../tags/tag44.xml"/><Relationship Id="rId5" Type="http://schemas.openxmlformats.org/officeDocument/2006/relationships/image" Target="../media/image56.emf"/><Relationship Id="rId4" Type="http://schemas.openxmlformats.org/officeDocument/2006/relationships/oleObject" Target="../embeddings/oleObject40.bin"/></Relationships>
</file>

<file path=ppt/slides/_rels/slide28.xml.rels><?xml version="1.0" encoding="UTF-8" standalone="yes"?>
<Relationships xmlns="http://schemas.openxmlformats.org/package/2006/relationships"><Relationship Id="rId8" Type="http://schemas.openxmlformats.org/officeDocument/2006/relationships/image" Target="../media/image94.svg"/><Relationship Id="rId3" Type="http://schemas.openxmlformats.org/officeDocument/2006/relationships/notesSlide" Target="../notesSlides/notesSlide21.xml"/><Relationship Id="rId7" Type="http://schemas.openxmlformats.org/officeDocument/2006/relationships/image" Target="../media/image93.svg"/><Relationship Id="rId2" Type="http://schemas.openxmlformats.org/officeDocument/2006/relationships/slideLayout" Target="../slideLayouts/slideLayout27.xml"/><Relationship Id="rId1" Type="http://schemas.openxmlformats.org/officeDocument/2006/relationships/tags" Target="../tags/tag45.xml"/><Relationship Id="rId6" Type="http://schemas.openxmlformats.org/officeDocument/2006/relationships/image" Target="../media/image57.svg"/><Relationship Id="rId5" Type="http://schemas.openxmlformats.org/officeDocument/2006/relationships/image" Target="../media/image56.emf"/><Relationship Id="rId4" Type="http://schemas.openxmlformats.org/officeDocument/2006/relationships/oleObject" Target="../embeddings/oleObject41.bin"/></Relationships>
</file>

<file path=ppt/slides/_rels/slide29.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notesSlide" Target="../notesSlides/notesSlide22.xml"/><Relationship Id="rId7" Type="http://schemas.openxmlformats.org/officeDocument/2006/relationships/image" Target="../media/image94.svg"/><Relationship Id="rId2" Type="http://schemas.openxmlformats.org/officeDocument/2006/relationships/slideLayout" Target="../slideLayouts/slideLayout277.xml"/><Relationship Id="rId1" Type="http://schemas.openxmlformats.org/officeDocument/2006/relationships/tags" Target="../tags/tag46.xml"/><Relationship Id="rId6" Type="http://schemas.openxmlformats.org/officeDocument/2006/relationships/image" Target="../media/image57.svg"/><Relationship Id="rId5" Type="http://schemas.openxmlformats.org/officeDocument/2006/relationships/image" Target="../media/image56.emf"/><Relationship Id="rId4" Type="http://schemas.openxmlformats.org/officeDocument/2006/relationships/oleObject" Target="../embeddings/oleObject4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20.xml"/><Relationship Id="rId6" Type="http://schemas.openxmlformats.org/officeDocument/2006/relationships/image" Target="../media/image10.emf"/><Relationship Id="rId5" Type="http://schemas.openxmlformats.org/officeDocument/2006/relationships/oleObject" Target="../embeddings/oleObject18.bin"/><Relationship Id="rId4" Type="http://schemas.openxmlformats.org/officeDocument/2006/relationships/image" Target="../media/image47.jpe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microsoft.com/office/2007/relationships/hdphoto" Target="../media/hdphoto1.wdp"/><Relationship Id="rId2" Type="http://schemas.openxmlformats.org/officeDocument/2006/relationships/slideLayout" Target="../slideLayouts/slideLayout277.xml"/><Relationship Id="rId1" Type="http://schemas.openxmlformats.org/officeDocument/2006/relationships/tags" Target="../tags/tag47.xml"/><Relationship Id="rId6" Type="http://schemas.openxmlformats.org/officeDocument/2006/relationships/image" Target="../media/image95.png"/><Relationship Id="rId5" Type="http://schemas.openxmlformats.org/officeDocument/2006/relationships/image" Target="../media/image56.emf"/><Relationship Id="rId4" Type="http://schemas.openxmlformats.org/officeDocument/2006/relationships/oleObject" Target="../embeddings/oleObject43.bin"/></Relationships>
</file>

<file path=ppt/slides/_rels/slide31.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image" Target="../media/image59.png"/><Relationship Id="rId5" Type="http://schemas.openxmlformats.org/officeDocument/2006/relationships/image" Target="../media/image10.emf"/><Relationship Id="rId4" Type="http://schemas.openxmlformats.org/officeDocument/2006/relationships/oleObject" Target="../embeddings/oleObject24.bin"/></Relationships>
</file>

<file path=ppt/slides/_rels/slide32.xml.rels><?xml version="1.0" encoding="UTF-8" standalone="yes"?>
<Relationships xmlns="http://schemas.openxmlformats.org/package/2006/relationships"><Relationship Id="rId8" Type="http://schemas.openxmlformats.org/officeDocument/2006/relationships/slideLayout" Target="../slideLayouts/slideLayout295.xml"/><Relationship Id="rId13" Type="http://schemas.openxmlformats.org/officeDocument/2006/relationships/chart" Target="../charts/chart1.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10.emf"/><Relationship Id="rId2" Type="http://schemas.openxmlformats.org/officeDocument/2006/relationships/tags" Target="../tags/tag50.xml"/><Relationship Id="rId16" Type="http://schemas.openxmlformats.org/officeDocument/2006/relationships/image" Target="../media/image99.svg"/><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oleObject" Target="../embeddings/oleObject44.bin"/><Relationship Id="rId5" Type="http://schemas.openxmlformats.org/officeDocument/2006/relationships/tags" Target="../tags/tag53.xml"/><Relationship Id="rId15" Type="http://schemas.openxmlformats.org/officeDocument/2006/relationships/image" Target="../media/image98.svg"/><Relationship Id="rId10" Type="http://schemas.openxmlformats.org/officeDocument/2006/relationships/image" Target="../media/image57.svg"/><Relationship Id="rId4" Type="http://schemas.openxmlformats.org/officeDocument/2006/relationships/tags" Target="../tags/tag52.xml"/><Relationship Id="rId9" Type="http://schemas.openxmlformats.org/officeDocument/2006/relationships/notesSlide" Target="../notesSlides/notesSlide24.xml"/><Relationship Id="rId14" Type="http://schemas.openxmlformats.org/officeDocument/2006/relationships/image" Target="../media/image97.sv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6.svg"/><Relationship Id="rId2" Type="http://schemas.openxmlformats.org/officeDocument/2006/relationships/slideLayout" Target="../slideLayouts/slideLayout181.xml"/><Relationship Id="rId1" Type="http://schemas.openxmlformats.org/officeDocument/2006/relationships/tags" Target="../tags/tag56.xml"/><Relationship Id="rId6" Type="http://schemas.openxmlformats.org/officeDocument/2006/relationships/image" Target="../media/image10.emf"/><Relationship Id="rId5" Type="http://schemas.openxmlformats.org/officeDocument/2006/relationships/oleObject" Target="../embeddings/oleObject45.bin"/><Relationship Id="rId4" Type="http://schemas.openxmlformats.org/officeDocument/2006/relationships/image" Target="../media/image100.png"/></Relationships>
</file>

<file path=ppt/slides/_rels/slide34.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101.png"/><Relationship Id="rId7" Type="http://schemas.openxmlformats.org/officeDocument/2006/relationships/image" Target="../media/image102.png"/><Relationship Id="rId2" Type="http://schemas.openxmlformats.org/officeDocument/2006/relationships/slideLayout" Target="../slideLayouts/slideLayout178.xml"/><Relationship Id="rId1" Type="http://schemas.openxmlformats.org/officeDocument/2006/relationships/tags" Target="../tags/tag57.xml"/><Relationship Id="rId6" Type="http://schemas.openxmlformats.org/officeDocument/2006/relationships/image" Target="../media/image64.svg"/><Relationship Id="rId5" Type="http://schemas.openxmlformats.org/officeDocument/2006/relationships/image" Target="../media/image10.emf"/><Relationship Id="rId4" Type="http://schemas.openxmlformats.org/officeDocument/2006/relationships/oleObject" Target="../embeddings/oleObject46.bin"/></Relationships>
</file>

<file path=ppt/slides/_rels/slide35.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slideLayout" Target="../slideLayouts/slideLayout158.xml"/><Relationship Id="rId1" Type="http://schemas.openxmlformats.org/officeDocument/2006/relationships/tags" Target="../tags/tag58.xml"/><Relationship Id="rId6" Type="http://schemas.openxmlformats.org/officeDocument/2006/relationships/image" Target="../media/image59.png"/><Relationship Id="rId5" Type="http://schemas.openxmlformats.org/officeDocument/2006/relationships/image" Target="../media/image10.emf"/><Relationship Id="rId4" Type="http://schemas.openxmlformats.org/officeDocument/2006/relationships/oleObject" Target="../embeddings/oleObject47.bin"/></Relationships>
</file>

<file path=ppt/slides/_rels/slide36.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18.emf"/><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oleObject" Target="../embeddings/oleObject48.bin"/><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notesSlide" Target="../notesSlides/notesSlide26.xml"/><Relationship Id="rId5" Type="http://schemas.openxmlformats.org/officeDocument/2006/relationships/tags" Target="../tags/tag63.xml"/><Relationship Id="rId15" Type="http://schemas.openxmlformats.org/officeDocument/2006/relationships/chart" Target="../charts/chart3.xml"/><Relationship Id="rId10" Type="http://schemas.openxmlformats.org/officeDocument/2006/relationships/slideLayout" Target="../slideLayouts/slideLayout109.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chart" Target="../charts/chart2.xml"/></Relationships>
</file>

<file path=ppt/slides/_rels/slide37.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notesSlide" Target="../notesSlides/notesSlide27.xml"/><Relationship Id="rId3" Type="http://schemas.openxmlformats.org/officeDocument/2006/relationships/tags" Target="../tags/tag70.xml"/><Relationship Id="rId21" Type="http://schemas.openxmlformats.org/officeDocument/2006/relationships/chart" Target="../charts/chart4.xml"/><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slideLayout" Target="../slideLayouts/slideLayout109.xml"/><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image" Target="../media/image18.emf"/><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tags" Target="../tags/tag78.xml"/><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chart" Target="../charts/chart6.xml"/><Relationship Id="rId10" Type="http://schemas.openxmlformats.org/officeDocument/2006/relationships/tags" Target="../tags/tag77.xml"/><Relationship Id="rId19" Type="http://schemas.openxmlformats.org/officeDocument/2006/relationships/oleObject" Target="../embeddings/oleObject49.bin"/><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chart" Target="../charts/chart5.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8.xml"/><Relationship Id="rId1" Type="http://schemas.openxmlformats.org/officeDocument/2006/relationships/tags" Target="../tags/tag84.xml"/><Relationship Id="rId5" Type="http://schemas.openxmlformats.org/officeDocument/2006/relationships/image" Target="../media/image18.emf"/><Relationship Id="rId4" Type="http://schemas.openxmlformats.org/officeDocument/2006/relationships/oleObject" Target="../embeddings/oleObject50.bin"/></Relationships>
</file>

<file path=ppt/slides/_rels/slide39.xml.rels><?xml version="1.0" encoding="UTF-8" standalone="yes"?>
<Relationships xmlns="http://schemas.openxmlformats.org/package/2006/relationships"><Relationship Id="rId3" Type="http://schemas.openxmlformats.org/officeDocument/2006/relationships/image" Target="../media/image106.svg"/><Relationship Id="rId2" Type="http://schemas.openxmlformats.org/officeDocument/2006/relationships/image" Target="../media/image105.jpe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81.xml"/><Relationship Id="rId1" Type="http://schemas.openxmlformats.org/officeDocument/2006/relationships/tags" Target="../tags/tag21.xml"/><Relationship Id="rId6" Type="http://schemas.openxmlformats.org/officeDocument/2006/relationships/image" Target="../media/image48.svg"/><Relationship Id="rId5" Type="http://schemas.openxmlformats.org/officeDocument/2006/relationships/image" Target="../media/image18.emf"/><Relationship Id="rId4" Type="http://schemas.openxmlformats.org/officeDocument/2006/relationships/oleObject" Target="../embeddings/oleObject19.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7.xml"/><Relationship Id="rId1" Type="http://schemas.openxmlformats.org/officeDocument/2006/relationships/tags" Target="../tags/tag85.xml"/><Relationship Id="rId6" Type="http://schemas.openxmlformats.org/officeDocument/2006/relationships/image" Target="../media/image75.svg"/><Relationship Id="rId5" Type="http://schemas.openxmlformats.org/officeDocument/2006/relationships/image" Target="../media/image18.emf"/><Relationship Id="rId4" Type="http://schemas.openxmlformats.org/officeDocument/2006/relationships/oleObject" Target="../embeddings/oleObject3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8.xml"/><Relationship Id="rId1" Type="http://schemas.openxmlformats.org/officeDocument/2006/relationships/tags" Target="../tags/tag22.x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6.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notesSlide" Target="../notesSlides/notesSlide5.xml"/><Relationship Id="rId7" Type="http://schemas.openxmlformats.org/officeDocument/2006/relationships/image" Target="../media/image50.jpeg"/><Relationship Id="rId12" Type="http://schemas.openxmlformats.org/officeDocument/2006/relationships/image" Target="../media/image55.jpeg"/><Relationship Id="rId2" Type="http://schemas.openxmlformats.org/officeDocument/2006/relationships/slideLayout" Target="../slideLayouts/slideLayout213.xml"/><Relationship Id="rId1" Type="http://schemas.openxmlformats.org/officeDocument/2006/relationships/tags" Target="../tags/tag23.xml"/><Relationship Id="rId6" Type="http://schemas.openxmlformats.org/officeDocument/2006/relationships/image" Target="../media/image49.jpeg"/><Relationship Id="rId11" Type="http://schemas.openxmlformats.org/officeDocument/2006/relationships/image" Target="../media/image54.jpeg"/><Relationship Id="rId5" Type="http://schemas.openxmlformats.org/officeDocument/2006/relationships/image" Target="../media/image30.emf"/><Relationship Id="rId10" Type="http://schemas.openxmlformats.org/officeDocument/2006/relationships/image" Target="../media/image53.jpeg"/><Relationship Id="rId4" Type="http://schemas.openxmlformats.org/officeDocument/2006/relationships/oleObject" Target="../embeddings/oleObject21.bin"/><Relationship Id="rId9" Type="http://schemas.openxmlformats.org/officeDocument/2006/relationships/image" Target="../media/image52.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58.svg"/><Relationship Id="rId2" Type="http://schemas.openxmlformats.org/officeDocument/2006/relationships/slideLayout" Target="../slideLayouts/slideLayout266.xml"/><Relationship Id="rId1" Type="http://schemas.openxmlformats.org/officeDocument/2006/relationships/tags" Target="../tags/tag24.xml"/><Relationship Id="rId6" Type="http://schemas.openxmlformats.org/officeDocument/2006/relationships/image" Target="../media/image57.svg"/><Relationship Id="rId5" Type="http://schemas.openxmlformats.org/officeDocument/2006/relationships/image" Target="../media/image56.emf"/><Relationship Id="rId4" Type="http://schemas.openxmlformats.org/officeDocument/2006/relationships/oleObject" Target="../embeddings/oleObject2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92.xml"/><Relationship Id="rId1" Type="http://schemas.openxmlformats.org/officeDocument/2006/relationships/tags" Target="../tags/tag25.xml"/><Relationship Id="rId6" Type="http://schemas.openxmlformats.org/officeDocument/2006/relationships/image" Target="../media/image59.png"/><Relationship Id="rId5" Type="http://schemas.openxmlformats.org/officeDocument/2006/relationships/image" Target="../media/image24.emf"/><Relationship Id="rId4" Type="http://schemas.openxmlformats.org/officeDocument/2006/relationships/oleObject" Target="../embeddings/oleObject23.bin"/></Relationships>
</file>

<file path=ppt/slides/_rels/slide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59.png"/><Relationship Id="rId5" Type="http://schemas.openxmlformats.org/officeDocument/2006/relationships/image" Target="../media/image10.emf"/><Relationship Id="rId4" Type="http://schemas.openxmlformats.org/officeDocument/2006/relationships/oleObject" Target="../embeddings/oleObject2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in white lab coat and gloves holding a pipette&#10;&#10;AI-generated content may be incorrect.">
            <a:extLst>
              <a:ext uri="{FF2B5EF4-FFF2-40B4-BE49-F238E27FC236}">
                <a16:creationId xmlns:a16="http://schemas.microsoft.com/office/drawing/2014/main" id="{DBAB02F3-CC73-CE5D-E099-1BDEB154CA66}"/>
              </a:ext>
            </a:extLst>
          </p:cNvPr>
          <p:cNvPicPr>
            <a:picLocks noChangeAspect="1"/>
          </p:cNvPicPr>
          <p:nvPr/>
        </p:nvPicPr>
        <p:blipFill>
          <a:blip r:embed="rId4">
            <a:extLst>
              <a:ext uri="{28A0092B-C50C-407E-A947-70E740481C1C}">
                <a14:useLocalDpi xmlns:a14="http://schemas.microsoft.com/office/drawing/2010/main" val="0"/>
              </a:ext>
            </a:extLst>
          </a:blip>
          <a:srcRect l="705" t="2915" b="13465"/>
          <a:stretch>
            <a:fillRect/>
          </a:stretch>
        </p:blipFill>
        <p:spPr>
          <a:xfrm>
            <a:off x="0" y="-1"/>
            <a:ext cx="12215310" cy="6858001"/>
          </a:xfrm>
          <a:prstGeom prst="rect">
            <a:avLst/>
          </a:prstGeom>
        </p:spPr>
      </p:pic>
      <p:sp>
        <p:nvSpPr>
          <p:cNvPr id="13" name="Rectangle 12">
            <a:extLst>
              <a:ext uri="{FF2B5EF4-FFF2-40B4-BE49-F238E27FC236}">
                <a16:creationId xmlns:a16="http://schemas.microsoft.com/office/drawing/2014/main" id="{838D757B-490B-CC3E-F8DB-DC9C56565FF7}"/>
              </a:ext>
            </a:extLst>
          </p:cNvPr>
          <p:cNvSpPr/>
          <p:nvPr/>
        </p:nvSpPr>
        <p:spPr>
          <a:xfrm>
            <a:off x="-10862" y="340897"/>
            <a:ext cx="12226171" cy="6517103"/>
          </a:xfrm>
          <a:prstGeom prst="rect">
            <a:avLst/>
          </a:prstGeom>
          <a:gradFill flip="none" rotWithShape="1">
            <a:gsLst>
              <a:gs pos="2000">
                <a:schemeClr val="tx2">
                  <a:lumMod val="0"/>
                  <a:lumOff val="100000"/>
                </a:schemeClr>
              </a:gs>
              <a:gs pos="29000">
                <a:schemeClr val="accent4">
                  <a:alpha val="0"/>
                  <a:lumMod val="0"/>
                  <a:lumOff val="100000"/>
                </a:scheme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6209FBBF-5C40-16B3-0FEB-99D5846BD431}"/>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10084185" y="5570805"/>
            <a:ext cx="1853582" cy="1128085"/>
          </a:xfrm>
          <a:prstGeom prst="rect">
            <a:avLst/>
          </a:prstGeom>
        </p:spPr>
      </p:pic>
      <p:graphicFrame>
        <p:nvGraphicFramePr>
          <p:cNvPr id="6" name="Object 5" hidden="1">
            <a:extLst>
              <a:ext uri="{FF2B5EF4-FFF2-40B4-BE49-F238E27FC236}">
                <a16:creationId xmlns:a16="http://schemas.microsoft.com/office/drawing/2014/main" id="{F6266A4C-8DE4-6FB2-204F-E1BDB149FFF9}"/>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6" name="Object 5" hidden="1">
                        <a:extLst>
                          <a:ext uri="{FF2B5EF4-FFF2-40B4-BE49-F238E27FC236}">
                            <a16:creationId xmlns:a16="http://schemas.microsoft.com/office/drawing/2014/main" id="{F6266A4C-8DE4-6FB2-204F-E1BDB149FFF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6" name="Title 1">
            <a:extLst>
              <a:ext uri="{FF2B5EF4-FFF2-40B4-BE49-F238E27FC236}">
                <a16:creationId xmlns:a16="http://schemas.microsoft.com/office/drawing/2014/main" id="{8AE81C7E-8578-2DCE-FA67-011BEB3E1044}"/>
              </a:ext>
            </a:extLst>
          </p:cNvPr>
          <p:cNvSpPr>
            <a:spLocks noGrp="1"/>
          </p:cNvSpPr>
          <p:nvPr>
            <p:ph type="title"/>
          </p:nvPr>
        </p:nvSpPr>
        <p:spPr>
          <a:xfrm>
            <a:off x="480335" y="2220695"/>
            <a:ext cx="10699441" cy="1002023"/>
          </a:xfrm>
          <a:prstGeom prst="rect">
            <a:avLst/>
          </a:prstGeom>
        </p:spPr>
        <p:txBody>
          <a:bodyPr vert="horz" lIns="0" tIns="0" rIns="0" bIns="0"/>
          <a:lstStyle>
            <a:lvl1pPr>
              <a:defRPr sz="4000" b="1" i="0">
                <a:solidFill>
                  <a:schemeClr val="bg1"/>
                </a:solidFill>
                <a:latin typeface="Avenir Next LT Pro" panose="020B0504020202020204" pitchFamily="34" charset="77"/>
              </a:defRPr>
            </a:lvl1pPr>
          </a:lstStyle>
          <a:p>
            <a:pPr>
              <a:spcAft>
                <a:spcPts val="600"/>
              </a:spcAft>
            </a:pPr>
            <a:r>
              <a:rPr lang="en-US" sz="7600" spc="80" dirty="0">
                <a:solidFill>
                  <a:schemeClr val="tx1"/>
                </a:solidFill>
              </a:rPr>
              <a:t>Investor presentation</a:t>
            </a:r>
          </a:p>
        </p:txBody>
      </p:sp>
      <p:sp>
        <p:nvSpPr>
          <p:cNvPr id="34" name="Text Placeholder 9">
            <a:extLst>
              <a:ext uri="{FF2B5EF4-FFF2-40B4-BE49-F238E27FC236}">
                <a16:creationId xmlns:a16="http://schemas.microsoft.com/office/drawing/2014/main" id="{696CE429-F874-A319-1BFE-F861C5A422F8}"/>
              </a:ext>
            </a:extLst>
          </p:cNvPr>
          <p:cNvSpPr>
            <a:spLocks noGrp="1"/>
          </p:cNvSpPr>
          <p:nvPr>
            <p:ph type="body" sz="quarter" idx="12" hasCustomPrompt="1"/>
          </p:nvPr>
        </p:nvSpPr>
        <p:spPr>
          <a:xfrm>
            <a:off x="480335" y="3206188"/>
            <a:ext cx="4897401" cy="205184"/>
          </a:xfrm>
          <a:prstGeom prst="rect">
            <a:avLst/>
          </a:prstGeom>
        </p:spPr>
        <p:txBody>
          <a:bodyPr wrap="square" lIns="0" tIns="0" rIns="0" bIns="0">
            <a:spAutoFit/>
          </a:bodyPr>
          <a:lstStyle>
            <a:lvl1pPr marL="0" indent="0" algn="l">
              <a:lnSpc>
                <a:spcPts val="1600"/>
              </a:lnSpc>
              <a:spcBef>
                <a:spcPts val="0"/>
              </a:spcBef>
              <a:buNone/>
              <a:defRPr sz="1600" b="0" i="0" cap="none" spc="0" baseline="0">
                <a:solidFill>
                  <a:schemeClr val="bg1"/>
                </a:solidFill>
                <a:latin typeface="Avenir Next LT Pro" panose="020B0504020202020204" pitchFamily="34" charset="77"/>
                <a:ea typeface="Avenir Next LT Pro" panose="020B0504020202020204" pitchFamily="34" charset="77"/>
                <a:cs typeface="Open Sans" panose="020B0606030504020204" pitchFamily="34" charset="0"/>
              </a:defRPr>
            </a:lvl1pPr>
          </a:lstStyle>
          <a:p>
            <a:pPr>
              <a:spcAft>
                <a:spcPts val="600"/>
              </a:spcAft>
            </a:pPr>
            <a:r>
              <a:rPr lang="en-GB" spc="50" dirty="0">
                <a:solidFill>
                  <a:schemeClr val="tx1"/>
                </a:solidFill>
                <a:latin typeface="Avenir Next LT Pro Demi" panose="020B0504020202020204" pitchFamily="34" charset="77"/>
              </a:rPr>
              <a:t>May 202</a:t>
            </a:r>
            <a:r>
              <a:rPr lang="en-DK" spc="50" dirty="0">
                <a:solidFill>
                  <a:schemeClr val="tx1"/>
                </a:solidFill>
                <a:latin typeface="Avenir Next LT Pro Demi" panose="020B0504020202020204" pitchFamily="34" charset="77"/>
              </a:rPr>
              <a:t>6</a:t>
            </a:r>
            <a:endParaRPr lang="en-GB" spc="50" dirty="0">
              <a:solidFill>
                <a:schemeClr val="tx1"/>
              </a:solidFill>
              <a:latin typeface="Avenir Next LT Pro Demi" panose="020B0504020202020204" pitchFamily="34" charset="77"/>
            </a:endParaRPr>
          </a:p>
        </p:txBody>
      </p:sp>
      <p:sp>
        <p:nvSpPr>
          <p:cNvPr id="18" name="Rectangle 17">
            <a:extLst>
              <a:ext uri="{FF2B5EF4-FFF2-40B4-BE49-F238E27FC236}">
                <a16:creationId xmlns:a16="http://schemas.microsoft.com/office/drawing/2014/main" id="{24480131-D5B5-58F7-1C2A-961D8F768593}"/>
              </a:ext>
            </a:extLst>
          </p:cNvPr>
          <p:cNvSpPr/>
          <p:nvPr/>
        </p:nvSpPr>
        <p:spPr>
          <a:xfrm>
            <a:off x="7807569" y="340897"/>
            <a:ext cx="4062462" cy="345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rPr>
              <a:t>Share ticker</a:t>
            </a:r>
            <a:r>
              <a:rPr kumimoji="0" lang="en-US" sz="1100" b="0" i="0" u="none" strike="noStrike" kern="1200" cap="none" spc="0" normalizeH="0" baseline="0" noProof="0">
                <a:ln>
                  <a:noFill/>
                </a:ln>
                <a:solidFill>
                  <a:srgbClr val="001965"/>
                </a:solidFill>
                <a:effectLst/>
                <a:uLnTx/>
                <a:uFillTx/>
                <a:latin typeface="Avenir Next LT Pro" panose="020B0504020202020204" pitchFamily="34" charset="0"/>
                <a:ea typeface="+mn-ea"/>
                <a:cs typeface="+mn-cs"/>
              </a:rPr>
              <a:t>: G</a:t>
            </a:r>
            <a:r>
              <a:rPr kumimoji="0" lang="en-US" sz="1100" b="0" i="0" u="none" strike="noStrike" kern="1200" cap="none" spc="0" normalizeH="0" baseline="0" noProof="0" err="1">
                <a:ln>
                  <a:noFill/>
                </a:ln>
                <a:solidFill>
                  <a:srgbClr val="001965"/>
                </a:solidFill>
                <a:effectLst/>
                <a:uLnTx/>
                <a:uFillTx/>
                <a:latin typeface="Avenir Next LT Pro" panose="020B0504020202020204" pitchFamily="34" charset="0"/>
                <a:ea typeface="+mn-ea"/>
                <a:cs typeface="+mn-cs"/>
              </a:rPr>
              <a:t>ubra</a:t>
            </a:r>
            <a:r>
              <a:rPr kumimoji="0" lang="en-US" sz="1100" b="0" i="0" u="none" strike="noStrike" kern="1200" cap="none" spc="0" normalizeH="0" baseline="0" noProof="0">
                <a:ln>
                  <a:noFill/>
                </a:ln>
                <a:solidFill>
                  <a:srgbClr val="001965"/>
                </a:solidFill>
                <a:effectLst/>
                <a:uLnTx/>
                <a:uFillTx/>
                <a:latin typeface="Avenir Next LT Pro" panose="020B0504020202020204" pitchFamily="34" charset="0"/>
                <a:ea typeface="+mn-ea"/>
                <a:cs typeface="+mn-cs"/>
              </a:rPr>
              <a:t>   l   N</a:t>
            </a:r>
            <a:r>
              <a:rPr kumimoji="0" lang="en-US" sz="1100" b="0" i="0" u="none" strike="noStrike" kern="1200" cap="none" spc="0" normalizeH="0" baseline="0" noProof="0" err="1">
                <a:ln>
                  <a:noFill/>
                </a:ln>
                <a:solidFill>
                  <a:srgbClr val="001965"/>
                </a:solidFill>
                <a:effectLst/>
                <a:uLnTx/>
                <a:uFillTx/>
                <a:latin typeface="Avenir Next LT Pro" panose="020B0504020202020204" pitchFamily="34" charset="0"/>
                <a:ea typeface="+mn-ea"/>
                <a:cs typeface="+mn-cs"/>
              </a:rPr>
              <a:t>asdaq</a:t>
            </a:r>
            <a:r>
              <a:rPr kumimoji="0" lang="en-US" sz="1100" b="0" i="0" u="none" strike="noStrike" kern="1200" cap="none" spc="0" normalizeH="0" baseline="0" noProof="0">
                <a:ln>
                  <a:noFill/>
                </a:ln>
                <a:solidFill>
                  <a:srgbClr val="001965"/>
                </a:solidFill>
                <a:effectLst/>
                <a:uLnTx/>
                <a:uFillTx/>
                <a:latin typeface="Avenir Next LT Pro" panose="020B0504020202020204" pitchFamily="34" charset="0"/>
                <a:ea typeface="+mn-ea"/>
                <a:cs typeface="+mn-cs"/>
              </a:rPr>
              <a:t> C</a:t>
            </a:r>
            <a:r>
              <a:rPr kumimoji="0" lang="en-US" sz="1100" b="0" i="0" u="none" strike="noStrike" kern="1200" cap="none" spc="0" normalizeH="0" baseline="0" noProof="0" err="1">
                <a:ln>
                  <a:noFill/>
                </a:ln>
                <a:solidFill>
                  <a:srgbClr val="001965"/>
                </a:solidFill>
                <a:effectLst/>
                <a:uLnTx/>
                <a:uFillTx/>
                <a:latin typeface="Avenir Next LT Pro" panose="020B0504020202020204" pitchFamily="34" charset="0"/>
                <a:ea typeface="+mn-ea"/>
                <a:cs typeface="+mn-cs"/>
              </a:rPr>
              <a:t>openhagen</a:t>
            </a:r>
            <a:endParaRPr kumimoji="0" lang="en-US" sz="1100" b="0" i="0" u="none" strike="noStrike" kern="1200" cap="none" spc="0" normalizeH="0" baseline="0" noProof="0">
              <a:ln>
                <a:noFill/>
              </a:ln>
              <a:solidFill>
                <a:srgbClr val="001965"/>
              </a:solidFill>
              <a:effectLst/>
              <a:uLnTx/>
              <a:uFillTx/>
              <a:latin typeface="Avenir Next LT Pro" panose="020B0504020202020204" pitchFamily="34" charset="0"/>
              <a:ea typeface="+mn-ea"/>
              <a:cs typeface="+mn-cs"/>
            </a:endParaRPr>
          </a:p>
        </p:txBody>
      </p:sp>
    </p:spTree>
    <p:extLst>
      <p:ext uri="{BB962C8B-B14F-4D97-AF65-F5344CB8AC3E}">
        <p14:creationId xmlns:p14="http://schemas.microsoft.com/office/powerpoint/2010/main" val="30524903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78C3E25-6757-F8A9-FB70-F5BACB13EE91}"/>
              </a:ext>
            </a:extLst>
          </p:cNvPr>
          <p:cNvSpPr/>
          <p:nvPr/>
        </p:nvSpPr>
        <p:spPr>
          <a:xfrm>
            <a:off x="8982159" y="1465118"/>
            <a:ext cx="3211429" cy="5476008"/>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9" name="think-cell data - do not delete" hidden="1">
            <a:extLst>
              <a:ext uri="{FF2B5EF4-FFF2-40B4-BE49-F238E27FC236}">
                <a16:creationId xmlns:a16="http://schemas.microsoft.com/office/drawing/2014/main" id="{E28392A0-33FB-10A3-4ABF-0108A2C47E5D}"/>
              </a:ext>
            </a:extLst>
          </p:cNvPr>
          <p:cNvGraphicFramePr>
            <a:graphicFrameLocks/>
          </p:cNvGraphicFramePr>
          <p:nvPr>
            <p:custDataLst>
              <p:tags r:id="rId1"/>
            </p:custDataLst>
            <p:extLst>
              <p:ext uri="{D42A27DB-BD31-4B8C-83A1-F6EECF244321}">
                <p14:modId xmlns:p14="http://schemas.microsoft.com/office/powerpoint/2010/main" val="2229106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think-cell data - do not delete" hidden="1">
                        <a:extLst>
                          <a:ext uri="{FF2B5EF4-FFF2-40B4-BE49-F238E27FC236}">
                            <a16:creationId xmlns:a16="http://schemas.microsoft.com/office/drawing/2014/main" id="{E28392A0-33FB-10A3-4ABF-0108A2C47E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0F9588-771D-5CE2-8A47-A62F345BA92A}"/>
              </a:ext>
            </a:extLst>
          </p:cNvPr>
          <p:cNvSpPr>
            <a:spLocks noGrp="1"/>
          </p:cNvSpPr>
          <p:nvPr>
            <p:ph type="title"/>
          </p:nvPr>
        </p:nvSpPr>
        <p:spPr>
          <a:xfrm>
            <a:off x="565459" y="552715"/>
            <a:ext cx="10017711" cy="720197"/>
          </a:xfrm>
        </p:spPr>
        <p:txBody>
          <a:bodyPr vert="horz"/>
          <a:lstStyle/>
          <a:p>
            <a:r>
              <a:rPr lang="en-US"/>
              <a:t>Our AI-driven peptide discovery platform </a:t>
            </a:r>
            <a:r>
              <a:rPr lang="en-US" err="1"/>
              <a:t>StreaMLine</a:t>
            </a:r>
            <a:r>
              <a:rPr lang="en-US"/>
              <a:t> enables rapid identification of novel peptide candidates</a:t>
            </a:r>
            <a:endParaRPr lang="en-US">
              <a:solidFill>
                <a:srgbClr val="001965"/>
              </a:solidFill>
              <a:latin typeface="Avenir Next LT Pro"/>
            </a:endParaRPr>
          </a:p>
        </p:txBody>
      </p:sp>
      <p:sp>
        <p:nvSpPr>
          <p:cNvPr id="6" name="Rectangle 5">
            <a:extLst>
              <a:ext uri="{FF2B5EF4-FFF2-40B4-BE49-F238E27FC236}">
                <a16:creationId xmlns:a16="http://schemas.microsoft.com/office/drawing/2014/main" id="{AA123F78-9FC9-383A-811F-DEC8A70199D3}"/>
              </a:ext>
            </a:extLst>
          </p:cNvPr>
          <p:cNvSpPr/>
          <p:nvPr/>
        </p:nvSpPr>
        <p:spPr>
          <a:xfrm>
            <a:off x="9047747" y="2425613"/>
            <a:ext cx="2916000" cy="35116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288000" rIns="144000" bIns="288000" rtlCol="0" anchor="t"/>
          <a:lstStyle/>
          <a:p>
            <a:pPr marL="213360" marR="0" lvl="0" indent="-213360" algn="l" defTabSz="889000" rtl="0" eaLnBrk="1" fontAlgn="auto" latinLnBrk="0" hangingPunct="1">
              <a:lnSpc>
                <a:spcPct val="100000"/>
              </a:lnSpc>
              <a:spcBef>
                <a:spcPts val="0"/>
              </a:spcBef>
              <a:spcAft>
                <a:spcPts val="1200"/>
              </a:spcAft>
              <a:buClrTx/>
              <a:buSzTx/>
              <a:buFont typeface="System Font Regular"/>
              <a:buChar char="+"/>
              <a:tabLst/>
              <a:defRPr/>
            </a:pP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AI-driven design </a:t>
            </a:r>
            <a:r>
              <a:rPr kumimoji="0" lang="en-DK" sz="1200" b="0" i="0" u="none" strike="noStrike" kern="1200" cap="none" spc="0" normalizeH="0" baseline="0" noProof="0">
                <a:ln>
                  <a:noFill/>
                </a:ln>
                <a:solidFill>
                  <a:srgbClr val="FFFFFF"/>
                </a:solidFill>
                <a:effectLst/>
                <a:uLnTx/>
                <a:uFillTx/>
                <a:latin typeface="Avenir Next LT Pro"/>
                <a:ea typeface="+mn-ea"/>
                <a:cs typeface="+mn-cs"/>
              </a:rPr>
              <a:t>combined with high-throughput </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wet lab screening</a:t>
            </a:r>
          </a:p>
          <a:p>
            <a:pPr marL="213360" marR="0" lvl="0" indent="-213360" algn="l" defTabSz="889000" rtl="0" eaLnBrk="1" fontAlgn="auto" latinLnBrk="0" hangingPunct="1">
              <a:lnSpc>
                <a:spcPct val="100000"/>
              </a:lnSpc>
              <a:spcBef>
                <a:spcPts val="0"/>
              </a:spcBef>
              <a:spcAft>
                <a:spcPts val="1200"/>
              </a:spcAft>
              <a:buClrTx/>
              <a:buSzTx/>
              <a:buFont typeface="System Font Regular"/>
              <a:buChar char="+"/>
              <a:tabLst/>
              <a:defRPr/>
            </a:pPr>
            <a:r>
              <a:rPr kumimoji="0" lang="en-DK" sz="1200" b="0" i="0" u="none" strike="noStrike" kern="1200" cap="none" spc="0" normalizeH="0" baseline="0" noProof="0">
                <a:ln>
                  <a:noFill/>
                </a:ln>
                <a:solidFill>
                  <a:srgbClr val="FFFFFF"/>
                </a:solidFill>
                <a:effectLst/>
                <a:uLnTx/>
                <a:uFillTx/>
                <a:latin typeface="Avenir Next LT Pro"/>
                <a:ea typeface="+mn-ea"/>
                <a:cs typeface="+mn-cs"/>
              </a:rPr>
              <a:t>H</a:t>
            </a:r>
            <a:r>
              <a:rPr kumimoji="0" lang="en-GB" sz="1200" b="0" i="0" u="none" strike="noStrike" kern="1200" cap="none" spc="0" normalizeH="0" baseline="0" noProof="0">
                <a:ln>
                  <a:noFill/>
                </a:ln>
                <a:solidFill>
                  <a:srgbClr val="FFFFFF"/>
                </a:solidFill>
                <a:effectLst/>
                <a:uLnTx/>
                <a:uFillTx/>
                <a:latin typeface="Avenir Next LT Pro"/>
                <a:ea typeface="+mn-ea"/>
                <a:cs typeface="+mn-cs"/>
              </a:rPr>
              <a:t>it to Development Candidate </a:t>
            </a:r>
            <a:br>
              <a:rPr kumimoji="0" lang="en-DK" sz="1200" b="0" i="0" u="none" strike="noStrike" kern="1200" cap="none" spc="0" normalizeH="0" baseline="0" noProof="0">
                <a:ln>
                  <a:noFill/>
                </a:ln>
                <a:solidFill>
                  <a:srgbClr val="FFFFFF"/>
                </a:solidFill>
                <a:effectLst/>
                <a:uLnTx/>
                <a:uFillTx/>
                <a:latin typeface="Avenir Next LT Pro"/>
                <a:ea typeface="+mn-ea"/>
                <a:cs typeface="+mn-cs"/>
              </a:rPr>
            </a:br>
            <a:r>
              <a:rPr kumimoji="0" lang="en-GB"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lt; 1.5 year</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s</a:t>
            </a:r>
            <a:endParaRPr kumimoji="0" lang="en-GB"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a:p>
            <a:pPr marL="213360" marR="0" lvl="0" indent="-213360" algn="l" defTabSz="889000" rtl="0" eaLnBrk="1" fontAlgn="auto" latinLnBrk="0" hangingPunct="1">
              <a:lnSpc>
                <a:spcPct val="100000"/>
              </a:lnSpc>
              <a:spcBef>
                <a:spcPts val="0"/>
              </a:spcBef>
              <a:spcAft>
                <a:spcPts val="1200"/>
              </a:spcAft>
              <a:buClrTx/>
              <a:buSzTx/>
              <a:buFont typeface="System Font Regular"/>
              <a:buChar char="+"/>
              <a:tabLst/>
              <a:defRPr/>
            </a:pP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High novelty </a:t>
            </a:r>
            <a:r>
              <a:rPr kumimoji="0" lang="en-DK" sz="1200" b="0" i="0" u="none" strike="noStrike" kern="1200" cap="none" spc="0" normalizeH="0" baseline="0" noProof="0">
                <a:ln>
                  <a:noFill/>
                </a:ln>
                <a:solidFill>
                  <a:srgbClr val="FFFFFF"/>
                </a:solidFill>
                <a:effectLst/>
                <a:uLnTx/>
                <a:uFillTx/>
                <a:latin typeface="Avenir Next LT Pro"/>
                <a:ea typeface="+mn-ea"/>
                <a:cs typeface="+mn-cs"/>
              </a:rPr>
              <a:t>and patentability of Development Candidates</a:t>
            </a:r>
          </a:p>
          <a:p>
            <a:pPr marL="213360" marR="0" lvl="0" indent="-213360" algn="l" defTabSz="889000" rtl="0" eaLnBrk="1" fontAlgn="auto" latinLnBrk="0" hangingPunct="1">
              <a:lnSpc>
                <a:spcPct val="100000"/>
              </a:lnSpc>
              <a:spcBef>
                <a:spcPts val="0"/>
              </a:spcBef>
              <a:spcAft>
                <a:spcPts val="1200"/>
              </a:spcAft>
              <a:buClrTx/>
              <a:buSzTx/>
              <a:buFont typeface="System Font Regular"/>
              <a:buChar char="+"/>
              <a:tabLst/>
              <a:defRPr/>
            </a:pPr>
            <a:r>
              <a:rPr kumimoji="0" lang="en-GB" sz="1200" b="0" i="0" u="none" strike="noStrike" kern="1200" cap="none" spc="0" normalizeH="0" baseline="0" noProof="0">
                <a:ln>
                  <a:noFill/>
                </a:ln>
                <a:solidFill>
                  <a:srgbClr val="FFFFFF"/>
                </a:solidFill>
                <a:effectLst/>
                <a:uLnTx/>
                <a:uFillTx/>
                <a:latin typeface="Avenir Next LT Pro"/>
                <a:ea typeface="+mn-ea"/>
                <a:cs typeface="+mn-cs"/>
              </a:rPr>
              <a:t>P</a:t>
            </a:r>
            <a:r>
              <a:rPr kumimoji="0" lang="en-DK" sz="1200" b="0" i="0" u="none" strike="noStrike" kern="1200" cap="none" spc="0" normalizeH="0" baseline="0" noProof="0" err="1">
                <a:ln>
                  <a:noFill/>
                </a:ln>
                <a:solidFill>
                  <a:srgbClr val="FFFFFF"/>
                </a:solidFill>
                <a:effectLst/>
                <a:uLnTx/>
                <a:uFillTx/>
                <a:latin typeface="Avenir Next LT Pro"/>
                <a:ea typeface="+mn-ea"/>
                <a:cs typeface="+mn-cs"/>
              </a:rPr>
              <a:t>eptides</a:t>
            </a:r>
            <a:r>
              <a:rPr kumimoji="0" lang="en-DK" sz="1200" b="0" i="0" u="none" strike="noStrike" kern="1200" cap="none" spc="0" normalizeH="0" baseline="0" noProof="0">
                <a:ln>
                  <a:noFill/>
                </a:ln>
                <a:solidFill>
                  <a:srgbClr val="FFFFFF"/>
                </a:solidFill>
                <a:effectLst/>
                <a:uLnTx/>
                <a:uFillTx/>
                <a:latin typeface="Avenir Next LT Pro"/>
                <a:ea typeface="+mn-ea"/>
                <a:cs typeface="+mn-cs"/>
              </a:rPr>
              <a:t> optimized based on </a:t>
            </a:r>
            <a:r>
              <a:rPr kumimoji="0" lang="en-GB"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efficacy</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a:t>
            </a:r>
            <a:r>
              <a:rPr kumimoji="0" lang="en-GB"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Pharmacokinetics</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a:t>
            </a:r>
            <a:r>
              <a:rPr kumimoji="0" lang="en-GB"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selectivity, </a:t>
            </a:r>
            <a:r>
              <a:rPr kumimoji="0" lang="en-GB"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stability</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and </a:t>
            </a:r>
            <a:r>
              <a:rPr kumimoji="0" lang="en-GB"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solubility</a:t>
            </a:r>
            <a:endPar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a:p>
            <a:pPr marL="213360" marR="0" lvl="0" indent="-213360" algn="l" defTabSz="889000" rtl="0" eaLnBrk="1" fontAlgn="auto" latinLnBrk="0" hangingPunct="1">
              <a:lnSpc>
                <a:spcPct val="100000"/>
              </a:lnSpc>
              <a:spcBef>
                <a:spcPts val="0"/>
              </a:spcBef>
              <a:spcAft>
                <a:spcPts val="1200"/>
              </a:spcAft>
              <a:buClrTx/>
              <a:buSzTx/>
              <a:buFont typeface="System Font Regular"/>
              <a:buChar char="+"/>
              <a:tabLst/>
              <a:defRPr/>
            </a:pP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Disease-agnostic</a:t>
            </a:r>
            <a:r>
              <a:rPr kumimoji="0" lang="en-DK" sz="1200" b="0" i="0" u="none" strike="noStrike" kern="1200" cap="none" spc="0" normalizeH="0" baseline="0" noProof="0">
                <a:ln>
                  <a:noFill/>
                </a:ln>
                <a:solidFill>
                  <a:srgbClr val="FFFFFF"/>
                </a:solidFill>
                <a:effectLst/>
                <a:uLnTx/>
                <a:uFillTx/>
                <a:latin typeface="Avenir Next LT Pro"/>
                <a:ea typeface="+mn-ea"/>
                <a:cs typeface="+mn-cs"/>
              </a:rPr>
              <a:t>, ready to scale into other high-grow</a:t>
            </a:r>
            <a:r>
              <a:rPr kumimoji="0" lang="en-GB" sz="1200" b="0" i="0" u="none" strike="noStrike" kern="1200" cap="none" spc="0" normalizeH="0" baseline="0" noProof="0" err="1">
                <a:ln>
                  <a:noFill/>
                </a:ln>
                <a:solidFill>
                  <a:srgbClr val="FFFFFF"/>
                </a:solidFill>
                <a:effectLst/>
                <a:uLnTx/>
                <a:uFillTx/>
                <a:latin typeface="Avenir Next LT Pro"/>
                <a:ea typeface="+mn-ea"/>
                <a:cs typeface="+mn-cs"/>
              </a:rPr>
              <a:t>th</a:t>
            </a:r>
            <a:r>
              <a:rPr kumimoji="0" lang="en-DK" sz="1200" b="0" i="0" u="none" strike="noStrike" kern="1200" cap="none" spc="0" normalizeH="0" baseline="0" noProof="0">
                <a:ln>
                  <a:noFill/>
                </a:ln>
                <a:solidFill>
                  <a:srgbClr val="FFFFFF"/>
                </a:solidFill>
                <a:effectLst/>
                <a:uLnTx/>
                <a:uFillTx/>
                <a:latin typeface="Avenir Next LT Pro"/>
                <a:ea typeface="+mn-ea"/>
                <a:cs typeface="+mn-cs"/>
              </a:rPr>
              <a:t> disease areas</a:t>
            </a:r>
          </a:p>
        </p:txBody>
      </p:sp>
      <p:cxnSp>
        <p:nvCxnSpPr>
          <p:cNvPr id="11" name="Straight Connector 10">
            <a:extLst>
              <a:ext uri="{FF2B5EF4-FFF2-40B4-BE49-F238E27FC236}">
                <a16:creationId xmlns:a16="http://schemas.microsoft.com/office/drawing/2014/main" id="{56A7DB13-0899-8C33-5394-2A0E57ABE1C0}"/>
              </a:ext>
            </a:extLst>
          </p:cNvPr>
          <p:cNvCxnSpPr>
            <a:cxnSpLocks/>
          </p:cNvCxnSpPr>
          <p:nvPr/>
        </p:nvCxnSpPr>
        <p:spPr>
          <a:xfrm>
            <a:off x="9178908" y="2480043"/>
            <a:ext cx="252331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2780292-0D22-7039-FE54-68A69485C259}"/>
              </a:ext>
            </a:extLst>
          </p:cNvPr>
          <p:cNvSpPr txBox="1"/>
          <p:nvPr/>
        </p:nvSpPr>
        <p:spPr>
          <a:xfrm>
            <a:off x="9217404" y="2031318"/>
            <a:ext cx="2712131" cy="369332"/>
          </a:xfrm>
          <a:prstGeom prst="rect">
            <a:avLst/>
          </a:prstGeom>
          <a:noFill/>
        </p:spPr>
        <p:txBody>
          <a:bodyPr wrap="squar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DK" sz="1800" b="1" i="0" u="none" strike="noStrike" kern="1200" cap="none" spc="0" normalizeH="0" baseline="0" noProof="0">
                <a:ln>
                  <a:noFill/>
                </a:ln>
                <a:solidFill>
                  <a:srgbClr val="FFFFFF"/>
                </a:solidFill>
                <a:effectLst/>
                <a:uLnTx/>
                <a:uFillTx/>
                <a:latin typeface="Avenir Next LT Pro Demi"/>
                <a:ea typeface="+mn-ea"/>
                <a:cs typeface="+mn-cs"/>
              </a:rPr>
              <a:t>Key</a:t>
            </a:r>
            <a:r>
              <a:rPr kumimoji="0" lang="en-GB" sz="1800" b="1" i="0" u="none" strike="noStrike" kern="1200" cap="none" spc="0" normalizeH="0" baseline="0" noProof="0">
                <a:ln>
                  <a:noFill/>
                </a:ln>
                <a:solidFill>
                  <a:srgbClr val="FFFFFF"/>
                </a:solidFill>
                <a:effectLst/>
                <a:uLnTx/>
                <a:uFillTx/>
                <a:latin typeface="Avenir Next LT Pro Demi"/>
                <a:ea typeface="+mn-ea"/>
                <a:cs typeface="+mn-cs"/>
              </a:rPr>
              <a:t> advantages</a:t>
            </a:r>
          </a:p>
        </p:txBody>
      </p:sp>
      <p:pic>
        <p:nvPicPr>
          <p:cNvPr id="4" name="Graphic 3">
            <a:extLst>
              <a:ext uri="{FF2B5EF4-FFF2-40B4-BE49-F238E27FC236}">
                <a16:creationId xmlns:a16="http://schemas.microsoft.com/office/drawing/2014/main" id="{168AE0D6-E286-6831-BEFD-52D0CE1CB145}"/>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229841" y="2642235"/>
            <a:ext cx="8533167" cy="2818647"/>
          </a:xfrm>
          <a:prstGeom prst="rect">
            <a:avLst/>
          </a:prstGeom>
        </p:spPr>
      </p:pic>
      <p:sp>
        <p:nvSpPr>
          <p:cNvPr id="3" name="Text Placeholder 25">
            <a:extLst>
              <a:ext uri="{FF2B5EF4-FFF2-40B4-BE49-F238E27FC236}">
                <a16:creationId xmlns:a16="http://schemas.microsoft.com/office/drawing/2014/main" id="{91101669-4F23-F5B9-F5F7-A73811396D69}"/>
              </a:ext>
            </a:extLst>
          </p:cNvPr>
          <p:cNvSpPr txBox="1">
            <a:spLocks/>
          </p:cNvSpPr>
          <p:nvPr/>
        </p:nvSpPr>
        <p:spPr>
          <a:xfrm>
            <a:off x="1789740" y="5776456"/>
            <a:ext cx="5413368" cy="383328"/>
          </a:xfrm>
          <a:prstGeom prst="roundRect">
            <a:avLst>
              <a:gd name="adj" fmla="val 50000"/>
            </a:avLst>
          </a:prstGeom>
          <a:solidFill>
            <a:schemeClr val="tx2">
              <a:alpha val="49880"/>
            </a:schemeClr>
          </a:solidFill>
          <a:ln w="12700">
            <a:solidFill>
              <a:schemeClr val="tx2"/>
            </a:solidFill>
          </a:ln>
        </p:spPr>
        <p:txBody>
          <a:bodyPr wrap="none" lIns="0" tIns="0" rIns="0" bIns="0" anchor="ctr" anchorCtr="0">
            <a:noAutofit/>
          </a:bodyPr>
          <a:lstStyle>
            <a:defPPr>
              <a:defRPr lang="sv-SE"/>
            </a:defPPr>
            <a:lvl1pPr marL="0" indent="0" algn="ctr" defTabSz="914400" rtl="0" eaLnBrk="1" latinLnBrk="0" hangingPunct="1">
              <a:lnSpc>
                <a:spcPct val="90000"/>
              </a:lnSpc>
              <a:spcBef>
                <a:spcPts val="1000"/>
              </a:spcBef>
              <a:buClr>
                <a:srgbClr val="2878FF"/>
              </a:buClr>
              <a:buSzPct val="110000"/>
              <a:buFont typeface="Avenir Next LT Pro" panose="020B0504020202020204" pitchFamily="34" charset="0"/>
              <a:buNone/>
              <a:defRPr sz="1200" kern="1200">
                <a:solidFill>
                  <a:srgbClr val="001965"/>
                </a:solidFill>
                <a:latin typeface="Avenir Next LT Pro Demi" panose="020B0704020202020204" pitchFamily="34" charset="0"/>
              </a:defRPr>
            </a:lvl1pPr>
            <a:lvl2pPr marL="447675" indent="-180975" algn="l" defTabSz="914400" rtl="0" eaLnBrk="1" latinLnBrk="0" hangingPunct="1">
              <a:lnSpc>
                <a:spcPct val="90000"/>
              </a:lnSpc>
              <a:spcBef>
                <a:spcPts val="500"/>
              </a:spcBef>
              <a:buClr>
                <a:srgbClr val="2878FF"/>
              </a:buClr>
              <a:buFont typeface="Arial" panose="020B0604020202020204" pitchFamily="34" charset="0"/>
              <a:buChar char="•"/>
              <a:defRPr sz="1800" kern="1200">
                <a:solidFill>
                  <a:srgbClr val="001965"/>
                </a:solidFill>
                <a:latin typeface="Avenir Next LT Pro"/>
              </a:defRPr>
            </a:lvl2pPr>
            <a:lvl3pPr marL="628650" indent="-180975" algn="l" defTabSz="914400" rtl="0" eaLnBrk="1" latinLnBrk="0" hangingPunct="1">
              <a:lnSpc>
                <a:spcPct val="90000"/>
              </a:lnSpc>
              <a:spcBef>
                <a:spcPts val="500"/>
              </a:spcBef>
              <a:buClr>
                <a:srgbClr val="2878FF"/>
              </a:buClr>
              <a:buFont typeface="Arial" panose="020B0604020202020204" pitchFamily="34" charset="0"/>
              <a:buChar char="•"/>
              <a:defRPr sz="1600" kern="1200">
                <a:solidFill>
                  <a:srgbClr val="001965"/>
                </a:solidFill>
                <a:latin typeface="Avenir Next LT Pro"/>
              </a:defRPr>
            </a:lvl3pPr>
            <a:lvl4pPr marL="809625" indent="-180975" algn="l" defTabSz="914400" rtl="0" eaLnBrk="1" latinLnBrk="0" hangingPunct="1">
              <a:lnSpc>
                <a:spcPct val="90000"/>
              </a:lnSpc>
              <a:spcBef>
                <a:spcPts val="500"/>
              </a:spcBef>
              <a:buClr>
                <a:srgbClr val="2878FF"/>
              </a:buClr>
              <a:buFont typeface="Arial" panose="020B0604020202020204" pitchFamily="34" charset="0"/>
              <a:buChar char="•"/>
              <a:defRPr sz="1400" kern="1200">
                <a:solidFill>
                  <a:srgbClr val="001965"/>
                </a:solidFill>
                <a:latin typeface="Avenir Next LT Pro"/>
              </a:defRPr>
            </a:lvl4pPr>
            <a:lvl5pPr marL="99060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9pPr>
          </a:lstStyle>
          <a:p>
            <a:r>
              <a:rPr lang="en-DK" err="1"/>
              <a:t>StreaMLine</a:t>
            </a:r>
            <a:r>
              <a:rPr lang="en-DK"/>
              <a:t> has delivered multiple assets with blockbuster potential</a:t>
            </a:r>
            <a:endParaRPr lang="sv-SE"/>
          </a:p>
        </p:txBody>
      </p:sp>
      <p:sp>
        <p:nvSpPr>
          <p:cNvPr id="7" name="TextBox 6">
            <a:extLst>
              <a:ext uri="{FF2B5EF4-FFF2-40B4-BE49-F238E27FC236}">
                <a16:creationId xmlns:a16="http://schemas.microsoft.com/office/drawing/2014/main" id="{FC08BDFF-0CCB-41D5-CD1C-E2225D432F99}"/>
              </a:ext>
            </a:extLst>
          </p:cNvPr>
          <p:cNvSpPr txBox="1"/>
          <p:nvPr/>
        </p:nvSpPr>
        <p:spPr>
          <a:xfrm>
            <a:off x="11594381" y="6399575"/>
            <a:ext cx="276027" cy="153888"/>
          </a:xfrm>
          <a:prstGeom prst="rect">
            <a:avLst/>
          </a:prstGeom>
          <a:noFill/>
        </p:spPr>
        <p:txBody>
          <a:bodyPr wrap="square" lIns="0" tIns="0" rIns="0" bIns="0"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fld id="{27692F5A-FC14-4E83-B4CC-18F6C2D780A4}" type="slidenum">
              <a:rPr kumimoji="0" lang="en-US" sz="1000" b="0" i="0" u="none" strike="noStrike" kern="1200" cap="none" spc="40" normalizeH="0" baseline="0" noProof="0" smtClean="0">
                <a:ln>
                  <a:noFill/>
                </a:ln>
                <a:solidFill>
                  <a:srgbClr val="FFFFFF"/>
                </a:solidFill>
                <a:effectLst/>
                <a:uLnTx/>
                <a:uFillTx/>
                <a:latin typeface="Avenir Next LT Pro" panose="020B0504020202020204" pitchFamily="34" charset="77"/>
                <a:ea typeface="+mn-ea"/>
                <a:cs typeface="+mn-cs"/>
              </a:rPr>
              <a:pPr marL="0" marR="0" lvl="0" indent="0" algn="r" defTabSz="914446"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40" normalizeH="0" baseline="0" noProof="0">
              <a:ln>
                <a:noFill/>
              </a:ln>
              <a:solidFill>
                <a:srgbClr val="FFFFFF"/>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32728008"/>
      </p:ext>
    </p:ext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214022-9F5B-BEF5-AC90-BAAC8F5D9A4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65459" y="1478833"/>
            <a:ext cx="11079361" cy="4945691"/>
          </a:xfrm>
          <a:prstGeom prst="rect">
            <a:avLst/>
          </a:prstGeom>
        </p:spPr>
      </p:pic>
      <p:graphicFrame>
        <p:nvGraphicFramePr>
          <p:cNvPr id="22" name="think-cell data - do not delete" hidden="1">
            <a:extLst>
              <a:ext uri="{FF2B5EF4-FFF2-40B4-BE49-F238E27FC236}">
                <a16:creationId xmlns:a16="http://schemas.microsoft.com/office/drawing/2014/main" id="{A17F4153-B8C3-D6E1-123D-9C7C0379ED6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22" name="think-cell data - do not delete" hidden="1">
                        <a:extLst>
                          <a:ext uri="{FF2B5EF4-FFF2-40B4-BE49-F238E27FC236}">
                            <a16:creationId xmlns:a16="http://schemas.microsoft.com/office/drawing/2014/main" id="{A17F4153-B8C3-D6E1-123D-9C7C0379ED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F57575-5D14-F523-0311-71B892F2B51D}"/>
              </a:ext>
            </a:extLst>
          </p:cNvPr>
          <p:cNvSpPr>
            <a:spLocks noGrp="1"/>
          </p:cNvSpPr>
          <p:nvPr>
            <p:ph type="title"/>
          </p:nvPr>
        </p:nvSpPr>
        <p:spPr>
          <a:xfrm>
            <a:off x="565459" y="552715"/>
            <a:ext cx="9945004" cy="720197"/>
          </a:xfrm>
        </p:spPr>
        <p:txBody>
          <a:bodyPr vert="horz"/>
          <a:lstStyle/>
          <a:p>
            <a:r>
              <a:rPr lang="en-US" sz="2600"/>
              <a:t>Strong progress across our early clinical pipeline, with multiple Phase 2 entries expected </a:t>
            </a:r>
            <a:r>
              <a:rPr lang="en-DK" sz="2600"/>
              <a:t>this year</a:t>
            </a:r>
            <a:endParaRPr lang="en-GB" sz="2600"/>
          </a:p>
        </p:txBody>
      </p:sp>
      <p:sp>
        <p:nvSpPr>
          <p:cNvPr id="3" name="Footer Placeholder 438">
            <a:extLst>
              <a:ext uri="{FF2B5EF4-FFF2-40B4-BE49-F238E27FC236}">
                <a16:creationId xmlns:a16="http://schemas.microsoft.com/office/drawing/2014/main" id="{8FF83808-2E86-E24B-23B9-38BD72D5C9CC}"/>
              </a:ext>
            </a:extLst>
          </p:cNvPr>
          <p:cNvSpPr txBox="1">
            <a:spLocks/>
          </p:cNvSpPr>
          <p:nvPr/>
        </p:nvSpPr>
        <p:spPr>
          <a:xfrm>
            <a:off x="1165419" y="6548130"/>
            <a:ext cx="10479401" cy="123111"/>
          </a:xfrm>
          <a:prstGeom prst="rect">
            <a:avLst/>
          </a:prstGeom>
        </p:spPr>
        <p:txBody>
          <a:bodyPr vert="horz" wrap="square" lIns="0" tIns="0" rIns="0" bIns="0" rtlCol="0" anchor="t">
            <a:spAutoFit/>
          </a:bodyPr>
          <a:lstStyle>
            <a:defPPr>
              <a:defRPr lang="sv-SE"/>
            </a:defPPr>
            <a:lvl1pPr marL="0" algn="l" defTabSz="914400" rtl="0" eaLnBrk="1" latinLnBrk="0" hangingPunct="1">
              <a:defRPr sz="1000" kern="1200">
                <a:solidFill>
                  <a:schemeClr val="tx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2878FF">
                    <a:lumMod val="60000"/>
                    <a:lumOff val="40000"/>
                  </a:srgbClr>
                </a:solidFill>
                <a:latin typeface="Avenir Next LT Pro"/>
              </a:rPr>
              <a:t>Note</a:t>
            </a:r>
            <a:r>
              <a:rPr lang="en-DK" sz="800">
                <a:solidFill>
                  <a:srgbClr val="2878FF">
                    <a:lumMod val="60000"/>
                    <a:lumOff val="40000"/>
                  </a:srgbClr>
                </a:solidFill>
                <a:latin typeface="Avenir Next LT Pro"/>
              </a:rPr>
              <a:t>s</a:t>
            </a:r>
            <a:r>
              <a:rPr lang="en-US" sz="800">
                <a:solidFill>
                  <a:srgbClr val="2878FF">
                    <a:lumMod val="60000"/>
                    <a:lumOff val="40000"/>
                  </a:srgbClr>
                </a:solidFill>
                <a:latin typeface="Avenir Next LT Pro"/>
              </a:rPr>
              <a:t>:</a:t>
            </a:r>
            <a:r>
              <a:rPr lang="en-DK" sz="800">
                <a:solidFill>
                  <a:srgbClr val="2878FF">
                    <a:lumMod val="60000"/>
                    <a:lumOff val="40000"/>
                  </a:srgbClr>
                </a:solidFill>
                <a:latin typeface="Avenir Next LT Pro"/>
              </a:rPr>
              <a:t> UCN2 = urocortin-2; GLP-1 = </a:t>
            </a:r>
            <a:r>
              <a:rPr lang="en-US" sz="800">
                <a:solidFill>
                  <a:srgbClr val="2878FF">
                    <a:lumMod val="60000"/>
                    <a:lumOff val="40000"/>
                  </a:srgbClr>
                </a:solidFill>
                <a:latin typeface="Avenir Next LT Pro"/>
              </a:rPr>
              <a:t>glucagon-like peptide-1</a:t>
            </a:r>
            <a:r>
              <a:rPr lang="en-DK" sz="800">
                <a:solidFill>
                  <a:srgbClr val="2878FF">
                    <a:lumMod val="60000"/>
                    <a:lumOff val="40000"/>
                  </a:srgbClr>
                </a:solidFill>
                <a:latin typeface="Avenir Next LT Pro"/>
              </a:rPr>
              <a:t>; PBH = </a:t>
            </a:r>
            <a:r>
              <a:rPr lang="en-US" sz="800">
                <a:solidFill>
                  <a:srgbClr val="2878FF">
                    <a:lumMod val="60000"/>
                    <a:lumOff val="40000"/>
                  </a:srgbClr>
                </a:solidFill>
                <a:latin typeface="Avenir Next LT Pro"/>
              </a:rPr>
              <a:t>Post-Bariatric Hypoglycemia</a:t>
            </a:r>
            <a:r>
              <a:rPr lang="en-DK" sz="800">
                <a:solidFill>
                  <a:srgbClr val="2878FF">
                    <a:lumMod val="60000"/>
                    <a:lumOff val="40000"/>
                  </a:srgbClr>
                </a:solidFill>
                <a:latin typeface="Avenir Next LT Pro"/>
              </a:rPr>
              <a:t>; NPY2R = </a:t>
            </a:r>
            <a:r>
              <a:rPr lang="es-ES" sz="800" err="1">
                <a:solidFill>
                  <a:srgbClr val="2878FF">
                    <a:lumMod val="60000"/>
                    <a:lumOff val="40000"/>
                  </a:srgbClr>
                </a:solidFill>
                <a:latin typeface="Avenir Next LT Pro"/>
              </a:rPr>
              <a:t>Neuropeptide</a:t>
            </a:r>
            <a:r>
              <a:rPr lang="es-ES" sz="800">
                <a:solidFill>
                  <a:srgbClr val="2878FF">
                    <a:lumMod val="60000"/>
                    <a:lumOff val="40000"/>
                  </a:srgbClr>
                </a:solidFill>
                <a:latin typeface="Avenir Next LT Pro"/>
              </a:rPr>
              <a:t> Y </a:t>
            </a:r>
            <a:r>
              <a:rPr lang="en-DK" sz="800">
                <a:solidFill>
                  <a:srgbClr val="2878FF">
                    <a:lumMod val="60000"/>
                    <a:lumOff val="40000"/>
                  </a:srgbClr>
                </a:solidFill>
                <a:latin typeface="Avenir Next LT Pro"/>
              </a:rPr>
              <a:t>R</a:t>
            </a:r>
            <a:r>
              <a:rPr lang="es-ES" sz="800" err="1">
                <a:solidFill>
                  <a:srgbClr val="2878FF">
                    <a:lumMod val="60000"/>
                    <a:lumOff val="40000"/>
                  </a:srgbClr>
                </a:solidFill>
                <a:latin typeface="Avenir Next LT Pro"/>
              </a:rPr>
              <a:t>eceptor</a:t>
            </a:r>
            <a:r>
              <a:rPr lang="es-ES" sz="800">
                <a:solidFill>
                  <a:srgbClr val="2878FF">
                    <a:lumMod val="60000"/>
                    <a:lumOff val="40000"/>
                  </a:srgbClr>
                </a:solidFill>
                <a:latin typeface="Avenir Next LT Pro"/>
              </a:rPr>
              <a:t> </a:t>
            </a:r>
            <a:r>
              <a:rPr lang="en-DK" sz="800">
                <a:solidFill>
                  <a:srgbClr val="2878FF">
                    <a:lumMod val="60000"/>
                    <a:lumOff val="40000"/>
                  </a:srgbClr>
                </a:solidFill>
                <a:latin typeface="Avenir Next LT Pro"/>
              </a:rPr>
              <a:t>T</a:t>
            </a:r>
            <a:r>
              <a:rPr lang="es-ES" sz="800" err="1">
                <a:solidFill>
                  <a:srgbClr val="2878FF">
                    <a:lumMod val="60000"/>
                    <a:lumOff val="40000"/>
                  </a:srgbClr>
                </a:solidFill>
                <a:latin typeface="Avenir Next LT Pro"/>
              </a:rPr>
              <a:t>ype</a:t>
            </a:r>
            <a:r>
              <a:rPr lang="es-ES" sz="800">
                <a:solidFill>
                  <a:srgbClr val="2878FF">
                    <a:lumMod val="60000"/>
                    <a:lumOff val="40000"/>
                  </a:srgbClr>
                </a:solidFill>
                <a:latin typeface="Avenir Next LT Pro"/>
              </a:rPr>
              <a:t> 2</a:t>
            </a:r>
            <a:r>
              <a:rPr lang="en-DK" sz="800">
                <a:solidFill>
                  <a:srgbClr val="2878FF">
                    <a:lumMod val="60000"/>
                    <a:lumOff val="40000"/>
                  </a:srgbClr>
                </a:solidFill>
                <a:latin typeface="Avenir Next LT Pro"/>
              </a:rPr>
              <a:t>  </a:t>
            </a:r>
            <a:endParaRPr lang="sv-SE" sz="800">
              <a:solidFill>
                <a:srgbClr val="2878FF">
                  <a:lumMod val="60000"/>
                  <a:lumOff val="40000"/>
                </a:srgbClr>
              </a:solidFill>
              <a:latin typeface="Avenir Next LT Pro"/>
            </a:endParaRPr>
          </a:p>
        </p:txBody>
      </p:sp>
      <p:sp>
        <p:nvSpPr>
          <p:cNvPr id="6" name="Rounded Rectangular Callout 14">
            <a:extLst>
              <a:ext uri="{FF2B5EF4-FFF2-40B4-BE49-F238E27FC236}">
                <a16:creationId xmlns:a16="http://schemas.microsoft.com/office/drawing/2014/main" id="{6672F262-4B68-7733-3E06-A72421852E51}"/>
              </a:ext>
            </a:extLst>
          </p:cNvPr>
          <p:cNvSpPr/>
          <p:nvPr/>
        </p:nvSpPr>
        <p:spPr>
          <a:xfrm rot="5400000">
            <a:off x="9138692" y="1071517"/>
            <a:ext cx="469232" cy="1851816"/>
          </a:xfrm>
          <a:prstGeom prst="wedgeRoundRectCallout">
            <a:avLst>
              <a:gd name="adj1" fmla="val -16289"/>
              <a:gd name="adj2" fmla="val 54947"/>
              <a:gd name="adj3" fmla="val 16667"/>
            </a:avLst>
          </a:prstGeom>
          <a:solidFill>
            <a:srgbClr val="2878FF">
              <a:alpha val="50000"/>
            </a:srgbClr>
          </a:solidFill>
          <a:ln w="12700" cap="flat" cmpd="sng" algn="ctr">
            <a:solidFill>
              <a:srgbClr val="2878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FFFFFF"/>
              </a:solidFill>
              <a:effectLst/>
              <a:uLnTx/>
              <a:uFillTx/>
              <a:latin typeface="Avenir Next LT Pro"/>
              <a:ea typeface="+mn-ea"/>
              <a:cs typeface="+mn-cs"/>
            </a:endParaRPr>
          </a:p>
        </p:txBody>
      </p:sp>
      <p:sp>
        <p:nvSpPr>
          <p:cNvPr id="7" name="TextBox 6">
            <a:extLst>
              <a:ext uri="{FF2B5EF4-FFF2-40B4-BE49-F238E27FC236}">
                <a16:creationId xmlns:a16="http://schemas.microsoft.com/office/drawing/2014/main" id="{A89A9A95-E915-683D-EEE4-EFEA2BC6EB61}"/>
              </a:ext>
            </a:extLst>
          </p:cNvPr>
          <p:cNvSpPr txBox="1"/>
          <p:nvPr/>
        </p:nvSpPr>
        <p:spPr>
          <a:xfrm>
            <a:off x="8546642" y="1832488"/>
            <a:ext cx="1669373" cy="329875"/>
          </a:xfrm>
          <a:prstGeom prst="rect">
            <a:avLst/>
          </a:prstGeom>
          <a:noFill/>
        </p:spPr>
        <p:txBody>
          <a:bodyPr wrap="square" lIns="0" tIns="0" rIns="0" bIns="0" rtlCol="0" anchor="ctr">
            <a:spAutoFit/>
          </a:bodyPr>
          <a:lstStyle/>
          <a:p>
            <a:r>
              <a:rPr lang="en-US" sz="1100">
                <a:solidFill>
                  <a:schemeClr val="bg1"/>
                </a:solidFill>
                <a:latin typeface="Avenir Next LT Pro"/>
              </a:rPr>
              <a:t>CTA submitted for ambitious Phase 1/2a trial </a:t>
            </a:r>
            <a:endParaRPr lang="en-DK" sz="1100">
              <a:solidFill>
                <a:schemeClr val="bg1"/>
              </a:solidFill>
              <a:latin typeface="Avenir Next LT Pro"/>
            </a:endParaRPr>
          </a:p>
        </p:txBody>
      </p:sp>
      <p:sp>
        <p:nvSpPr>
          <p:cNvPr id="8" name="Rounded Rectangular Callout 14">
            <a:extLst>
              <a:ext uri="{FF2B5EF4-FFF2-40B4-BE49-F238E27FC236}">
                <a16:creationId xmlns:a16="http://schemas.microsoft.com/office/drawing/2014/main" id="{FA0B3E93-3AC6-5315-1E72-E655423393A6}"/>
              </a:ext>
            </a:extLst>
          </p:cNvPr>
          <p:cNvSpPr/>
          <p:nvPr/>
        </p:nvSpPr>
        <p:spPr>
          <a:xfrm rot="5400000">
            <a:off x="10410703" y="3921968"/>
            <a:ext cx="469232" cy="2034450"/>
          </a:xfrm>
          <a:prstGeom prst="wedgeRoundRectCallout">
            <a:avLst>
              <a:gd name="adj1" fmla="val -65862"/>
              <a:gd name="adj2" fmla="val 35022"/>
              <a:gd name="adj3" fmla="val 16667"/>
            </a:avLst>
          </a:prstGeom>
          <a:solidFill>
            <a:srgbClr val="2878FF">
              <a:alpha val="50000"/>
            </a:srgbClr>
          </a:solidFill>
          <a:ln w="12700" cap="flat" cmpd="sng" algn="ctr">
            <a:solidFill>
              <a:srgbClr val="2878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FFFFFF"/>
              </a:solidFill>
              <a:effectLst/>
              <a:uLnTx/>
              <a:uFillTx/>
              <a:latin typeface="Avenir Next LT Pro"/>
              <a:ea typeface="+mn-ea"/>
              <a:cs typeface="+mn-cs"/>
            </a:endParaRPr>
          </a:p>
        </p:txBody>
      </p:sp>
      <p:sp>
        <p:nvSpPr>
          <p:cNvPr id="9" name="TextBox 8">
            <a:extLst>
              <a:ext uri="{FF2B5EF4-FFF2-40B4-BE49-F238E27FC236}">
                <a16:creationId xmlns:a16="http://schemas.microsoft.com/office/drawing/2014/main" id="{D745D441-71B6-4FA0-98D2-AB178BDAA683}"/>
              </a:ext>
            </a:extLst>
          </p:cNvPr>
          <p:cNvSpPr txBox="1"/>
          <p:nvPr/>
        </p:nvSpPr>
        <p:spPr>
          <a:xfrm>
            <a:off x="9736918" y="4769916"/>
            <a:ext cx="1845661" cy="338554"/>
          </a:xfrm>
          <a:prstGeom prst="rect">
            <a:avLst/>
          </a:prstGeom>
          <a:noFill/>
        </p:spPr>
        <p:txBody>
          <a:bodyPr wrap="square" lIns="0" tIns="0" rIns="0" bIns="0" rtlCol="0" anchor="ctr">
            <a:spAutoFit/>
          </a:bodyPr>
          <a:lstStyle/>
          <a:p>
            <a:r>
              <a:rPr lang="en-US" sz="1100">
                <a:solidFill>
                  <a:schemeClr val="bg1"/>
                </a:solidFill>
                <a:latin typeface="Avenir Next LT Pro"/>
              </a:rPr>
              <a:t>BI 3034701 to enter Phase 2 in the middle of 2026</a:t>
            </a:r>
          </a:p>
        </p:txBody>
      </p:sp>
      <p:sp>
        <p:nvSpPr>
          <p:cNvPr id="10" name="Rounded Rectangular Callout 14">
            <a:extLst>
              <a:ext uri="{FF2B5EF4-FFF2-40B4-BE49-F238E27FC236}">
                <a16:creationId xmlns:a16="http://schemas.microsoft.com/office/drawing/2014/main" id="{2BFF56D0-C490-41DB-8900-8C70B28FDCFF}"/>
              </a:ext>
            </a:extLst>
          </p:cNvPr>
          <p:cNvSpPr/>
          <p:nvPr/>
        </p:nvSpPr>
        <p:spPr>
          <a:xfrm rot="5400000">
            <a:off x="10344426" y="2035830"/>
            <a:ext cx="601786" cy="2034450"/>
          </a:xfrm>
          <a:prstGeom prst="wedgeRoundRectCallout">
            <a:avLst>
              <a:gd name="adj1" fmla="val 68846"/>
              <a:gd name="adj2" fmla="val 37244"/>
              <a:gd name="adj3" fmla="val 16667"/>
            </a:avLst>
          </a:prstGeom>
          <a:solidFill>
            <a:srgbClr val="2878FF">
              <a:alpha val="50000"/>
            </a:srgbClr>
          </a:solidFill>
          <a:ln w="12700" cap="flat" cmpd="sng" algn="ctr">
            <a:solidFill>
              <a:srgbClr val="2878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FFFFFF"/>
              </a:solidFill>
              <a:effectLst/>
              <a:uLnTx/>
              <a:uFillTx/>
              <a:latin typeface="Avenir Next LT Pro"/>
              <a:ea typeface="+mn-ea"/>
              <a:cs typeface="+mn-cs"/>
            </a:endParaRPr>
          </a:p>
        </p:txBody>
      </p:sp>
      <p:sp>
        <p:nvSpPr>
          <p:cNvPr id="12" name="TextBox 11">
            <a:extLst>
              <a:ext uri="{FF2B5EF4-FFF2-40B4-BE49-F238E27FC236}">
                <a16:creationId xmlns:a16="http://schemas.microsoft.com/office/drawing/2014/main" id="{9EB87BA9-B6D2-CD18-21C9-2879BE2AC68D}"/>
              </a:ext>
            </a:extLst>
          </p:cNvPr>
          <p:cNvSpPr txBox="1"/>
          <p:nvPr/>
        </p:nvSpPr>
        <p:spPr>
          <a:xfrm>
            <a:off x="9733675" y="2799140"/>
            <a:ext cx="1851816" cy="507831"/>
          </a:xfrm>
          <a:prstGeom prst="rect">
            <a:avLst/>
          </a:prstGeom>
          <a:noFill/>
        </p:spPr>
        <p:txBody>
          <a:bodyPr wrap="square" lIns="0" tIns="0" rIns="0" bIns="0" rtlCol="0" anchor="ctr">
            <a:spAutoFit/>
          </a:bodyPr>
          <a:lstStyle/>
          <a:p>
            <a:r>
              <a:rPr lang="en-DK" sz="1100">
                <a:solidFill>
                  <a:schemeClr val="bg1"/>
                </a:solidFill>
                <a:latin typeface="Avenir Next LT Pro"/>
              </a:rPr>
              <a:t>ABBV-295</a:t>
            </a:r>
            <a:r>
              <a:rPr lang="en-US" sz="1100">
                <a:solidFill>
                  <a:schemeClr val="bg1"/>
                </a:solidFill>
                <a:latin typeface="Avenir Next LT Pro"/>
              </a:rPr>
              <a:t> Ph1 MAD</a:t>
            </a:r>
            <a:r>
              <a:rPr lang="en-DK" sz="1100">
                <a:solidFill>
                  <a:schemeClr val="bg1"/>
                </a:solidFill>
                <a:latin typeface="Avenir Next LT Pro"/>
              </a:rPr>
              <a:t> showed ~10% weight loss, </a:t>
            </a:r>
            <a:r>
              <a:rPr lang="en-DK" sz="1100" err="1">
                <a:solidFill>
                  <a:schemeClr val="bg1"/>
                </a:solidFill>
                <a:latin typeface="Avenir Next LT Pro"/>
              </a:rPr>
              <a:t>expec</a:t>
            </a:r>
            <a:r>
              <a:rPr lang="en-US" sz="1100">
                <a:solidFill>
                  <a:schemeClr val="bg1"/>
                </a:solidFill>
                <a:latin typeface="Avenir Next LT Pro"/>
              </a:rPr>
              <a:t>t</a:t>
            </a:r>
            <a:r>
              <a:rPr lang="en-DK" sz="1100">
                <a:solidFill>
                  <a:schemeClr val="bg1"/>
                </a:solidFill>
                <a:latin typeface="Avenir Next LT Pro"/>
              </a:rPr>
              <a:t>ed to enter Phase 2 in Q3 2026</a:t>
            </a:r>
            <a:endParaRPr lang="en-US" sz="1100">
              <a:solidFill>
                <a:schemeClr val="bg1"/>
              </a:solidFill>
              <a:latin typeface="Avenir Next LT Pro"/>
            </a:endParaRPr>
          </a:p>
        </p:txBody>
      </p:sp>
    </p:spTree>
    <p:extLst>
      <p:ext uri="{BB962C8B-B14F-4D97-AF65-F5344CB8AC3E}">
        <p14:creationId xmlns:p14="http://schemas.microsoft.com/office/powerpoint/2010/main" val="3761536524"/>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AFCB37B-39FB-A57B-8D0B-25DFF4FB97AC}"/>
              </a:ext>
            </a:extLst>
          </p:cNvPr>
          <p:cNvPicPr>
            <a:picLocks noChangeAspect="1"/>
          </p:cNvPicPr>
          <p:nvPr/>
        </p:nvPicPr>
        <p:blipFill>
          <a:blip r:embed="rId3">
            <a:extLst>
              <a:ext uri="{28A0092B-C50C-407E-A947-70E740481C1C}">
                <a14:useLocalDpi xmlns:a14="http://schemas.microsoft.com/office/drawing/2010/main" val="0"/>
              </a:ext>
            </a:extLst>
          </a:blip>
          <a:srcRect t="7546" b="7546"/>
          <a:stretch/>
        </p:blipFill>
        <p:spPr>
          <a:xfrm>
            <a:off x="-21773" y="0"/>
            <a:ext cx="12215360" cy="6922008"/>
          </a:xfrm>
          <a:prstGeom prst="rect">
            <a:avLst/>
          </a:prstGeom>
        </p:spPr>
      </p:pic>
      <p:sp>
        <p:nvSpPr>
          <p:cNvPr id="5" name="Rectangle 4">
            <a:extLst>
              <a:ext uri="{FF2B5EF4-FFF2-40B4-BE49-F238E27FC236}">
                <a16:creationId xmlns:a16="http://schemas.microsoft.com/office/drawing/2014/main" id="{52FC5575-43B1-2254-F9E9-A76537F3220C}"/>
              </a:ext>
            </a:extLst>
          </p:cNvPr>
          <p:cNvSpPr/>
          <p:nvPr/>
        </p:nvSpPr>
        <p:spPr>
          <a:xfrm>
            <a:off x="-23313" y="0"/>
            <a:ext cx="12215360" cy="6922008"/>
          </a:xfrm>
          <a:prstGeom prst="rect">
            <a:avLst/>
          </a:prstGeom>
          <a:solidFill>
            <a:schemeClr val="tx1">
              <a:alpha val="3515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aphicFrame>
        <p:nvGraphicFramePr>
          <p:cNvPr id="4" name="Object 3" hidden="1">
            <a:extLst>
              <a:ext uri="{FF2B5EF4-FFF2-40B4-BE49-F238E27FC236}">
                <a16:creationId xmlns:a16="http://schemas.microsoft.com/office/drawing/2014/main" id="{41A4DAF1-3D12-5A02-8859-95A4306817A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41A4DAF1-3D12-5A02-8859-95A4306817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7129BFED-E2A8-40AC-360B-0A8C8B1223EC}"/>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
        <p:nvSpPr>
          <p:cNvPr id="12" name="Rectangle 11">
            <a:extLst>
              <a:ext uri="{FF2B5EF4-FFF2-40B4-BE49-F238E27FC236}">
                <a16:creationId xmlns:a16="http://schemas.microsoft.com/office/drawing/2014/main" id="{670592B9-3F49-7BA7-F6C1-42D9FE26677A}"/>
              </a:ext>
            </a:extLst>
          </p:cNvPr>
          <p:cNvSpPr/>
          <p:nvPr/>
        </p:nvSpPr>
        <p:spPr>
          <a:xfrm rot="5400000">
            <a:off x="-623251" y="610058"/>
            <a:ext cx="6922007" cy="5701896"/>
          </a:xfrm>
          <a:prstGeom prst="rect">
            <a:avLst/>
          </a:prstGeom>
          <a:gradFill flip="none" rotWithShape="1">
            <a:gsLst>
              <a:gs pos="2000">
                <a:schemeClr val="tx1">
                  <a:alpha val="55185"/>
                </a:schemeClr>
              </a:gs>
              <a:gs pos="29000">
                <a:schemeClr val="accent4">
                  <a:alpha val="0"/>
                  <a:lumMod val="0"/>
                  <a:lumOff val="100000"/>
                </a:scheme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A0ED7598-F570-34C2-3CF1-D2D137E76EB8}"/>
              </a:ext>
            </a:extLst>
          </p:cNvPr>
          <p:cNvSpPr/>
          <p:nvPr/>
        </p:nvSpPr>
        <p:spPr>
          <a:xfrm>
            <a:off x="-23312" y="0"/>
            <a:ext cx="12225058" cy="6922009"/>
          </a:xfrm>
          <a:prstGeom prst="rect">
            <a:avLst/>
          </a:prstGeom>
          <a:gradFill flip="none" rotWithShape="1">
            <a:gsLst>
              <a:gs pos="2000">
                <a:schemeClr val="tx1">
                  <a:alpha val="37630"/>
                </a:schemeClr>
              </a:gs>
              <a:gs pos="54000">
                <a:schemeClr val="accent4">
                  <a:alpha val="0"/>
                  <a:lumMod val="0"/>
                  <a:lumOff val="100000"/>
                </a:scheme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itle 1">
            <a:extLst>
              <a:ext uri="{FF2B5EF4-FFF2-40B4-BE49-F238E27FC236}">
                <a16:creationId xmlns:a16="http://schemas.microsoft.com/office/drawing/2014/main" id="{9BF840A4-1B74-3495-8FA0-32DB2474191E}"/>
              </a:ext>
            </a:extLst>
          </p:cNvPr>
          <p:cNvSpPr txBox="1">
            <a:spLocks/>
          </p:cNvSpPr>
          <p:nvPr/>
        </p:nvSpPr>
        <p:spPr>
          <a:xfrm>
            <a:off x="-11657" y="2546193"/>
            <a:ext cx="10150977" cy="1002023"/>
          </a:xfrm>
          <a:prstGeom prst="rect">
            <a:avLst/>
          </a:prstGeom>
        </p:spPr>
        <p:txBody>
          <a:bodyPr vert="horz" lIns="0" tIns="0" rIns="0" bIns="0"/>
          <a:lstStyle>
            <a:lvl1pPr algn="l" defTabSz="914400" rtl="0" eaLnBrk="1" latinLnBrk="0" hangingPunct="1">
              <a:lnSpc>
                <a:spcPct val="90000"/>
              </a:lnSpc>
              <a:spcBef>
                <a:spcPct val="0"/>
              </a:spcBef>
              <a:buNone/>
              <a:defRPr sz="4000" b="1" i="0" kern="1200">
                <a:solidFill>
                  <a:schemeClr val="bg1"/>
                </a:solidFill>
                <a:latin typeface="Avenir Next LT Pro" panose="020B0504020202020204" pitchFamily="34" charset="77"/>
                <a:ea typeface="+mj-ea"/>
                <a:cs typeface="+mj-cs"/>
              </a:defRPr>
            </a:lvl1p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7600" b="1" i="0" u="none" strike="noStrike" kern="1200" cap="none" spc="80" normalizeH="0" baseline="0" noProof="0">
                <a:ln>
                  <a:noFill/>
                </a:ln>
                <a:effectLst/>
                <a:uLnTx/>
                <a:uFillTx/>
                <a:latin typeface="Avenir Next LT Pro" panose="020B0504020202020204" pitchFamily="34" charset="77"/>
                <a:ea typeface="+mj-ea"/>
                <a:cs typeface="+mj-cs"/>
              </a:rPr>
              <a:t>Obesity</a:t>
            </a:r>
          </a:p>
        </p:txBody>
      </p:sp>
      <p:sp>
        <p:nvSpPr>
          <p:cNvPr id="8" name="TextBox 7">
            <a:extLst>
              <a:ext uri="{FF2B5EF4-FFF2-40B4-BE49-F238E27FC236}">
                <a16:creationId xmlns:a16="http://schemas.microsoft.com/office/drawing/2014/main" id="{9229476A-866C-E29B-89A3-4B50D1841D4A}"/>
              </a:ext>
            </a:extLst>
          </p:cNvPr>
          <p:cNvSpPr txBox="1"/>
          <p:nvPr/>
        </p:nvSpPr>
        <p:spPr>
          <a:xfrm>
            <a:off x="3147802" y="3487612"/>
            <a:ext cx="6247051" cy="584775"/>
          </a:xfrm>
          <a:prstGeom prst="rect">
            <a:avLst/>
          </a:prstGeom>
          <a:noFill/>
        </p:spPr>
        <p:txBody>
          <a:bodyPr wrap="square" rtlCol="0">
            <a:spAutoFit/>
          </a:bodyPr>
          <a:lstStyle/>
          <a:p>
            <a:r>
              <a:rPr lang="en-DK" sz="3200">
                <a:solidFill>
                  <a:schemeClr val="bg1"/>
                </a:solidFill>
                <a:latin typeface="Avenir Next LT Pro Demi" panose="020B0504020202020204" pitchFamily="34" charset="77"/>
              </a:rPr>
              <a:t>Differentiation that matters</a:t>
            </a:r>
            <a:endParaRPr lang="en-DK" sz="3200"/>
          </a:p>
        </p:txBody>
      </p:sp>
    </p:spTree>
    <p:extLst>
      <p:ext uri="{BB962C8B-B14F-4D97-AF65-F5344CB8AC3E}">
        <p14:creationId xmlns:p14="http://schemas.microsoft.com/office/powerpoint/2010/main" val="1804018898"/>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0CAD654B-76D3-8804-E049-1A5B10F4D5A5}"/>
              </a:ext>
            </a:extLst>
          </p:cNvPr>
          <p:cNvGraphicFramePr>
            <a:graphicFrameLocks/>
          </p:cNvGraphicFramePr>
          <p:nvPr>
            <p:custDataLst>
              <p:tags r:id="rId1"/>
            </p:custDataLst>
            <p:extLst>
              <p:ext uri="{D42A27DB-BD31-4B8C-83A1-F6EECF244321}">
                <p14:modId xmlns:p14="http://schemas.microsoft.com/office/powerpoint/2010/main" val="735002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44" name="think-cell data - do not delete" hidden="1">
                        <a:extLst>
                          <a:ext uri="{FF2B5EF4-FFF2-40B4-BE49-F238E27FC236}">
                            <a16:creationId xmlns:a16="http://schemas.microsoft.com/office/drawing/2014/main" id="{0CAD654B-76D3-8804-E049-1A5B10F4D5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96000C2-A1D4-2B6B-922C-4CE594B018B3}"/>
              </a:ext>
            </a:extLst>
          </p:cNvPr>
          <p:cNvSpPr>
            <a:spLocks noGrp="1"/>
          </p:cNvSpPr>
          <p:nvPr>
            <p:ph type="title"/>
          </p:nvPr>
        </p:nvSpPr>
        <p:spPr>
          <a:xfrm>
            <a:off x="565459" y="552715"/>
            <a:ext cx="10017711" cy="720197"/>
          </a:xfrm>
        </p:spPr>
        <p:txBody>
          <a:bodyPr vert="horz"/>
          <a:lstStyle/>
          <a:p>
            <a:r>
              <a:rPr lang="en-DK" sz="2600">
                <a:solidFill>
                  <a:schemeClr val="tx1"/>
                </a:solidFill>
              </a:rPr>
              <a:t>There is a paradigm shift in obesity treatment to focus increasingly on m</a:t>
            </a:r>
            <a:r>
              <a:rPr lang="en-US" sz="2600" err="1">
                <a:solidFill>
                  <a:schemeClr val="tx1"/>
                </a:solidFill>
              </a:rPr>
              <a:t>uscle‑preserv</a:t>
            </a:r>
            <a:r>
              <a:rPr lang="en-DK" sz="2600" err="1">
                <a:solidFill>
                  <a:schemeClr val="tx1"/>
                </a:solidFill>
              </a:rPr>
              <a:t>ation</a:t>
            </a:r>
            <a:endParaRPr lang="en-GB" sz="2600">
              <a:solidFill>
                <a:schemeClr val="tx1"/>
              </a:solidFill>
            </a:endParaRPr>
          </a:p>
        </p:txBody>
      </p:sp>
      <p:sp>
        <p:nvSpPr>
          <p:cNvPr id="5" name="Rectangle 4">
            <a:extLst>
              <a:ext uri="{FF2B5EF4-FFF2-40B4-BE49-F238E27FC236}">
                <a16:creationId xmlns:a16="http://schemas.microsoft.com/office/drawing/2014/main" id="{C6C1799F-AF7F-D5DA-A074-8840152E83F6}"/>
              </a:ext>
            </a:extLst>
          </p:cNvPr>
          <p:cNvSpPr/>
          <p:nvPr/>
        </p:nvSpPr>
        <p:spPr>
          <a:xfrm>
            <a:off x="4617127" y="1719213"/>
            <a:ext cx="3903090" cy="540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6" name="Rectangle 5">
            <a:extLst>
              <a:ext uri="{FF2B5EF4-FFF2-40B4-BE49-F238E27FC236}">
                <a16:creationId xmlns:a16="http://schemas.microsoft.com/office/drawing/2014/main" id="{480EBC9F-8260-8E0B-8EB1-B80B5F757B09}"/>
              </a:ext>
            </a:extLst>
          </p:cNvPr>
          <p:cNvSpPr/>
          <p:nvPr/>
        </p:nvSpPr>
        <p:spPr>
          <a:xfrm>
            <a:off x="479732" y="1719215"/>
            <a:ext cx="4070076" cy="4567019"/>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7" name="Rectangle 6">
            <a:extLst>
              <a:ext uri="{FF2B5EF4-FFF2-40B4-BE49-F238E27FC236}">
                <a16:creationId xmlns:a16="http://schemas.microsoft.com/office/drawing/2014/main" id="{7FE4DF12-5459-ECB9-DFC8-C999BC5DB1A0}"/>
              </a:ext>
            </a:extLst>
          </p:cNvPr>
          <p:cNvSpPr/>
          <p:nvPr/>
        </p:nvSpPr>
        <p:spPr>
          <a:xfrm>
            <a:off x="8675340" y="1719215"/>
            <a:ext cx="2867065" cy="4567019"/>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8" name="TextBox 7">
            <a:extLst>
              <a:ext uri="{FF2B5EF4-FFF2-40B4-BE49-F238E27FC236}">
                <a16:creationId xmlns:a16="http://schemas.microsoft.com/office/drawing/2014/main" id="{553A8C89-A076-003D-9E68-630FC2C31576}"/>
              </a:ext>
            </a:extLst>
          </p:cNvPr>
          <p:cNvSpPr txBox="1">
            <a:spLocks/>
          </p:cNvSpPr>
          <p:nvPr/>
        </p:nvSpPr>
        <p:spPr>
          <a:xfrm>
            <a:off x="743702" y="2355223"/>
            <a:ext cx="3221521" cy="169277"/>
          </a:xfrm>
          <a:prstGeom prst="rect">
            <a:avLst/>
          </a:prstGeom>
          <a:noFill/>
        </p:spPr>
        <p:txBody>
          <a:bodyPr wrap="square" lIns="0" tIns="0" rIns="0" bIns="0">
            <a:spAutoFit/>
          </a:bodyPr>
          <a:lstStyle/>
          <a:p>
            <a:pPr algn="ctr"/>
            <a:r>
              <a:rPr lang="en-DK" sz="1100">
                <a:solidFill>
                  <a:schemeClr val="bg1"/>
                </a:solidFill>
                <a:latin typeface="Avenir Next LT Pro" panose="020B0504020202020204" pitchFamily="34" charset="0"/>
              </a:rPr>
              <a:t>O</a:t>
            </a:r>
            <a:r>
              <a:rPr lang="en-US" sz="1100" i="0" u="none" strike="noStrike" baseline="0" err="1">
                <a:solidFill>
                  <a:schemeClr val="bg1"/>
                </a:solidFill>
                <a:latin typeface="Avenir Next LT Pro" panose="020B0504020202020204" pitchFamily="34" charset="0"/>
              </a:rPr>
              <a:t>bese</a:t>
            </a:r>
            <a:r>
              <a:rPr lang="en-US" sz="1100" i="0" u="none" strike="noStrike" baseline="0">
                <a:solidFill>
                  <a:schemeClr val="bg1"/>
                </a:solidFill>
                <a:latin typeface="Avenir Next LT Pro" panose="020B0504020202020204" pitchFamily="34" charset="0"/>
              </a:rPr>
              <a:t> and overweight people globally</a:t>
            </a:r>
            <a:r>
              <a:rPr lang="en-DK" sz="1100" i="0" u="none" strike="noStrike" baseline="0">
                <a:solidFill>
                  <a:schemeClr val="bg1"/>
                </a:solidFill>
                <a:latin typeface="Avenir Next LT Pro" panose="020B0504020202020204" pitchFamily="34" charset="0"/>
              </a:rPr>
              <a:t> (bn)</a:t>
            </a:r>
            <a:endParaRPr lang="en-GB" sz="1100" i="0" u="none" strike="noStrike">
              <a:solidFill>
                <a:schemeClr val="bg1"/>
              </a:solidFill>
              <a:latin typeface="Avenir Next LT Pro" panose="020B0504020202020204" pitchFamily="34" charset="0"/>
            </a:endParaRPr>
          </a:p>
        </p:txBody>
      </p:sp>
      <p:sp>
        <p:nvSpPr>
          <p:cNvPr id="9" name="Speech Bubble: Rectangle with Corners Rounded 8">
            <a:extLst>
              <a:ext uri="{FF2B5EF4-FFF2-40B4-BE49-F238E27FC236}">
                <a16:creationId xmlns:a16="http://schemas.microsoft.com/office/drawing/2014/main" id="{FF466DCA-D57E-13A3-0B4F-86D4CAE39593}"/>
              </a:ext>
            </a:extLst>
          </p:cNvPr>
          <p:cNvSpPr/>
          <p:nvPr/>
        </p:nvSpPr>
        <p:spPr>
          <a:xfrm>
            <a:off x="7195781" y="2159060"/>
            <a:ext cx="1129070" cy="723880"/>
          </a:xfrm>
          <a:prstGeom prst="wedgeRoundRectCallout">
            <a:avLst>
              <a:gd name="adj1" fmla="val -33272"/>
              <a:gd name="adj2" fmla="val 73739"/>
              <a:gd name="adj3" fmla="val 16667"/>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72000" tIns="144000" rIns="72000" bIns="144000" rtlCol="0" anchor="ctr"/>
          <a:lstStyle/>
          <a:p>
            <a:pPr algn="ctr"/>
            <a:r>
              <a:rPr lang="en-DK" sz="900">
                <a:solidFill>
                  <a:schemeClr val="tx1"/>
                </a:solidFill>
                <a:latin typeface="Avenir Next LT Pro" panose="020B0504020202020204" pitchFamily="34" charset="0"/>
              </a:rPr>
              <a:t>Today, lean mass accounts </a:t>
            </a:r>
            <a:br>
              <a:rPr lang="en-DK" sz="900">
                <a:solidFill>
                  <a:schemeClr val="tx1"/>
                </a:solidFill>
                <a:latin typeface="Avenir Next LT Pro" panose="020B0504020202020204" pitchFamily="34" charset="0"/>
              </a:rPr>
            </a:br>
            <a:r>
              <a:rPr lang="en-DK" sz="900">
                <a:solidFill>
                  <a:schemeClr val="tx1"/>
                </a:solidFill>
                <a:latin typeface="Avenir Next LT Pro" panose="020B0504020202020204" pitchFamily="34" charset="0"/>
              </a:rPr>
              <a:t>for </a:t>
            </a:r>
            <a:r>
              <a:rPr lang="en-DK" sz="900" b="1">
                <a:solidFill>
                  <a:schemeClr val="tx1"/>
                </a:solidFill>
                <a:latin typeface="Avenir Next LT Pro" panose="020B0504020202020204" pitchFamily="34" charset="0"/>
              </a:rPr>
              <a:t>20-45%</a:t>
            </a:r>
            <a:r>
              <a:rPr lang="en-DK" sz="900">
                <a:solidFill>
                  <a:schemeClr val="tx1"/>
                </a:solidFill>
                <a:latin typeface="Avenir Next LT Pro" panose="020B0504020202020204" pitchFamily="34" charset="0"/>
              </a:rPr>
              <a:t> of weight lost</a:t>
            </a:r>
            <a:r>
              <a:rPr lang="en-DK" sz="900" baseline="30000">
                <a:solidFill>
                  <a:schemeClr val="tx1"/>
                </a:solidFill>
                <a:latin typeface="Avenir Next LT Pro" panose="020B0504020202020204" pitchFamily="34" charset="0"/>
              </a:rPr>
              <a:t>1</a:t>
            </a:r>
            <a:r>
              <a:rPr lang="en-DK" sz="900">
                <a:solidFill>
                  <a:schemeClr val="tx1"/>
                </a:solidFill>
                <a:latin typeface="Avenir Next LT Pro" panose="020B0504020202020204" pitchFamily="34" charset="0"/>
              </a:rPr>
              <a:t> </a:t>
            </a:r>
          </a:p>
        </p:txBody>
      </p:sp>
      <p:grpSp>
        <p:nvGrpSpPr>
          <p:cNvPr id="10" name="Group 9">
            <a:extLst>
              <a:ext uri="{FF2B5EF4-FFF2-40B4-BE49-F238E27FC236}">
                <a16:creationId xmlns:a16="http://schemas.microsoft.com/office/drawing/2014/main" id="{4F3B8533-4309-29FB-180C-250F6E41F346}"/>
              </a:ext>
            </a:extLst>
          </p:cNvPr>
          <p:cNvGrpSpPr/>
          <p:nvPr/>
        </p:nvGrpSpPr>
        <p:grpSpPr>
          <a:xfrm>
            <a:off x="8876668" y="2642905"/>
            <a:ext cx="2696754" cy="488336"/>
            <a:chOff x="8962393" y="2452988"/>
            <a:chExt cx="2696754" cy="488336"/>
          </a:xfrm>
        </p:grpSpPr>
        <p:sp>
          <p:nvSpPr>
            <p:cNvPr id="11" name="Rectangle 10">
              <a:extLst>
                <a:ext uri="{FF2B5EF4-FFF2-40B4-BE49-F238E27FC236}">
                  <a16:creationId xmlns:a16="http://schemas.microsoft.com/office/drawing/2014/main" id="{3A05B254-8E05-5CA4-7D0A-1BB8E723538F}"/>
                </a:ext>
              </a:extLst>
            </p:cNvPr>
            <p:cNvSpPr/>
            <p:nvPr/>
          </p:nvSpPr>
          <p:spPr>
            <a:xfrm>
              <a:off x="9387781" y="2452988"/>
              <a:ext cx="2271366" cy="4883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DK" sz="1200">
                  <a:solidFill>
                    <a:schemeClr val="bg1"/>
                  </a:solidFill>
                  <a:latin typeface="Avenir Next LT Pro" panose="020B0504020202020204" pitchFamily="34" charset="0"/>
                </a:rPr>
                <a:t>Muscle-preserving </a:t>
              </a:r>
              <a:br>
                <a:rPr lang="en-DK" sz="1200">
                  <a:solidFill>
                    <a:schemeClr val="bg1"/>
                  </a:solidFill>
                  <a:latin typeface="Avenir Next LT Pro" panose="020B0504020202020204" pitchFamily="34" charset="0"/>
                </a:rPr>
              </a:br>
              <a:r>
                <a:rPr lang="en-DK" sz="1200">
                  <a:solidFill>
                    <a:schemeClr val="bg1"/>
                  </a:solidFill>
                  <a:latin typeface="Avenir Next LT Pro" panose="020B0504020202020204" pitchFamily="34" charset="0"/>
                </a:rPr>
                <a:t>therapies</a:t>
              </a:r>
              <a:r>
                <a:rPr lang="en-DK" sz="1200" baseline="30000">
                  <a:solidFill>
                    <a:schemeClr val="bg1"/>
                  </a:solidFill>
                  <a:latin typeface="Avenir Next LT Pro" panose="020B0504020202020204" pitchFamily="34" charset="0"/>
                </a:rPr>
                <a:t>2</a:t>
              </a:r>
              <a:endParaRPr lang="en-GB" sz="1200" baseline="30000">
                <a:solidFill>
                  <a:schemeClr val="bg1"/>
                </a:solidFill>
                <a:latin typeface="Avenir Next LT Pro" panose="020B0504020202020204" pitchFamily="34" charset="0"/>
              </a:endParaRPr>
            </a:p>
          </p:txBody>
        </p:sp>
        <p:grpSp>
          <p:nvGrpSpPr>
            <p:cNvPr id="12" name="Group 11">
              <a:extLst>
                <a:ext uri="{FF2B5EF4-FFF2-40B4-BE49-F238E27FC236}">
                  <a16:creationId xmlns:a16="http://schemas.microsoft.com/office/drawing/2014/main" id="{31F79221-72FC-481A-ECC8-66E7D950B7C1}"/>
                </a:ext>
              </a:extLst>
            </p:cNvPr>
            <p:cNvGrpSpPr/>
            <p:nvPr/>
          </p:nvGrpSpPr>
          <p:grpSpPr>
            <a:xfrm>
              <a:off x="8962393" y="2513913"/>
              <a:ext cx="360000" cy="360000"/>
              <a:chOff x="4320275" y="1895833"/>
              <a:chExt cx="360000" cy="360000"/>
            </a:xfrm>
          </p:grpSpPr>
          <p:sp>
            <p:nvSpPr>
              <p:cNvPr id="13" name="Oval 12">
                <a:extLst>
                  <a:ext uri="{FF2B5EF4-FFF2-40B4-BE49-F238E27FC236}">
                    <a16:creationId xmlns:a16="http://schemas.microsoft.com/office/drawing/2014/main" id="{DF82A777-C6E6-9DC1-FB85-1C563560BAC0}"/>
                  </a:ext>
                </a:extLst>
              </p:cNvPr>
              <p:cNvSpPr>
                <a:spLocks noChangeAspect="1"/>
              </p:cNvSpPr>
              <p:nvPr/>
            </p:nvSpPr>
            <p:spPr>
              <a:xfrm>
                <a:off x="4320275" y="1895833"/>
                <a:ext cx="360000" cy="360000"/>
              </a:xfrm>
              <a:prstGeom prst="ellipse">
                <a:avLst/>
              </a:prstGeom>
              <a:solidFill>
                <a:schemeClr val="accent2"/>
              </a:solidFill>
              <a:ln w="12700" cap="flat" cmpd="sng" algn="ctr">
                <a:noFill/>
                <a:prstDash val="solid"/>
                <a:miter lim="800000"/>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DK" sz="1300" b="1" u="none" strike="noStrike" kern="0" cap="none" spc="0" normalizeH="0" baseline="0" noProof="0">
                  <a:ln>
                    <a:noFill/>
                  </a:ln>
                  <a:solidFill>
                    <a:schemeClr val="bg1"/>
                  </a:solidFill>
                  <a:effectLst/>
                  <a:uLnTx/>
                  <a:uFillTx/>
                  <a:latin typeface="Avenir Next LT Pro" panose="020B0504020202020204" pitchFamily="34" charset="77"/>
                </a:endParaRPr>
              </a:p>
            </p:txBody>
          </p:sp>
          <p:pic>
            <p:nvPicPr>
              <p:cNvPr id="14" name="Graphic 13" descr="Checkmark">
                <a:extLst>
                  <a:ext uri="{FF2B5EF4-FFF2-40B4-BE49-F238E27FC236}">
                    <a16:creationId xmlns:a16="http://schemas.microsoft.com/office/drawing/2014/main" id="{DC995874-02E1-3510-6076-35DE409D34A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427793" y="1970204"/>
                <a:ext cx="141251" cy="209479"/>
              </a:xfrm>
              <a:prstGeom prst="rect">
                <a:avLst/>
              </a:prstGeom>
            </p:spPr>
          </p:pic>
        </p:grpSp>
      </p:grpSp>
      <p:grpSp>
        <p:nvGrpSpPr>
          <p:cNvPr id="15" name="Group 14">
            <a:extLst>
              <a:ext uri="{FF2B5EF4-FFF2-40B4-BE49-F238E27FC236}">
                <a16:creationId xmlns:a16="http://schemas.microsoft.com/office/drawing/2014/main" id="{56716F48-85C6-3CE4-7253-A6AC805A02F2}"/>
              </a:ext>
            </a:extLst>
          </p:cNvPr>
          <p:cNvGrpSpPr/>
          <p:nvPr/>
        </p:nvGrpSpPr>
        <p:grpSpPr>
          <a:xfrm>
            <a:off x="8876668" y="3304059"/>
            <a:ext cx="2696754" cy="488336"/>
            <a:chOff x="8962393" y="3065937"/>
            <a:chExt cx="2696754" cy="488336"/>
          </a:xfrm>
        </p:grpSpPr>
        <p:sp>
          <p:nvSpPr>
            <p:cNvPr id="16" name="Rectangle 15">
              <a:extLst>
                <a:ext uri="{FF2B5EF4-FFF2-40B4-BE49-F238E27FC236}">
                  <a16:creationId xmlns:a16="http://schemas.microsoft.com/office/drawing/2014/main" id="{E933755A-A248-87FC-69D6-81EE4AB019F6}"/>
                </a:ext>
              </a:extLst>
            </p:cNvPr>
            <p:cNvSpPr/>
            <p:nvPr/>
          </p:nvSpPr>
          <p:spPr>
            <a:xfrm>
              <a:off x="9387781" y="3065937"/>
              <a:ext cx="2271366" cy="4883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DK" sz="1200">
                  <a:solidFill>
                    <a:schemeClr val="bg1"/>
                  </a:solidFill>
                  <a:latin typeface="Avenir Next LT Pro" panose="020B0504020202020204" pitchFamily="34" charset="0"/>
                </a:rPr>
                <a:t>Improved tolerability, </a:t>
              </a:r>
              <a:br>
                <a:rPr lang="en-DK" sz="1200">
                  <a:solidFill>
                    <a:schemeClr val="bg1"/>
                  </a:solidFill>
                  <a:latin typeface="Avenir Next LT Pro" panose="020B0504020202020204" pitchFamily="34" charset="0"/>
                </a:rPr>
              </a:br>
              <a:r>
                <a:rPr lang="en-DK" sz="1200">
                  <a:solidFill>
                    <a:schemeClr val="bg1"/>
                  </a:solidFill>
                  <a:latin typeface="Avenir Next LT Pro" panose="020B0504020202020204" pitchFamily="34" charset="0"/>
                </a:rPr>
                <a:t>less side effects</a:t>
              </a:r>
              <a:endParaRPr lang="en-GB" sz="1200">
                <a:solidFill>
                  <a:schemeClr val="bg1"/>
                </a:solidFill>
                <a:latin typeface="Avenir Next LT Pro" panose="020B0504020202020204" pitchFamily="34" charset="0"/>
              </a:endParaRPr>
            </a:p>
          </p:txBody>
        </p:sp>
        <p:grpSp>
          <p:nvGrpSpPr>
            <p:cNvPr id="17" name="Group 16">
              <a:extLst>
                <a:ext uri="{FF2B5EF4-FFF2-40B4-BE49-F238E27FC236}">
                  <a16:creationId xmlns:a16="http://schemas.microsoft.com/office/drawing/2014/main" id="{ACD32988-3281-05C1-1A48-4092CE16A1AA}"/>
                </a:ext>
              </a:extLst>
            </p:cNvPr>
            <p:cNvGrpSpPr/>
            <p:nvPr/>
          </p:nvGrpSpPr>
          <p:grpSpPr>
            <a:xfrm>
              <a:off x="8962393" y="3126862"/>
              <a:ext cx="360000" cy="360000"/>
              <a:chOff x="4320275" y="1895833"/>
              <a:chExt cx="360000" cy="360000"/>
            </a:xfrm>
          </p:grpSpPr>
          <p:sp>
            <p:nvSpPr>
              <p:cNvPr id="18" name="Oval 17">
                <a:extLst>
                  <a:ext uri="{FF2B5EF4-FFF2-40B4-BE49-F238E27FC236}">
                    <a16:creationId xmlns:a16="http://schemas.microsoft.com/office/drawing/2014/main" id="{C31C9444-997A-CBF5-FF77-49B460829D8B}"/>
                  </a:ext>
                </a:extLst>
              </p:cNvPr>
              <p:cNvSpPr>
                <a:spLocks noChangeAspect="1"/>
              </p:cNvSpPr>
              <p:nvPr/>
            </p:nvSpPr>
            <p:spPr>
              <a:xfrm>
                <a:off x="4320275" y="1895833"/>
                <a:ext cx="360000" cy="360000"/>
              </a:xfrm>
              <a:prstGeom prst="ellipse">
                <a:avLst/>
              </a:prstGeom>
              <a:solidFill>
                <a:schemeClr val="accent2"/>
              </a:solidFill>
              <a:ln w="12700" cap="flat" cmpd="sng" algn="ctr">
                <a:noFill/>
                <a:prstDash val="solid"/>
                <a:miter lim="800000"/>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DK" sz="1300" b="1" u="none" strike="noStrike" kern="0" cap="none" spc="0" normalizeH="0" baseline="0" noProof="0">
                  <a:ln>
                    <a:noFill/>
                  </a:ln>
                  <a:solidFill>
                    <a:schemeClr val="bg1"/>
                  </a:solidFill>
                  <a:effectLst/>
                  <a:uLnTx/>
                  <a:uFillTx/>
                  <a:latin typeface="Avenir Next LT Pro" panose="020B0504020202020204" pitchFamily="34" charset="77"/>
                </a:endParaRPr>
              </a:p>
            </p:txBody>
          </p:sp>
          <p:pic>
            <p:nvPicPr>
              <p:cNvPr id="19" name="Graphic 18" descr="Checkmark">
                <a:extLst>
                  <a:ext uri="{FF2B5EF4-FFF2-40B4-BE49-F238E27FC236}">
                    <a16:creationId xmlns:a16="http://schemas.microsoft.com/office/drawing/2014/main" id="{42F48145-E426-3663-2F2A-9E226BEB6654}"/>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427793" y="1970204"/>
                <a:ext cx="141251" cy="209479"/>
              </a:xfrm>
              <a:prstGeom prst="rect">
                <a:avLst/>
              </a:prstGeom>
            </p:spPr>
          </p:pic>
        </p:grpSp>
      </p:grpSp>
      <p:grpSp>
        <p:nvGrpSpPr>
          <p:cNvPr id="20" name="Group 19">
            <a:extLst>
              <a:ext uri="{FF2B5EF4-FFF2-40B4-BE49-F238E27FC236}">
                <a16:creationId xmlns:a16="http://schemas.microsoft.com/office/drawing/2014/main" id="{22FA24C4-1981-568A-FE22-E0BB5326C6BB}"/>
              </a:ext>
            </a:extLst>
          </p:cNvPr>
          <p:cNvGrpSpPr/>
          <p:nvPr/>
        </p:nvGrpSpPr>
        <p:grpSpPr>
          <a:xfrm>
            <a:off x="8876668" y="3965213"/>
            <a:ext cx="2696754" cy="488336"/>
            <a:chOff x="8962393" y="3678886"/>
            <a:chExt cx="2696754" cy="488336"/>
          </a:xfrm>
        </p:grpSpPr>
        <p:sp>
          <p:nvSpPr>
            <p:cNvPr id="21" name="Rectangle 20">
              <a:extLst>
                <a:ext uri="{FF2B5EF4-FFF2-40B4-BE49-F238E27FC236}">
                  <a16:creationId xmlns:a16="http://schemas.microsoft.com/office/drawing/2014/main" id="{56F72C59-C997-6DE7-886B-A4D82857B171}"/>
                </a:ext>
              </a:extLst>
            </p:cNvPr>
            <p:cNvSpPr/>
            <p:nvPr/>
          </p:nvSpPr>
          <p:spPr>
            <a:xfrm>
              <a:off x="9387781" y="3678886"/>
              <a:ext cx="2271366" cy="4883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DK" sz="1200">
                  <a:solidFill>
                    <a:schemeClr val="bg1"/>
                  </a:solidFill>
                  <a:latin typeface="Avenir Next LT Pro" panose="020B0504020202020204" pitchFamily="34" charset="0"/>
                </a:rPr>
                <a:t>More convenient dosing regimens</a:t>
              </a:r>
              <a:endParaRPr lang="en-GB" sz="1200">
                <a:solidFill>
                  <a:schemeClr val="bg1"/>
                </a:solidFill>
                <a:latin typeface="Avenir Next LT Pro" panose="020B0504020202020204" pitchFamily="34" charset="0"/>
              </a:endParaRPr>
            </a:p>
          </p:txBody>
        </p:sp>
        <p:grpSp>
          <p:nvGrpSpPr>
            <p:cNvPr id="22" name="Group 21">
              <a:extLst>
                <a:ext uri="{FF2B5EF4-FFF2-40B4-BE49-F238E27FC236}">
                  <a16:creationId xmlns:a16="http://schemas.microsoft.com/office/drawing/2014/main" id="{FE1B0DF3-48EA-F7D0-6C23-808CC653A733}"/>
                </a:ext>
              </a:extLst>
            </p:cNvPr>
            <p:cNvGrpSpPr/>
            <p:nvPr/>
          </p:nvGrpSpPr>
          <p:grpSpPr>
            <a:xfrm>
              <a:off x="8962393" y="3739811"/>
              <a:ext cx="360000" cy="360000"/>
              <a:chOff x="4320275" y="1895833"/>
              <a:chExt cx="360000" cy="360000"/>
            </a:xfrm>
          </p:grpSpPr>
          <p:sp>
            <p:nvSpPr>
              <p:cNvPr id="23" name="Oval 22">
                <a:extLst>
                  <a:ext uri="{FF2B5EF4-FFF2-40B4-BE49-F238E27FC236}">
                    <a16:creationId xmlns:a16="http://schemas.microsoft.com/office/drawing/2014/main" id="{037FAD0B-0A8E-F670-750A-95E4060CA58A}"/>
                  </a:ext>
                </a:extLst>
              </p:cNvPr>
              <p:cNvSpPr>
                <a:spLocks noChangeAspect="1"/>
              </p:cNvSpPr>
              <p:nvPr/>
            </p:nvSpPr>
            <p:spPr>
              <a:xfrm>
                <a:off x="4320275" y="1895833"/>
                <a:ext cx="360000" cy="360000"/>
              </a:xfrm>
              <a:prstGeom prst="ellipse">
                <a:avLst/>
              </a:prstGeom>
              <a:solidFill>
                <a:schemeClr val="accent2"/>
              </a:solidFill>
              <a:ln w="12700" cap="flat" cmpd="sng" algn="ctr">
                <a:noFill/>
                <a:prstDash val="solid"/>
                <a:miter lim="800000"/>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DK" sz="1300" b="1" u="none" strike="noStrike" kern="0" cap="none" spc="0" normalizeH="0" baseline="0" noProof="0">
                  <a:ln>
                    <a:noFill/>
                  </a:ln>
                  <a:solidFill>
                    <a:schemeClr val="bg1"/>
                  </a:solidFill>
                  <a:effectLst/>
                  <a:uLnTx/>
                  <a:uFillTx/>
                  <a:latin typeface="Avenir Next LT Pro" panose="020B0504020202020204" pitchFamily="34" charset="77"/>
                </a:endParaRPr>
              </a:p>
            </p:txBody>
          </p:sp>
          <p:pic>
            <p:nvPicPr>
              <p:cNvPr id="24" name="Graphic 23" descr="Checkmark">
                <a:extLst>
                  <a:ext uri="{FF2B5EF4-FFF2-40B4-BE49-F238E27FC236}">
                    <a16:creationId xmlns:a16="http://schemas.microsoft.com/office/drawing/2014/main" id="{3ECB3E91-4034-C51D-CEF5-27595A3A732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427793" y="1970204"/>
                <a:ext cx="141251" cy="209479"/>
              </a:xfrm>
              <a:prstGeom prst="rect">
                <a:avLst/>
              </a:prstGeom>
            </p:spPr>
          </p:pic>
        </p:grpSp>
      </p:grpSp>
      <p:grpSp>
        <p:nvGrpSpPr>
          <p:cNvPr id="25" name="Group 24">
            <a:extLst>
              <a:ext uri="{FF2B5EF4-FFF2-40B4-BE49-F238E27FC236}">
                <a16:creationId xmlns:a16="http://schemas.microsoft.com/office/drawing/2014/main" id="{00C377D2-D220-7022-B912-0B2FD351D60E}"/>
              </a:ext>
            </a:extLst>
          </p:cNvPr>
          <p:cNvGrpSpPr/>
          <p:nvPr/>
        </p:nvGrpSpPr>
        <p:grpSpPr>
          <a:xfrm>
            <a:off x="8876668" y="4626367"/>
            <a:ext cx="2696754" cy="488336"/>
            <a:chOff x="8962393" y="3678886"/>
            <a:chExt cx="2696754" cy="488336"/>
          </a:xfrm>
        </p:grpSpPr>
        <p:sp>
          <p:nvSpPr>
            <p:cNvPr id="26" name="Rectangle 25">
              <a:extLst>
                <a:ext uri="{FF2B5EF4-FFF2-40B4-BE49-F238E27FC236}">
                  <a16:creationId xmlns:a16="http://schemas.microsoft.com/office/drawing/2014/main" id="{945A5AF1-E0AA-915D-5612-7E97ADABA7C5}"/>
                </a:ext>
              </a:extLst>
            </p:cNvPr>
            <p:cNvSpPr/>
            <p:nvPr/>
          </p:nvSpPr>
          <p:spPr>
            <a:xfrm>
              <a:off x="9387781" y="3678886"/>
              <a:ext cx="2271366" cy="4883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DK" sz="1200">
                  <a:solidFill>
                    <a:schemeClr val="bg1"/>
                  </a:solidFill>
                  <a:latin typeface="Avenir Next LT Pro" panose="020B0504020202020204" pitchFamily="34" charset="0"/>
                </a:rPr>
                <a:t>Combination therapies</a:t>
              </a:r>
              <a:endParaRPr lang="en-GB" sz="1200">
                <a:solidFill>
                  <a:schemeClr val="bg1"/>
                </a:solidFill>
                <a:latin typeface="Avenir Next LT Pro" panose="020B0504020202020204" pitchFamily="34" charset="0"/>
              </a:endParaRPr>
            </a:p>
          </p:txBody>
        </p:sp>
        <p:grpSp>
          <p:nvGrpSpPr>
            <p:cNvPr id="27" name="Group 26">
              <a:extLst>
                <a:ext uri="{FF2B5EF4-FFF2-40B4-BE49-F238E27FC236}">
                  <a16:creationId xmlns:a16="http://schemas.microsoft.com/office/drawing/2014/main" id="{C4D772CE-5F9F-16C9-1ECC-D3C00E58326D}"/>
                </a:ext>
              </a:extLst>
            </p:cNvPr>
            <p:cNvGrpSpPr/>
            <p:nvPr/>
          </p:nvGrpSpPr>
          <p:grpSpPr>
            <a:xfrm>
              <a:off x="8962393" y="3739811"/>
              <a:ext cx="360000" cy="360000"/>
              <a:chOff x="4320275" y="1895833"/>
              <a:chExt cx="360000" cy="360000"/>
            </a:xfrm>
          </p:grpSpPr>
          <p:sp>
            <p:nvSpPr>
              <p:cNvPr id="28" name="Oval 27">
                <a:extLst>
                  <a:ext uri="{FF2B5EF4-FFF2-40B4-BE49-F238E27FC236}">
                    <a16:creationId xmlns:a16="http://schemas.microsoft.com/office/drawing/2014/main" id="{AC0009D6-71F1-BDE9-5FBE-5BEB52E94A7E}"/>
                  </a:ext>
                </a:extLst>
              </p:cNvPr>
              <p:cNvSpPr>
                <a:spLocks noChangeAspect="1"/>
              </p:cNvSpPr>
              <p:nvPr/>
            </p:nvSpPr>
            <p:spPr>
              <a:xfrm>
                <a:off x="4320275" y="1895833"/>
                <a:ext cx="360000" cy="360000"/>
              </a:xfrm>
              <a:prstGeom prst="ellipse">
                <a:avLst/>
              </a:prstGeom>
              <a:solidFill>
                <a:schemeClr val="accent2"/>
              </a:solidFill>
              <a:ln w="12700" cap="flat" cmpd="sng" algn="ctr">
                <a:noFill/>
                <a:prstDash val="solid"/>
                <a:miter lim="800000"/>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DK" sz="1300" b="1" u="none" strike="noStrike" kern="0" cap="none" spc="0" normalizeH="0" baseline="0" noProof="0">
                  <a:ln>
                    <a:noFill/>
                  </a:ln>
                  <a:solidFill>
                    <a:schemeClr val="bg1"/>
                  </a:solidFill>
                  <a:effectLst/>
                  <a:uLnTx/>
                  <a:uFillTx/>
                  <a:latin typeface="Avenir Next LT Pro" panose="020B0504020202020204" pitchFamily="34" charset="77"/>
                </a:endParaRPr>
              </a:p>
            </p:txBody>
          </p:sp>
          <p:pic>
            <p:nvPicPr>
              <p:cNvPr id="29" name="Graphic 28" descr="Checkmark">
                <a:extLst>
                  <a:ext uri="{FF2B5EF4-FFF2-40B4-BE49-F238E27FC236}">
                    <a16:creationId xmlns:a16="http://schemas.microsoft.com/office/drawing/2014/main" id="{2DBEC4D4-67A4-F1E7-2729-8BCCD24944B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427793" y="1970204"/>
                <a:ext cx="141251" cy="209479"/>
              </a:xfrm>
              <a:prstGeom prst="rect">
                <a:avLst/>
              </a:prstGeom>
            </p:spPr>
          </p:pic>
        </p:grpSp>
      </p:grpSp>
      <p:grpSp>
        <p:nvGrpSpPr>
          <p:cNvPr id="30" name="Group 29">
            <a:extLst>
              <a:ext uri="{FF2B5EF4-FFF2-40B4-BE49-F238E27FC236}">
                <a16:creationId xmlns:a16="http://schemas.microsoft.com/office/drawing/2014/main" id="{0012F6FE-A98C-3012-4E16-6DAFA53839FB}"/>
              </a:ext>
            </a:extLst>
          </p:cNvPr>
          <p:cNvGrpSpPr/>
          <p:nvPr/>
        </p:nvGrpSpPr>
        <p:grpSpPr>
          <a:xfrm>
            <a:off x="8876668" y="5287519"/>
            <a:ext cx="2696754" cy="488336"/>
            <a:chOff x="8962393" y="3678886"/>
            <a:chExt cx="2696754" cy="488336"/>
          </a:xfrm>
        </p:grpSpPr>
        <p:sp>
          <p:nvSpPr>
            <p:cNvPr id="31" name="Rectangle 30">
              <a:extLst>
                <a:ext uri="{FF2B5EF4-FFF2-40B4-BE49-F238E27FC236}">
                  <a16:creationId xmlns:a16="http://schemas.microsoft.com/office/drawing/2014/main" id="{4DF7EF82-54E5-A249-7544-E625217B70CA}"/>
                </a:ext>
              </a:extLst>
            </p:cNvPr>
            <p:cNvSpPr/>
            <p:nvPr/>
          </p:nvSpPr>
          <p:spPr>
            <a:xfrm>
              <a:off x="9387781" y="3678886"/>
              <a:ext cx="2271366" cy="4883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DK" sz="1200">
                  <a:solidFill>
                    <a:schemeClr val="bg1"/>
                  </a:solidFill>
                  <a:latin typeface="Avenir Next LT Pro" panose="020B0504020202020204" pitchFamily="34" charset="0"/>
                </a:rPr>
                <a:t>Ability to address </a:t>
              </a:r>
              <a:br>
                <a:rPr lang="en-DK" sz="1200">
                  <a:solidFill>
                    <a:schemeClr val="bg1"/>
                  </a:solidFill>
                  <a:latin typeface="Avenir Next LT Pro" panose="020B0504020202020204" pitchFamily="34" charset="0"/>
                </a:rPr>
              </a:br>
              <a:r>
                <a:rPr lang="en-DK" sz="1200">
                  <a:solidFill>
                    <a:schemeClr val="bg1"/>
                  </a:solidFill>
                  <a:latin typeface="Avenir Next LT Pro" panose="020B0504020202020204" pitchFamily="34" charset="0"/>
                </a:rPr>
                <a:t>co-morbidities</a:t>
              </a:r>
              <a:endParaRPr lang="en-GB" sz="1200">
                <a:solidFill>
                  <a:schemeClr val="bg1"/>
                </a:solidFill>
                <a:latin typeface="Avenir Next LT Pro" panose="020B0504020202020204" pitchFamily="34" charset="0"/>
              </a:endParaRPr>
            </a:p>
          </p:txBody>
        </p:sp>
        <p:grpSp>
          <p:nvGrpSpPr>
            <p:cNvPr id="32" name="Group 31">
              <a:extLst>
                <a:ext uri="{FF2B5EF4-FFF2-40B4-BE49-F238E27FC236}">
                  <a16:creationId xmlns:a16="http://schemas.microsoft.com/office/drawing/2014/main" id="{A969F5EE-45EC-85CC-2B02-DAA7FDD4E77D}"/>
                </a:ext>
              </a:extLst>
            </p:cNvPr>
            <p:cNvGrpSpPr/>
            <p:nvPr/>
          </p:nvGrpSpPr>
          <p:grpSpPr>
            <a:xfrm>
              <a:off x="8962393" y="3739811"/>
              <a:ext cx="360000" cy="360000"/>
              <a:chOff x="4320275" y="1895833"/>
              <a:chExt cx="360000" cy="360000"/>
            </a:xfrm>
          </p:grpSpPr>
          <p:sp>
            <p:nvSpPr>
              <p:cNvPr id="33" name="Oval 32">
                <a:extLst>
                  <a:ext uri="{FF2B5EF4-FFF2-40B4-BE49-F238E27FC236}">
                    <a16:creationId xmlns:a16="http://schemas.microsoft.com/office/drawing/2014/main" id="{ABA9C1A0-2163-7FF6-E034-D12B61FF6001}"/>
                  </a:ext>
                </a:extLst>
              </p:cNvPr>
              <p:cNvSpPr>
                <a:spLocks noChangeAspect="1"/>
              </p:cNvSpPr>
              <p:nvPr/>
            </p:nvSpPr>
            <p:spPr>
              <a:xfrm>
                <a:off x="4320275" y="1895833"/>
                <a:ext cx="360000" cy="360000"/>
              </a:xfrm>
              <a:prstGeom prst="ellipse">
                <a:avLst/>
              </a:prstGeom>
              <a:solidFill>
                <a:schemeClr val="accent2"/>
              </a:solidFill>
              <a:ln w="12700" cap="flat" cmpd="sng" algn="ctr">
                <a:noFill/>
                <a:prstDash val="solid"/>
                <a:miter lim="800000"/>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DK" sz="1300" b="1" u="none" strike="noStrike" kern="0" cap="none" spc="0" normalizeH="0" baseline="0" noProof="0">
                  <a:ln>
                    <a:noFill/>
                  </a:ln>
                  <a:solidFill>
                    <a:schemeClr val="bg1"/>
                  </a:solidFill>
                  <a:effectLst/>
                  <a:uLnTx/>
                  <a:uFillTx/>
                  <a:latin typeface="Avenir Next LT Pro" panose="020B0504020202020204" pitchFamily="34" charset="77"/>
                </a:endParaRPr>
              </a:p>
            </p:txBody>
          </p:sp>
          <p:pic>
            <p:nvPicPr>
              <p:cNvPr id="34" name="Graphic 33" descr="Checkmark">
                <a:extLst>
                  <a:ext uri="{FF2B5EF4-FFF2-40B4-BE49-F238E27FC236}">
                    <a16:creationId xmlns:a16="http://schemas.microsoft.com/office/drawing/2014/main" id="{8EA9BF26-94A3-15E7-495B-DCD60E23073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427793" y="1970204"/>
                <a:ext cx="141251" cy="209479"/>
              </a:xfrm>
              <a:prstGeom prst="rect">
                <a:avLst/>
              </a:prstGeom>
            </p:spPr>
          </p:pic>
        </p:grpSp>
      </p:grpSp>
      <p:sp>
        <p:nvSpPr>
          <p:cNvPr id="35" name="TextBox 34">
            <a:extLst>
              <a:ext uri="{FF2B5EF4-FFF2-40B4-BE49-F238E27FC236}">
                <a16:creationId xmlns:a16="http://schemas.microsoft.com/office/drawing/2014/main" id="{DA8FC080-B779-BF0B-2176-0460C321CB5C}"/>
              </a:ext>
            </a:extLst>
          </p:cNvPr>
          <p:cNvSpPr txBox="1">
            <a:spLocks/>
          </p:cNvSpPr>
          <p:nvPr/>
        </p:nvSpPr>
        <p:spPr>
          <a:xfrm>
            <a:off x="402917" y="1859763"/>
            <a:ext cx="3903090" cy="257368"/>
          </a:xfrm>
          <a:prstGeom prst="rect">
            <a:avLst/>
          </a:prstGeom>
          <a:noFill/>
        </p:spPr>
        <p:txBody>
          <a:bodyPr wrap="square" lIns="0" tIns="36000" rIns="0" bIns="36000">
            <a:spAutoFit/>
          </a:bodyPr>
          <a:lstStyle/>
          <a:p>
            <a:pPr marR="0" lvl="0" algn="ctr" defTabSz="889000" rtl="0" eaLnBrk="1" fontAlgn="auto" latinLnBrk="0" hangingPunct="1">
              <a:lnSpc>
                <a:spcPct val="100000"/>
              </a:lnSpc>
              <a:spcBef>
                <a:spcPts val="0"/>
              </a:spcBef>
              <a:spcAft>
                <a:spcPts val="1200"/>
              </a:spcAft>
              <a:buClrTx/>
              <a:buSzTx/>
              <a:tabLst/>
              <a:defRPr/>
            </a:pPr>
            <a:r>
              <a:rPr lang="en-DK" sz="1200" b="1">
                <a:solidFill>
                  <a:schemeClr val="bg1"/>
                </a:solidFill>
                <a:latin typeface="Avenir Next LT Pro Demi" panose="020B0504020202020204" pitchFamily="34" charset="77"/>
              </a:rPr>
              <a:t>Obesity continues to grow at a striking pace</a:t>
            </a:r>
            <a:endParaRPr kumimoji="0" lang="en-GB" sz="1200" b="1" u="none" strike="noStrike" kern="1200" cap="none" spc="0" normalizeH="0" baseline="0" noProof="0">
              <a:ln>
                <a:noFill/>
              </a:ln>
              <a:solidFill>
                <a:schemeClr val="bg1"/>
              </a:solidFill>
              <a:effectLst/>
              <a:uLnTx/>
              <a:uFillTx/>
              <a:latin typeface="Avenir Next LT Pro Demi" panose="020B0504020202020204" pitchFamily="34" charset="77"/>
            </a:endParaRPr>
          </a:p>
        </p:txBody>
      </p:sp>
      <p:sp>
        <p:nvSpPr>
          <p:cNvPr id="36" name="TextBox 35">
            <a:extLst>
              <a:ext uri="{FF2B5EF4-FFF2-40B4-BE49-F238E27FC236}">
                <a16:creationId xmlns:a16="http://schemas.microsoft.com/office/drawing/2014/main" id="{0E8FD563-7297-069A-82CF-F66D2D5651DE}"/>
              </a:ext>
            </a:extLst>
          </p:cNvPr>
          <p:cNvSpPr txBox="1">
            <a:spLocks/>
          </p:cNvSpPr>
          <p:nvPr/>
        </p:nvSpPr>
        <p:spPr>
          <a:xfrm>
            <a:off x="4805644" y="1859763"/>
            <a:ext cx="3514725" cy="257076"/>
          </a:xfrm>
          <a:prstGeom prst="rect">
            <a:avLst/>
          </a:prstGeom>
          <a:noFill/>
        </p:spPr>
        <p:txBody>
          <a:bodyPr wrap="square" lIns="0" tIns="36000" rIns="0" bIns="36000">
            <a:spAutoFit/>
          </a:bodyPr>
          <a:lstStyle/>
          <a:p>
            <a:pPr marR="0" lvl="0" algn="l" defTabSz="889000" rtl="0" eaLnBrk="1" fontAlgn="auto" latinLnBrk="0" hangingPunct="1">
              <a:lnSpc>
                <a:spcPct val="100000"/>
              </a:lnSpc>
              <a:spcBef>
                <a:spcPts val="0"/>
              </a:spcBef>
              <a:spcAft>
                <a:spcPts val="1200"/>
              </a:spcAft>
              <a:buClrTx/>
              <a:buSzTx/>
              <a:tabLst/>
              <a:defRPr/>
            </a:pPr>
            <a:r>
              <a:rPr lang="en-DK" sz="1200" b="1">
                <a:solidFill>
                  <a:schemeClr val="bg1"/>
                </a:solidFill>
                <a:latin typeface="Avenir Next LT Pro Demi" panose="020B0504020202020204" pitchFamily="34" charset="77"/>
              </a:rPr>
              <a:t>However, there is a paradigm shift in treatment</a:t>
            </a:r>
            <a:endParaRPr kumimoji="0" lang="en-GB" sz="1200" b="1" u="none" strike="noStrike" kern="1200" cap="none" spc="0" normalizeH="0" baseline="0" noProof="0">
              <a:ln>
                <a:noFill/>
              </a:ln>
              <a:solidFill>
                <a:schemeClr val="bg1"/>
              </a:solidFill>
              <a:effectLst/>
              <a:uLnTx/>
              <a:uFillTx/>
              <a:latin typeface="Avenir Next LT Pro Demi" panose="020B0504020202020204" pitchFamily="34" charset="77"/>
            </a:endParaRPr>
          </a:p>
        </p:txBody>
      </p:sp>
      <p:sp>
        <p:nvSpPr>
          <p:cNvPr id="37" name="Rectangle 36">
            <a:extLst>
              <a:ext uri="{FF2B5EF4-FFF2-40B4-BE49-F238E27FC236}">
                <a16:creationId xmlns:a16="http://schemas.microsoft.com/office/drawing/2014/main" id="{5079C075-69B9-1592-6642-E6A5F9ABE511}"/>
              </a:ext>
            </a:extLst>
          </p:cNvPr>
          <p:cNvSpPr/>
          <p:nvPr/>
        </p:nvSpPr>
        <p:spPr>
          <a:xfrm>
            <a:off x="8675340" y="1719213"/>
            <a:ext cx="2867065" cy="540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8" name="TextBox 37">
            <a:extLst>
              <a:ext uri="{FF2B5EF4-FFF2-40B4-BE49-F238E27FC236}">
                <a16:creationId xmlns:a16="http://schemas.microsoft.com/office/drawing/2014/main" id="{A5CF8DF5-7EA0-9B09-6D0B-0EB033D744B1}"/>
              </a:ext>
            </a:extLst>
          </p:cNvPr>
          <p:cNvSpPr txBox="1">
            <a:spLocks/>
          </p:cNvSpPr>
          <p:nvPr/>
        </p:nvSpPr>
        <p:spPr>
          <a:xfrm>
            <a:off x="8944648" y="1859763"/>
            <a:ext cx="2293923" cy="442035"/>
          </a:xfrm>
          <a:prstGeom prst="rect">
            <a:avLst/>
          </a:prstGeom>
          <a:noFill/>
        </p:spPr>
        <p:txBody>
          <a:bodyPr wrap="square" lIns="0" tIns="36000" rIns="0" bIns="36000">
            <a:spAutoFit/>
          </a:bodyPr>
          <a:lstStyle/>
          <a:p>
            <a:pPr marR="0" lvl="0" algn="l" defTabSz="889000" rtl="0" eaLnBrk="1" fontAlgn="auto" latinLnBrk="0" hangingPunct="1">
              <a:lnSpc>
                <a:spcPct val="100000"/>
              </a:lnSpc>
              <a:spcBef>
                <a:spcPts val="0"/>
              </a:spcBef>
              <a:spcAft>
                <a:spcPts val="1200"/>
              </a:spcAft>
              <a:buClrTx/>
              <a:buSzTx/>
              <a:tabLst/>
              <a:defRPr/>
            </a:pPr>
            <a:r>
              <a:rPr kumimoji="0" lang="en-DK" sz="1200" b="1" u="none" strike="noStrike" kern="1200" cap="none" spc="0" normalizeH="0" baseline="0" noProof="0">
                <a:ln>
                  <a:noFill/>
                </a:ln>
                <a:solidFill>
                  <a:schemeClr val="bg1"/>
                </a:solidFill>
                <a:effectLst/>
                <a:uLnTx/>
                <a:uFillTx/>
                <a:latin typeface="Avenir Next LT Pro Demi" panose="020B0504020202020204" pitchFamily="34" charset="77"/>
              </a:rPr>
              <a:t>Key trends will dominate </a:t>
            </a:r>
            <a:br>
              <a:rPr kumimoji="0" lang="en-DK" sz="1200" b="1" u="none" strike="noStrike" kern="1200" cap="none" spc="0" normalizeH="0" baseline="0" noProof="0">
                <a:ln>
                  <a:noFill/>
                </a:ln>
                <a:solidFill>
                  <a:schemeClr val="bg1"/>
                </a:solidFill>
                <a:effectLst/>
                <a:uLnTx/>
                <a:uFillTx/>
                <a:latin typeface="Avenir Next LT Pro Demi" panose="020B0504020202020204" pitchFamily="34" charset="77"/>
              </a:rPr>
            </a:br>
            <a:r>
              <a:rPr kumimoji="0" lang="en-DK" sz="1200" b="1" u="none" strike="noStrike" kern="1200" cap="none" spc="0" normalizeH="0" baseline="0" noProof="0">
                <a:ln>
                  <a:noFill/>
                </a:ln>
                <a:solidFill>
                  <a:schemeClr val="bg1"/>
                </a:solidFill>
                <a:effectLst/>
                <a:uLnTx/>
                <a:uFillTx/>
                <a:latin typeface="Avenir Next LT Pro Demi" panose="020B0504020202020204" pitchFamily="34" charset="77"/>
              </a:rPr>
              <a:t>future treatment</a:t>
            </a:r>
            <a:endParaRPr kumimoji="0" lang="en-GB" sz="1200" b="1" u="none" strike="noStrike" kern="1200" cap="none" spc="0" normalizeH="0" baseline="0" noProof="0">
              <a:ln>
                <a:noFill/>
              </a:ln>
              <a:solidFill>
                <a:schemeClr val="bg1"/>
              </a:solidFill>
              <a:effectLst/>
              <a:uLnTx/>
              <a:uFillTx/>
              <a:latin typeface="Avenir Next LT Pro Demi" panose="020B0504020202020204" pitchFamily="34" charset="77"/>
            </a:endParaRPr>
          </a:p>
        </p:txBody>
      </p:sp>
      <p:cxnSp>
        <p:nvCxnSpPr>
          <p:cNvPr id="39" name="Straight Connector 38">
            <a:extLst>
              <a:ext uri="{FF2B5EF4-FFF2-40B4-BE49-F238E27FC236}">
                <a16:creationId xmlns:a16="http://schemas.microsoft.com/office/drawing/2014/main" id="{FC725880-A9B6-89A3-7ADF-0BB5FA8C3247}"/>
              </a:ext>
            </a:extLst>
          </p:cNvPr>
          <p:cNvCxnSpPr>
            <a:cxnSpLocks/>
          </p:cNvCxnSpPr>
          <p:nvPr/>
        </p:nvCxnSpPr>
        <p:spPr>
          <a:xfrm>
            <a:off x="8944648" y="2476188"/>
            <a:ext cx="229392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pic>
        <p:nvPicPr>
          <p:cNvPr id="40" name="Graphic 39">
            <a:extLst>
              <a:ext uri="{FF2B5EF4-FFF2-40B4-BE49-F238E27FC236}">
                <a16:creationId xmlns:a16="http://schemas.microsoft.com/office/drawing/2014/main" id="{B03E402B-FC53-A03B-6601-AC50205A3F1F}"/>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59138" y="2898542"/>
            <a:ext cx="2990649" cy="3112716"/>
          </a:xfrm>
          <a:prstGeom prst="rect">
            <a:avLst/>
          </a:prstGeom>
        </p:spPr>
      </p:pic>
      <p:pic>
        <p:nvPicPr>
          <p:cNvPr id="41" name="Graphic 40">
            <a:extLst>
              <a:ext uri="{FF2B5EF4-FFF2-40B4-BE49-F238E27FC236}">
                <a16:creationId xmlns:a16="http://schemas.microsoft.com/office/drawing/2014/main" id="{33D31C03-03BC-6E79-1A78-EFABDA42720A}"/>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4889264" y="2675257"/>
            <a:ext cx="2777406" cy="3466689"/>
          </a:xfrm>
          <a:prstGeom prst="rect">
            <a:avLst/>
          </a:prstGeom>
        </p:spPr>
      </p:pic>
      <p:cxnSp>
        <p:nvCxnSpPr>
          <p:cNvPr id="42" name="Straight Connector 41">
            <a:extLst>
              <a:ext uri="{FF2B5EF4-FFF2-40B4-BE49-F238E27FC236}">
                <a16:creationId xmlns:a16="http://schemas.microsoft.com/office/drawing/2014/main" id="{5621964A-0F52-323D-0488-843A6DCE4027}"/>
              </a:ext>
            </a:extLst>
          </p:cNvPr>
          <p:cNvCxnSpPr/>
          <p:nvPr/>
        </p:nvCxnSpPr>
        <p:spPr>
          <a:xfrm>
            <a:off x="4429803" y="1950944"/>
            <a:ext cx="0" cy="410807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Title 2">
            <a:extLst>
              <a:ext uri="{FF2B5EF4-FFF2-40B4-BE49-F238E27FC236}">
                <a16:creationId xmlns:a16="http://schemas.microsoft.com/office/drawing/2014/main" id="{98E35826-B12B-39D8-E689-9E85845045AB}"/>
              </a:ext>
            </a:extLst>
          </p:cNvPr>
          <p:cNvSpPr txBox="1">
            <a:spLocks/>
          </p:cNvSpPr>
          <p:nvPr/>
        </p:nvSpPr>
        <p:spPr>
          <a:xfrm>
            <a:off x="565459" y="6443051"/>
            <a:ext cx="10800000" cy="221599"/>
          </a:xfrm>
          <a:prstGeom prst="rect">
            <a:avLst/>
          </a:prstGeom>
        </p:spPr>
        <p:txBody>
          <a:bodyPr vert="horz" wrap="square" lIns="0" tIns="0" rIns="0" bIns="0" rtlCol="0" anchor="t" anchorCtr="0">
            <a:spAutoFit/>
          </a:bodyPr>
          <a:lstStyle>
            <a:lvl1pPr algn="l" defTabSz="914377" rtl="0" eaLnBrk="1" latinLnBrk="0" hangingPunct="1">
              <a:lnSpc>
                <a:spcPct val="90000"/>
              </a:lnSpc>
              <a:spcBef>
                <a:spcPct val="0"/>
              </a:spcBef>
              <a:buNone/>
              <a:defRPr sz="3000" kern="1200">
                <a:solidFill>
                  <a:schemeClr val="accent1"/>
                </a:solidFill>
                <a:latin typeface="Georgia" charset="0"/>
                <a:ea typeface="Georgia" charset="0"/>
                <a:cs typeface="Georgia" charset="0"/>
              </a:defRPr>
            </a:lvl1pPr>
          </a:lstStyle>
          <a:p>
            <a:pPr>
              <a:defRPr/>
            </a:pPr>
            <a:r>
              <a:rPr lang="en-DK" sz="800">
                <a:solidFill>
                  <a:schemeClr val="bg1"/>
                </a:solidFill>
                <a:latin typeface="Avenir Next LT Pro"/>
              </a:rPr>
              <a:t>1) </a:t>
            </a:r>
            <a:r>
              <a:rPr lang="en-GB" sz="800">
                <a:solidFill>
                  <a:schemeClr val="bg1"/>
                </a:solidFill>
                <a:latin typeface="Avenir Next LT Pro"/>
              </a:rPr>
              <a:t>Sanchis-Gomar</a:t>
            </a:r>
            <a:r>
              <a:rPr lang="en-DK" sz="800">
                <a:solidFill>
                  <a:schemeClr val="bg1"/>
                </a:solidFill>
                <a:latin typeface="Avenir Next LT Pro"/>
              </a:rPr>
              <a:t> et al.</a:t>
            </a:r>
            <a:r>
              <a:rPr lang="en-GB" sz="800">
                <a:solidFill>
                  <a:schemeClr val="bg1"/>
                </a:solidFill>
                <a:latin typeface="Avenir Next LT Pro"/>
              </a:rPr>
              <a:t> </a:t>
            </a:r>
            <a:r>
              <a:rPr lang="en-US" sz="800">
                <a:solidFill>
                  <a:schemeClr val="bg1"/>
                </a:solidFill>
                <a:latin typeface="Avenir Next LT Pro"/>
              </a:rPr>
              <a:t>Balancing weight and muscle loss</a:t>
            </a:r>
            <a:r>
              <a:rPr lang="en-DK" sz="800">
                <a:solidFill>
                  <a:schemeClr val="bg1"/>
                </a:solidFill>
                <a:latin typeface="Avenir Next LT Pro"/>
              </a:rPr>
              <a:t> </a:t>
            </a:r>
            <a:r>
              <a:rPr lang="en-US" sz="800">
                <a:solidFill>
                  <a:schemeClr val="bg1"/>
                </a:solidFill>
                <a:latin typeface="Avenir Next LT Pro"/>
              </a:rPr>
              <a:t>in GLP1 receptor agonist therapy</a:t>
            </a:r>
            <a:r>
              <a:rPr lang="en-DK" sz="800">
                <a:solidFill>
                  <a:schemeClr val="bg1"/>
                </a:solidFill>
                <a:latin typeface="Avenir Next LT Pro"/>
              </a:rPr>
              <a:t>. </a:t>
            </a:r>
            <a:r>
              <a:rPr lang="en-GB" sz="800" i="1">
                <a:solidFill>
                  <a:schemeClr val="bg1"/>
                </a:solidFill>
                <a:latin typeface="Avenir Next LT Pro"/>
              </a:rPr>
              <a:t>Nat</a:t>
            </a:r>
            <a:r>
              <a:rPr lang="en-DK" sz="800" i="1" err="1">
                <a:solidFill>
                  <a:schemeClr val="bg1"/>
                </a:solidFill>
                <a:latin typeface="Avenir Next LT Pro"/>
              </a:rPr>
              <a:t>ure</a:t>
            </a:r>
            <a:r>
              <a:rPr lang="en-GB" sz="800" i="1">
                <a:solidFill>
                  <a:schemeClr val="bg1"/>
                </a:solidFill>
                <a:latin typeface="Avenir Next LT Pro"/>
              </a:rPr>
              <a:t> Rev</a:t>
            </a:r>
            <a:r>
              <a:rPr lang="en-DK" sz="800" i="1" err="1">
                <a:solidFill>
                  <a:schemeClr val="bg1"/>
                </a:solidFill>
                <a:latin typeface="Avenir Next LT Pro"/>
              </a:rPr>
              <a:t>iews</a:t>
            </a:r>
            <a:r>
              <a:rPr lang="en-GB" sz="800" i="1">
                <a:solidFill>
                  <a:schemeClr val="bg1"/>
                </a:solidFill>
                <a:latin typeface="Avenir Next LT Pro"/>
              </a:rPr>
              <a:t> Endocrinol</a:t>
            </a:r>
            <a:r>
              <a:rPr lang="en-DK" sz="800" i="1" err="1">
                <a:solidFill>
                  <a:schemeClr val="bg1"/>
                </a:solidFill>
                <a:latin typeface="Avenir Next LT Pro"/>
              </a:rPr>
              <a:t>ogy</a:t>
            </a:r>
            <a:r>
              <a:rPr lang="en-GB" sz="800" i="1">
                <a:solidFill>
                  <a:schemeClr val="bg1"/>
                </a:solidFill>
                <a:latin typeface="Avenir Next LT Pro"/>
              </a:rPr>
              <a:t> </a:t>
            </a:r>
            <a:r>
              <a:rPr lang="en-GB" sz="800">
                <a:solidFill>
                  <a:schemeClr val="bg1"/>
                </a:solidFill>
                <a:latin typeface="Avenir Next LT Pro"/>
              </a:rPr>
              <a:t>(2025).</a:t>
            </a:r>
            <a:endParaRPr lang="en-DK" sz="800">
              <a:solidFill>
                <a:schemeClr val="bg1"/>
              </a:solidFill>
              <a:latin typeface="Avenir Next LT Pro"/>
            </a:endParaRPr>
          </a:p>
          <a:p>
            <a:pPr>
              <a:defRPr/>
            </a:pPr>
            <a:r>
              <a:rPr lang="en-DK" sz="800">
                <a:solidFill>
                  <a:schemeClr val="bg1"/>
                </a:solidFill>
                <a:latin typeface="Avenir Next LT Pro"/>
              </a:rPr>
              <a:t>2) Healthy or h</a:t>
            </a:r>
            <a:r>
              <a:rPr lang="en-US" sz="800" err="1">
                <a:solidFill>
                  <a:schemeClr val="bg1"/>
                </a:solidFill>
                <a:latin typeface="Avenir Next LT Pro"/>
              </a:rPr>
              <a:t>igh</a:t>
            </a:r>
            <a:r>
              <a:rPr lang="en-US" sz="800">
                <a:solidFill>
                  <a:schemeClr val="bg1"/>
                </a:solidFill>
                <a:latin typeface="Avenir Next LT Pro"/>
              </a:rPr>
              <a:t>-quality weight loss refers to a healthier, more sustainable form of weight reduction that prioritizes fat mass loss while preserving</a:t>
            </a:r>
            <a:r>
              <a:rPr lang="en-DK" sz="800">
                <a:solidFill>
                  <a:schemeClr val="bg1"/>
                </a:solidFill>
                <a:latin typeface="Avenir Next LT Pro"/>
              </a:rPr>
              <a:t> </a:t>
            </a:r>
            <a:r>
              <a:rPr lang="en-US" sz="800">
                <a:solidFill>
                  <a:schemeClr val="bg1"/>
                </a:solidFill>
                <a:latin typeface="Avenir Next LT Pro"/>
              </a:rPr>
              <a:t>or even increasing</a:t>
            </a:r>
            <a:r>
              <a:rPr lang="en-DK" sz="800">
                <a:solidFill>
                  <a:schemeClr val="bg1"/>
                </a:solidFill>
                <a:latin typeface="Avenir Next LT Pro"/>
              </a:rPr>
              <a:t> lean muscle mass</a:t>
            </a:r>
          </a:p>
        </p:txBody>
      </p:sp>
    </p:spTree>
    <p:extLst>
      <p:ext uri="{BB962C8B-B14F-4D97-AF65-F5344CB8AC3E}">
        <p14:creationId xmlns:p14="http://schemas.microsoft.com/office/powerpoint/2010/main" val="3692807138"/>
      </p:ext>
    </p:ext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B2B6FC-83F6-EB4F-8D97-AB0E4086610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0D29C78-1E96-A676-AE77-46646F17FA2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think-cell data - do not delete" hidden="1">
                        <a:extLst>
                          <a:ext uri="{FF2B5EF4-FFF2-40B4-BE49-F238E27FC236}">
                            <a16:creationId xmlns:a16="http://schemas.microsoft.com/office/drawing/2014/main" id="{A0D29C78-1E96-A676-AE77-46646F17FA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7593393-CE7B-C247-3A57-DB556005923D}"/>
              </a:ext>
            </a:extLst>
          </p:cNvPr>
          <p:cNvSpPr>
            <a:spLocks noGrp="1"/>
          </p:cNvSpPr>
          <p:nvPr>
            <p:ph type="title"/>
          </p:nvPr>
        </p:nvSpPr>
        <p:spPr>
          <a:xfrm>
            <a:off x="565460" y="552715"/>
            <a:ext cx="10080170" cy="720197"/>
          </a:xfrm>
        </p:spPr>
        <p:txBody>
          <a:bodyPr vert="horz"/>
          <a:lstStyle/>
          <a:p>
            <a:r>
              <a:rPr lang="en-DK" sz="2600">
                <a:solidFill>
                  <a:schemeClr val="tx1"/>
                </a:solidFill>
              </a:rPr>
              <a:t>Our deep peptide expertise has delivered </a:t>
            </a:r>
            <a:r>
              <a:rPr lang="en-US" sz="2600">
                <a:solidFill>
                  <a:schemeClr val="tx1"/>
                </a:solidFill>
              </a:rPr>
              <a:t>3 potential obesity blockbusters </a:t>
            </a:r>
            <a:r>
              <a:rPr lang="en-DK" sz="2600">
                <a:solidFill>
                  <a:schemeClr val="tx1"/>
                </a:solidFill>
              </a:rPr>
              <a:t> </a:t>
            </a:r>
            <a:endParaRPr lang="en-US" sz="2600"/>
          </a:p>
        </p:txBody>
      </p:sp>
      <p:sp>
        <p:nvSpPr>
          <p:cNvPr id="201" name="Arrow: Pentagon 200">
            <a:extLst>
              <a:ext uri="{FF2B5EF4-FFF2-40B4-BE49-F238E27FC236}">
                <a16:creationId xmlns:a16="http://schemas.microsoft.com/office/drawing/2014/main" id="{1D2C0EFB-5923-EEB9-0518-FB0395CFE341}"/>
              </a:ext>
            </a:extLst>
          </p:cNvPr>
          <p:cNvSpPr/>
          <p:nvPr/>
        </p:nvSpPr>
        <p:spPr>
          <a:xfrm>
            <a:off x="8132796" y="1585608"/>
            <a:ext cx="4060792" cy="5272392"/>
          </a:xfrm>
          <a:prstGeom prst="homePlate">
            <a:avLst>
              <a:gd name="adj" fmla="val 0"/>
            </a:avLst>
          </a:prstGeom>
          <a:solidFill>
            <a:schemeClr val="tx2">
              <a:alpha val="20033"/>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7" name="Rectangle 316">
            <a:extLst>
              <a:ext uri="{FF2B5EF4-FFF2-40B4-BE49-F238E27FC236}">
                <a16:creationId xmlns:a16="http://schemas.microsoft.com/office/drawing/2014/main" id="{5BE08DFC-E8DB-BCA6-20AE-990B38103BE3}"/>
              </a:ext>
            </a:extLst>
          </p:cNvPr>
          <p:cNvSpPr/>
          <p:nvPr/>
        </p:nvSpPr>
        <p:spPr>
          <a:xfrm>
            <a:off x="9132691" y="2540597"/>
            <a:ext cx="2068210" cy="326123"/>
          </a:xfrm>
          <a:prstGeom prst="rect">
            <a:avLst/>
          </a:prstGeom>
          <a:solidFill>
            <a:srgbClr val="FFFFFF">
              <a:alpha val="0"/>
            </a:srgbClr>
          </a:solidFill>
          <a:ln w="12700" cap="flat" cmpd="sng" algn="ctr">
            <a:noFill/>
            <a:prstDash val="dash"/>
            <a:miter lim="800000"/>
          </a:ln>
          <a:effectLst/>
          <a:extLst>
            <a:ext uri="{91240B29-F687-4F45-9708-019B960494DF}">
              <a14:hiddenLine xmlns:a14="http://schemas.microsoft.com/office/drawing/2010/main" w="12700" cap="flat" cmpd="sng" algn="ctr">
                <a:solidFill>
                  <a:srgbClr val="FFFFFF"/>
                </a:solidFill>
                <a:prstDash val="dash"/>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600" b="1" i="0" u="none" strike="noStrike" kern="1200" cap="none" spc="0" normalizeH="0" baseline="0" noProof="0">
                <a:ln>
                  <a:noFill/>
                </a:ln>
                <a:solidFill>
                  <a:srgbClr val="2878FF"/>
                </a:solidFill>
                <a:effectLst/>
                <a:uLnTx/>
                <a:uFillTx/>
                <a:latin typeface="Avenir Next LT Pro Demi" panose="020B0504020202020204" pitchFamily="34" charset="77"/>
                <a:ea typeface="+mn-ea"/>
                <a:cs typeface="+mn-cs"/>
              </a:rPr>
              <a:t>GUB-UCN2 internal</a:t>
            </a:r>
            <a:endParaRPr kumimoji="0" lang="en-GB" sz="1600" b="1" i="0" u="none" strike="noStrike" kern="1200" cap="none" spc="0" normalizeH="0" baseline="0" noProof="0">
              <a:ln>
                <a:noFill/>
              </a:ln>
              <a:solidFill>
                <a:srgbClr val="2878FF"/>
              </a:solidFill>
              <a:effectLst/>
              <a:uLnTx/>
              <a:uFillTx/>
              <a:latin typeface="Avenir Next LT Pro Demi" panose="020B0504020202020204" pitchFamily="34" charset="77"/>
              <a:ea typeface="+mn-ea"/>
              <a:cs typeface="+mn-cs"/>
            </a:endParaRPr>
          </a:p>
        </p:txBody>
      </p:sp>
      <p:sp>
        <p:nvSpPr>
          <p:cNvPr id="456" name="Rectangle 455">
            <a:extLst>
              <a:ext uri="{FF2B5EF4-FFF2-40B4-BE49-F238E27FC236}">
                <a16:creationId xmlns:a16="http://schemas.microsoft.com/office/drawing/2014/main" id="{0D39F87B-6594-2A0F-8FB4-41DCA7C3749C}"/>
              </a:ext>
            </a:extLst>
          </p:cNvPr>
          <p:cNvSpPr/>
          <p:nvPr/>
        </p:nvSpPr>
        <p:spPr>
          <a:xfrm>
            <a:off x="8721448" y="2981752"/>
            <a:ext cx="2890695" cy="326123"/>
          </a:xfrm>
          <a:prstGeom prst="rect">
            <a:avLst/>
          </a:prstGeom>
          <a:solidFill>
            <a:srgbClr val="FFFFFF">
              <a:alpha val="0"/>
            </a:srgbClr>
          </a:solidFill>
          <a:ln w="12700" cap="flat" cmpd="sng" algn="ctr">
            <a:noFill/>
            <a:prstDash val="dash"/>
            <a:miter lim="800000"/>
          </a:ln>
          <a:effectLst/>
          <a:extLst>
            <a:ext uri="{91240B29-F687-4F45-9708-019B960494DF}">
              <a14:hiddenLine xmlns:a14="http://schemas.microsoft.com/office/drawing/2010/main" w="12700" cap="flat" cmpd="sng" algn="ctr">
                <a:solidFill>
                  <a:srgbClr val="FFFFFF"/>
                </a:solidFill>
                <a:prstDash val="dash"/>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rPr>
              <a:t>Development stage: </a:t>
            </a:r>
            <a:br>
              <a:rPr kumimoji="0" lang="en-DK"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rPr>
            </a:br>
            <a:r>
              <a:rPr kumimoji="0" lang="en-DK" sz="1200" b="1" i="0" u="none" strike="noStrike" kern="1200" cap="none" spc="0" normalizeH="0" baseline="0" noProof="0">
                <a:ln>
                  <a:noFill/>
                </a:ln>
                <a:solidFill>
                  <a:srgbClr val="001965">
                    <a:lumMod val="100000"/>
                  </a:srgbClr>
                </a:solidFill>
                <a:effectLst/>
                <a:uLnTx/>
                <a:uFillTx/>
                <a:latin typeface="Avenir Next LT Pro Demi" panose="020B0504020202020204" pitchFamily="34" charset="77"/>
                <a:ea typeface="+mn-ea"/>
                <a:cs typeface="+mn-cs"/>
              </a:rPr>
              <a:t>Entering Phase 1 H2’26 </a:t>
            </a:r>
            <a:endParaRPr kumimoji="0" lang="en-GB" sz="1200" b="1" i="0" u="none" strike="noStrike" kern="1200" cap="none" spc="0" normalizeH="0" baseline="0" noProof="0">
              <a:ln>
                <a:noFill/>
              </a:ln>
              <a:solidFill>
                <a:srgbClr val="001965">
                  <a:lumMod val="100000"/>
                </a:srgbClr>
              </a:solidFill>
              <a:effectLst/>
              <a:uLnTx/>
              <a:uFillTx/>
              <a:latin typeface="Avenir Next LT Pro Demi" panose="020B0504020202020204" pitchFamily="34" charset="77"/>
              <a:ea typeface="+mn-ea"/>
              <a:cs typeface="+mn-cs"/>
            </a:endParaRPr>
          </a:p>
        </p:txBody>
      </p:sp>
      <p:cxnSp>
        <p:nvCxnSpPr>
          <p:cNvPr id="334" name="Straight Connector 333">
            <a:extLst>
              <a:ext uri="{FF2B5EF4-FFF2-40B4-BE49-F238E27FC236}">
                <a16:creationId xmlns:a16="http://schemas.microsoft.com/office/drawing/2014/main" id="{A08E48DC-FF63-7317-7992-0593B30728AF}"/>
              </a:ext>
            </a:extLst>
          </p:cNvPr>
          <p:cNvCxnSpPr>
            <a:cxnSpLocks/>
          </p:cNvCxnSpPr>
          <p:nvPr/>
        </p:nvCxnSpPr>
        <p:spPr>
          <a:xfrm>
            <a:off x="8586955" y="5644431"/>
            <a:ext cx="3159682" cy="0"/>
          </a:xfrm>
          <a:prstGeom prst="line">
            <a:avLst/>
          </a:prstGeom>
          <a:ln>
            <a:solidFill>
              <a:schemeClr val="bg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 name="Rounded Rectangle 4">
            <a:extLst>
              <a:ext uri="{FF2B5EF4-FFF2-40B4-BE49-F238E27FC236}">
                <a16:creationId xmlns:a16="http://schemas.microsoft.com/office/drawing/2014/main" id="{346261BC-682E-0924-F1AE-8A6A5A070037}"/>
              </a:ext>
            </a:extLst>
          </p:cNvPr>
          <p:cNvSpPr/>
          <p:nvPr/>
        </p:nvSpPr>
        <p:spPr>
          <a:xfrm>
            <a:off x="9117770" y="5500431"/>
            <a:ext cx="2098053" cy="288000"/>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lang="en-DK" sz="1200" b="1">
                <a:solidFill>
                  <a:srgbClr val="001965"/>
                </a:solidFill>
                <a:latin typeface="Avenir Next LT Pro Demi" panose="020B0504020202020204" pitchFamily="34" charset="77"/>
              </a:rPr>
              <a:t>Fe</a:t>
            </a:r>
            <a:r>
              <a:rPr kumimoji="0" lang="en-DK" sz="1200" b="1" i="0" u="none" strike="noStrike" kern="1200" cap="none" spc="0" normalizeH="0" baseline="0" noProof="0" err="1">
                <a:ln>
                  <a:noFill/>
                </a:ln>
                <a:solidFill>
                  <a:srgbClr val="001965"/>
                </a:solidFill>
                <a:effectLst/>
                <a:uLnTx/>
                <a:uFillTx/>
                <a:latin typeface="Avenir Next LT Pro Demi" panose="020B0504020202020204" pitchFamily="34" charset="77"/>
                <a:ea typeface="+mn-ea"/>
                <a:cs typeface="+mn-cs"/>
              </a:rPr>
              <a:t>atures</a:t>
            </a:r>
            <a:r>
              <a:rPr kumimoji="0" lang="en-DK" sz="12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rPr>
              <a:t> of GUB-UCN2</a:t>
            </a:r>
            <a:endParaRPr kumimoji="0" lang="en-GB" sz="12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endParaRPr>
          </a:p>
        </p:txBody>
      </p:sp>
      <p:sp>
        <p:nvSpPr>
          <p:cNvPr id="202" name="Rectangle 201">
            <a:extLst>
              <a:ext uri="{FF2B5EF4-FFF2-40B4-BE49-F238E27FC236}">
                <a16:creationId xmlns:a16="http://schemas.microsoft.com/office/drawing/2014/main" id="{9A6C4C6D-D1FC-64D7-6CA1-221DDE917219}"/>
              </a:ext>
            </a:extLst>
          </p:cNvPr>
          <p:cNvSpPr/>
          <p:nvPr/>
        </p:nvSpPr>
        <p:spPr>
          <a:xfrm>
            <a:off x="-1" y="1585609"/>
            <a:ext cx="4068000" cy="5272391"/>
          </a:xfrm>
          <a:prstGeom prst="rect">
            <a:avLst/>
          </a:prstGeom>
          <a:solidFill>
            <a:schemeClr val="bg2">
              <a:alpha val="40051"/>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0" name="Straight Connector 9">
            <a:extLst>
              <a:ext uri="{FF2B5EF4-FFF2-40B4-BE49-F238E27FC236}">
                <a16:creationId xmlns:a16="http://schemas.microsoft.com/office/drawing/2014/main" id="{01B1001F-5F44-1B5B-DBA4-A5A2ADF52132}"/>
              </a:ext>
            </a:extLst>
          </p:cNvPr>
          <p:cNvCxnSpPr>
            <a:cxnSpLocks/>
          </p:cNvCxnSpPr>
          <p:nvPr/>
        </p:nvCxnSpPr>
        <p:spPr>
          <a:xfrm>
            <a:off x="427072" y="5644431"/>
            <a:ext cx="3159682" cy="0"/>
          </a:xfrm>
          <a:prstGeom prst="line">
            <a:avLst/>
          </a:prstGeom>
          <a:ln>
            <a:solidFill>
              <a:schemeClr val="bg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Rounded Rectangle 10">
            <a:extLst>
              <a:ext uri="{FF2B5EF4-FFF2-40B4-BE49-F238E27FC236}">
                <a16:creationId xmlns:a16="http://schemas.microsoft.com/office/drawing/2014/main" id="{E19787B0-CD11-9BA0-F28B-45253C79F87C}"/>
              </a:ext>
            </a:extLst>
          </p:cNvPr>
          <p:cNvSpPr/>
          <p:nvPr/>
        </p:nvSpPr>
        <p:spPr>
          <a:xfrm>
            <a:off x="957886" y="5500431"/>
            <a:ext cx="2098053" cy="288000"/>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lang="en-US" sz="1200" b="1">
                <a:solidFill>
                  <a:srgbClr val="001965"/>
                </a:solidFill>
                <a:latin typeface="Avenir Next LT Pro Demi" panose="020B0504020202020204" pitchFamily="34" charset="77"/>
              </a:rPr>
              <a:t>F</a:t>
            </a:r>
            <a:r>
              <a:rPr lang="en-DK" sz="1200" b="1" err="1">
                <a:solidFill>
                  <a:srgbClr val="001965"/>
                </a:solidFill>
                <a:latin typeface="Avenir Next LT Pro Demi" panose="020B0504020202020204" pitchFamily="34" charset="77"/>
              </a:rPr>
              <a:t>eatures</a:t>
            </a:r>
            <a:r>
              <a:rPr lang="en-DK" sz="1200" b="1">
                <a:solidFill>
                  <a:srgbClr val="001965"/>
                </a:solidFill>
                <a:latin typeface="Avenir Next LT Pro Demi" panose="020B0504020202020204" pitchFamily="34" charset="77"/>
              </a:rPr>
              <a:t> </a:t>
            </a:r>
            <a:r>
              <a:rPr kumimoji="0" lang="en-DK" sz="12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rPr>
              <a:t>of ABBV-295</a:t>
            </a:r>
            <a:endParaRPr kumimoji="0" lang="en-GB" sz="12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endParaRPr>
          </a:p>
        </p:txBody>
      </p:sp>
      <p:sp>
        <p:nvSpPr>
          <p:cNvPr id="12" name="Rectangle 11">
            <a:extLst>
              <a:ext uri="{FF2B5EF4-FFF2-40B4-BE49-F238E27FC236}">
                <a16:creationId xmlns:a16="http://schemas.microsoft.com/office/drawing/2014/main" id="{294A3207-C224-0335-1CC7-855446A7EA00}"/>
              </a:ext>
            </a:extLst>
          </p:cNvPr>
          <p:cNvSpPr/>
          <p:nvPr/>
        </p:nvSpPr>
        <p:spPr>
          <a:xfrm>
            <a:off x="588652" y="2981752"/>
            <a:ext cx="2890695" cy="326123"/>
          </a:xfrm>
          <a:prstGeom prst="rect">
            <a:avLst/>
          </a:prstGeom>
          <a:solidFill>
            <a:srgbClr val="FFFFFF">
              <a:alpha val="0"/>
            </a:srgbClr>
          </a:solidFill>
          <a:ln w="12700" cap="flat" cmpd="sng" algn="ctr">
            <a:noFill/>
            <a:prstDash val="dash"/>
            <a:miter lim="800000"/>
          </a:ln>
          <a:effectLst/>
          <a:extLst>
            <a:ext uri="{91240B29-F687-4F45-9708-019B960494DF}">
              <a14:hiddenLine xmlns:a14="http://schemas.microsoft.com/office/drawing/2010/main" w="12700" cap="flat" cmpd="sng" algn="ctr">
                <a:solidFill>
                  <a:srgbClr val="FFFFFF"/>
                </a:solidFill>
                <a:prstDash val="dash"/>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kumimoji="0" lang="en-DK"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rPr>
              <a:t>Development stage: </a:t>
            </a:r>
            <a:br>
              <a:rPr kumimoji="0" lang="en-DK"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rPr>
            </a:br>
            <a:r>
              <a:rPr lang="en-DK" sz="1200" b="1">
                <a:solidFill>
                  <a:srgbClr val="001965">
                    <a:lumMod val="100000"/>
                  </a:srgbClr>
                </a:solidFill>
                <a:latin typeface="Avenir Next LT Pro Demi" panose="020B0504020202020204" pitchFamily="34" charset="77"/>
              </a:rPr>
              <a:t>Entering Phase 2 in </a:t>
            </a:r>
            <a:r>
              <a:rPr lang="en-GB" sz="1200" b="1">
                <a:solidFill>
                  <a:srgbClr val="001965">
                    <a:lumMod val="100000"/>
                  </a:srgbClr>
                </a:solidFill>
                <a:latin typeface="Avenir Next LT Pro Demi" panose="020B0504020202020204" pitchFamily="34" charset="77"/>
              </a:rPr>
              <a:t>Q3 </a:t>
            </a:r>
            <a:r>
              <a:rPr lang="en-DK" sz="1200" b="1">
                <a:solidFill>
                  <a:srgbClr val="001965">
                    <a:lumMod val="100000"/>
                  </a:srgbClr>
                </a:solidFill>
                <a:latin typeface="Avenir Next LT Pro Demi" panose="020B0504020202020204" pitchFamily="34" charset="77"/>
              </a:rPr>
              <a:t>2026</a:t>
            </a:r>
            <a:endParaRPr kumimoji="0" lang="en-GB" sz="1200" b="1" i="0" u="none" strike="noStrike" kern="1200" cap="none" spc="0" normalizeH="0" baseline="0" noProof="0">
              <a:ln>
                <a:noFill/>
              </a:ln>
              <a:solidFill>
                <a:srgbClr val="001965">
                  <a:lumMod val="100000"/>
                </a:srgbClr>
              </a:solidFill>
              <a:effectLst/>
              <a:uLnTx/>
              <a:uFillTx/>
              <a:latin typeface="Avenir Next LT Pro Demi" panose="020B0504020202020204" pitchFamily="34" charset="77"/>
              <a:ea typeface="+mn-ea"/>
              <a:cs typeface="+mn-cs"/>
            </a:endParaRPr>
          </a:p>
        </p:txBody>
      </p:sp>
      <p:sp>
        <p:nvSpPr>
          <p:cNvPr id="18" name="Rectangle 17">
            <a:extLst>
              <a:ext uri="{FF2B5EF4-FFF2-40B4-BE49-F238E27FC236}">
                <a16:creationId xmlns:a16="http://schemas.microsoft.com/office/drawing/2014/main" id="{3F58E44C-5685-228A-F46B-F56E749333CC}"/>
              </a:ext>
            </a:extLst>
          </p:cNvPr>
          <p:cNvSpPr/>
          <p:nvPr/>
        </p:nvSpPr>
        <p:spPr>
          <a:xfrm>
            <a:off x="718436" y="2540597"/>
            <a:ext cx="2631126" cy="326123"/>
          </a:xfrm>
          <a:prstGeom prst="rect">
            <a:avLst/>
          </a:prstGeom>
          <a:solidFill>
            <a:srgbClr val="FFFFFF">
              <a:alpha val="0"/>
            </a:srgbClr>
          </a:solidFill>
          <a:ln w="12700" cap="flat" cmpd="sng" algn="ctr">
            <a:noFill/>
            <a:prstDash val="dash"/>
            <a:miter lim="800000"/>
          </a:ln>
          <a:effectLst/>
          <a:extLst>
            <a:ext uri="{91240B29-F687-4F45-9708-019B960494DF}">
              <a14:hiddenLine xmlns:a14="http://schemas.microsoft.com/office/drawing/2010/main" w="12700" cap="flat" cmpd="sng" algn="ctr">
                <a:solidFill>
                  <a:srgbClr val="FFFFFF"/>
                </a:solidFill>
                <a:prstDash val="dash"/>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600" b="1" i="0" u="none" strike="noStrike" kern="1200" cap="none" spc="0" normalizeH="0" baseline="0" noProof="0">
                <a:ln>
                  <a:noFill/>
                </a:ln>
                <a:solidFill>
                  <a:schemeClr val="tx1"/>
                </a:solidFill>
                <a:effectLst/>
                <a:uLnTx/>
                <a:uFillTx/>
                <a:latin typeface="Avenir Next LT Pro Demi" panose="020B0504020202020204" pitchFamily="34" charset="77"/>
                <a:ea typeface="+mn-ea"/>
                <a:cs typeface="+mn-cs"/>
              </a:rPr>
              <a:t>ABBV-295 out-licensed </a:t>
            </a:r>
            <a:endParaRPr kumimoji="0" lang="en-GB" sz="1600" b="1" i="0" u="none" strike="noStrike" kern="1200" cap="none" spc="0" normalizeH="0" baseline="0" noProof="0">
              <a:ln>
                <a:noFill/>
              </a:ln>
              <a:solidFill>
                <a:schemeClr val="tx1"/>
              </a:solidFill>
              <a:effectLst/>
              <a:uLnTx/>
              <a:uFillTx/>
              <a:latin typeface="Avenir Next LT Pro Demi" panose="020B0504020202020204" pitchFamily="34" charset="77"/>
              <a:ea typeface="+mn-ea"/>
              <a:cs typeface="+mn-cs"/>
            </a:endParaRPr>
          </a:p>
        </p:txBody>
      </p:sp>
      <p:sp>
        <p:nvSpPr>
          <p:cNvPr id="15" name="Freeform 9">
            <a:extLst>
              <a:ext uri="{FF2B5EF4-FFF2-40B4-BE49-F238E27FC236}">
                <a16:creationId xmlns:a16="http://schemas.microsoft.com/office/drawing/2014/main" id="{673C925F-9424-B265-919E-8AEA1F8F87B7}"/>
              </a:ext>
            </a:extLst>
          </p:cNvPr>
          <p:cNvSpPr/>
          <p:nvPr/>
        </p:nvSpPr>
        <p:spPr>
          <a:xfrm>
            <a:off x="9443255" y="201415"/>
            <a:ext cx="608999" cy="622019"/>
          </a:xfrm>
          <a:custGeom>
            <a:avLst/>
            <a:gdLst>
              <a:gd name="connsiteX0" fmla="*/ 176190 w 608999"/>
              <a:gd name="connsiteY0" fmla="*/ 0 h 622019"/>
              <a:gd name="connsiteX1" fmla="*/ 90300 w 608999"/>
              <a:gd name="connsiteY1" fmla="*/ 0 h 622019"/>
              <a:gd name="connsiteX2" fmla="*/ 36960 w 608999"/>
              <a:gd name="connsiteY2" fmla="*/ 12390 h 622019"/>
              <a:gd name="connsiteX3" fmla="*/ 6720 w 608999"/>
              <a:gd name="connsiteY3" fmla="*/ 45780 h 622019"/>
              <a:gd name="connsiteX4" fmla="*/ 0 w 608999"/>
              <a:gd name="connsiteY4" fmla="*/ 97020 h 622019"/>
              <a:gd name="connsiteX5" fmla="*/ 0 w 608999"/>
              <a:gd name="connsiteY5" fmla="*/ 286020 h 622019"/>
              <a:gd name="connsiteX6" fmla="*/ 0 w 608999"/>
              <a:gd name="connsiteY6" fmla="*/ 538020 h 622019"/>
              <a:gd name="connsiteX7" fmla="*/ 0 w 608999"/>
              <a:gd name="connsiteY7" fmla="*/ 566580 h 622019"/>
              <a:gd name="connsiteX8" fmla="*/ 21000 w 608999"/>
              <a:gd name="connsiteY8" fmla="*/ 601020 h 622019"/>
              <a:gd name="connsiteX9" fmla="*/ 42000 w 608999"/>
              <a:gd name="connsiteY9" fmla="*/ 622020 h 622019"/>
              <a:gd name="connsiteX10" fmla="*/ 539910 w 608999"/>
              <a:gd name="connsiteY10" fmla="*/ 622020 h 622019"/>
              <a:gd name="connsiteX11" fmla="*/ 577500 w 608999"/>
              <a:gd name="connsiteY11" fmla="*/ 605640 h 622019"/>
              <a:gd name="connsiteX12" fmla="*/ 609000 w 608999"/>
              <a:gd name="connsiteY12" fmla="*/ 559020 h 622019"/>
              <a:gd name="connsiteX13" fmla="*/ 609000 w 608999"/>
              <a:gd name="connsiteY13" fmla="*/ 433020 h 622019"/>
              <a:gd name="connsiteX14" fmla="*/ 609000 w 608999"/>
              <a:gd name="connsiteY14" fmla="*/ 61530 h 622019"/>
              <a:gd name="connsiteX15" fmla="*/ 588420 w 608999"/>
              <a:gd name="connsiteY15" fmla="*/ 26040 h 622019"/>
              <a:gd name="connsiteX16" fmla="*/ 567000 w 608999"/>
              <a:gd name="connsiteY16" fmla="*/ 13020 h 622019"/>
              <a:gd name="connsiteX17" fmla="*/ 472710 w 608999"/>
              <a:gd name="connsiteY17" fmla="*/ 0 h 622019"/>
              <a:gd name="connsiteX18" fmla="*/ 428190 w 608999"/>
              <a:gd name="connsiteY18" fmla="*/ 0 h 622019"/>
              <a:gd name="connsiteX19" fmla="*/ 420000 w 608999"/>
              <a:gd name="connsiteY19" fmla="*/ 55020 h 622019"/>
              <a:gd name="connsiteX20" fmla="*/ 382410 w 608999"/>
              <a:gd name="connsiteY20" fmla="*/ 90300 h 622019"/>
              <a:gd name="connsiteX21" fmla="*/ 336000 w 608999"/>
              <a:gd name="connsiteY21" fmla="*/ 118020 h 622019"/>
              <a:gd name="connsiteX22" fmla="*/ 294000 w 608999"/>
              <a:gd name="connsiteY22" fmla="*/ 118020 h 622019"/>
              <a:gd name="connsiteX23" fmla="*/ 245490 w 608999"/>
              <a:gd name="connsiteY23" fmla="*/ 110880 h 622019"/>
              <a:gd name="connsiteX24" fmla="*/ 189000 w 608999"/>
              <a:gd name="connsiteY24" fmla="*/ 55020 h 622019"/>
              <a:gd name="connsiteX25" fmla="*/ 189000 w 608999"/>
              <a:gd name="connsiteY25" fmla="*/ 13020 h 622019"/>
              <a:gd name="connsiteX26" fmla="*/ 176190 w 608999"/>
              <a:gd name="connsiteY26" fmla="*/ 0 h 62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08999" h="622019">
                <a:moveTo>
                  <a:pt x="176190" y="0"/>
                </a:moveTo>
                <a:lnTo>
                  <a:pt x="90300" y="0"/>
                </a:lnTo>
                <a:lnTo>
                  <a:pt x="36960" y="12390"/>
                </a:lnTo>
                <a:lnTo>
                  <a:pt x="6720" y="45780"/>
                </a:lnTo>
                <a:lnTo>
                  <a:pt x="0" y="97020"/>
                </a:lnTo>
                <a:lnTo>
                  <a:pt x="0" y="286020"/>
                </a:lnTo>
                <a:lnTo>
                  <a:pt x="0" y="538020"/>
                </a:lnTo>
                <a:lnTo>
                  <a:pt x="0" y="566580"/>
                </a:lnTo>
                <a:lnTo>
                  <a:pt x="21000" y="601020"/>
                </a:lnTo>
                <a:lnTo>
                  <a:pt x="42000" y="622020"/>
                </a:lnTo>
                <a:lnTo>
                  <a:pt x="539910" y="622020"/>
                </a:lnTo>
                <a:lnTo>
                  <a:pt x="577500" y="605640"/>
                </a:lnTo>
                <a:lnTo>
                  <a:pt x="609000" y="559020"/>
                </a:lnTo>
                <a:lnTo>
                  <a:pt x="609000" y="433020"/>
                </a:lnTo>
                <a:lnTo>
                  <a:pt x="609000" y="61530"/>
                </a:lnTo>
                <a:lnTo>
                  <a:pt x="588420" y="26040"/>
                </a:lnTo>
                <a:lnTo>
                  <a:pt x="567000" y="13020"/>
                </a:lnTo>
                <a:lnTo>
                  <a:pt x="472710" y="0"/>
                </a:lnTo>
                <a:lnTo>
                  <a:pt x="428190" y="0"/>
                </a:lnTo>
                <a:lnTo>
                  <a:pt x="420000" y="55020"/>
                </a:lnTo>
                <a:lnTo>
                  <a:pt x="382410" y="90300"/>
                </a:lnTo>
                <a:lnTo>
                  <a:pt x="336000" y="118020"/>
                </a:lnTo>
                <a:lnTo>
                  <a:pt x="294000" y="118020"/>
                </a:lnTo>
                <a:lnTo>
                  <a:pt x="245490" y="110880"/>
                </a:lnTo>
                <a:lnTo>
                  <a:pt x="189000" y="55020"/>
                </a:lnTo>
                <a:lnTo>
                  <a:pt x="189000" y="13020"/>
                </a:lnTo>
                <a:lnTo>
                  <a:pt x="176190" y="0"/>
                </a:lnTo>
                <a:close/>
              </a:path>
            </a:pathLst>
          </a:custGeom>
          <a:noFill/>
          <a:ln w="20955" cap="flat">
            <a:no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325" name="Rectangle 324">
            <a:extLst>
              <a:ext uri="{FF2B5EF4-FFF2-40B4-BE49-F238E27FC236}">
                <a16:creationId xmlns:a16="http://schemas.microsoft.com/office/drawing/2014/main" id="{BB8B9E97-BB7D-15DC-0626-2A5D3595C91C}"/>
              </a:ext>
            </a:extLst>
          </p:cNvPr>
          <p:cNvSpPr/>
          <p:nvPr/>
        </p:nvSpPr>
        <p:spPr>
          <a:xfrm>
            <a:off x="162359" y="4694243"/>
            <a:ext cx="1173648" cy="312620"/>
          </a:xfrm>
          <a:prstGeom prst="rect">
            <a:avLst/>
          </a:prstGeom>
          <a:solidFill>
            <a:srgbClr val="FFFFFF">
              <a:alpha val="0"/>
            </a:srgbClr>
          </a:solidFill>
          <a:ln w="12700" cap="flat" cmpd="sng" algn="ctr">
            <a:noFill/>
            <a:prstDash val="dash"/>
            <a:miter lim="800000"/>
          </a:ln>
          <a:effectLst/>
          <a:extLst>
            <a:ext uri="{91240B29-F687-4F45-9708-019B960494DF}">
              <a14:hiddenLine xmlns:a14="http://schemas.microsoft.com/office/drawing/2010/main" w="12700" cap="flat" cmpd="sng" algn="ctr">
                <a:solidFill>
                  <a:srgbClr val="FFFFFF"/>
                </a:solidFill>
                <a:prstDash val="dash"/>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lang="en-DK" sz="1200">
                <a:solidFill>
                  <a:srgbClr val="001965">
                    <a:lumMod val="100000"/>
                  </a:srgbClr>
                </a:solidFill>
                <a:latin typeface="Avenir Next LT Pro" panose="020B0504020202020204" pitchFamily="34" charset="0"/>
              </a:rPr>
              <a:t>Long</a:t>
            </a:r>
            <a:r>
              <a:rPr kumimoji="0" lang="en-US"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rPr>
              <a:t> </a:t>
            </a:r>
            <a:br>
              <a:rPr kumimoji="0" lang="en-DK"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rPr>
            </a:br>
            <a:r>
              <a:rPr kumimoji="0" lang="en-US"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rPr>
              <a:t>half-life</a:t>
            </a:r>
          </a:p>
        </p:txBody>
      </p:sp>
      <p:sp>
        <p:nvSpPr>
          <p:cNvPr id="326" name="Rectangle 325">
            <a:extLst>
              <a:ext uri="{FF2B5EF4-FFF2-40B4-BE49-F238E27FC236}">
                <a16:creationId xmlns:a16="http://schemas.microsoft.com/office/drawing/2014/main" id="{96CE9958-FBFD-4567-33E5-DE50233F316F}"/>
              </a:ext>
            </a:extLst>
          </p:cNvPr>
          <p:cNvSpPr/>
          <p:nvPr/>
        </p:nvSpPr>
        <p:spPr>
          <a:xfrm>
            <a:off x="1264070" y="4694243"/>
            <a:ext cx="1420114" cy="312620"/>
          </a:xfrm>
          <a:prstGeom prst="rect">
            <a:avLst/>
          </a:prstGeom>
          <a:solidFill>
            <a:srgbClr val="FFFFFF">
              <a:alpha val="0"/>
            </a:srgbClr>
          </a:solidFill>
          <a:ln w="12700" cap="flat" cmpd="sng" algn="ctr">
            <a:noFill/>
            <a:prstDash val="dash"/>
            <a:miter lim="800000"/>
          </a:ln>
          <a:effectLst/>
          <a:extLst>
            <a:ext uri="{91240B29-F687-4F45-9708-019B960494DF}">
              <a14:hiddenLine xmlns:a14="http://schemas.microsoft.com/office/drawing/2010/main" w="12700" cap="flat" cmpd="sng" algn="ctr">
                <a:solidFill>
                  <a:srgbClr val="FFFFFF"/>
                </a:solidFill>
                <a:prstDash val="dash"/>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K" sz="1200">
                <a:solidFill>
                  <a:schemeClr val="tx1"/>
                </a:solidFill>
                <a:latin typeface="Avenir Next LT Pro" panose="020B0504020202020204" pitchFamily="34" charset="77"/>
              </a:rPr>
              <a:t>Well </a:t>
            </a:r>
            <a:br>
              <a:rPr lang="en-DK" sz="1200">
                <a:solidFill>
                  <a:schemeClr val="tx1"/>
                </a:solidFill>
                <a:latin typeface="Avenir Next LT Pro" panose="020B0504020202020204" pitchFamily="34" charset="77"/>
              </a:rPr>
            </a:br>
            <a:r>
              <a:rPr lang="en-DK" sz="1200">
                <a:solidFill>
                  <a:schemeClr val="tx1"/>
                </a:solidFill>
                <a:latin typeface="Avenir Next LT Pro" panose="020B0504020202020204" pitchFamily="34" charset="77"/>
              </a:rPr>
              <a:t>tolerated</a:t>
            </a:r>
            <a:endParaRPr lang="en-GB" sz="1200">
              <a:solidFill>
                <a:schemeClr val="tx1"/>
              </a:solidFill>
              <a:latin typeface="Avenir Next LT Pro" panose="020B0504020202020204" pitchFamily="34" charset="77"/>
            </a:endParaRPr>
          </a:p>
        </p:txBody>
      </p:sp>
      <p:sp>
        <p:nvSpPr>
          <p:cNvPr id="327" name="Rectangle 326">
            <a:extLst>
              <a:ext uri="{FF2B5EF4-FFF2-40B4-BE49-F238E27FC236}">
                <a16:creationId xmlns:a16="http://schemas.microsoft.com/office/drawing/2014/main" id="{CCA45F2D-690E-1403-585F-2FB6375007DB}"/>
              </a:ext>
            </a:extLst>
          </p:cNvPr>
          <p:cNvSpPr/>
          <p:nvPr/>
        </p:nvSpPr>
        <p:spPr>
          <a:xfrm>
            <a:off x="2515306" y="4694243"/>
            <a:ext cx="1420114" cy="312620"/>
          </a:xfrm>
          <a:prstGeom prst="rect">
            <a:avLst/>
          </a:prstGeom>
          <a:solidFill>
            <a:srgbClr val="FFFFFF">
              <a:alpha val="0"/>
            </a:srgbClr>
          </a:solidFill>
          <a:ln w="12700" cap="flat" cmpd="sng" algn="ctr">
            <a:noFill/>
            <a:prstDash val="dash"/>
            <a:miter lim="800000"/>
          </a:ln>
          <a:effectLst/>
          <a:extLst>
            <a:ext uri="{91240B29-F687-4F45-9708-019B960494DF}">
              <a14:hiddenLine xmlns:a14="http://schemas.microsoft.com/office/drawing/2010/main" w="12700" cap="flat" cmpd="sng" algn="ctr">
                <a:solidFill>
                  <a:srgbClr val="FFFFFF"/>
                </a:solidFill>
                <a:prstDash val="dash"/>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rPr>
              <a:t>Encouraging weight loss</a:t>
            </a:r>
            <a:endParaRPr kumimoji="0" lang="en-GB"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endParaRPr>
          </a:p>
        </p:txBody>
      </p:sp>
      <p:sp>
        <p:nvSpPr>
          <p:cNvPr id="340" name="Rectangle 339">
            <a:extLst>
              <a:ext uri="{FF2B5EF4-FFF2-40B4-BE49-F238E27FC236}">
                <a16:creationId xmlns:a16="http://schemas.microsoft.com/office/drawing/2014/main" id="{9289F76E-B8A9-D170-FC52-7BDDD7CF4916}"/>
              </a:ext>
            </a:extLst>
          </p:cNvPr>
          <p:cNvSpPr/>
          <p:nvPr/>
        </p:nvSpPr>
        <p:spPr>
          <a:xfrm>
            <a:off x="10755149" y="4694243"/>
            <a:ext cx="1341818" cy="312620"/>
          </a:xfrm>
          <a:prstGeom prst="rect">
            <a:avLst/>
          </a:prstGeom>
          <a:solidFill>
            <a:srgbClr val="FFFFFF">
              <a:alpha val="0"/>
            </a:srgbClr>
          </a:solidFill>
          <a:ln w="12700" cap="flat" cmpd="sng" algn="ctr">
            <a:noFill/>
            <a:prstDash val="dash"/>
            <a:miter lim="800000"/>
          </a:ln>
          <a:effectLst/>
          <a:extLst>
            <a:ext uri="{91240B29-F687-4F45-9708-019B960494DF}">
              <a14:hiddenLine xmlns:a14="http://schemas.microsoft.com/office/drawing/2010/main" w="12700" cap="flat" cmpd="sng" algn="ctr">
                <a:solidFill>
                  <a:srgbClr val="FFFFFF"/>
                </a:solidFill>
                <a:prstDash val="dash"/>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rPr>
              <a:t>Once-weekly s.c. dosing</a:t>
            </a:r>
            <a:endParaRPr kumimoji="0" lang="en-US"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endParaRPr>
          </a:p>
        </p:txBody>
      </p:sp>
      <p:sp>
        <p:nvSpPr>
          <p:cNvPr id="380" name="Rectangle 379">
            <a:extLst>
              <a:ext uri="{FF2B5EF4-FFF2-40B4-BE49-F238E27FC236}">
                <a16:creationId xmlns:a16="http://schemas.microsoft.com/office/drawing/2014/main" id="{9B38613B-E478-7983-5C57-50D5CC191817}"/>
              </a:ext>
            </a:extLst>
          </p:cNvPr>
          <p:cNvSpPr/>
          <p:nvPr/>
        </p:nvSpPr>
        <p:spPr>
          <a:xfrm>
            <a:off x="8116807" y="4694243"/>
            <a:ext cx="1562125" cy="312620"/>
          </a:xfrm>
          <a:prstGeom prst="rect">
            <a:avLst/>
          </a:prstGeom>
          <a:solidFill>
            <a:srgbClr val="FFFFFF">
              <a:alpha val="0"/>
            </a:srgbClr>
          </a:solidFill>
          <a:ln w="12700" cap="flat" cmpd="sng" algn="ctr">
            <a:noFill/>
            <a:prstDash val="dash"/>
            <a:miter lim="800000"/>
          </a:ln>
          <a:effectLst/>
          <a:extLst>
            <a:ext uri="{91240B29-F687-4F45-9708-019B960494DF}">
              <a14:hiddenLine xmlns:a14="http://schemas.microsoft.com/office/drawing/2010/main" w="12700" cap="flat" cmpd="sng" algn="ctr">
                <a:solidFill>
                  <a:srgbClr val="FFFFFF"/>
                </a:solidFill>
                <a:prstDash val="dash"/>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rPr>
              <a:t>I</a:t>
            </a:r>
            <a:r>
              <a:rPr kumimoji="0" lang="en-DK"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rPr>
              <a:t>ncreases muscle and reduces fat</a:t>
            </a:r>
            <a:endParaRPr kumimoji="0" lang="en-US"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endParaRPr>
          </a:p>
        </p:txBody>
      </p:sp>
      <p:sp>
        <p:nvSpPr>
          <p:cNvPr id="410" name="Rectangle 409">
            <a:extLst>
              <a:ext uri="{FF2B5EF4-FFF2-40B4-BE49-F238E27FC236}">
                <a16:creationId xmlns:a16="http://schemas.microsoft.com/office/drawing/2014/main" id="{E205D2A1-2FEC-818C-97A9-34DF94A38D32}"/>
              </a:ext>
            </a:extLst>
          </p:cNvPr>
          <p:cNvSpPr/>
          <p:nvPr/>
        </p:nvSpPr>
        <p:spPr>
          <a:xfrm>
            <a:off x="9521289" y="4694243"/>
            <a:ext cx="1291013" cy="312620"/>
          </a:xfrm>
          <a:prstGeom prst="rect">
            <a:avLst/>
          </a:prstGeom>
          <a:solidFill>
            <a:srgbClr val="FFFFFF">
              <a:alpha val="0"/>
            </a:srgbClr>
          </a:solidFill>
          <a:ln w="12700" cap="flat" cmpd="sng" algn="ctr">
            <a:noFill/>
            <a:prstDash val="dash"/>
            <a:miter lim="800000"/>
          </a:ln>
          <a:effectLst/>
          <a:extLst>
            <a:ext uri="{91240B29-F687-4F45-9708-019B960494DF}">
              <a14:hiddenLine xmlns:a14="http://schemas.microsoft.com/office/drawing/2010/main" w="12700" cap="flat" cmpd="sng" algn="ctr">
                <a:solidFill>
                  <a:srgbClr val="FFFFFF"/>
                </a:solidFill>
                <a:prstDash val="dash"/>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rPr>
              <a:t>Improves cardiac function</a:t>
            </a:r>
            <a:endParaRPr kumimoji="0" lang="en-GB"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endParaRPr>
          </a:p>
        </p:txBody>
      </p:sp>
      <p:sp>
        <p:nvSpPr>
          <p:cNvPr id="25" name="Rectangle 24">
            <a:extLst>
              <a:ext uri="{FF2B5EF4-FFF2-40B4-BE49-F238E27FC236}">
                <a16:creationId xmlns:a16="http://schemas.microsoft.com/office/drawing/2014/main" id="{8F18E673-7AE1-AAAF-2857-4927E53593B8}"/>
              </a:ext>
            </a:extLst>
          </p:cNvPr>
          <p:cNvSpPr/>
          <p:nvPr/>
        </p:nvSpPr>
        <p:spPr>
          <a:xfrm>
            <a:off x="4066397" y="1585609"/>
            <a:ext cx="4068000" cy="527239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4CC879A8-AD76-C243-C94A-F6619DE22E36}"/>
              </a:ext>
            </a:extLst>
          </p:cNvPr>
          <p:cNvSpPr/>
          <p:nvPr/>
        </p:nvSpPr>
        <p:spPr>
          <a:xfrm>
            <a:off x="4891746" y="2540597"/>
            <a:ext cx="2631126" cy="326123"/>
          </a:xfrm>
          <a:prstGeom prst="rect">
            <a:avLst/>
          </a:prstGeom>
          <a:solidFill>
            <a:srgbClr val="FFFFFF">
              <a:alpha val="0"/>
            </a:srgbClr>
          </a:solidFill>
          <a:ln w="12700" cap="flat" cmpd="sng" algn="ctr">
            <a:noFill/>
            <a:prstDash val="dash"/>
            <a:miter lim="800000"/>
          </a:ln>
          <a:effectLst/>
          <a:extLst>
            <a:ext uri="{91240B29-F687-4F45-9708-019B960494DF}">
              <a14:hiddenLine xmlns:a14="http://schemas.microsoft.com/office/drawing/2010/main" w="12700" cap="flat" cmpd="sng" algn="ctr">
                <a:solidFill>
                  <a:srgbClr val="FFFFFF"/>
                </a:solidFill>
                <a:prstDash val="dash"/>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Avenir Next LT Pro Demi" panose="020B0504020202020204" pitchFamily="34" charset="77"/>
                <a:ea typeface="+mn-ea"/>
                <a:cs typeface="+mn-cs"/>
              </a:rPr>
              <a:t>BI 3034701</a:t>
            </a:r>
            <a:r>
              <a:rPr kumimoji="0" lang="en-DK" sz="1600" b="1" i="0" u="none" strike="noStrike" kern="1200" cap="none" spc="0" normalizeH="0" baseline="0" noProof="0">
                <a:ln>
                  <a:noFill/>
                </a:ln>
                <a:solidFill>
                  <a:schemeClr val="tx1"/>
                </a:solidFill>
                <a:effectLst/>
                <a:uLnTx/>
                <a:uFillTx/>
                <a:latin typeface="Avenir Next LT Pro Demi" panose="020B0504020202020204" pitchFamily="34" charset="77"/>
                <a:ea typeface="+mn-ea"/>
                <a:cs typeface="+mn-cs"/>
              </a:rPr>
              <a:t> out-licensed*</a:t>
            </a:r>
            <a:endParaRPr kumimoji="0" lang="en-GB" sz="1600" b="1" i="0" u="none" strike="noStrike" kern="1200" cap="none" spc="0" normalizeH="0" baseline="0" noProof="0">
              <a:ln>
                <a:noFill/>
              </a:ln>
              <a:solidFill>
                <a:schemeClr val="tx1"/>
              </a:solidFill>
              <a:effectLst/>
              <a:uLnTx/>
              <a:uFillTx/>
              <a:latin typeface="Avenir Next LT Pro Demi" panose="020B0504020202020204" pitchFamily="34" charset="77"/>
              <a:ea typeface="+mn-ea"/>
              <a:cs typeface="+mn-cs"/>
            </a:endParaRPr>
          </a:p>
        </p:txBody>
      </p:sp>
      <p:sp>
        <p:nvSpPr>
          <p:cNvPr id="28" name="Rectangle 27">
            <a:extLst>
              <a:ext uri="{FF2B5EF4-FFF2-40B4-BE49-F238E27FC236}">
                <a16:creationId xmlns:a16="http://schemas.microsoft.com/office/drawing/2014/main" id="{3CC8E465-C39E-6D24-3649-CE3F1594BC0C}"/>
              </a:ext>
            </a:extLst>
          </p:cNvPr>
          <p:cNvSpPr/>
          <p:nvPr/>
        </p:nvSpPr>
        <p:spPr>
          <a:xfrm>
            <a:off x="4458437" y="2981752"/>
            <a:ext cx="3497742" cy="326123"/>
          </a:xfrm>
          <a:prstGeom prst="rect">
            <a:avLst/>
          </a:prstGeom>
          <a:solidFill>
            <a:srgbClr val="FFFFFF">
              <a:alpha val="0"/>
            </a:srgbClr>
          </a:solidFill>
          <a:ln w="12700" cap="flat" cmpd="sng" algn="ctr">
            <a:noFill/>
            <a:prstDash val="dash"/>
            <a:miter lim="800000"/>
          </a:ln>
          <a:effectLst/>
          <a:extLst>
            <a:ext uri="{91240B29-F687-4F45-9708-019B960494DF}">
              <a14:hiddenLine xmlns:a14="http://schemas.microsoft.com/office/drawing/2010/main" w="12700" cap="flat" cmpd="sng" algn="ctr">
                <a:solidFill>
                  <a:srgbClr val="FFFFFF"/>
                </a:solidFill>
                <a:prstDash val="dash"/>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rPr>
              <a:t>Development stage: </a:t>
            </a:r>
            <a:br>
              <a:rPr kumimoji="0" lang="en-DK"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rPr>
            </a:br>
            <a:r>
              <a:rPr lang="en-DK" sz="1200" b="1">
                <a:solidFill>
                  <a:srgbClr val="001965">
                    <a:lumMod val="100000"/>
                  </a:srgbClr>
                </a:solidFill>
                <a:latin typeface="Avenir Next LT Pro Demi" panose="020B0504020202020204" pitchFamily="34" charset="77"/>
              </a:rPr>
              <a:t>Entering </a:t>
            </a:r>
            <a:r>
              <a:rPr lang="en-US" sz="1200" b="1">
                <a:solidFill>
                  <a:srgbClr val="001965">
                    <a:lumMod val="100000"/>
                  </a:srgbClr>
                </a:solidFill>
                <a:latin typeface="Avenir Next LT Pro Demi" panose="020B0504020202020204" pitchFamily="34" charset="77"/>
              </a:rPr>
              <a:t>Phase 2 in </a:t>
            </a:r>
            <a:r>
              <a:rPr lang="en-DE" sz="1200" b="1">
                <a:solidFill>
                  <a:srgbClr val="001965">
                    <a:lumMod val="100000"/>
                  </a:srgbClr>
                </a:solidFill>
                <a:latin typeface="Avenir Next LT Pro Demi" panose="020B0504020202020204" pitchFamily="34" charset="77"/>
              </a:rPr>
              <a:t>mid-</a:t>
            </a:r>
            <a:r>
              <a:rPr lang="en-US" sz="1200" b="1">
                <a:solidFill>
                  <a:srgbClr val="001965">
                    <a:lumMod val="100000"/>
                  </a:srgbClr>
                </a:solidFill>
                <a:latin typeface="Avenir Next LT Pro Demi" panose="020B0504020202020204" pitchFamily="34" charset="77"/>
              </a:rPr>
              <a:t>2026</a:t>
            </a:r>
            <a:endParaRPr lang="en-GB" sz="1200" b="1">
              <a:solidFill>
                <a:srgbClr val="001965">
                  <a:lumMod val="100000"/>
                </a:srgbClr>
              </a:solidFill>
              <a:latin typeface="Avenir Next LT Pro Demi" panose="020B0504020202020204" pitchFamily="34" charset="77"/>
            </a:endParaRPr>
          </a:p>
        </p:txBody>
      </p:sp>
      <p:cxnSp>
        <p:nvCxnSpPr>
          <p:cNvPr id="35" name="Straight Connector 34">
            <a:extLst>
              <a:ext uri="{FF2B5EF4-FFF2-40B4-BE49-F238E27FC236}">
                <a16:creationId xmlns:a16="http://schemas.microsoft.com/office/drawing/2014/main" id="{127AAEFB-A3C5-DE49-E8FF-B0CFF412D922}"/>
              </a:ext>
            </a:extLst>
          </p:cNvPr>
          <p:cNvCxnSpPr>
            <a:cxnSpLocks/>
          </p:cNvCxnSpPr>
          <p:nvPr/>
        </p:nvCxnSpPr>
        <p:spPr>
          <a:xfrm>
            <a:off x="4512290" y="5644431"/>
            <a:ext cx="3159682" cy="0"/>
          </a:xfrm>
          <a:prstGeom prst="line">
            <a:avLst/>
          </a:prstGeom>
          <a:ln>
            <a:solidFill>
              <a:schemeClr val="bg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6" name="Rounded Rectangle 10">
            <a:extLst>
              <a:ext uri="{FF2B5EF4-FFF2-40B4-BE49-F238E27FC236}">
                <a16:creationId xmlns:a16="http://schemas.microsoft.com/office/drawing/2014/main" id="{4DC76F41-5597-09DA-0BAD-D279D770B92C}"/>
              </a:ext>
            </a:extLst>
          </p:cNvPr>
          <p:cNvSpPr/>
          <p:nvPr/>
        </p:nvSpPr>
        <p:spPr>
          <a:xfrm>
            <a:off x="5043105" y="5500431"/>
            <a:ext cx="2098053" cy="288000"/>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lang="en-DK" sz="1200" b="1">
                <a:solidFill>
                  <a:srgbClr val="001965"/>
                </a:solidFill>
                <a:latin typeface="Avenir Next LT Pro Demi" panose="020B0504020202020204" pitchFamily="34" charset="77"/>
              </a:rPr>
              <a:t>Features</a:t>
            </a:r>
            <a:r>
              <a:rPr kumimoji="0" lang="en-DK" sz="12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rPr>
              <a:t> of </a:t>
            </a:r>
            <a:r>
              <a:rPr kumimoji="0" lang="en-US" sz="12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rPr>
              <a:t>BI 3034701 </a:t>
            </a:r>
            <a:endParaRPr kumimoji="0" lang="en-GB" sz="12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endParaRPr>
          </a:p>
        </p:txBody>
      </p:sp>
      <p:sp>
        <p:nvSpPr>
          <p:cNvPr id="39" name="Rectangle 38">
            <a:extLst>
              <a:ext uri="{FF2B5EF4-FFF2-40B4-BE49-F238E27FC236}">
                <a16:creationId xmlns:a16="http://schemas.microsoft.com/office/drawing/2014/main" id="{5607E75F-1BAC-1181-EB5A-D0CBEB037BE9}"/>
              </a:ext>
            </a:extLst>
          </p:cNvPr>
          <p:cNvSpPr/>
          <p:nvPr/>
        </p:nvSpPr>
        <p:spPr>
          <a:xfrm>
            <a:off x="4262096" y="4694243"/>
            <a:ext cx="1291013" cy="312620"/>
          </a:xfrm>
          <a:prstGeom prst="rect">
            <a:avLst/>
          </a:prstGeom>
          <a:solidFill>
            <a:srgbClr val="FFFFFF">
              <a:alpha val="0"/>
            </a:srgbClr>
          </a:solidFill>
          <a:ln w="12700" cap="flat" cmpd="sng" algn="ctr">
            <a:noFill/>
            <a:prstDash val="dash"/>
            <a:miter lim="800000"/>
          </a:ln>
          <a:effectLst/>
          <a:extLst>
            <a:ext uri="{91240B29-F687-4F45-9708-019B960494DF}">
              <a14:hiddenLine xmlns:a14="http://schemas.microsoft.com/office/drawing/2010/main" w="12700" cap="flat" cmpd="sng" algn="ctr">
                <a:solidFill>
                  <a:srgbClr val="FFFFFF"/>
                </a:solidFill>
                <a:prstDash val="dash"/>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rPr>
              <a:t>Targeting 3 receptors</a:t>
            </a:r>
            <a:endParaRPr kumimoji="0" lang="en-US"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endParaRPr>
          </a:p>
        </p:txBody>
      </p:sp>
      <p:sp>
        <p:nvSpPr>
          <p:cNvPr id="41" name="Rectangle 40">
            <a:extLst>
              <a:ext uri="{FF2B5EF4-FFF2-40B4-BE49-F238E27FC236}">
                <a16:creationId xmlns:a16="http://schemas.microsoft.com/office/drawing/2014/main" id="{4C1F93BB-BEF6-CD17-6F89-CF34D33CC85E}"/>
              </a:ext>
            </a:extLst>
          </p:cNvPr>
          <p:cNvSpPr/>
          <p:nvPr/>
        </p:nvSpPr>
        <p:spPr>
          <a:xfrm>
            <a:off x="5446625" y="4694243"/>
            <a:ext cx="1291013" cy="312620"/>
          </a:xfrm>
          <a:prstGeom prst="rect">
            <a:avLst/>
          </a:prstGeom>
          <a:solidFill>
            <a:srgbClr val="FFFFFF">
              <a:alpha val="0"/>
            </a:srgbClr>
          </a:solidFill>
          <a:ln w="12700" cap="flat" cmpd="sng" algn="ctr">
            <a:noFill/>
            <a:prstDash val="dash"/>
            <a:miter lim="800000"/>
          </a:ln>
          <a:effectLst/>
          <a:extLst>
            <a:ext uri="{91240B29-F687-4F45-9708-019B960494DF}">
              <a14:hiddenLine xmlns:a14="http://schemas.microsoft.com/office/drawing/2010/main" w="12700" cap="flat" cmpd="sng" algn="ctr">
                <a:solidFill>
                  <a:srgbClr val="FFFFFF"/>
                </a:solidFill>
                <a:prstDash val="dash"/>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rPr>
              <a:t>Encouraging weight loss</a:t>
            </a:r>
            <a:endParaRPr kumimoji="0" lang="en-GB"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endParaRPr>
          </a:p>
        </p:txBody>
      </p:sp>
      <p:sp>
        <p:nvSpPr>
          <p:cNvPr id="42" name="Rectangle 41">
            <a:extLst>
              <a:ext uri="{FF2B5EF4-FFF2-40B4-BE49-F238E27FC236}">
                <a16:creationId xmlns:a16="http://schemas.microsoft.com/office/drawing/2014/main" id="{140DEC5E-17A9-7662-C1D6-27D599F92D21}"/>
              </a:ext>
            </a:extLst>
          </p:cNvPr>
          <p:cNvSpPr/>
          <p:nvPr/>
        </p:nvSpPr>
        <p:spPr>
          <a:xfrm>
            <a:off x="6602720" y="4694243"/>
            <a:ext cx="1562125" cy="312620"/>
          </a:xfrm>
          <a:prstGeom prst="rect">
            <a:avLst/>
          </a:prstGeom>
          <a:solidFill>
            <a:srgbClr val="FFFFFF">
              <a:alpha val="0"/>
            </a:srgbClr>
          </a:solidFill>
          <a:ln w="12700" cap="flat" cmpd="sng" algn="ctr">
            <a:noFill/>
            <a:prstDash val="dash"/>
            <a:miter lim="800000"/>
          </a:ln>
          <a:effectLst/>
          <a:extLst>
            <a:ext uri="{91240B29-F687-4F45-9708-019B960494DF}">
              <a14:hiddenLine xmlns:a14="http://schemas.microsoft.com/office/drawing/2010/main" w="12700" cap="flat" cmpd="sng" algn="ctr">
                <a:solidFill>
                  <a:srgbClr val="FFFFFF"/>
                </a:solidFill>
                <a:prstDash val="dash"/>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rPr>
              <a:t>Favorable safety profile</a:t>
            </a:r>
          </a:p>
        </p:txBody>
      </p:sp>
      <p:pic>
        <p:nvPicPr>
          <p:cNvPr id="37" name="Graphic 36">
            <a:extLst>
              <a:ext uri="{FF2B5EF4-FFF2-40B4-BE49-F238E27FC236}">
                <a16:creationId xmlns:a16="http://schemas.microsoft.com/office/drawing/2014/main" id="{8BB66595-EC00-3DE6-522C-0E567DBC65C0}"/>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399391" y="3734840"/>
            <a:ext cx="750689" cy="864000"/>
          </a:xfrm>
          <a:prstGeom prst="rect">
            <a:avLst/>
          </a:prstGeom>
        </p:spPr>
      </p:pic>
      <p:pic>
        <p:nvPicPr>
          <p:cNvPr id="40" name="Graphic 39">
            <a:extLst>
              <a:ext uri="{FF2B5EF4-FFF2-40B4-BE49-F238E27FC236}">
                <a16:creationId xmlns:a16="http://schemas.microsoft.com/office/drawing/2014/main" id="{471D8292-C8F8-6C77-6DD1-358AFA37C292}"/>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631568" y="3724589"/>
            <a:ext cx="750689" cy="864000"/>
          </a:xfrm>
          <a:prstGeom prst="rect">
            <a:avLst/>
          </a:prstGeom>
        </p:spPr>
      </p:pic>
      <p:pic>
        <p:nvPicPr>
          <p:cNvPr id="44" name="Graphic 43">
            <a:extLst>
              <a:ext uri="{FF2B5EF4-FFF2-40B4-BE49-F238E27FC236}">
                <a16:creationId xmlns:a16="http://schemas.microsoft.com/office/drawing/2014/main" id="{BE8AFE50-C639-C08C-8CB2-E8D8A7183377}"/>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2863746" y="3706987"/>
            <a:ext cx="750689" cy="864000"/>
          </a:xfrm>
          <a:prstGeom prst="rect">
            <a:avLst/>
          </a:prstGeom>
        </p:spPr>
      </p:pic>
      <p:pic>
        <p:nvPicPr>
          <p:cNvPr id="46" name="Graphic 45">
            <a:extLst>
              <a:ext uri="{FF2B5EF4-FFF2-40B4-BE49-F238E27FC236}">
                <a16:creationId xmlns:a16="http://schemas.microsoft.com/office/drawing/2014/main" id="{17C9E3D1-C06C-9773-F957-C4FF11EDC741}"/>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4464188" y="3706987"/>
            <a:ext cx="750689" cy="864000"/>
          </a:xfrm>
          <a:prstGeom prst="rect">
            <a:avLst/>
          </a:prstGeom>
        </p:spPr>
      </p:pic>
      <p:pic>
        <p:nvPicPr>
          <p:cNvPr id="47" name="Graphic 46">
            <a:extLst>
              <a:ext uri="{FF2B5EF4-FFF2-40B4-BE49-F238E27FC236}">
                <a16:creationId xmlns:a16="http://schemas.microsoft.com/office/drawing/2014/main" id="{A66F57A7-A2A6-44DB-548C-06CCBA323417}"/>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5716787" y="3706987"/>
            <a:ext cx="750689" cy="864000"/>
          </a:xfrm>
          <a:prstGeom prst="rect">
            <a:avLst/>
          </a:prstGeom>
        </p:spPr>
      </p:pic>
      <p:pic>
        <p:nvPicPr>
          <p:cNvPr id="49" name="Graphic 48">
            <a:extLst>
              <a:ext uri="{FF2B5EF4-FFF2-40B4-BE49-F238E27FC236}">
                <a16:creationId xmlns:a16="http://schemas.microsoft.com/office/drawing/2014/main" id="{852F1841-36D8-D796-52E7-B46412A532E0}"/>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6969386" y="3706987"/>
            <a:ext cx="750689" cy="864000"/>
          </a:xfrm>
          <a:prstGeom prst="rect">
            <a:avLst/>
          </a:prstGeom>
        </p:spPr>
      </p:pic>
      <p:pic>
        <p:nvPicPr>
          <p:cNvPr id="51" name="Graphic 50">
            <a:extLst>
              <a:ext uri="{FF2B5EF4-FFF2-40B4-BE49-F238E27FC236}">
                <a16:creationId xmlns:a16="http://schemas.microsoft.com/office/drawing/2014/main" id="{B3F0A943-AD7A-BA00-A468-20AD5B32C8A1}"/>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8542380" y="3706987"/>
            <a:ext cx="750689" cy="864000"/>
          </a:xfrm>
          <a:prstGeom prst="rect">
            <a:avLst/>
          </a:prstGeom>
        </p:spPr>
      </p:pic>
      <p:pic>
        <p:nvPicPr>
          <p:cNvPr id="55" name="Graphic 54">
            <a:extLst>
              <a:ext uri="{FF2B5EF4-FFF2-40B4-BE49-F238E27FC236}">
                <a16:creationId xmlns:a16="http://schemas.microsoft.com/office/drawing/2014/main" id="{78EA841B-33A6-0E21-7800-D5D6A833C05B}"/>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11050714" y="3706987"/>
            <a:ext cx="750689" cy="864000"/>
          </a:xfrm>
          <a:prstGeom prst="rect">
            <a:avLst/>
          </a:prstGeom>
        </p:spPr>
      </p:pic>
      <p:sp>
        <p:nvSpPr>
          <p:cNvPr id="34" name="Rectangle 33">
            <a:extLst>
              <a:ext uri="{FF2B5EF4-FFF2-40B4-BE49-F238E27FC236}">
                <a16:creationId xmlns:a16="http://schemas.microsoft.com/office/drawing/2014/main" id="{226F7730-BB54-A3FD-C266-BB3CE83BFD37}"/>
              </a:ext>
            </a:extLst>
          </p:cNvPr>
          <p:cNvSpPr/>
          <p:nvPr/>
        </p:nvSpPr>
        <p:spPr>
          <a:xfrm>
            <a:off x="0" y="1585608"/>
            <a:ext cx="12200795" cy="67088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 name="Rounded Rectangle 3">
            <a:extLst>
              <a:ext uri="{FF2B5EF4-FFF2-40B4-BE49-F238E27FC236}">
                <a16:creationId xmlns:a16="http://schemas.microsoft.com/office/drawing/2014/main" id="{50E615BE-611F-3A0C-6340-A941EBB347C0}"/>
              </a:ext>
            </a:extLst>
          </p:cNvPr>
          <p:cNvSpPr/>
          <p:nvPr/>
        </p:nvSpPr>
        <p:spPr>
          <a:xfrm>
            <a:off x="399391" y="1775450"/>
            <a:ext cx="2683633" cy="288000"/>
          </a:xfrm>
          <a:prstGeom prst="roundRect">
            <a:avLst>
              <a:gd name="adj" fmla="val 50000"/>
            </a:avLst>
          </a:prstGeom>
          <a:solidFill>
            <a:schemeClr val="bg2">
              <a:alpha val="49757"/>
            </a:schemeClr>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GB" sz="1200" b="1">
                <a:latin typeface="Avenir Next LT Pro Demi" panose="020B0504020202020204" pitchFamily="34" charset="77"/>
              </a:rPr>
              <a:t>LONG-ACTING AMYLIN ANALOG</a:t>
            </a:r>
          </a:p>
        </p:txBody>
      </p:sp>
      <p:sp>
        <p:nvSpPr>
          <p:cNvPr id="43" name="Rounded Rectangle 42">
            <a:extLst>
              <a:ext uri="{FF2B5EF4-FFF2-40B4-BE49-F238E27FC236}">
                <a16:creationId xmlns:a16="http://schemas.microsoft.com/office/drawing/2014/main" id="{EB2A9EF0-9517-D8CD-B2D9-7AB82C3FB0BA}"/>
              </a:ext>
            </a:extLst>
          </p:cNvPr>
          <p:cNvSpPr/>
          <p:nvPr/>
        </p:nvSpPr>
        <p:spPr>
          <a:xfrm>
            <a:off x="4464189" y="1775450"/>
            <a:ext cx="1532558" cy="288000"/>
          </a:xfrm>
          <a:prstGeom prst="roundRect">
            <a:avLst>
              <a:gd name="adj" fmla="val 50000"/>
            </a:avLst>
          </a:prstGeom>
          <a:solidFill>
            <a:schemeClr val="accent2">
              <a:alpha val="49757"/>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GB" sz="1200" b="1">
                <a:latin typeface="Avenir Next LT Pro Demi" panose="020B0504020202020204" pitchFamily="34" charset="77"/>
              </a:rPr>
              <a:t>TRIPLE AGONIST</a:t>
            </a:r>
          </a:p>
        </p:txBody>
      </p:sp>
      <p:sp>
        <p:nvSpPr>
          <p:cNvPr id="45" name="Rounded Rectangle 44">
            <a:extLst>
              <a:ext uri="{FF2B5EF4-FFF2-40B4-BE49-F238E27FC236}">
                <a16:creationId xmlns:a16="http://schemas.microsoft.com/office/drawing/2014/main" id="{ACB1314D-8DF7-7545-D83F-71C954E89ED6}"/>
              </a:ext>
            </a:extLst>
          </p:cNvPr>
          <p:cNvSpPr/>
          <p:nvPr/>
        </p:nvSpPr>
        <p:spPr>
          <a:xfrm>
            <a:off x="8530586" y="1775450"/>
            <a:ext cx="912669" cy="288000"/>
          </a:xfrm>
          <a:prstGeom prst="roundRect">
            <a:avLst>
              <a:gd name="adj" fmla="val 50000"/>
            </a:avLst>
          </a:prstGeom>
          <a:solidFill>
            <a:schemeClr val="tx2">
              <a:alpha val="49757"/>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GB" sz="1200" b="1">
                <a:latin typeface="Avenir Next LT Pro Demi" panose="020B0504020202020204" pitchFamily="34" charset="77"/>
              </a:rPr>
              <a:t>UCN2</a:t>
            </a:r>
          </a:p>
        </p:txBody>
      </p:sp>
      <p:cxnSp>
        <p:nvCxnSpPr>
          <p:cNvPr id="50" name="Straight Connector 49">
            <a:extLst>
              <a:ext uri="{FF2B5EF4-FFF2-40B4-BE49-F238E27FC236}">
                <a16:creationId xmlns:a16="http://schemas.microsoft.com/office/drawing/2014/main" id="{9BC1B94E-3F86-6C47-B85D-46FEE26B7FA0}"/>
              </a:ext>
            </a:extLst>
          </p:cNvPr>
          <p:cNvCxnSpPr/>
          <p:nvPr/>
        </p:nvCxnSpPr>
        <p:spPr>
          <a:xfrm flipV="1">
            <a:off x="4066397" y="1585608"/>
            <a:ext cx="0" cy="527239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787EBED-B77D-4E2F-E400-DD48FA91C824}"/>
              </a:ext>
            </a:extLst>
          </p:cNvPr>
          <p:cNvCxnSpPr/>
          <p:nvPr/>
        </p:nvCxnSpPr>
        <p:spPr>
          <a:xfrm flipV="1">
            <a:off x="8128599" y="1585608"/>
            <a:ext cx="0" cy="527239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EEA3AF62-C9B5-9F1E-B5E6-46FCC44476A3}"/>
              </a:ext>
            </a:extLst>
          </p:cNvPr>
          <p:cNvGrpSpPr/>
          <p:nvPr/>
        </p:nvGrpSpPr>
        <p:grpSpPr>
          <a:xfrm>
            <a:off x="9791451" y="3706987"/>
            <a:ext cx="750689" cy="864000"/>
            <a:chOff x="9791451" y="3706987"/>
            <a:chExt cx="750689" cy="864000"/>
          </a:xfrm>
        </p:grpSpPr>
        <p:pic>
          <p:nvPicPr>
            <p:cNvPr id="53" name="Graphic 52">
              <a:extLst>
                <a:ext uri="{FF2B5EF4-FFF2-40B4-BE49-F238E27FC236}">
                  <a16:creationId xmlns:a16="http://schemas.microsoft.com/office/drawing/2014/main" id="{32853BEF-607F-073E-A29F-D112AA2B54EC}"/>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9791451" y="3706987"/>
              <a:ext cx="750689" cy="864000"/>
            </a:xfrm>
            <a:prstGeom prst="rect">
              <a:avLst/>
            </a:prstGeom>
          </p:spPr>
        </p:pic>
        <p:sp>
          <p:nvSpPr>
            <p:cNvPr id="22" name="Oval 21">
              <a:extLst>
                <a:ext uri="{FF2B5EF4-FFF2-40B4-BE49-F238E27FC236}">
                  <a16:creationId xmlns:a16="http://schemas.microsoft.com/office/drawing/2014/main" id="{8ED3B61B-89F4-DCA8-3434-BA43FC7518BA}"/>
                </a:ext>
              </a:extLst>
            </p:cNvPr>
            <p:cNvSpPr/>
            <p:nvPr/>
          </p:nvSpPr>
          <p:spPr>
            <a:xfrm>
              <a:off x="9870318" y="3768589"/>
              <a:ext cx="610112" cy="610112"/>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grpSp>
        <p:nvGrpSpPr>
          <p:cNvPr id="26" name="Graphic 23">
            <a:extLst>
              <a:ext uri="{FF2B5EF4-FFF2-40B4-BE49-F238E27FC236}">
                <a16:creationId xmlns:a16="http://schemas.microsoft.com/office/drawing/2014/main" id="{CAA63BDA-7DB8-2956-DFA8-3A1D83817424}"/>
              </a:ext>
            </a:extLst>
          </p:cNvPr>
          <p:cNvGrpSpPr/>
          <p:nvPr/>
        </p:nvGrpSpPr>
        <p:grpSpPr>
          <a:xfrm>
            <a:off x="9940243" y="3933582"/>
            <a:ext cx="456437" cy="303761"/>
            <a:chOff x="9946774" y="3913989"/>
            <a:chExt cx="456437" cy="303761"/>
          </a:xfrm>
        </p:grpSpPr>
        <p:sp>
          <p:nvSpPr>
            <p:cNvPr id="29" name="Freeform 28">
              <a:extLst>
                <a:ext uri="{FF2B5EF4-FFF2-40B4-BE49-F238E27FC236}">
                  <a16:creationId xmlns:a16="http://schemas.microsoft.com/office/drawing/2014/main" id="{7C4E3C3B-EF13-02AF-A1B8-5FFFF0046123}"/>
                </a:ext>
              </a:extLst>
            </p:cNvPr>
            <p:cNvSpPr/>
            <p:nvPr/>
          </p:nvSpPr>
          <p:spPr>
            <a:xfrm>
              <a:off x="10013353" y="3920639"/>
              <a:ext cx="323850" cy="295563"/>
            </a:xfrm>
            <a:custGeom>
              <a:avLst/>
              <a:gdLst>
                <a:gd name="connsiteX0" fmla="*/ 161925 w 323850"/>
                <a:gd name="connsiteY0" fmla="*/ 27709 h 295563"/>
                <a:gd name="connsiteX1" fmla="*/ 123825 w 323850"/>
                <a:gd name="connsiteY1" fmla="*/ 9236 h 295563"/>
                <a:gd name="connsiteX2" fmla="*/ 85725 w 323850"/>
                <a:gd name="connsiteY2" fmla="*/ 0 h 295563"/>
                <a:gd name="connsiteX3" fmla="*/ 47625 w 323850"/>
                <a:gd name="connsiteY3" fmla="*/ 9236 h 295563"/>
                <a:gd name="connsiteX4" fmla="*/ 19050 w 323850"/>
                <a:gd name="connsiteY4" fmla="*/ 27709 h 295563"/>
                <a:gd name="connsiteX5" fmla="*/ 0 w 323850"/>
                <a:gd name="connsiteY5" fmla="*/ 73891 h 295563"/>
                <a:gd name="connsiteX6" fmla="*/ 0 w 323850"/>
                <a:gd name="connsiteY6" fmla="*/ 110836 h 295563"/>
                <a:gd name="connsiteX7" fmla="*/ 9525 w 323850"/>
                <a:gd name="connsiteY7" fmla="*/ 147782 h 295563"/>
                <a:gd name="connsiteX8" fmla="*/ 28575 w 323850"/>
                <a:gd name="connsiteY8" fmla="*/ 184727 h 295563"/>
                <a:gd name="connsiteX9" fmla="*/ 95250 w 323850"/>
                <a:gd name="connsiteY9" fmla="*/ 249382 h 295563"/>
                <a:gd name="connsiteX10" fmla="*/ 152400 w 323850"/>
                <a:gd name="connsiteY10" fmla="*/ 286327 h 295563"/>
                <a:gd name="connsiteX11" fmla="*/ 161925 w 323850"/>
                <a:gd name="connsiteY11" fmla="*/ 295564 h 295563"/>
                <a:gd name="connsiteX12" fmla="*/ 190500 w 323850"/>
                <a:gd name="connsiteY12" fmla="*/ 277091 h 295563"/>
                <a:gd name="connsiteX13" fmla="*/ 247650 w 323850"/>
                <a:gd name="connsiteY13" fmla="*/ 240145 h 295563"/>
                <a:gd name="connsiteX14" fmla="*/ 285750 w 323850"/>
                <a:gd name="connsiteY14" fmla="*/ 193964 h 295563"/>
                <a:gd name="connsiteX15" fmla="*/ 314325 w 323850"/>
                <a:gd name="connsiteY15" fmla="*/ 138545 h 295563"/>
                <a:gd name="connsiteX16" fmla="*/ 323850 w 323850"/>
                <a:gd name="connsiteY16" fmla="*/ 110836 h 295563"/>
                <a:gd name="connsiteX17" fmla="*/ 323850 w 323850"/>
                <a:gd name="connsiteY17" fmla="*/ 55418 h 295563"/>
                <a:gd name="connsiteX18" fmla="*/ 304800 w 323850"/>
                <a:gd name="connsiteY18" fmla="*/ 27709 h 295563"/>
                <a:gd name="connsiteX19" fmla="*/ 276225 w 323850"/>
                <a:gd name="connsiteY19" fmla="*/ 9236 h 295563"/>
                <a:gd name="connsiteX20" fmla="*/ 238125 w 323850"/>
                <a:gd name="connsiteY20" fmla="*/ 0 h 295563"/>
                <a:gd name="connsiteX21" fmla="*/ 190500 w 323850"/>
                <a:gd name="connsiteY21" fmla="*/ 9236 h 295563"/>
                <a:gd name="connsiteX22" fmla="*/ 171450 w 323850"/>
                <a:gd name="connsiteY22" fmla="*/ 18473 h 295563"/>
                <a:gd name="connsiteX23" fmla="*/ 161925 w 323850"/>
                <a:gd name="connsiteY23" fmla="*/ 27709 h 295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3850" h="295563">
                  <a:moveTo>
                    <a:pt x="161925" y="27709"/>
                  </a:moveTo>
                  <a:lnTo>
                    <a:pt x="123825" y="9236"/>
                  </a:lnTo>
                  <a:lnTo>
                    <a:pt x="85725" y="0"/>
                  </a:lnTo>
                  <a:lnTo>
                    <a:pt x="47625" y="9236"/>
                  </a:lnTo>
                  <a:lnTo>
                    <a:pt x="19050" y="27709"/>
                  </a:lnTo>
                  <a:lnTo>
                    <a:pt x="0" y="73891"/>
                  </a:lnTo>
                  <a:lnTo>
                    <a:pt x="0" y="110836"/>
                  </a:lnTo>
                  <a:lnTo>
                    <a:pt x="9525" y="147782"/>
                  </a:lnTo>
                  <a:lnTo>
                    <a:pt x="28575" y="184727"/>
                  </a:lnTo>
                  <a:lnTo>
                    <a:pt x="95250" y="249382"/>
                  </a:lnTo>
                  <a:lnTo>
                    <a:pt x="152400" y="286327"/>
                  </a:lnTo>
                  <a:lnTo>
                    <a:pt x="161925" y="295564"/>
                  </a:lnTo>
                  <a:lnTo>
                    <a:pt x="190500" y="277091"/>
                  </a:lnTo>
                  <a:lnTo>
                    <a:pt x="247650" y="240145"/>
                  </a:lnTo>
                  <a:lnTo>
                    <a:pt x="285750" y="193964"/>
                  </a:lnTo>
                  <a:lnTo>
                    <a:pt x="314325" y="138545"/>
                  </a:lnTo>
                  <a:lnTo>
                    <a:pt x="323850" y="110836"/>
                  </a:lnTo>
                  <a:lnTo>
                    <a:pt x="323850" y="55418"/>
                  </a:lnTo>
                  <a:lnTo>
                    <a:pt x="304800" y="27709"/>
                  </a:lnTo>
                  <a:lnTo>
                    <a:pt x="276225" y="9236"/>
                  </a:lnTo>
                  <a:lnTo>
                    <a:pt x="238125" y="0"/>
                  </a:lnTo>
                  <a:lnTo>
                    <a:pt x="190500" y="9236"/>
                  </a:lnTo>
                  <a:lnTo>
                    <a:pt x="171450" y="18473"/>
                  </a:lnTo>
                  <a:lnTo>
                    <a:pt x="161925" y="27709"/>
                  </a:lnTo>
                  <a:close/>
                </a:path>
              </a:pathLst>
            </a:custGeom>
            <a:solidFill>
              <a:srgbClr val="2878FF">
                <a:alpha val="49952"/>
              </a:srgbClr>
            </a:solidFill>
            <a:ln w="9525" cap="flat">
              <a:noFill/>
              <a:prstDash val="solid"/>
              <a:miter/>
            </a:ln>
          </p:spPr>
          <p:txBody>
            <a:bodyPr rtlCol="0" anchor="ctr"/>
            <a:lstStyle/>
            <a:p>
              <a:endParaRPr lang="en-DK"/>
            </a:p>
          </p:txBody>
        </p:sp>
        <p:grpSp>
          <p:nvGrpSpPr>
            <p:cNvPr id="30" name="Graphic 23">
              <a:extLst>
                <a:ext uri="{FF2B5EF4-FFF2-40B4-BE49-F238E27FC236}">
                  <a16:creationId xmlns:a16="http://schemas.microsoft.com/office/drawing/2014/main" id="{EA6502D0-424F-1B15-60F0-64233A53D330}"/>
                </a:ext>
              </a:extLst>
            </p:cNvPr>
            <p:cNvGrpSpPr/>
            <p:nvPr/>
          </p:nvGrpSpPr>
          <p:grpSpPr>
            <a:xfrm>
              <a:off x="9946774" y="3913989"/>
              <a:ext cx="456437" cy="303761"/>
              <a:chOff x="9946774" y="3913989"/>
              <a:chExt cx="456437" cy="303761"/>
            </a:xfrm>
          </p:grpSpPr>
          <p:sp>
            <p:nvSpPr>
              <p:cNvPr id="31" name="Freeform 30">
                <a:extLst>
                  <a:ext uri="{FF2B5EF4-FFF2-40B4-BE49-F238E27FC236}">
                    <a16:creationId xmlns:a16="http://schemas.microsoft.com/office/drawing/2014/main" id="{BF52E983-5C6C-F2E4-47CA-4A264F07CEBF}"/>
                  </a:ext>
                </a:extLst>
              </p:cNvPr>
              <p:cNvSpPr/>
              <p:nvPr/>
            </p:nvSpPr>
            <p:spPr>
              <a:xfrm>
                <a:off x="9956203" y="4049948"/>
                <a:ext cx="28575" cy="27709"/>
              </a:xfrm>
              <a:custGeom>
                <a:avLst/>
                <a:gdLst>
                  <a:gd name="connsiteX0" fmla="*/ 28575 w 28575"/>
                  <a:gd name="connsiteY0" fmla="*/ 13855 h 27709"/>
                  <a:gd name="connsiteX1" fmla="*/ 14288 w 28575"/>
                  <a:gd name="connsiteY1" fmla="*/ 27709 h 27709"/>
                  <a:gd name="connsiteX2" fmla="*/ 0 w 28575"/>
                  <a:gd name="connsiteY2" fmla="*/ 13855 h 27709"/>
                  <a:gd name="connsiteX3" fmla="*/ 14288 w 28575"/>
                  <a:gd name="connsiteY3" fmla="*/ 0 h 27709"/>
                  <a:gd name="connsiteX4" fmla="*/ 28575 w 28575"/>
                  <a:gd name="connsiteY4" fmla="*/ 13855 h 27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7709">
                    <a:moveTo>
                      <a:pt x="28575" y="13855"/>
                    </a:moveTo>
                    <a:cubicBezTo>
                      <a:pt x="28575" y="21506"/>
                      <a:pt x="22178" y="27709"/>
                      <a:pt x="14288" y="27709"/>
                    </a:cubicBezTo>
                    <a:cubicBezTo>
                      <a:pt x="6397" y="27709"/>
                      <a:pt x="0" y="21506"/>
                      <a:pt x="0" y="13855"/>
                    </a:cubicBezTo>
                    <a:cubicBezTo>
                      <a:pt x="0" y="6203"/>
                      <a:pt x="6397" y="0"/>
                      <a:pt x="14288" y="0"/>
                    </a:cubicBezTo>
                    <a:cubicBezTo>
                      <a:pt x="22178" y="0"/>
                      <a:pt x="28575" y="6203"/>
                      <a:pt x="28575" y="13855"/>
                    </a:cubicBezTo>
                    <a:close/>
                  </a:path>
                </a:pathLst>
              </a:custGeom>
              <a:solidFill>
                <a:srgbClr val="2878FF">
                  <a:alpha val="49761"/>
                </a:srgbClr>
              </a:solidFill>
              <a:ln w="9525" cap="flat">
                <a:noFill/>
                <a:prstDash val="solid"/>
                <a:miter/>
              </a:ln>
            </p:spPr>
            <p:txBody>
              <a:bodyPr rtlCol="0" anchor="ctr"/>
              <a:lstStyle/>
              <a:p>
                <a:endParaRPr lang="en-DK"/>
              </a:p>
            </p:txBody>
          </p:sp>
          <p:sp>
            <p:nvSpPr>
              <p:cNvPr id="32" name="Freeform 31">
                <a:extLst>
                  <a:ext uri="{FF2B5EF4-FFF2-40B4-BE49-F238E27FC236}">
                    <a16:creationId xmlns:a16="http://schemas.microsoft.com/office/drawing/2014/main" id="{488AF31E-E1E7-A6F9-0190-F25F7DD5093B}"/>
                  </a:ext>
                </a:extLst>
              </p:cNvPr>
              <p:cNvSpPr/>
              <p:nvPr/>
            </p:nvSpPr>
            <p:spPr>
              <a:xfrm>
                <a:off x="10365778" y="4049948"/>
                <a:ext cx="28575" cy="27709"/>
              </a:xfrm>
              <a:custGeom>
                <a:avLst/>
                <a:gdLst>
                  <a:gd name="connsiteX0" fmla="*/ 28575 w 28575"/>
                  <a:gd name="connsiteY0" fmla="*/ 13855 h 27709"/>
                  <a:gd name="connsiteX1" fmla="*/ 14288 w 28575"/>
                  <a:gd name="connsiteY1" fmla="*/ 27709 h 27709"/>
                  <a:gd name="connsiteX2" fmla="*/ 0 w 28575"/>
                  <a:gd name="connsiteY2" fmla="*/ 13855 h 27709"/>
                  <a:gd name="connsiteX3" fmla="*/ 14288 w 28575"/>
                  <a:gd name="connsiteY3" fmla="*/ 0 h 27709"/>
                  <a:gd name="connsiteX4" fmla="*/ 28575 w 28575"/>
                  <a:gd name="connsiteY4" fmla="*/ 13855 h 27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7709">
                    <a:moveTo>
                      <a:pt x="28575" y="13855"/>
                    </a:moveTo>
                    <a:cubicBezTo>
                      <a:pt x="28575" y="21506"/>
                      <a:pt x="22178" y="27709"/>
                      <a:pt x="14288" y="27709"/>
                    </a:cubicBezTo>
                    <a:cubicBezTo>
                      <a:pt x="6397" y="27709"/>
                      <a:pt x="0" y="21506"/>
                      <a:pt x="0" y="13855"/>
                    </a:cubicBezTo>
                    <a:cubicBezTo>
                      <a:pt x="0" y="6203"/>
                      <a:pt x="6397" y="0"/>
                      <a:pt x="14288" y="0"/>
                    </a:cubicBezTo>
                    <a:cubicBezTo>
                      <a:pt x="22178" y="0"/>
                      <a:pt x="28575" y="6203"/>
                      <a:pt x="28575" y="13855"/>
                    </a:cubicBezTo>
                    <a:close/>
                  </a:path>
                </a:pathLst>
              </a:custGeom>
              <a:solidFill>
                <a:srgbClr val="2878FF">
                  <a:alpha val="50008"/>
                </a:srgbClr>
              </a:solidFill>
              <a:ln w="9525" cap="flat">
                <a:noFill/>
                <a:prstDash val="solid"/>
                <a:miter/>
              </a:ln>
            </p:spPr>
            <p:txBody>
              <a:bodyPr rtlCol="0" anchor="ctr"/>
              <a:lstStyle/>
              <a:p>
                <a:endParaRPr lang="en-DK"/>
              </a:p>
            </p:txBody>
          </p:sp>
          <p:sp>
            <p:nvSpPr>
              <p:cNvPr id="33" name="Freeform 32">
                <a:extLst>
                  <a:ext uri="{FF2B5EF4-FFF2-40B4-BE49-F238E27FC236}">
                    <a16:creationId xmlns:a16="http://schemas.microsoft.com/office/drawing/2014/main" id="{B7B8C81B-FC27-7857-DB29-61ABA5B05D38}"/>
                  </a:ext>
                </a:extLst>
              </p:cNvPr>
              <p:cNvSpPr/>
              <p:nvPr/>
            </p:nvSpPr>
            <p:spPr>
              <a:xfrm>
                <a:off x="9946774" y="3913989"/>
                <a:ext cx="456437" cy="303761"/>
              </a:xfrm>
              <a:custGeom>
                <a:avLst/>
                <a:gdLst>
                  <a:gd name="connsiteX0" fmla="*/ 435483 w 456437"/>
                  <a:gd name="connsiteY0" fmla="*/ 131618 h 303761"/>
                  <a:gd name="connsiteX1" fmla="*/ 415576 w 456437"/>
                  <a:gd name="connsiteY1" fmla="*/ 145473 h 303761"/>
                  <a:gd name="connsiteX2" fmla="*/ 391097 w 456437"/>
                  <a:gd name="connsiteY2" fmla="*/ 145473 h 303761"/>
                  <a:gd name="connsiteX3" fmla="*/ 399193 w 456437"/>
                  <a:gd name="connsiteY3" fmla="*/ 96428 h 303761"/>
                  <a:gd name="connsiteX4" fmla="*/ 299752 w 456437"/>
                  <a:gd name="connsiteY4" fmla="*/ 0 h 303761"/>
                  <a:gd name="connsiteX5" fmla="*/ 228124 w 456437"/>
                  <a:gd name="connsiteY5" fmla="*/ 29464 h 303761"/>
                  <a:gd name="connsiteX6" fmla="*/ 156496 w 456437"/>
                  <a:gd name="connsiteY6" fmla="*/ 0 h 303761"/>
                  <a:gd name="connsiteX7" fmla="*/ 57150 w 456437"/>
                  <a:gd name="connsiteY7" fmla="*/ 96335 h 303761"/>
                  <a:gd name="connsiteX8" fmla="*/ 60008 w 456437"/>
                  <a:gd name="connsiteY8" fmla="*/ 125430 h 303761"/>
                  <a:gd name="connsiteX9" fmla="*/ 67818 w 456437"/>
                  <a:gd name="connsiteY9" fmla="*/ 130602 h 303761"/>
                  <a:gd name="connsiteX10" fmla="*/ 73152 w 456437"/>
                  <a:gd name="connsiteY10" fmla="*/ 123029 h 303761"/>
                  <a:gd name="connsiteX11" fmla="*/ 70580 w 456437"/>
                  <a:gd name="connsiteY11" fmla="*/ 96428 h 303761"/>
                  <a:gd name="connsiteX12" fmla="*/ 156686 w 456437"/>
                  <a:gd name="connsiteY12" fmla="*/ 12839 h 303761"/>
                  <a:gd name="connsiteX13" fmla="*/ 223076 w 456437"/>
                  <a:gd name="connsiteY13" fmla="*/ 43226 h 303761"/>
                  <a:gd name="connsiteX14" fmla="*/ 228219 w 456437"/>
                  <a:gd name="connsiteY14" fmla="*/ 45628 h 303761"/>
                  <a:gd name="connsiteX15" fmla="*/ 233363 w 456437"/>
                  <a:gd name="connsiteY15" fmla="*/ 43226 h 303761"/>
                  <a:gd name="connsiteX16" fmla="*/ 299752 w 456437"/>
                  <a:gd name="connsiteY16" fmla="*/ 12839 h 303761"/>
                  <a:gd name="connsiteX17" fmla="*/ 385858 w 456437"/>
                  <a:gd name="connsiteY17" fmla="*/ 96335 h 303761"/>
                  <a:gd name="connsiteX18" fmla="*/ 377000 w 456437"/>
                  <a:gd name="connsiteY18" fmla="*/ 145381 h 303761"/>
                  <a:gd name="connsiteX19" fmla="*/ 315087 w 456437"/>
                  <a:gd name="connsiteY19" fmla="*/ 145381 h 303761"/>
                  <a:gd name="connsiteX20" fmla="*/ 298799 w 456437"/>
                  <a:gd name="connsiteY20" fmla="*/ 101138 h 303761"/>
                  <a:gd name="connsiteX21" fmla="*/ 292132 w 456437"/>
                  <a:gd name="connsiteY21" fmla="*/ 96797 h 303761"/>
                  <a:gd name="connsiteX22" fmla="*/ 285941 w 456437"/>
                  <a:gd name="connsiteY22" fmla="*/ 101693 h 303761"/>
                  <a:gd name="connsiteX23" fmla="*/ 263843 w 456437"/>
                  <a:gd name="connsiteY23" fmla="*/ 187406 h 303761"/>
                  <a:gd name="connsiteX24" fmla="*/ 234601 w 456437"/>
                  <a:gd name="connsiteY24" fmla="*/ 73983 h 303761"/>
                  <a:gd name="connsiteX25" fmla="*/ 228219 w 456437"/>
                  <a:gd name="connsiteY25" fmla="*/ 69088 h 303761"/>
                  <a:gd name="connsiteX26" fmla="*/ 221647 w 456437"/>
                  <a:gd name="connsiteY26" fmla="*/ 73706 h 303761"/>
                  <a:gd name="connsiteX27" fmla="*/ 191643 w 456437"/>
                  <a:gd name="connsiteY27" fmla="*/ 172628 h 303761"/>
                  <a:gd name="connsiteX28" fmla="*/ 170021 w 456437"/>
                  <a:gd name="connsiteY28" fmla="*/ 114901 h 303761"/>
                  <a:gd name="connsiteX29" fmla="*/ 163830 w 456437"/>
                  <a:gd name="connsiteY29" fmla="*/ 110652 h 303761"/>
                  <a:gd name="connsiteX30" fmla="*/ 157544 w 456437"/>
                  <a:gd name="connsiteY30" fmla="*/ 114716 h 303761"/>
                  <a:gd name="connsiteX31" fmla="*/ 144875 w 456437"/>
                  <a:gd name="connsiteY31" fmla="*/ 145288 h 303761"/>
                  <a:gd name="connsiteX32" fmla="*/ 40862 w 456437"/>
                  <a:gd name="connsiteY32" fmla="*/ 145288 h 303761"/>
                  <a:gd name="connsiteX33" fmla="*/ 20955 w 456437"/>
                  <a:gd name="connsiteY33" fmla="*/ 131434 h 303761"/>
                  <a:gd name="connsiteX34" fmla="*/ 0 w 456437"/>
                  <a:gd name="connsiteY34" fmla="*/ 151754 h 303761"/>
                  <a:gd name="connsiteX35" fmla="*/ 20955 w 456437"/>
                  <a:gd name="connsiteY35" fmla="*/ 172074 h 303761"/>
                  <a:gd name="connsiteX36" fmla="*/ 40862 w 456437"/>
                  <a:gd name="connsiteY36" fmla="*/ 158219 h 303761"/>
                  <a:gd name="connsiteX37" fmla="*/ 70295 w 456437"/>
                  <a:gd name="connsiteY37" fmla="*/ 158219 h 303761"/>
                  <a:gd name="connsiteX38" fmla="*/ 161258 w 456437"/>
                  <a:gd name="connsiteY38" fmla="*/ 264253 h 303761"/>
                  <a:gd name="connsiteX39" fmla="*/ 225457 w 456437"/>
                  <a:gd name="connsiteY39" fmla="*/ 303138 h 303761"/>
                  <a:gd name="connsiteX40" fmla="*/ 231172 w 456437"/>
                  <a:gd name="connsiteY40" fmla="*/ 303138 h 303761"/>
                  <a:gd name="connsiteX41" fmla="*/ 284702 w 456437"/>
                  <a:gd name="connsiteY41" fmla="*/ 271826 h 303761"/>
                  <a:gd name="connsiteX42" fmla="*/ 373571 w 456437"/>
                  <a:gd name="connsiteY42" fmla="*/ 182788 h 303761"/>
                  <a:gd name="connsiteX43" fmla="*/ 371189 w 456437"/>
                  <a:gd name="connsiteY43" fmla="*/ 173921 h 303761"/>
                  <a:gd name="connsiteX44" fmla="*/ 362045 w 456437"/>
                  <a:gd name="connsiteY44" fmla="*/ 176230 h 303761"/>
                  <a:gd name="connsiteX45" fmla="*/ 228314 w 456437"/>
                  <a:gd name="connsiteY45" fmla="*/ 290114 h 303761"/>
                  <a:gd name="connsiteX46" fmla="*/ 84868 w 456437"/>
                  <a:gd name="connsiteY46" fmla="*/ 158311 h 303761"/>
                  <a:gd name="connsiteX47" fmla="*/ 149638 w 456437"/>
                  <a:gd name="connsiteY47" fmla="*/ 158311 h 303761"/>
                  <a:gd name="connsiteX48" fmla="*/ 155829 w 456437"/>
                  <a:gd name="connsiteY48" fmla="*/ 154247 h 303761"/>
                  <a:gd name="connsiteX49" fmla="*/ 163640 w 456437"/>
                  <a:gd name="connsiteY49" fmla="*/ 135405 h 303761"/>
                  <a:gd name="connsiteX50" fmla="*/ 186214 w 456437"/>
                  <a:gd name="connsiteY50" fmla="*/ 195719 h 303761"/>
                  <a:gd name="connsiteX51" fmla="*/ 192691 w 456437"/>
                  <a:gd name="connsiteY51" fmla="*/ 199967 h 303761"/>
                  <a:gd name="connsiteX52" fmla="*/ 198882 w 456437"/>
                  <a:gd name="connsiteY52" fmla="*/ 195349 h 303761"/>
                  <a:gd name="connsiteX53" fmla="*/ 227648 w 456437"/>
                  <a:gd name="connsiteY53" fmla="*/ 100399 h 303761"/>
                  <a:gd name="connsiteX54" fmla="*/ 257461 w 456437"/>
                  <a:gd name="connsiteY54" fmla="*/ 215854 h 303761"/>
                  <a:gd name="connsiteX55" fmla="*/ 263938 w 456437"/>
                  <a:gd name="connsiteY55" fmla="*/ 220749 h 303761"/>
                  <a:gd name="connsiteX56" fmla="*/ 270415 w 456437"/>
                  <a:gd name="connsiteY56" fmla="*/ 215854 h 303761"/>
                  <a:gd name="connsiteX57" fmla="*/ 293656 w 456437"/>
                  <a:gd name="connsiteY57" fmla="*/ 125707 h 303761"/>
                  <a:gd name="connsiteX58" fmla="*/ 304133 w 456437"/>
                  <a:gd name="connsiteY58" fmla="*/ 154063 h 303761"/>
                  <a:gd name="connsiteX59" fmla="*/ 310420 w 456437"/>
                  <a:gd name="connsiteY59" fmla="*/ 158404 h 303761"/>
                  <a:gd name="connsiteX60" fmla="*/ 415576 w 456437"/>
                  <a:gd name="connsiteY60" fmla="*/ 158404 h 303761"/>
                  <a:gd name="connsiteX61" fmla="*/ 435483 w 456437"/>
                  <a:gd name="connsiteY61" fmla="*/ 172258 h 303761"/>
                  <a:gd name="connsiteX62" fmla="*/ 456438 w 456437"/>
                  <a:gd name="connsiteY62" fmla="*/ 151938 h 303761"/>
                  <a:gd name="connsiteX63" fmla="*/ 435483 w 456437"/>
                  <a:gd name="connsiteY63" fmla="*/ 131618 h 303761"/>
                  <a:gd name="connsiteX64" fmla="*/ 20955 w 456437"/>
                  <a:gd name="connsiteY64" fmla="*/ 159327 h 303761"/>
                  <a:gd name="connsiteX65" fmla="*/ 13335 w 456437"/>
                  <a:gd name="connsiteY65" fmla="*/ 151938 h 303761"/>
                  <a:gd name="connsiteX66" fmla="*/ 20955 w 456437"/>
                  <a:gd name="connsiteY66" fmla="*/ 144549 h 303761"/>
                  <a:gd name="connsiteX67" fmla="*/ 28575 w 456437"/>
                  <a:gd name="connsiteY67" fmla="*/ 151938 h 303761"/>
                  <a:gd name="connsiteX68" fmla="*/ 20955 w 456437"/>
                  <a:gd name="connsiteY68" fmla="*/ 159327 h 303761"/>
                  <a:gd name="connsiteX69" fmla="*/ 435483 w 456437"/>
                  <a:gd name="connsiteY69" fmla="*/ 159327 h 303761"/>
                  <a:gd name="connsiteX70" fmla="*/ 427863 w 456437"/>
                  <a:gd name="connsiteY70" fmla="*/ 151938 h 303761"/>
                  <a:gd name="connsiteX71" fmla="*/ 435483 w 456437"/>
                  <a:gd name="connsiteY71" fmla="*/ 144549 h 303761"/>
                  <a:gd name="connsiteX72" fmla="*/ 443103 w 456437"/>
                  <a:gd name="connsiteY72" fmla="*/ 151938 h 303761"/>
                  <a:gd name="connsiteX73" fmla="*/ 435483 w 456437"/>
                  <a:gd name="connsiteY73" fmla="*/ 159327 h 303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56437" h="303761">
                    <a:moveTo>
                      <a:pt x="435483" y="131618"/>
                    </a:moveTo>
                    <a:cubicBezTo>
                      <a:pt x="426244" y="131618"/>
                      <a:pt x="418433" y="137437"/>
                      <a:pt x="415576" y="145473"/>
                    </a:cubicBezTo>
                    <a:lnTo>
                      <a:pt x="391097" y="145473"/>
                    </a:lnTo>
                    <a:cubicBezTo>
                      <a:pt x="396526" y="129309"/>
                      <a:pt x="399193" y="112869"/>
                      <a:pt x="399193" y="96428"/>
                    </a:cubicBezTo>
                    <a:cubicBezTo>
                      <a:pt x="399193" y="43226"/>
                      <a:pt x="354521" y="0"/>
                      <a:pt x="299752" y="0"/>
                    </a:cubicBezTo>
                    <a:cubicBezTo>
                      <a:pt x="272510" y="0"/>
                      <a:pt x="246888" y="10622"/>
                      <a:pt x="228124" y="29464"/>
                    </a:cubicBezTo>
                    <a:cubicBezTo>
                      <a:pt x="209455" y="10622"/>
                      <a:pt x="183737" y="0"/>
                      <a:pt x="156496" y="0"/>
                    </a:cubicBezTo>
                    <a:cubicBezTo>
                      <a:pt x="101822" y="-92"/>
                      <a:pt x="57150" y="43226"/>
                      <a:pt x="57150" y="96335"/>
                    </a:cubicBezTo>
                    <a:cubicBezTo>
                      <a:pt x="57150" y="106034"/>
                      <a:pt x="58103" y="115824"/>
                      <a:pt x="60008" y="125430"/>
                    </a:cubicBezTo>
                    <a:cubicBezTo>
                      <a:pt x="60674" y="128940"/>
                      <a:pt x="64198" y="131249"/>
                      <a:pt x="67818" y="130602"/>
                    </a:cubicBezTo>
                    <a:cubicBezTo>
                      <a:pt x="71438" y="129956"/>
                      <a:pt x="73819" y="126538"/>
                      <a:pt x="73152" y="123029"/>
                    </a:cubicBezTo>
                    <a:cubicBezTo>
                      <a:pt x="71438" y="114254"/>
                      <a:pt x="70580" y="105295"/>
                      <a:pt x="70580" y="96428"/>
                    </a:cubicBezTo>
                    <a:cubicBezTo>
                      <a:pt x="70580" y="50338"/>
                      <a:pt x="109157" y="12839"/>
                      <a:pt x="156686" y="12839"/>
                    </a:cubicBezTo>
                    <a:cubicBezTo>
                      <a:pt x="182499" y="12839"/>
                      <a:pt x="206693" y="23922"/>
                      <a:pt x="223076" y="43226"/>
                    </a:cubicBezTo>
                    <a:cubicBezTo>
                      <a:pt x="224314" y="44704"/>
                      <a:pt x="226219" y="45628"/>
                      <a:pt x="228219" y="45628"/>
                    </a:cubicBezTo>
                    <a:cubicBezTo>
                      <a:pt x="230219" y="45628"/>
                      <a:pt x="232124" y="44797"/>
                      <a:pt x="233363" y="43226"/>
                    </a:cubicBezTo>
                    <a:cubicBezTo>
                      <a:pt x="249841" y="23922"/>
                      <a:pt x="274034" y="12839"/>
                      <a:pt x="299752" y="12839"/>
                    </a:cubicBezTo>
                    <a:cubicBezTo>
                      <a:pt x="347186" y="12839"/>
                      <a:pt x="385858" y="50338"/>
                      <a:pt x="385858" y="96335"/>
                    </a:cubicBezTo>
                    <a:cubicBezTo>
                      <a:pt x="385858" y="112776"/>
                      <a:pt x="382905" y="129309"/>
                      <a:pt x="377000" y="145381"/>
                    </a:cubicBezTo>
                    <a:lnTo>
                      <a:pt x="315087" y="145381"/>
                    </a:lnTo>
                    <a:lnTo>
                      <a:pt x="298799" y="101138"/>
                    </a:lnTo>
                    <a:cubicBezTo>
                      <a:pt x="297847" y="98460"/>
                      <a:pt x="295180" y="96705"/>
                      <a:pt x="292132" y="96797"/>
                    </a:cubicBezTo>
                    <a:cubicBezTo>
                      <a:pt x="289179" y="96982"/>
                      <a:pt x="286703" y="98922"/>
                      <a:pt x="285941" y="101693"/>
                    </a:cubicBezTo>
                    <a:lnTo>
                      <a:pt x="263843" y="187406"/>
                    </a:lnTo>
                    <a:lnTo>
                      <a:pt x="234601" y="73983"/>
                    </a:lnTo>
                    <a:cubicBezTo>
                      <a:pt x="233839" y="71120"/>
                      <a:pt x="231267" y="69088"/>
                      <a:pt x="228219" y="69088"/>
                    </a:cubicBezTo>
                    <a:cubicBezTo>
                      <a:pt x="225171" y="69088"/>
                      <a:pt x="222504" y="70935"/>
                      <a:pt x="221647" y="73706"/>
                    </a:cubicBezTo>
                    <a:lnTo>
                      <a:pt x="191643" y="172628"/>
                    </a:lnTo>
                    <a:lnTo>
                      <a:pt x="170021" y="114901"/>
                    </a:lnTo>
                    <a:cubicBezTo>
                      <a:pt x="169069" y="112407"/>
                      <a:pt x="166592" y="110652"/>
                      <a:pt x="163830" y="110652"/>
                    </a:cubicBezTo>
                    <a:cubicBezTo>
                      <a:pt x="161068" y="110652"/>
                      <a:pt x="158496" y="112222"/>
                      <a:pt x="157544" y="114716"/>
                    </a:cubicBezTo>
                    <a:lnTo>
                      <a:pt x="144875" y="145288"/>
                    </a:lnTo>
                    <a:lnTo>
                      <a:pt x="40862" y="145288"/>
                    </a:lnTo>
                    <a:cubicBezTo>
                      <a:pt x="38100" y="137253"/>
                      <a:pt x="30194" y="131434"/>
                      <a:pt x="20955" y="131434"/>
                    </a:cubicBezTo>
                    <a:cubicBezTo>
                      <a:pt x="9430" y="131434"/>
                      <a:pt x="0" y="140578"/>
                      <a:pt x="0" y="151754"/>
                    </a:cubicBezTo>
                    <a:cubicBezTo>
                      <a:pt x="0" y="162930"/>
                      <a:pt x="9430" y="172074"/>
                      <a:pt x="20955" y="172074"/>
                    </a:cubicBezTo>
                    <a:cubicBezTo>
                      <a:pt x="30194" y="172074"/>
                      <a:pt x="38005" y="166255"/>
                      <a:pt x="40862" y="158219"/>
                    </a:cubicBezTo>
                    <a:lnTo>
                      <a:pt x="70295" y="158219"/>
                    </a:lnTo>
                    <a:cubicBezTo>
                      <a:pt x="90488" y="205232"/>
                      <a:pt x="130683" y="241716"/>
                      <a:pt x="161258" y="264253"/>
                    </a:cubicBezTo>
                    <a:cubicBezTo>
                      <a:pt x="195167" y="289283"/>
                      <a:pt x="224219" y="302583"/>
                      <a:pt x="225457" y="303138"/>
                    </a:cubicBezTo>
                    <a:cubicBezTo>
                      <a:pt x="227267" y="303969"/>
                      <a:pt x="229362" y="303969"/>
                      <a:pt x="231172" y="303138"/>
                    </a:cubicBezTo>
                    <a:cubicBezTo>
                      <a:pt x="232124" y="302676"/>
                      <a:pt x="255461" y="291962"/>
                      <a:pt x="284702" y="271826"/>
                    </a:cubicBezTo>
                    <a:cubicBezTo>
                      <a:pt x="333851" y="238021"/>
                      <a:pt x="360140" y="204678"/>
                      <a:pt x="373571" y="182788"/>
                    </a:cubicBezTo>
                    <a:cubicBezTo>
                      <a:pt x="375475" y="179740"/>
                      <a:pt x="374428" y="175676"/>
                      <a:pt x="371189" y="173921"/>
                    </a:cubicBezTo>
                    <a:cubicBezTo>
                      <a:pt x="368046" y="172074"/>
                      <a:pt x="363950" y="173090"/>
                      <a:pt x="362045" y="176230"/>
                    </a:cubicBezTo>
                    <a:cubicBezTo>
                      <a:pt x="322136" y="241439"/>
                      <a:pt x="244126" y="282263"/>
                      <a:pt x="228314" y="290114"/>
                    </a:cubicBezTo>
                    <a:cubicBezTo>
                      <a:pt x="211074" y="281617"/>
                      <a:pt x="120301" y="233957"/>
                      <a:pt x="84868" y="158311"/>
                    </a:cubicBezTo>
                    <a:lnTo>
                      <a:pt x="149638" y="158311"/>
                    </a:lnTo>
                    <a:cubicBezTo>
                      <a:pt x="152400" y="158311"/>
                      <a:pt x="154877" y="156741"/>
                      <a:pt x="155829" y="154247"/>
                    </a:cubicBezTo>
                    <a:lnTo>
                      <a:pt x="163640" y="135405"/>
                    </a:lnTo>
                    <a:lnTo>
                      <a:pt x="186214" y="195719"/>
                    </a:lnTo>
                    <a:cubicBezTo>
                      <a:pt x="187166" y="198305"/>
                      <a:pt x="189833" y="200060"/>
                      <a:pt x="192691" y="199967"/>
                    </a:cubicBezTo>
                    <a:cubicBezTo>
                      <a:pt x="195548" y="199967"/>
                      <a:pt x="198120" y="198028"/>
                      <a:pt x="198882" y="195349"/>
                    </a:cubicBezTo>
                    <a:lnTo>
                      <a:pt x="227648" y="100399"/>
                    </a:lnTo>
                    <a:lnTo>
                      <a:pt x="257461" y="215854"/>
                    </a:lnTo>
                    <a:cubicBezTo>
                      <a:pt x="258223" y="218717"/>
                      <a:pt x="260890" y="220749"/>
                      <a:pt x="263938" y="220749"/>
                    </a:cubicBezTo>
                    <a:cubicBezTo>
                      <a:pt x="266986" y="220749"/>
                      <a:pt x="269653" y="218717"/>
                      <a:pt x="270415" y="215854"/>
                    </a:cubicBezTo>
                    <a:lnTo>
                      <a:pt x="293656" y="125707"/>
                    </a:lnTo>
                    <a:lnTo>
                      <a:pt x="304133" y="154063"/>
                    </a:lnTo>
                    <a:cubicBezTo>
                      <a:pt x="305086" y="156649"/>
                      <a:pt x="307562" y="158404"/>
                      <a:pt x="310420" y="158404"/>
                    </a:cubicBezTo>
                    <a:lnTo>
                      <a:pt x="415576" y="158404"/>
                    </a:lnTo>
                    <a:cubicBezTo>
                      <a:pt x="418338" y="166439"/>
                      <a:pt x="426244" y="172258"/>
                      <a:pt x="435483" y="172258"/>
                    </a:cubicBezTo>
                    <a:cubicBezTo>
                      <a:pt x="447008" y="172258"/>
                      <a:pt x="456438" y="163114"/>
                      <a:pt x="456438" y="151938"/>
                    </a:cubicBezTo>
                    <a:cubicBezTo>
                      <a:pt x="456438" y="140762"/>
                      <a:pt x="447008" y="131618"/>
                      <a:pt x="435483" y="131618"/>
                    </a:cubicBezTo>
                    <a:close/>
                    <a:moveTo>
                      <a:pt x="20955" y="159327"/>
                    </a:moveTo>
                    <a:cubicBezTo>
                      <a:pt x="16764" y="159327"/>
                      <a:pt x="13335" y="156002"/>
                      <a:pt x="13335" y="151938"/>
                    </a:cubicBezTo>
                    <a:cubicBezTo>
                      <a:pt x="13335" y="147874"/>
                      <a:pt x="16764" y="144549"/>
                      <a:pt x="20955" y="144549"/>
                    </a:cubicBezTo>
                    <a:cubicBezTo>
                      <a:pt x="25146" y="144549"/>
                      <a:pt x="28575" y="147874"/>
                      <a:pt x="28575" y="151938"/>
                    </a:cubicBezTo>
                    <a:cubicBezTo>
                      <a:pt x="28575" y="156002"/>
                      <a:pt x="25146" y="159327"/>
                      <a:pt x="20955" y="159327"/>
                    </a:cubicBezTo>
                    <a:close/>
                    <a:moveTo>
                      <a:pt x="435483" y="159327"/>
                    </a:moveTo>
                    <a:cubicBezTo>
                      <a:pt x="431292" y="159327"/>
                      <a:pt x="427863" y="156002"/>
                      <a:pt x="427863" y="151938"/>
                    </a:cubicBezTo>
                    <a:cubicBezTo>
                      <a:pt x="427863" y="147874"/>
                      <a:pt x="431292" y="144549"/>
                      <a:pt x="435483" y="144549"/>
                    </a:cubicBezTo>
                    <a:cubicBezTo>
                      <a:pt x="439674" y="144549"/>
                      <a:pt x="443103" y="147874"/>
                      <a:pt x="443103" y="151938"/>
                    </a:cubicBezTo>
                    <a:cubicBezTo>
                      <a:pt x="443103" y="156002"/>
                      <a:pt x="439674" y="159327"/>
                      <a:pt x="435483" y="159327"/>
                    </a:cubicBezTo>
                    <a:close/>
                  </a:path>
                </a:pathLst>
              </a:custGeom>
              <a:solidFill>
                <a:srgbClr val="FFFFFF"/>
              </a:solidFill>
              <a:ln w="9525" cap="flat">
                <a:noFill/>
                <a:prstDash val="solid"/>
                <a:miter/>
              </a:ln>
            </p:spPr>
            <p:txBody>
              <a:bodyPr rtlCol="0" anchor="ctr"/>
              <a:lstStyle/>
              <a:p>
                <a:endParaRPr lang="en-DK"/>
              </a:p>
            </p:txBody>
          </p:sp>
        </p:grpSp>
      </p:grpSp>
      <p:sp>
        <p:nvSpPr>
          <p:cNvPr id="2" name="Footer Placeholder 438">
            <a:extLst>
              <a:ext uri="{FF2B5EF4-FFF2-40B4-BE49-F238E27FC236}">
                <a16:creationId xmlns:a16="http://schemas.microsoft.com/office/drawing/2014/main" id="{CFB1DC70-1314-422F-3B46-DB1DB11E5FBB}"/>
              </a:ext>
            </a:extLst>
          </p:cNvPr>
          <p:cNvSpPr txBox="1">
            <a:spLocks/>
          </p:cNvSpPr>
          <p:nvPr/>
        </p:nvSpPr>
        <p:spPr>
          <a:xfrm>
            <a:off x="516732" y="6378372"/>
            <a:ext cx="10933112" cy="307777"/>
          </a:xfrm>
          <a:prstGeom prst="rect">
            <a:avLst/>
          </a:prstGeom>
        </p:spPr>
        <p:txBody>
          <a:bodyPr vert="horz" lIns="0" tIns="0" rIns="0" bIns="0" rtlCol="0" anchor="t">
            <a:spAutoFit/>
          </a:bodyPr>
          <a:lstStyle>
            <a:defPPr>
              <a:defRPr lang="sv-SE"/>
            </a:defPPr>
            <a:lvl1pPr marL="0" algn="l" defTabSz="914400" rtl="0" eaLnBrk="1" latinLnBrk="0" hangingPunct="1">
              <a:defRPr sz="1000" kern="1200">
                <a:solidFill>
                  <a:schemeClr val="tx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2878FF">
                    <a:lumMod val="60000"/>
                    <a:lumOff val="40000"/>
                  </a:srgbClr>
                </a:solidFill>
                <a:latin typeface="Avenir Next LT Pro"/>
              </a:rPr>
              <a:t>Note</a:t>
            </a:r>
            <a:r>
              <a:rPr lang="en-DK">
                <a:solidFill>
                  <a:srgbClr val="2878FF">
                    <a:lumMod val="60000"/>
                    <a:lumOff val="40000"/>
                  </a:srgbClr>
                </a:solidFill>
                <a:latin typeface="Avenir Next LT Pro"/>
              </a:rPr>
              <a:t>s</a:t>
            </a:r>
            <a:r>
              <a:rPr lang="en-US">
                <a:solidFill>
                  <a:srgbClr val="2878FF">
                    <a:lumMod val="60000"/>
                    <a:lumOff val="40000"/>
                  </a:srgbClr>
                </a:solidFill>
                <a:latin typeface="Avenir Next LT Pro"/>
              </a:rPr>
              <a:t>:</a:t>
            </a:r>
            <a:r>
              <a:rPr lang="en-DK">
                <a:solidFill>
                  <a:srgbClr val="2878FF">
                    <a:lumMod val="60000"/>
                    <a:lumOff val="40000"/>
                  </a:srgbClr>
                </a:solidFill>
                <a:latin typeface="Avenir Next LT Pro"/>
              </a:rPr>
              <a:t> *</a:t>
            </a:r>
            <a:r>
              <a:rPr lang="en-US">
                <a:solidFill>
                  <a:srgbClr val="2878FF">
                    <a:lumMod val="60000"/>
                    <a:lumOff val="40000"/>
                  </a:srgbClr>
                </a:solidFill>
                <a:latin typeface="Avenir Next LT Pro"/>
              </a:rPr>
              <a:t>BI 3034701 was developed </a:t>
            </a:r>
            <a:r>
              <a:rPr lang="en-DK">
                <a:solidFill>
                  <a:srgbClr val="2878FF">
                    <a:lumMod val="60000"/>
                    <a:lumOff val="40000"/>
                  </a:srgbClr>
                </a:solidFill>
                <a:latin typeface="Avenir Next LT Pro"/>
              </a:rPr>
              <a:t>in</a:t>
            </a:r>
            <a:r>
              <a:rPr lang="en-US">
                <a:solidFill>
                  <a:srgbClr val="2878FF">
                    <a:lumMod val="60000"/>
                    <a:lumOff val="40000"/>
                  </a:srgbClr>
                </a:solidFill>
                <a:latin typeface="Avenir Next LT Pro"/>
              </a:rPr>
              <a:t> cooperation with Boehringer Ingelheim</a:t>
            </a:r>
            <a:r>
              <a:rPr lang="en-DK">
                <a:solidFill>
                  <a:srgbClr val="2878FF">
                    <a:lumMod val="60000"/>
                    <a:lumOff val="40000"/>
                  </a:srgbClr>
                </a:solidFill>
                <a:latin typeface="Avenir Next LT Pro"/>
              </a:rPr>
              <a:t>. </a:t>
            </a:r>
            <a:r>
              <a:rPr lang="en-US">
                <a:solidFill>
                  <a:srgbClr val="2878FF">
                    <a:lumMod val="60000"/>
                    <a:lumOff val="40000"/>
                  </a:srgbClr>
                </a:solidFill>
                <a:latin typeface="Avenir Next LT Pro"/>
              </a:rPr>
              <a:t>Boehringer Ingelheim is solely responsible for further development and global commercialization of BI 3034701</a:t>
            </a:r>
            <a:r>
              <a:rPr lang="en-DK">
                <a:solidFill>
                  <a:srgbClr val="2878FF">
                    <a:lumMod val="60000"/>
                    <a:lumOff val="40000"/>
                  </a:srgbClr>
                </a:solidFill>
                <a:latin typeface="Avenir Next LT Pro"/>
              </a:rPr>
              <a:t>; MAD = multiple-ascending dose; UCN2 = urocortin-2</a:t>
            </a:r>
            <a:endParaRPr lang="sv-SE">
              <a:solidFill>
                <a:srgbClr val="2878FF">
                  <a:lumMod val="60000"/>
                  <a:lumOff val="40000"/>
                </a:srgbClr>
              </a:solidFill>
              <a:latin typeface="Avenir Next LT Pro"/>
            </a:endParaRPr>
          </a:p>
        </p:txBody>
      </p:sp>
    </p:spTree>
    <p:extLst>
      <p:ext uri="{BB962C8B-B14F-4D97-AF65-F5344CB8AC3E}">
        <p14:creationId xmlns:p14="http://schemas.microsoft.com/office/powerpoint/2010/main" val="2324525722"/>
      </p:ext>
    </p:ext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866633-90F8-2BF0-9C78-6A76902993C1}"/>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668B90AE-7D51-EA3D-30EC-D6DF617381AC}"/>
              </a:ext>
            </a:extLst>
          </p:cNvPr>
          <p:cNvSpPr/>
          <p:nvPr/>
        </p:nvSpPr>
        <p:spPr>
          <a:xfrm>
            <a:off x="-2" y="1412876"/>
            <a:ext cx="12193589" cy="5445124"/>
          </a:xfrm>
          <a:prstGeom prst="rect">
            <a:avLst/>
          </a:prstGeom>
          <a:solidFill>
            <a:srgbClr val="CCDD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9" name="Triangle 8">
            <a:extLst>
              <a:ext uri="{FF2B5EF4-FFF2-40B4-BE49-F238E27FC236}">
                <a16:creationId xmlns:a16="http://schemas.microsoft.com/office/drawing/2014/main" id="{FDD68859-3BCB-30B4-8420-6E95C245947B}"/>
              </a:ext>
            </a:extLst>
          </p:cNvPr>
          <p:cNvSpPr/>
          <p:nvPr/>
        </p:nvSpPr>
        <p:spPr>
          <a:xfrm rot="5400000">
            <a:off x="5608633" y="3951408"/>
            <a:ext cx="1189885" cy="458769"/>
          </a:xfrm>
          <a:prstGeom prst="triangle">
            <a:avLst>
              <a:gd name="adj" fmla="val 47522"/>
            </a:avLst>
          </a:prstGeom>
          <a:solidFill>
            <a:srgbClr val="001965"/>
          </a:solidFill>
          <a:ln w="12700" cap="flat" cmpd="sng" algn="ctr">
            <a:solidFill>
              <a:srgbClr val="00196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FFFFFF"/>
              </a:solidFill>
              <a:effectLst/>
              <a:uLnTx/>
              <a:uFillTx/>
              <a:latin typeface="Calibri" panose="020F0502020204030204"/>
            </a:endParaRPr>
          </a:p>
        </p:txBody>
      </p:sp>
      <p:sp>
        <p:nvSpPr>
          <p:cNvPr id="13" name="Arrow: Pentagon 200">
            <a:extLst>
              <a:ext uri="{FF2B5EF4-FFF2-40B4-BE49-F238E27FC236}">
                <a16:creationId xmlns:a16="http://schemas.microsoft.com/office/drawing/2014/main" id="{340CBF8F-57DF-BC1E-05ED-081A151A02A8}"/>
              </a:ext>
            </a:extLst>
          </p:cNvPr>
          <p:cNvSpPr/>
          <p:nvPr/>
        </p:nvSpPr>
        <p:spPr>
          <a:xfrm>
            <a:off x="-2" y="1412876"/>
            <a:ext cx="6096795" cy="5462562"/>
          </a:xfrm>
          <a:prstGeom prst="homePlate">
            <a:avLst>
              <a:gd name="adj" fmla="val 0"/>
            </a:avLst>
          </a:prstGeom>
          <a:solidFill>
            <a:srgbClr val="00196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ndParaRPr>
          </a:p>
        </p:txBody>
      </p:sp>
      <p:graphicFrame>
        <p:nvGraphicFramePr>
          <p:cNvPr id="6" name="think-cell data - do not delete" hidden="1">
            <a:extLst>
              <a:ext uri="{FF2B5EF4-FFF2-40B4-BE49-F238E27FC236}">
                <a16:creationId xmlns:a16="http://schemas.microsoft.com/office/drawing/2014/main" id="{3B13455D-7C74-F9B0-6CB2-F107B573DC3F}"/>
              </a:ext>
            </a:extLst>
          </p:cNvPr>
          <p:cNvGraphicFramePr>
            <a:graphicFrameLocks/>
          </p:cNvGraphicFramePr>
          <p:nvPr>
            <p:custDataLst>
              <p:tags r:id="rId2"/>
            </p:custDataLst>
            <p:extLst>
              <p:ext uri="{D42A27DB-BD31-4B8C-83A1-F6EECF244321}">
                <p14:modId xmlns:p14="http://schemas.microsoft.com/office/powerpoint/2010/main" val="3517715072"/>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think-cell data - do not delete" hidden="1">
                        <a:extLst>
                          <a:ext uri="{FF2B5EF4-FFF2-40B4-BE49-F238E27FC236}">
                            <a16:creationId xmlns:a16="http://schemas.microsoft.com/office/drawing/2014/main" id="{3B13455D-7C74-F9B0-6CB2-F107B573DC3F}"/>
                          </a:ext>
                        </a:extLst>
                      </p:cNvPr>
                      <p:cNvPicPr/>
                      <p:nvPr/>
                    </p:nvPicPr>
                    <p:blipFill>
                      <a:blip r:embed="rId5"/>
                      <a:stretch>
                        <a:fillRect/>
                      </a:stretch>
                    </p:blipFill>
                    <p:spPr>
                      <a:xfrm>
                        <a:off x="2382"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B57C90-786B-266A-DD1A-0B551C820AF5}"/>
              </a:ext>
            </a:extLst>
          </p:cNvPr>
          <p:cNvSpPr>
            <a:spLocks noGrp="1"/>
          </p:cNvSpPr>
          <p:nvPr>
            <p:ph type="ctrTitle"/>
          </p:nvPr>
        </p:nvSpPr>
        <p:spPr>
          <a:xfrm>
            <a:off x="516006" y="514350"/>
            <a:ext cx="9960848" cy="792900"/>
          </a:xfrm>
        </p:spPr>
        <p:txBody>
          <a:bodyPr vert="horz"/>
          <a:lstStyle/>
          <a:p>
            <a:r>
              <a:rPr lang="en-DK"/>
              <a:t>Recent topline results for ABBV-295 demonstrate a competitive profile in the amylin class</a:t>
            </a:r>
            <a:endParaRPr lang="de-DE"/>
          </a:p>
        </p:txBody>
      </p:sp>
      <p:sp>
        <p:nvSpPr>
          <p:cNvPr id="22" name="Rectangle: Rounded Corners 21">
            <a:extLst>
              <a:ext uri="{FF2B5EF4-FFF2-40B4-BE49-F238E27FC236}">
                <a16:creationId xmlns:a16="http://schemas.microsoft.com/office/drawing/2014/main" id="{1406D10C-EC7E-243C-AEF8-50A574E3C2E0}"/>
              </a:ext>
            </a:extLst>
          </p:cNvPr>
          <p:cNvSpPr/>
          <p:nvPr/>
        </p:nvSpPr>
        <p:spPr>
          <a:xfrm>
            <a:off x="6675690" y="2008064"/>
            <a:ext cx="4918691" cy="3892240"/>
          </a:xfrm>
          <a:prstGeom prst="roundRect">
            <a:avLst>
              <a:gd name="adj" fmla="val 5135"/>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504000" tIns="432000" rIns="0" bIns="0" rtlCol="0" anchor="t"/>
          <a:lstStyle/>
          <a:p>
            <a:pPr marL="152550" defTabSz="914218">
              <a:spcAft>
                <a:spcPts val="2400"/>
              </a:spcAft>
              <a:defRPr/>
            </a:pPr>
            <a:r>
              <a:rPr lang="en-US" sz="1200" b="1">
                <a:solidFill>
                  <a:srgbClr val="001965"/>
                </a:solidFill>
                <a:latin typeface="Avenir Next LT Pro"/>
              </a:rPr>
              <a:t>Competitive weight loss</a:t>
            </a:r>
            <a:r>
              <a:rPr lang="en-US" sz="1200">
                <a:solidFill>
                  <a:srgbClr val="001965"/>
                </a:solidFill>
                <a:latin typeface="Avenir Next LT Pro"/>
              </a:rPr>
              <a:t>: Delivered up to –9.8% </a:t>
            </a:r>
            <a:br>
              <a:rPr lang="en-US" sz="1200">
                <a:solidFill>
                  <a:srgbClr val="001965"/>
                </a:solidFill>
                <a:latin typeface="Avenir Next LT Pro"/>
              </a:rPr>
            </a:br>
            <a:r>
              <a:rPr lang="en-US" sz="1200">
                <a:solidFill>
                  <a:srgbClr val="001965"/>
                </a:solidFill>
                <a:latin typeface="Avenir Next LT Pro"/>
              </a:rPr>
              <a:t>at week 12 (weekly) </a:t>
            </a:r>
            <a:r>
              <a:rPr lang="en-DK" sz="1200">
                <a:solidFill>
                  <a:srgbClr val="001965"/>
                </a:solidFill>
                <a:latin typeface="Avenir Next LT Pro"/>
              </a:rPr>
              <a:t>v</a:t>
            </a:r>
            <a:r>
              <a:rPr lang="en-US" sz="1200">
                <a:solidFill>
                  <a:srgbClr val="001965"/>
                </a:solidFill>
                <a:latin typeface="Avenir Next LT Pro"/>
              </a:rPr>
              <a:t>s. –0.3% for placebo. </a:t>
            </a:r>
            <a:endParaRPr lang="en-DK" sz="1200">
              <a:solidFill>
                <a:srgbClr val="001965"/>
              </a:solidFill>
              <a:latin typeface="Avenir Next LT Pro"/>
            </a:endParaRPr>
          </a:p>
          <a:p>
            <a:pPr marL="152550" defTabSz="914218">
              <a:spcAft>
                <a:spcPts val="2400"/>
              </a:spcAft>
              <a:defRPr/>
            </a:pPr>
            <a:r>
              <a:rPr lang="en-US" sz="1200" b="1">
                <a:solidFill>
                  <a:srgbClr val="001965"/>
                </a:solidFill>
                <a:latin typeface="Avenir Next LT Pro"/>
              </a:rPr>
              <a:t>Clear dose‑</a:t>
            </a:r>
            <a:r>
              <a:rPr lang="en-DK" sz="1200" b="1">
                <a:solidFill>
                  <a:srgbClr val="001965"/>
                </a:solidFill>
                <a:latin typeface="Avenir Next LT Pro"/>
              </a:rPr>
              <a:t>dependent </a:t>
            </a:r>
            <a:r>
              <a:rPr lang="en-US" sz="1200" b="1">
                <a:solidFill>
                  <a:srgbClr val="001965"/>
                </a:solidFill>
                <a:latin typeface="Avenir Next LT Pro"/>
              </a:rPr>
              <a:t>response with good tolerability</a:t>
            </a:r>
            <a:r>
              <a:rPr lang="en-US" sz="1200">
                <a:solidFill>
                  <a:srgbClr val="001965"/>
                </a:solidFill>
                <a:latin typeface="Avenir Next LT Pro"/>
              </a:rPr>
              <a:t>: Demonstrated dose‑dependent weight reduction across </a:t>
            </a:r>
            <a:br>
              <a:rPr lang="en-DK" sz="1200">
                <a:solidFill>
                  <a:srgbClr val="001965"/>
                </a:solidFill>
                <a:latin typeface="Avenir Next LT Pro"/>
              </a:rPr>
            </a:br>
            <a:r>
              <a:rPr lang="en-US" sz="1200">
                <a:solidFill>
                  <a:srgbClr val="001965"/>
                </a:solidFill>
                <a:latin typeface="Avenir Next LT Pro"/>
              </a:rPr>
              <a:t>2–14 mg with mostly mild GI symptoms. </a:t>
            </a:r>
            <a:endParaRPr lang="en-DK" sz="1200">
              <a:solidFill>
                <a:srgbClr val="001965"/>
              </a:solidFill>
              <a:latin typeface="Avenir Next LT Pro"/>
            </a:endParaRPr>
          </a:p>
          <a:p>
            <a:pPr marL="152550" defTabSz="914218">
              <a:spcAft>
                <a:spcPts val="2400"/>
              </a:spcAft>
              <a:defRPr/>
            </a:pPr>
            <a:r>
              <a:rPr lang="en-US" sz="1200" b="1">
                <a:solidFill>
                  <a:srgbClr val="001965"/>
                </a:solidFill>
                <a:latin typeface="Avenir Next LT Pro"/>
              </a:rPr>
              <a:t>Strong position as long‑acting amylin analog</a:t>
            </a:r>
            <a:r>
              <a:rPr lang="en-US" sz="1200">
                <a:solidFill>
                  <a:srgbClr val="001965"/>
                </a:solidFill>
                <a:latin typeface="Avenir Next LT Pro"/>
              </a:rPr>
              <a:t>: </a:t>
            </a:r>
            <a:br>
              <a:rPr lang="en-DK" sz="1200">
                <a:solidFill>
                  <a:srgbClr val="001965"/>
                </a:solidFill>
                <a:latin typeface="Avenir Next LT Pro"/>
              </a:rPr>
            </a:br>
            <a:r>
              <a:rPr lang="en-US" sz="1200">
                <a:solidFill>
                  <a:srgbClr val="001965"/>
                </a:solidFill>
                <a:latin typeface="Avenir Next LT Pro"/>
              </a:rPr>
              <a:t>Achieved comparable weight loss with every‑other‑week </a:t>
            </a:r>
            <a:br>
              <a:rPr lang="en-US" sz="1200">
                <a:solidFill>
                  <a:srgbClr val="001965"/>
                </a:solidFill>
                <a:latin typeface="Avenir Next LT Pro"/>
              </a:rPr>
            </a:br>
            <a:r>
              <a:rPr lang="en-US" sz="1200">
                <a:solidFill>
                  <a:srgbClr val="001965"/>
                </a:solidFill>
                <a:latin typeface="Avenir Next LT Pro"/>
              </a:rPr>
              <a:t>and monthly dosing after week 5</a:t>
            </a:r>
            <a:r>
              <a:rPr lang="en-DK" sz="1200">
                <a:solidFill>
                  <a:srgbClr val="001965"/>
                </a:solidFill>
                <a:latin typeface="Avenir Next LT Pro"/>
              </a:rPr>
              <a:t>.</a:t>
            </a:r>
          </a:p>
          <a:p>
            <a:pPr marL="152550" defTabSz="914218">
              <a:spcAft>
                <a:spcPts val="2400"/>
              </a:spcAft>
              <a:defRPr/>
            </a:pPr>
            <a:r>
              <a:rPr lang="en-US" sz="1200" b="1">
                <a:solidFill>
                  <a:srgbClr val="001965"/>
                </a:solidFill>
                <a:latin typeface="Avenir Next LT Pro"/>
              </a:rPr>
              <a:t>Results in BMI&lt;30 male dominant cohorts</a:t>
            </a:r>
            <a:r>
              <a:rPr lang="en-US" sz="1200">
                <a:solidFill>
                  <a:srgbClr val="001965"/>
                </a:solidFill>
                <a:latin typeface="Avenir Next LT Pro"/>
              </a:rPr>
              <a:t>: </a:t>
            </a:r>
            <a:br>
              <a:rPr lang="en-US" sz="1200">
                <a:solidFill>
                  <a:srgbClr val="001965"/>
                </a:solidFill>
                <a:latin typeface="Avenir Next LT Pro"/>
              </a:rPr>
            </a:br>
            <a:r>
              <a:rPr lang="en-US" sz="1200">
                <a:solidFill>
                  <a:srgbClr val="001965"/>
                </a:solidFill>
                <a:latin typeface="Avenir Next LT Pro"/>
              </a:rPr>
              <a:t>Study enrolled 88% male participants with BMI &lt;30, normally associated with lower weight‑loss</a:t>
            </a:r>
            <a:r>
              <a:rPr lang="en-DK" sz="1200">
                <a:solidFill>
                  <a:srgbClr val="001965"/>
                </a:solidFill>
                <a:latin typeface="Avenir Next LT Pro"/>
              </a:rPr>
              <a:t> </a:t>
            </a:r>
            <a:r>
              <a:rPr lang="en-US" sz="1200">
                <a:solidFill>
                  <a:srgbClr val="001965"/>
                </a:solidFill>
                <a:latin typeface="Avenir Next LT Pro"/>
              </a:rPr>
              <a:t>responsiveness.</a:t>
            </a:r>
            <a:endParaRPr lang="en-DK" sz="1200">
              <a:solidFill>
                <a:srgbClr val="001965"/>
              </a:solidFill>
              <a:latin typeface="Avenir Next LT Pro"/>
            </a:endParaRPr>
          </a:p>
        </p:txBody>
      </p:sp>
      <p:sp>
        <p:nvSpPr>
          <p:cNvPr id="26" name="Oval 25">
            <a:extLst>
              <a:ext uri="{FF2B5EF4-FFF2-40B4-BE49-F238E27FC236}">
                <a16:creationId xmlns:a16="http://schemas.microsoft.com/office/drawing/2014/main" id="{91B48486-3A51-30D7-EDAE-5256BC54AC27}"/>
              </a:ext>
            </a:extLst>
          </p:cNvPr>
          <p:cNvSpPr>
            <a:spLocks noChangeAspect="1"/>
          </p:cNvSpPr>
          <p:nvPr/>
        </p:nvSpPr>
        <p:spPr>
          <a:xfrm>
            <a:off x="6932720" y="2503600"/>
            <a:ext cx="360000" cy="360000"/>
          </a:xfrm>
          <a:prstGeom prst="ellipse">
            <a:avLst/>
          </a:prstGeom>
          <a:solidFill>
            <a:schemeClr val="accent4"/>
          </a:solidFill>
          <a:ln w="12700" cap="flat" cmpd="sng" algn="ctr">
            <a:noFill/>
            <a:prstDash val="solid"/>
            <a:miter lim="800000"/>
          </a:ln>
          <a:effectLst/>
        </p:spPr>
        <p:txBody>
          <a:bodyPr lIns="35995" tIns="35995" rIns="35995" bIns="35995" rtlCol="0" anchor="ctr"/>
          <a:lstStyle/>
          <a:p>
            <a:pPr algn="ctr" defTabSz="914355">
              <a:spcAft>
                <a:spcPts val="1200"/>
              </a:spcAft>
            </a:pPr>
            <a:r>
              <a:rPr lang="en-DK" sz="1600" b="1" kern="0">
                <a:latin typeface="Avenir Next LT Pro Demi" panose="020B0504020202020204" pitchFamily="34" charset="77"/>
              </a:rPr>
              <a:t>1</a:t>
            </a:r>
            <a:endParaRPr lang="de-DE" sz="1600" b="1" kern="0">
              <a:latin typeface="Avenir Next LT Pro Demi" panose="020B0504020202020204" pitchFamily="34" charset="77"/>
            </a:endParaRPr>
          </a:p>
        </p:txBody>
      </p:sp>
      <p:sp>
        <p:nvSpPr>
          <p:cNvPr id="11" name="Rounded Rectangle 3">
            <a:extLst>
              <a:ext uri="{FF2B5EF4-FFF2-40B4-BE49-F238E27FC236}">
                <a16:creationId xmlns:a16="http://schemas.microsoft.com/office/drawing/2014/main" id="{745CF47B-6685-AF7C-348F-946580C0F882}"/>
              </a:ext>
            </a:extLst>
          </p:cNvPr>
          <p:cNvSpPr/>
          <p:nvPr/>
        </p:nvSpPr>
        <p:spPr>
          <a:xfrm>
            <a:off x="516006" y="142571"/>
            <a:ext cx="2683633" cy="288000"/>
          </a:xfrm>
          <a:prstGeom prst="roundRect">
            <a:avLst>
              <a:gd name="adj" fmla="val 50000"/>
            </a:avLst>
          </a:prstGeom>
          <a:solidFill>
            <a:srgbClr val="8CC3CA">
              <a:alpha val="49757"/>
            </a:srgbClr>
          </a:solidFill>
          <a:ln w="12700" cap="flat" cmpd="sng" algn="ctr">
            <a:solidFill>
              <a:srgbClr val="8CC3C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effectLst/>
                <a:uLnTx/>
                <a:uFillTx/>
                <a:latin typeface="Avenir Next LT Pro Demi" panose="020B0504020202020204" pitchFamily="34" charset="77"/>
                <a:ea typeface="+mn-ea"/>
                <a:cs typeface="+mn-cs"/>
              </a:rPr>
              <a:t>LONG-ACTING AMYLIN ANALOG</a:t>
            </a:r>
          </a:p>
        </p:txBody>
      </p:sp>
      <p:sp>
        <p:nvSpPr>
          <p:cNvPr id="34" name="Rectangle 33">
            <a:extLst>
              <a:ext uri="{FF2B5EF4-FFF2-40B4-BE49-F238E27FC236}">
                <a16:creationId xmlns:a16="http://schemas.microsoft.com/office/drawing/2014/main" id="{012C6126-A7D3-3A76-0338-E3634DB0885E}"/>
              </a:ext>
            </a:extLst>
          </p:cNvPr>
          <p:cNvSpPr/>
          <p:nvPr/>
        </p:nvSpPr>
        <p:spPr>
          <a:xfrm>
            <a:off x="516006" y="1755940"/>
            <a:ext cx="1136057" cy="42370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algn="ctr" defTabSz="914400">
              <a:defRPr/>
            </a:pPr>
            <a:r>
              <a:rPr lang="en-DK" sz="1100" b="1">
                <a:solidFill>
                  <a:srgbClr val="FFFFFF"/>
                </a:solidFill>
                <a:latin typeface="Avenir Next LT Pro Demi" panose="020B0504020202020204" pitchFamily="34" charset="77"/>
              </a:rPr>
              <a:t>Drug</a:t>
            </a:r>
            <a:endParaRPr lang="en-US" sz="1100" b="1">
              <a:solidFill>
                <a:srgbClr val="FFFFFF"/>
              </a:solidFill>
              <a:latin typeface="Avenir Next LT Pro Demi" panose="020B0504020202020204" pitchFamily="34" charset="77"/>
            </a:endParaRPr>
          </a:p>
        </p:txBody>
      </p:sp>
      <p:sp>
        <p:nvSpPr>
          <p:cNvPr id="36" name="Rounded Rectangle 35">
            <a:extLst>
              <a:ext uri="{FF2B5EF4-FFF2-40B4-BE49-F238E27FC236}">
                <a16:creationId xmlns:a16="http://schemas.microsoft.com/office/drawing/2014/main" id="{78EA2748-F6E8-4FBA-1B15-7669CAB04A87}"/>
              </a:ext>
            </a:extLst>
          </p:cNvPr>
          <p:cNvSpPr/>
          <p:nvPr/>
        </p:nvSpPr>
        <p:spPr>
          <a:xfrm>
            <a:off x="1749364" y="1748281"/>
            <a:ext cx="3789333" cy="423703"/>
          </a:xfrm>
          <a:prstGeom prst="roundRect">
            <a:avLst>
              <a:gd name="adj" fmla="val 50000"/>
            </a:avLst>
          </a:prstGeom>
          <a:solidFill>
            <a:schemeClr val="accent4">
              <a:alpha val="49904"/>
            </a:schemeClr>
          </a:solidFill>
          <a:ln w="1270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defRPr/>
            </a:pPr>
            <a:r>
              <a:rPr lang="en-DK" sz="1200" b="1">
                <a:solidFill>
                  <a:schemeClr val="bg1"/>
                </a:solidFill>
                <a:latin typeface="Avenir Next LT Pro Demi" panose="020B0504020202020204" pitchFamily="34" charset="77"/>
              </a:rPr>
              <a:t>ABBV-295</a:t>
            </a:r>
            <a:endParaRPr lang="en-US" sz="1200" b="1">
              <a:solidFill>
                <a:schemeClr val="bg1"/>
              </a:solidFill>
              <a:latin typeface="Avenir Next LT Pro Demi" panose="020B0504020202020204" pitchFamily="34" charset="77"/>
            </a:endParaRPr>
          </a:p>
        </p:txBody>
      </p:sp>
      <p:sp>
        <p:nvSpPr>
          <p:cNvPr id="37" name="Rectangle 36">
            <a:extLst>
              <a:ext uri="{FF2B5EF4-FFF2-40B4-BE49-F238E27FC236}">
                <a16:creationId xmlns:a16="http://schemas.microsoft.com/office/drawing/2014/main" id="{6444CAF1-84C2-A624-E18C-D03F4C5381D4}"/>
              </a:ext>
            </a:extLst>
          </p:cNvPr>
          <p:cNvSpPr/>
          <p:nvPr/>
        </p:nvSpPr>
        <p:spPr>
          <a:xfrm>
            <a:off x="516006" y="2239743"/>
            <a:ext cx="1136057" cy="42370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algn="ctr" defTabSz="914400">
              <a:defRPr/>
            </a:pPr>
            <a:r>
              <a:rPr lang="en-DK" sz="1100" b="1">
                <a:solidFill>
                  <a:srgbClr val="FFFFFF"/>
                </a:solidFill>
                <a:latin typeface="Avenir Next LT Pro Demi" panose="020B0504020202020204" pitchFamily="34" charset="77"/>
              </a:rPr>
              <a:t>Company</a:t>
            </a:r>
            <a:endParaRPr lang="en-US" sz="1100" b="1">
              <a:solidFill>
                <a:srgbClr val="FFFFFF"/>
              </a:solidFill>
              <a:latin typeface="Avenir Next LT Pro Demi" panose="020B0504020202020204" pitchFamily="34" charset="77"/>
            </a:endParaRPr>
          </a:p>
        </p:txBody>
      </p:sp>
      <p:sp>
        <p:nvSpPr>
          <p:cNvPr id="38" name="Rectangle 37">
            <a:extLst>
              <a:ext uri="{FF2B5EF4-FFF2-40B4-BE49-F238E27FC236}">
                <a16:creationId xmlns:a16="http://schemas.microsoft.com/office/drawing/2014/main" id="{11A5E4CF-9BE2-4FB1-595F-71E7FFC8D0E8}"/>
              </a:ext>
            </a:extLst>
          </p:cNvPr>
          <p:cNvSpPr/>
          <p:nvPr/>
        </p:nvSpPr>
        <p:spPr>
          <a:xfrm>
            <a:off x="516006" y="2723546"/>
            <a:ext cx="1136057" cy="42370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algn="ctr" defTabSz="914400">
              <a:defRPr/>
            </a:pPr>
            <a:r>
              <a:rPr lang="en-DK" sz="1100" b="1">
                <a:solidFill>
                  <a:srgbClr val="FFFFFF"/>
                </a:solidFill>
                <a:latin typeface="Avenir Next LT Pro Demi" panose="020B0504020202020204" pitchFamily="34" charset="77"/>
              </a:rPr>
              <a:t>Trial</a:t>
            </a:r>
            <a:endParaRPr lang="en-US" sz="1100" b="1">
              <a:solidFill>
                <a:srgbClr val="FFFFFF"/>
              </a:solidFill>
              <a:latin typeface="Avenir Next LT Pro Demi" panose="020B0504020202020204" pitchFamily="34" charset="77"/>
            </a:endParaRPr>
          </a:p>
        </p:txBody>
      </p:sp>
      <p:sp>
        <p:nvSpPr>
          <p:cNvPr id="39" name="Rectangle 38">
            <a:extLst>
              <a:ext uri="{FF2B5EF4-FFF2-40B4-BE49-F238E27FC236}">
                <a16:creationId xmlns:a16="http://schemas.microsoft.com/office/drawing/2014/main" id="{E37DB3D8-B5F7-1256-8995-7D02171C16BF}"/>
              </a:ext>
            </a:extLst>
          </p:cNvPr>
          <p:cNvSpPr/>
          <p:nvPr/>
        </p:nvSpPr>
        <p:spPr>
          <a:xfrm>
            <a:off x="516006" y="3691152"/>
            <a:ext cx="1136057" cy="423489"/>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algn="ctr" defTabSz="914400">
              <a:defRPr/>
            </a:pPr>
            <a:r>
              <a:rPr lang="en-US" sz="1100" b="1">
                <a:solidFill>
                  <a:srgbClr val="FFFFFF"/>
                </a:solidFill>
                <a:latin typeface="Avenir Next LT Pro Demi" panose="020B0504020202020204" pitchFamily="34" charset="77"/>
              </a:rPr>
              <a:t>Female (%)</a:t>
            </a:r>
          </a:p>
        </p:txBody>
      </p:sp>
      <p:sp>
        <p:nvSpPr>
          <p:cNvPr id="40" name="Rectangle 39">
            <a:extLst>
              <a:ext uri="{FF2B5EF4-FFF2-40B4-BE49-F238E27FC236}">
                <a16:creationId xmlns:a16="http://schemas.microsoft.com/office/drawing/2014/main" id="{90981EE5-EC86-C4B5-F961-12CEF161321A}"/>
              </a:ext>
            </a:extLst>
          </p:cNvPr>
          <p:cNvSpPr/>
          <p:nvPr/>
        </p:nvSpPr>
        <p:spPr>
          <a:xfrm>
            <a:off x="516006" y="4658758"/>
            <a:ext cx="1136057" cy="42370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algn="ctr" defTabSz="914400">
              <a:defRPr/>
            </a:pPr>
            <a:r>
              <a:rPr lang="en-DK" sz="1100" b="1">
                <a:solidFill>
                  <a:srgbClr val="FFFFFF"/>
                </a:solidFill>
                <a:latin typeface="Avenir Next LT Pro Demi" panose="020B0504020202020204" pitchFamily="34" charset="77"/>
              </a:rPr>
              <a:t>Dosing</a:t>
            </a:r>
            <a:endParaRPr lang="en-US" sz="1100" b="1">
              <a:solidFill>
                <a:srgbClr val="FFFFFF"/>
              </a:solidFill>
              <a:latin typeface="Avenir Next LT Pro Demi" panose="020B0504020202020204" pitchFamily="34" charset="77"/>
            </a:endParaRPr>
          </a:p>
        </p:txBody>
      </p:sp>
      <p:sp>
        <p:nvSpPr>
          <p:cNvPr id="41" name="Rectangle 40">
            <a:extLst>
              <a:ext uri="{FF2B5EF4-FFF2-40B4-BE49-F238E27FC236}">
                <a16:creationId xmlns:a16="http://schemas.microsoft.com/office/drawing/2014/main" id="{98409EF9-BF7E-D7E0-56B7-DD90A9E70067}"/>
              </a:ext>
            </a:extLst>
          </p:cNvPr>
          <p:cNvSpPr/>
          <p:nvPr/>
        </p:nvSpPr>
        <p:spPr>
          <a:xfrm>
            <a:off x="516006" y="5626367"/>
            <a:ext cx="1136057" cy="423702"/>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algn="ctr" defTabSz="914400">
              <a:defRPr/>
            </a:pPr>
            <a:r>
              <a:rPr lang="en-DK" sz="1100" b="1">
                <a:solidFill>
                  <a:srgbClr val="FFFFFF"/>
                </a:solidFill>
                <a:latin typeface="Avenir Next LT Pro Demi" panose="020B0504020202020204" pitchFamily="34" charset="77"/>
              </a:rPr>
              <a:t>Weight </a:t>
            </a:r>
            <a:br>
              <a:rPr lang="en-DK" sz="1100" b="1">
                <a:solidFill>
                  <a:srgbClr val="FFFFFF"/>
                </a:solidFill>
                <a:latin typeface="Avenir Next LT Pro Demi" panose="020B0504020202020204" pitchFamily="34" charset="77"/>
              </a:rPr>
            </a:br>
            <a:r>
              <a:rPr lang="en-DK" sz="1100" b="1">
                <a:solidFill>
                  <a:srgbClr val="FFFFFF"/>
                </a:solidFill>
                <a:latin typeface="Avenir Next LT Pro Demi" panose="020B0504020202020204" pitchFamily="34" charset="77"/>
              </a:rPr>
              <a:t>loss</a:t>
            </a:r>
            <a:endParaRPr lang="en-US" sz="1100" b="1">
              <a:solidFill>
                <a:srgbClr val="FFFFFF"/>
              </a:solidFill>
              <a:latin typeface="Avenir Next LT Pro Demi" panose="020B0504020202020204" pitchFamily="34" charset="77"/>
            </a:endParaRPr>
          </a:p>
        </p:txBody>
      </p:sp>
      <p:sp>
        <p:nvSpPr>
          <p:cNvPr id="43" name="Inhaltsplatzhalter 1">
            <a:extLst>
              <a:ext uri="{FF2B5EF4-FFF2-40B4-BE49-F238E27FC236}">
                <a16:creationId xmlns:a16="http://schemas.microsoft.com/office/drawing/2014/main" id="{225A11AE-1F9D-63B5-8282-2C75D2DE3882}"/>
              </a:ext>
            </a:extLst>
          </p:cNvPr>
          <p:cNvSpPr txBox="1">
            <a:spLocks/>
          </p:cNvSpPr>
          <p:nvPr/>
        </p:nvSpPr>
        <p:spPr bwMode="auto">
          <a:xfrm>
            <a:off x="1749364" y="2233361"/>
            <a:ext cx="3789333" cy="423703"/>
          </a:xfrm>
          <a:prstGeom prst="rect">
            <a:avLst/>
          </a:prstGeom>
          <a:solidFill>
            <a:schemeClr val="bg1">
              <a:lumMod val="95000"/>
            </a:schemeClr>
          </a:solidFill>
          <a:ln cap="flat">
            <a:noFill/>
          </a:ln>
        </p:spPr>
        <p:txBody>
          <a:bodyPr vert="horz" wrap="square" lIns="35995" tIns="36000" rIns="35995" bIns="36000" anchor="ctr" anchorCtr="0" compatLnSpc="1">
            <a:noAutofit/>
          </a:bodyPr>
          <a:lstStyle>
            <a:defPPr>
              <a:defRPr lang="LID4096"/>
            </a:defPPr>
            <a:lvl1pPr marL="285721" marR="0" lvl="0" indent="-285721" defTabSz="914309" fontAlgn="auto">
              <a:lnSpc>
                <a:spcPct val="100000"/>
              </a:lnSpc>
              <a:spcBef>
                <a:spcPts val="0"/>
              </a:spcBef>
              <a:spcAft>
                <a:spcPts val="600"/>
              </a:spcAft>
              <a:buClr>
                <a:srgbClr val="2878FF"/>
              </a:buClr>
              <a:buSzPct val="100000"/>
              <a:buFont typeface="Avenir Next LT Pro" pitchFamily="34"/>
              <a:buChar char="+"/>
              <a:tabLst/>
              <a:defRPr kumimoji="0" sz="1200" b="0" i="0" u="none" strike="noStrike" kern="0" cap="none" spc="0" normalizeH="0" baseline="0">
                <a:ln>
                  <a:noFill/>
                </a:ln>
                <a:solidFill>
                  <a:srgbClr val="001965"/>
                </a:solidFill>
                <a:effectLst/>
                <a:uLnTx/>
                <a:uFillTx/>
                <a:latin typeface="Avenir Next LT Pro"/>
              </a:defRPr>
            </a:lvl1pPr>
          </a:lstStyle>
          <a:p>
            <a:pPr marL="0" indent="0" algn="ctr">
              <a:spcBef>
                <a:spcPts val="600"/>
              </a:spcBef>
              <a:spcAft>
                <a:spcPts val="0"/>
              </a:spcAft>
              <a:buNone/>
              <a:defRPr/>
            </a:pPr>
            <a:r>
              <a:rPr lang="en-DE" sz="1100">
                <a:sym typeface="Calibri" panose="020F0502020204030204" pitchFamily="34" charset="0"/>
              </a:rPr>
              <a:t>ABBV</a:t>
            </a:r>
          </a:p>
        </p:txBody>
      </p:sp>
      <p:sp>
        <p:nvSpPr>
          <p:cNvPr id="44" name="Rectangle 43">
            <a:extLst>
              <a:ext uri="{FF2B5EF4-FFF2-40B4-BE49-F238E27FC236}">
                <a16:creationId xmlns:a16="http://schemas.microsoft.com/office/drawing/2014/main" id="{B9045CAA-0833-44E4-509D-2B09A29E35D7}"/>
              </a:ext>
            </a:extLst>
          </p:cNvPr>
          <p:cNvSpPr/>
          <p:nvPr/>
        </p:nvSpPr>
        <p:spPr>
          <a:xfrm>
            <a:off x="516006" y="3207349"/>
            <a:ext cx="1136057" cy="42370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algn="ctr" defTabSz="914400">
              <a:defRPr/>
            </a:pPr>
            <a:r>
              <a:rPr lang="en-DK" sz="1100" b="1">
                <a:solidFill>
                  <a:srgbClr val="FFFFFF"/>
                </a:solidFill>
                <a:latin typeface="Avenir Next LT Pro Demi" panose="020B0504020202020204" pitchFamily="34" charset="77"/>
              </a:rPr>
              <a:t>Trial length</a:t>
            </a:r>
            <a:endParaRPr lang="en-US" sz="1100" b="1">
              <a:solidFill>
                <a:srgbClr val="FFFFFF"/>
              </a:solidFill>
              <a:latin typeface="Avenir Next LT Pro Demi" panose="020B0504020202020204" pitchFamily="34" charset="77"/>
            </a:endParaRPr>
          </a:p>
        </p:txBody>
      </p:sp>
      <p:sp>
        <p:nvSpPr>
          <p:cNvPr id="45" name="Rectangle 44">
            <a:extLst>
              <a:ext uri="{FF2B5EF4-FFF2-40B4-BE49-F238E27FC236}">
                <a16:creationId xmlns:a16="http://schemas.microsoft.com/office/drawing/2014/main" id="{455E781F-9DCB-F16C-E093-E87DEFA146AD}"/>
              </a:ext>
            </a:extLst>
          </p:cNvPr>
          <p:cNvSpPr/>
          <p:nvPr/>
        </p:nvSpPr>
        <p:spPr>
          <a:xfrm>
            <a:off x="516006" y="4174955"/>
            <a:ext cx="1136057" cy="42370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algn="ctr" defTabSz="914400">
              <a:defRPr/>
            </a:pPr>
            <a:r>
              <a:rPr lang="en-DK" sz="1100" b="1">
                <a:solidFill>
                  <a:srgbClr val="FFFFFF"/>
                </a:solidFill>
                <a:latin typeface="Avenir Next LT Pro Demi" panose="020B0504020202020204" pitchFamily="34" charset="77"/>
              </a:rPr>
              <a:t>BMI</a:t>
            </a:r>
            <a:endParaRPr lang="en-US" sz="1100" b="1">
              <a:solidFill>
                <a:srgbClr val="FFFFFF"/>
              </a:solidFill>
              <a:latin typeface="Avenir Next LT Pro Demi" panose="020B0504020202020204" pitchFamily="34" charset="77"/>
            </a:endParaRPr>
          </a:p>
        </p:txBody>
      </p:sp>
      <p:sp>
        <p:nvSpPr>
          <p:cNvPr id="46" name="Rectangle 45">
            <a:extLst>
              <a:ext uri="{FF2B5EF4-FFF2-40B4-BE49-F238E27FC236}">
                <a16:creationId xmlns:a16="http://schemas.microsoft.com/office/drawing/2014/main" id="{6FAB0F07-3BBC-3692-A1BC-E8FD0D5B1BF2}"/>
              </a:ext>
            </a:extLst>
          </p:cNvPr>
          <p:cNvSpPr/>
          <p:nvPr/>
        </p:nvSpPr>
        <p:spPr>
          <a:xfrm>
            <a:off x="516006" y="5142561"/>
            <a:ext cx="1136057" cy="42370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algn="ctr" defTabSz="914400">
              <a:defRPr/>
            </a:pPr>
            <a:r>
              <a:rPr lang="en-DK" sz="1100" b="1">
                <a:solidFill>
                  <a:srgbClr val="FFFFFF"/>
                </a:solidFill>
                <a:latin typeface="Avenir Next LT Pro Demi" panose="020B0504020202020204" pitchFamily="34" charset="77"/>
              </a:rPr>
              <a:t>Dosing frequency</a:t>
            </a:r>
            <a:endParaRPr lang="en-US" sz="1100" b="1">
              <a:solidFill>
                <a:srgbClr val="FFFFFF"/>
              </a:solidFill>
              <a:latin typeface="Avenir Next LT Pro Demi" panose="020B0504020202020204" pitchFamily="34" charset="77"/>
            </a:endParaRPr>
          </a:p>
        </p:txBody>
      </p:sp>
      <p:sp>
        <p:nvSpPr>
          <p:cNvPr id="73" name="Inhaltsplatzhalter 1">
            <a:extLst>
              <a:ext uri="{FF2B5EF4-FFF2-40B4-BE49-F238E27FC236}">
                <a16:creationId xmlns:a16="http://schemas.microsoft.com/office/drawing/2014/main" id="{C5A566B6-EA8E-C2EB-8AB4-5D0B021BD3D4}"/>
              </a:ext>
            </a:extLst>
          </p:cNvPr>
          <p:cNvSpPr txBox="1">
            <a:spLocks/>
          </p:cNvSpPr>
          <p:nvPr/>
        </p:nvSpPr>
        <p:spPr bwMode="auto">
          <a:xfrm>
            <a:off x="1749370" y="2718440"/>
            <a:ext cx="1212269" cy="423703"/>
          </a:xfrm>
          <a:prstGeom prst="rect">
            <a:avLst/>
          </a:prstGeom>
          <a:solidFill>
            <a:schemeClr val="bg1">
              <a:lumMod val="95000"/>
            </a:schemeClr>
          </a:solidFill>
          <a:ln cap="flat">
            <a:noFill/>
          </a:ln>
        </p:spPr>
        <p:txBody>
          <a:bodyPr vert="horz" wrap="square" lIns="35995" tIns="36000" rIns="35995" bIns="36000" anchor="ctr" anchorCtr="0" compatLnSpc="1">
            <a:noAutofit/>
          </a:bodyPr>
          <a:lstStyle>
            <a:defPPr>
              <a:defRPr lang="LID4096"/>
            </a:defPPr>
            <a:lvl1pPr marL="285721" marR="0" lvl="0" indent="-285721" defTabSz="914309" fontAlgn="auto">
              <a:lnSpc>
                <a:spcPct val="100000"/>
              </a:lnSpc>
              <a:spcBef>
                <a:spcPts val="0"/>
              </a:spcBef>
              <a:spcAft>
                <a:spcPts val="600"/>
              </a:spcAft>
              <a:buClr>
                <a:srgbClr val="2878FF"/>
              </a:buClr>
              <a:buSzPct val="100000"/>
              <a:buFont typeface="Avenir Next LT Pro" pitchFamily="34"/>
              <a:buChar char="+"/>
              <a:tabLst/>
              <a:defRPr kumimoji="0" sz="1200" b="0" i="0" u="none" strike="noStrike" kern="0" cap="none" spc="0" normalizeH="0" baseline="0">
                <a:ln>
                  <a:noFill/>
                </a:ln>
                <a:solidFill>
                  <a:srgbClr val="001965"/>
                </a:solidFill>
                <a:effectLst/>
                <a:uLnTx/>
                <a:uFillTx/>
                <a:latin typeface="Avenir Next LT Pro"/>
              </a:defRPr>
            </a:lvl1pPr>
          </a:lstStyle>
          <a:p>
            <a:pPr marL="0" indent="0" algn="ctr">
              <a:spcBef>
                <a:spcPts val="600"/>
              </a:spcBef>
              <a:spcAft>
                <a:spcPts val="0"/>
              </a:spcAft>
              <a:buNone/>
              <a:defRPr/>
            </a:pPr>
            <a:r>
              <a:rPr lang="en-DE" sz="1100">
                <a:sym typeface="Calibri" panose="020F0502020204030204" pitchFamily="34" charset="0"/>
              </a:rPr>
              <a:t>Ph1 MAD</a:t>
            </a:r>
            <a:br>
              <a:rPr lang="en-DK" sz="1100">
                <a:sym typeface="Calibri" panose="020F0502020204030204" pitchFamily="34" charset="0"/>
              </a:rPr>
            </a:br>
            <a:r>
              <a:rPr lang="en-DK" sz="1100">
                <a:sym typeface="Calibri" panose="020F0502020204030204" pitchFamily="34" charset="0"/>
              </a:rPr>
              <a:t>(Part </a:t>
            </a:r>
            <a:r>
              <a:rPr lang="en-GB" sz="1100">
                <a:sym typeface="Calibri" panose="020F0502020204030204" pitchFamily="34" charset="0"/>
              </a:rPr>
              <a:t>1</a:t>
            </a:r>
            <a:r>
              <a:rPr lang="en-DK" sz="1100">
                <a:sym typeface="Calibri" panose="020F0502020204030204" pitchFamily="34" charset="0"/>
              </a:rPr>
              <a:t>)</a:t>
            </a:r>
            <a:endParaRPr lang="en-DE" sz="1100">
              <a:sym typeface="Calibri" panose="020F0502020204030204" pitchFamily="34" charset="0"/>
            </a:endParaRPr>
          </a:p>
        </p:txBody>
      </p:sp>
      <p:sp>
        <p:nvSpPr>
          <p:cNvPr id="74" name="Inhaltsplatzhalter 1">
            <a:extLst>
              <a:ext uri="{FF2B5EF4-FFF2-40B4-BE49-F238E27FC236}">
                <a16:creationId xmlns:a16="http://schemas.microsoft.com/office/drawing/2014/main" id="{2EB0F7A5-205D-AEDA-77A3-D4B6BE676FB1}"/>
              </a:ext>
            </a:extLst>
          </p:cNvPr>
          <p:cNvSpPr txBox="1">
            <a:spLocks/>
          </p:cNvSpPr>
          <p:nvPr/>
        </p:nvSpPr>
        <p:spPr bwMode="auto">
          <a:xfrm>
            <a:off x="1749370" y="3688600"/>
            <a:ext cx="1212269" cy="423489"/>
          </a:xfrm>
          <a:prstGeom prst="rect">
            <a:avLst/>
          </a:prstGeom>
          <a:solidFill>
            <a:schemeClr val="bg1">
              <a:lumMod val="95000"/>
            </a:schemeClr>
          </a:solidFill>
          <a:ln cap="flat">
            <a:noFill/>
          </a:ln>
        </p:spPr>
        <p:txBody>
          <a:bodyPr vert="horz" wrap="square" lIns="35995" tIns="36000" rIns="35995" bIns="36000" anchor="ctr" anchorCtr="0" compatLnSpc="1">
            <a:noAutofit/>
          </a:bodyPr>
          <a:lstStyle>
            <a:defPPr>
              <a:defRPr lang="LID4096"/>
            </a:defPPr>
            <a:lvl1pPr marL="285721" marR="0" lvl="0" indent="-285721" defTabSz="914309" fontAlgn="auto">
              <a:lnSpc>
                <a:spcPct val="100000"/>
              </a:lnSpc>
              <a:spcBef>
                <a:spcPts val="0"/>
              </a:spcBef>
              <a:spcAft>
                <a:spcPts val="600"/>
              </a:spcAft>
              <a:buClr>
                <a:srgbClr val="2878FF"/>
              </a:buClr>
              <a:buSzPct val="100000"/>
              <a:buFont typeface="Avenir Next LT Pro" pitchFamily="34"/>
              <a:buChar char="+"/>
              <a:tabLst/>
              <a:defRPr kumimoji="0" sz="1200" b="0" i="0" u="none" strike="noStrike" kern="0" cap="none" spc="0" normalizeH="0" baseline="0">
                <a:ln>
                  <a:noFill/>
                </a:ln>
                <a:solidFill>
                  <a:srgbClr val="001965"/>
                </a:solidFill>
                <a:effectLst/>
                <a:uLnTx/>
                <a:uFillTx/>
                <a:latin typeface="Avenir Next LT Pro"/>
              </a:defRPr>
            </a:lvl1pPr>
          </a:lstStyle>
          <a:p>
            <a:pPr marL="0" indent="0" algn="ctr">
              <a:spcBef>
                <a:spcPts val="600"/>
              </a:spcBef>
              <a:spcAft>
                <a:spcPts val="0"/>
              </a:spcAft>
              <a:buNone/>
              <a:defRPr/>
            </a:pPr>
            <a:r>
              <a:rPr lang="en-GB" sz="1100">
                <a:sym typeface="Calibri" panose="020F0502020204030204" pitchFamily="34" charset="0"/>
              </a:rPr>
              <a:t>Not disclosed</a:t>
            </a:r>
            <a:endParaRPr lang="en-DE" sz="1100">
              <a:sym typeface="Calibri" panose="020F0502020204030204" pitchFamily="34" charset="0"/>
            </a:endParaRPr>
          </a:p>
        </p:txBody>
      </p:sp>
      <p:sp>
        <p:nvSpPr>
          <p:cNvPr id="75" name="Inhaltsplatzhalter 1">
            <a:extLst>
              <a:ext uri="{FF2B5EF4-FFF2-40B4-BE49-F238E27FC236}">
                <a16:creationId xmlns:a16="http://schemas.microsoft.com/office/drawing/2014/main" id="{5321EF58-A01F-3635-93A7-0B3D06C280E9}"/>
              </a:ext>
            </a:extLst>
          </p:cNvPr>
          <p:cNvSpPr txBox="1">
            <a:spLocks/>
          </p:cNvSpPr>
          <p:nvPr/>
        </p:nvSpPr>
        <p:spPr bwMode="auto">
          <a:xfrm>
            <a:off x="1749370" y="4173680"/>
            <a:ext cx="1212269" cy="423703"/>
          </a:xfrm>
          <a:prstGeom prst="rect">
            <a:avLst/>
          </a:prstGeom>
          <a:solidFill>
            <a:schemeClr val="bg1">
              <a:lumMod val="95000"/>
            </a:schemeClr>
          </a:solidFill>
          <a:ln cap="flat">
            <a:noFill/>
          </a:ln>
        </p:spPr>
        <p:txBody>
          <a:bodyPr vert="horz" wrap="square" lIns="35995" tIns="36000" rIns="35995" bIns="36000" anchor="ctr" anchorCtr="0" compatLnSpc="1">
            <a:noAutofit/>
          </a:bodyPr>
          <a:lstStyle>
            <a:defPPr>
              <a:defRPr lang="LID4096"/>
            </a:defPPr>
            <a:lvl1pPr marL="285721" marR="0" lvl="0" indent="-285721" defTabSz="914309" fontAlgn="auto">
              <a:lnSpc>
                <a:spcPct val="100000"/>
              </a:lnSpc>
              <a:spcBef>
                <a:spcPts val="0"/>
              </a:spcBef>
              <a:spcAft>
                <a:spcPts val="600"/>
              </a:spcAft>
              <a:buClr>
                <a:srgbClr val="2878FF"/>
              </a:buClr>
              <a:buSzPct val="100000"/>
              <a:buFont typeface="Avenir Next LT Pro" pitchFamily="34"/>
              <a:buChar char="+"/>
              <a:tabLst/>
              <a:defRPr kumimoji="0" sz="1200" b="0" i="0" u="none" strike="noStrike" kern="0" cap="none" spc="0" normalizeH="0" baseline="0">
                <a:ln>
                  <a:noFill/>
                </a:ln>
                <a:solidFill>
                  <a:srgbClr val="001965"/>
                </a:solidFill>
                <a:effectLst/>
                <a:uLnTx/>
                <a:uFillTx/>
                <a:latin typeface="Avenir Next LT Pro"/>
              </a:defRPr>
            </a:lvl1pPr>
          </a:lstStyle>
          <a:p>
            <a:pPr marL="0" indent="0" algn="ctr">
              <a:spcBef>
                <a:spcPts val="600"/>
              </a:spcBef>
              <a:spcAft>
                <a:spcPts val="0"/>
              </a:spcAft>
              <a:buNone/>
              <a:defRPr/>
            </a:pPr>
            <a:r>
              <a:rPr lang="en-GB" sz="1100">
                <a:sym typeface="Calibri" panose="020F0502020204030204" pitchFamily="34" charset="0"/>
              </a:rPr>
              <a:t>24 (for 2mg cohort)</a:t>
            </a:r>
            <a:endParaRPr lang="en-DE" sz="1100">
              <a:sym typeface="Calibri" panose="020F0502020204030204" pitchFamily="34" charset="0"/>
            </a:endParaRPr>
          </a:p>
        </p:txBody>
      </p:sp>
      <p:sp>
        <p:nvSpPr>
          <p:cNvPr id="76" name="Inhaltsplatzhalter 1">
            <a:extLst>
              <a:ext uri="{FF2B5EF4-FFF2-40B4-BE49-F238E27FC236}">
                <a16:creationId xmlns:a16="http://schemas.microsoft.com/office/drawing/2014/main" id="{4C660CE4-2C4D-291D-A118-25B8CAD7FB9D}"/>
              </a:ext>
            </a:extLst>
          </p:cNvPr>
          <p:cNvSpPr txBox="1">
            <a:spLocks/>
          </p:cNvSpPr>
          <p:nvPr/>
        </p:nvSpPr>
        <p:spPr bwMode="auto">
          <a:xfrm>
            <a:off x="1749370" y="4658757"/>
            <a:ext cx="1212269" cy="423703"/>
          </a:xfrm>
          <a:prstGeom prst="rect">
            <a:avLst/>
          </a:prstGeom>
          <a:solidFill>
            <a:schemeClr val="bg1">
              <a:lumMod val="95000"/>
            </a:schemeClr>
          </a:solidFill>
          <a:ln cap="flat">
            <a:noFill/>
          </a:ln>
        </p:spPr>
        <p:txBody>
          <a:bodyPr vert="horz" wrap="square" lIns="35995" tIns="36000" rIns="35995" bIns="36000" anchor="ctr" anchorCtr="0" compatLnSpc="1">
            <a:noAutofit/>
          </a:bodyPr>
          <a:lstStyle>
            <a:defPPr>
              <a:defRPr lang="LID4096"/>
            </a:defPPr>
            <a:lvl1pPr marL="285721" marR="0" lvl="0" indent="-285721" defTabSz="914309" fontAlgn="auto">
              <a:lnSpc>
                <a:spcPct val="100000"/>
              </a:lnSpc>
              <a:spcBef>
                <a:spcPts val="0"/>
              </a:spcBef>
              <a:spcAft>
                <a:spcPts val="600"/>
              </a:spcAft>
              <a:buClr>
                <a:srgbClr val="2878FF"/>
              </a:buClr>
              <a:buSzPct val="100000"/>
              <a:buFont typeface="Avenir Next LT Pro" pitchFamily="34"/>
              <a:buChar char="+"/>
              <a:tabLst/>
              <a:defRPr kumimoji="0" sz="1200" b="0" i="0" u="none" strike="noStrike" kern="0" cap="none" spc="0" normalizeH="0" baseline="0">
                <a:ln>
                  <a:noFill/>
                </a:ln>
                <a:solidFill>
                  <a:srgbClr val="001965"/>
                </a:solidFill>
                <a:effectLst/>
                <a:uLnTx/>
                <a:uFillTx/>
                <a:latin typeface="Avenir Next LT Pro"/>
              </a:defRPr>
            </a:lvl1pPr>
          </a:lstStyle>
          <a:p>
            <a:pPr marL="0" indent="0" algn="ctr">
              <a:spcBef>
                <a:spcPts val="600"/>
              </a:spcBef>
              <a:spcAft>
                <a:spcPts val="0"/>
              </a:spcAft>
              <a:buNone/>
              <a:defRPr/>
            </a:pPr>
            <a:r>
              <a:rPr lang="en-DK" sz="1100">
                <a:sym typeface="Calibri" panose="020F0502020204030204" pitchFamily="34" charset="0"/>
              </a:rPr>
              <a:t>1-2 mg</a:t>
            </a:r>
            <a:endParaRPr lang="en-DE" sz="1100">
              <a:sym typeface="Calibri" panose="020F0502020204030204" pitchFamily="34" charset="0"/>
            </a:endParaRPr>
          </a:p>
        </p:txBody>
      </p:sp>
      <p:sp>
        <p:nvSpPr>
          <p:cNvPr id="77" name="Inhaltsplatzhalter 1">
            <a:extLst>
              <a:ext uri="{FF2B5EF4-FFF2-40B4-BE49-F238E27FC236}">
                <a16:creationId xmlns:a16="http://schemas.microsoft.com/office/drawing/2014/main" id="{B98ABB89-626E-DF38-583D-39DF20CFD823}"/>
              </a:ext>
            </a:extLst>
          </p:cNvPr>
          <p:cNvSpPr txBox="1">
            <a:spLocks/>
          </p:cNvSpPr>
          <p:nvPr/>
        </p:nvSpPr>
        <p:spPr bwMode="auto">
          <a:xfrm>
            <a:off x="1749370" y="5626366"/>
            <a:ext cx="1212269" cy="423702"/>
          </a:xfrm>
          <a:prstGeom prst="rect">
            <a:avLst/>
          </a:prstGeom>
          <a:solidFill>
            <a:schemeClr val="bg1">
              <a:lumMod val="95000"/>
            </a:schemeClr>
          </a:solidFill>
          <a:ln cap="flat">
            <a:noFill/>
          </a:ln>
        </p:spPr>
        <p:txBody>
          <a:bodyPr vert="horz" wrap="square" lIns="35995" tIns="36000" rIns="35995" bIns="36000" anchor="t" anchorCtr="0" compatLnSpc="1">
            <a:noAutofit/>
          </a:bodyPr>
          <a:lstStyle>
            <a:defPPr>
              <a:defRPr lang="LID4096"/>
            </a:defPPr>
            <a:lvl1pPr marL="285721" marR="0" lvl="0" indent="-285721" defTabSz="914309" fontAlgn="auto">
              <a:lnSpc>
                <a:spcPct val="100000"/>
              </a:lnSpc>
              <a:spcBef>
                <a:spcPts val="0"/>
              </a:spcBef>
              <a:spcAft>
                <a:spcPts val="600"/>
              </a:spcAft>
              <a:buClr>
                <a:srgbClr val="2878FF"/>
              </a:buClr>
              <a:buSzPct val="100000"/>
              <a:buFont typeface="Avenir Next LT Pro" pitchFamily="34"/>
              <a:buChar char="+"/>
              <a:tabLst/>
              <a:defRPr kumimoji="0" sz="1200" b="0" i="0" u="none" strike="noStrike" kern="0" cap="none" spc="0" normalizeH="0" baseline="0">
                <a:ln>
                  <a:noFill/>
                </a:ln>
                <a:solidFill>
                  <a:srgbClr val="001965"/>
                </a:solidFill>
                <a:effectLst/>
                <a:uLnTx/>
                <a:uFillTx/>
                <a:latin typeface="Avenir Next LT Pro"/>
              </a:defRPr>
            </a:lvl1pPr>
          </a:lstStyle>
          <a:p>
            <a:pPr marL="0" indent="0" algn="just">
              <a:buNone/>
            </a:pPr>
            <a:r>
              <a:rPr lang="en-GB" sz="1100" b="1">
                <a:latin typeface="Avenir Next LT Pro Demi" panose="020B0504020202020204" pitchFamily="34" charset="77"/>
              </a:rPr>
              <a:t>2mg: -7.8%</a:t>
            </a:r>
            <a:br>
              <a:rPr lang="en-GB" sz="1100" b="1">
                <a:latin typeface="Avenir Next LT Pro Demi" panose="020B0504020202020204" pitchFamily="34" charset="77"/>
              </a:rPr>
            </a:br>
            <a:r>
              <a:rPr lang="en-GB" sz="1100"/>
              <a:t>PBO: </a:t>
            </a:r>
            <a:r>
              <a:rPr lang="en-DK" sz="1100"/>
              <a:t>          </a:t>
            </a:r>
            <a:r>
              <a:rPr lang="en-GB" sz="1100"/>
              <a:t>+2.0%</a:t>
            </a:r>
            <a:endParaRPr lang="en-DE" sz="1100">
              <a:sym typeface="Calibri" panose="020F0502020204030204" pitchFamily="34" charset="0"/>
            </a:endParaRPr>
          </a:p>
        </p:txBody>
      </p:sp>
      <p:sp>
        <p:nvSpPr>
          <p:cNvPr id="78" name="Inhaltsplatzhalter 1">
            <a:extLst>
              <a:ext uri="{FF2B5EF4-FFF2-40B4-BE49-F238E27FC236}">
                <a16:creationId xmlns:a16="http://schemas.microsoft.com/office/drawing/2014/main" id="{CD14D3AF-BF61-4502-41DE-B0913A405FAF}"/>
              </a:ext>
            </a:extLst>
          </p:cNvPr>
          <p:cNvSpPr txBox="1">
            <a:spLocks/>
          </p:cNvSpPr>
          <p:nvPr/>
        </p:nvSpPr>
        <p:spPr bwMode="auto">
          <a:xfrm>
            <a:off x="1749370" y="3203520"/>
            <a:ext cx="1212269" cy="423703"/>
          </a:xfrm>
          <a:prstGeom prst="rect">
            <a:avLst/>
          </a:prstGeom>
          <a:solidFill>
            <a:schemeClr val="bg1">
              <a:lumMod val="95000"/>
            </a:schemeClr>
          </a:solidFill>
          <a:ln cap="flat">
            <a:noFill/>
          </a:ln>
        </p:spPr>
        <p:txBody>
          <a:bodyPr vert="horz" wrap="square" lIns="35995" tIns="36000" rIns="35995" bIns="36000" anchor="ctr" anchorCtr="0" compatLnSpc="1">
            <a:noAutofit/>
          </a:bodyPr>
          <a:lstStyle>
            <a:defPPr>
              <a:defRPr lang="LID4096"/>
            </a:defPPr>
            <a:lvl1pPr marL="285721" marR="0" lvl="0" indent="-285721" defTabSz="914309" fontAlgn="auto">
              <a:lnSpc>
                <a:spcPct val="100000"/>
              </a:lnSpc>
              <a:spcBef>
                <a:spcPts val="0"/>
              </a:spcBef>
              <a:spcAft>
                <a:spcPts val="600"/>
              </a:spcAft>
              <a:buClr>
                <a:srgbClr val="2878FF"/>
              </a:buClr>
              <a:buSzPct val="100000"/>
              <a:buFont typeface="Avenir Next LT Pro" pitchFamily="34"/>
              <a:buChar char="+"/>
              <a:tabLst/>
              <a:defRPr kumimoji="0" sz="1200" b="0" i="0" u="none" strike="noStrike" kern="0" cap="none" spc="0" normalizeH="0" baseline="0">
                <a:ln>
                  <a:noFill/>
                </a:ln>
                <a:solidFill>
                  <a:srgbClr val="001965"/>
                </a:solidFill>
                <a:effectLst/>
                <a:uLnTx/>
                <a:uFillTx/>
                <a:latin typeface="Avenir Next LT Pro"/>
              </a:defRPr>
            </a:lvl1pPr>
          </a:lstStyle>
          <a:p>
            <a:pPr marL="0" indent="0" algn="ctr">
              <a:spcBef>
                <a:spcPts val="600"/>
              </a:spcBef>
              <a:spcAft>
                <a:spcPts val="0"/>
              </a:spcAft>
              <a:buNone/>
              <a:defRPr/>
            </a:pPr>
            <a:r>
              <a:rPr lang="en-DE" sz="1100" b="1">
                <a:latin typeface="Avenir Next LT Pro Demi" panose="020B0504020202020204" pitchFamily="34" charset="77"/>
                <a:sym typeface="Calibri" panose="020F0502020204030204" pitchFamily="34" charset="0"/>
              </a:rPr>
              <a:t>6 week</a:t>
            </a:r>
          </a:p>
        </p:txBody>
      </p:sp>
      <p:sp>
        <p:nvSpPr>
          <p:cNvPr id="79" name="Inhaltsplatzhalter 1">
            <a:extLst>
              <a:ext uri="{FF2B5EF4-FFF2-40B4-BE49-F238E27FC236}">
                <a16:creationId xmlns:a16="http://schemas.microsoft.com/office/drawing/2014/main" id="{898264C3-53B5-4E21-7FFD-A892E2F4F690}"/>
              </a:ext>
            </a:extLst>
          </p:cNvPr>
          <p:cNvSpPr txBox="1">
            <a:spLocks/>
          </p:cNvSpPr>
          <p:nvPr/>
        </p:nvSpPr>
        <p:spPr bwMode="auto">
          <a:xfrm>
            <a:off x="1749370" y="5142560"/>
            <a:ext cx="1212269" cy="423703"/>
          </a:xfrm>
          <a:prstGeom prst="rect">
            <a:avLst/>
          </a:prstGeom>
          <a:solidFill>
            <a:schemeClr val="bg1">
              <a:lumMod val="95000"/>
            </a:schemeClr>
          </a:solidFill>
          <a:ln cap="flat">
            <a:noFill/>
          </a:ln>
        </p:spPr>
        <p:txBody>
          <a:bodyPr vert="horz" wrap="square" lIns="0" tIns="0" rIns="0" bIns="0" anchor="ctr" anchorCtr="0" compatLnSpc="1">
            <a:noAutofit/>
          </a:bodyPr>
          <a:lstStyle>
            <a:defPPr>
              <a:defRPr lang="LID4096"/>
            </a:defPPr>
            <a:lvl1pPr marL="285721" marR="0" lvl="0" indent="-285721" defTabSz="914309" fontAlgn="auto">
              <a:lnSpc>
                <a:spcPct val="100000"/>
              </a:lnSpc>
              <a:spcBef>
                <a:spcPts val="0"/>
              </a:spcBef>
              <a:spcAft>
                <a:spcPts val="600"/>
              </a:spcAft>
              <a:buClr>
                <a:srgbClr val="2878FF"/>
              </a:buClr>
              <a:buSzPct val="100000"/>
              <a:buFont typeface="Avenir Next LT Pro" pitchFamily="34"/>
              <a:buChar char="+"/>
              <a:tabLst/>
              <a:defRPr kumimoji="0" sz="1200" b="0" i="0" u="none" strike="noStrike" kern="0" cap="none" spc="0" normalizeH="0" baseline="0">
                <a:ln>
                  <a:noFill/>
                </a:ln>
                <a:solidFill>
                  <a:srgbClr val="001965"/>
                </a:solidFill>
                <a:effectLst/>
                <a:uLnTx/>
                <a:uFillTx/>
                <a:latin typeface="Avenir Next LT Pro"/>
              </a:defRPr>
            </a:lvl1pPr>
          </a:lstStyle>
          <a:p>
            <a:pPr marL="0" indent="0" algn="ctr">
              <a:spcBef>
                <a:spcPts val="600"/>
              </a:spcBef>
              <a:spcAft>
                <a:spcPts val="0"/>
              </a:spcAft>
              <a:buNone/>
              <a:defRPr/>
            </a:pPr>
            <a:r>
              <a:rPr lang="en-DK" sz="1100" b="1">
                <a:latin typeface="Avenir Next LT Pro Demi" panose="020B0504020202020204" pitchFamily="34" charset="77"/>
                <a:sym typeface="Calibri" panose="020F0502020204030204" pitchFamily="34" charset="0"/>
              </a:rPr>
              <a:t>Weekly</a:t>
            </a:r>
            <a:endParaRPr lang="en-DE" sz="1100" b="1">
              <a:latin typeface="Avenir Next LT Pro Demi" panose="020B0504020202020204" pitchFamily="34" charset="77"/>
              <a:sym typeface="Calibri" panose="020F0502020204030204" pitchFamily="34" charset="0"/>
            </a:endParaRPr>
          </a:p>
        </p:txBody>
      </p:sp>
      <p:sp>
        <p:nvSpPr>
          <p:cNvPr id="80" name="Inhaltsplatzhalter 1">
            <a:extLst>
              <a:ext uri="{FF2B5EF4-FFF2-40B4-BE49-F238E27FC236}">
                <a16:creationId xmlns:a16="http://schemas.microsoft.com/office/drawing/2014/main" id="{7ADD6489-AF72-0CC0-6A9C-CCA342EE696B}"/>
              </a:ext>
            </a:extLst>
          </p:cNvPr>
          <p:cNvSpPr txBox="1">
            <a:spLocks/>
          </p:cNvSpPr>
          <p:nvPr/>
        </p:nvSpPr>
        <p:spPr bwMode="auto">
          <a:xfrm>
            <a:off x="3039445" y="2718440"/>
            <a:ext cx="1212269" cy="423703"/>
          </a:xfrm>
          <a:prstGeom prst="rect">
            <a:avLst/>
          </a:prstGeom>
          <a:solidFill>
            <a:schemeClr val="bg1">
              <a:lumMod val="95000"/>
            </a:schemeClr>
          </a:solidFill>
          <a:ln cap="flat">
            <a:noFill/>
          </a:ln>
        </p:spPr>
        <p:txBody>
          <a:bodyPr vert="horz" wrap="square" lIns="35995" tIns="36000" rIns="35995" bIns="36000" anchor="ctr" anchorCtr="0" compatLnSpc="1">
            <a:noAutofit/>
          </a:bodyPr>
          <a:lstStyle>
            <a:defPPr>
              <a:defRPr lang="LID4096"/>
            </a:defPPr>
            <a:lvl1pPr marL="285721" marR="0" lvl="0" indent="-285721" defTabSz="914309" fontAlgn="auto">
              <a:lnSpc>
                <a:spcPct val="100000"/>
              </a:lnSpc>
              <a:spcBef>
                <a:spcPts val="0"/>
              </a:spcBef>
              <a:spcAft>
                <a:spcPts val="600"/>
              </a:spcAft>
              <a:buClr>
                <a:srgbClr val="2878FF"/>
              </a:buClr>
              <a:buSzPct val="100000"/>
              <a:buFont typeface="Avenir Next LT Pro" pitchFamily="34"/>
              <a:buChar char="+"/>
              <a:tabLst/>
              <a:defRPr kumimoji="0" sz="1200" b="0" i="0" u="none" strike="noStrike" kern="0" cap="none" spc="0" normalizeH="0" baseline="0">
                <a:ln>
                  <a:noFill/>
                </a:ln>
                <a:solidFill>
                  <a:srgbClr val="001965"/>
                </a:solidFill>
                <a:effectLst/>
                <a:uLnTx/>
                <a:uFillTx/>
                <a:latin typeface="Avenir Next LT Pro"/>
              </a:defRPr>
            </a:lvl1pPr>
          </a:lstStyle>
          <a:p>
            <a:pPr marL="0" indent="0" algn="ctr">
              <a:spcBef>
                <a:spcPts val="600"/>
              </a:spcBef>
              <a:spcAft>
                <a:spcPts val="0"/>
              </a:spcAft>
              <a:buNone/>
              <a:defRPr/>
            </a:pPr>
            <a:r>
              <a:rPr lang="en-DE" sz="1100">
                <a:sym typeface="Calibri" panose="020F0502020204030204" pitchFamily="34" charset="0"/>
              </a:rPr>
              <a:t>Ph1 MAD</a:t>
            </a:r>
            <a:r>
              <a:rPr lang="en-GB" sz="1100">
                <a:sym typeface="Calibri" panose="020F0502020204030204" pitchFamily="34" charset="0"/>
              </a:rPr>
              <a:t> </a:t>
            </a:r>
            <a:br>
              <a:rPr lang="en-DK" sz="1100">
                <a:sym typeface="Calibri" panose="020F0502020204030204" pitchFamily="34" charset="0"/>
              </a:rPr>
            </a:br>
            <a:r>
              <a:rPr lang="en-DK" sz="1100">
                <a:sym typeface="Calibri" panose="020F0502020204030204" pitchFamily="34" charset="0"/>
              </a:rPr>
              <a:t>(Part </a:t>
            </a:r>
            <a:r>
              <a:rPr lang="en-GB" sz="1100">
                <a:sym typeface="Calibri" panose="020F0502020204030204" pitchFamily="34" charset="0"/>
              </a:rPr>
              <a:t>2</a:t>
            </a:r>
            <a:r>
              <a:rPr lang="en-DK" sz="1100">
                <a:sym typeface="Calibri" panose="020F0502020204030204" pitchFamily="34" charset="0"/>
              </a:rPr>
              <a:t>a)</a:t>
            </a:r>
            <a:endParaRPr lang="en-DE" sz="1100">
              <a:sym typeface="Calibri" panose="020F0502020204030204" pitchFamily="34" charset="0"/>
            </a:endParaRPr>
          </a:p>
        </p:txBody>
      </p:sp>
      <p:sp>
        <p:nvSpPr>
          <p:cNvPr id="81" name="Inhaltsplatzhalter 1">
            <a:extLst>
              <a:ext uri="{FF2B5EF4-FFF2-40B4-BE49-F238E27FC236}">
                <a16:creationId xmlns:a16="http://schemas.microsoft.com/office/drawing/2014/main" id="{8D056EEA-8F90-27B0-BF38-B04932CD2254}"/>
              </a:ext>
            </a:extLst>
          </p:cNvPr>
          <p:cNvSpPr txBox="1">
            <a:spLocks/>
          </p:cNvSpPr>
          <p:nvPr/>
        </p:nvSpPr>
        <p:spPr bwMode="auto">
          <a:xfrm>
            <a:off x="3039445" y="3688598"/>
            <a:ext cx="2489553" cy="423489"/>
          </a:xfrm>
          <a:prstGeom prst="rect">
            <a:avLst/>
          </a:prstGeom>
          <a:solidFill>
            <a:schemeClr val="bg1">
              <a:lumMod val="95000"/>
            </a:schemeClr>
          </a:solidFill>
          <a:ln cap="flat">
            <a:noFill/>
          </a:ln>
        </p:spPr>
        <p:txBody>
          <a:bodyPr vert="horz" wrap="square" lIns="35995" tIns="36000" rIns="35995" bIns="36000" anchor="ctr" anchorCtr="0" compatLnSpc="1">
            <a:noAutofit/>
          </a:bodyPr>
          <a:lstStyle>
            <a:defPPr>
              <a:defRPr lang="LID4096"/>
            </a:defPPr>
            <a:lvl1pPr marL="285721" marR="0" lvl="0" indent="-285721" defTabSz="914309" fontAlgn="auto">
              <a:lnSpc>
                <a:spcPct val="100000"/>
              </a:lnSpc>
              <a:spcBef>
                <a:spcPts val="0"/>
              </a:spcBef>
              <a:spcAft>
                <a:spcPts val="600"/>
              </a:spcAft>
              <a:buClr>
                <a:srgbClr val="2878FF"/>
              </a:buClr>
              <a:buSzPct val="100000"/>
              <a:buFont typeface="Avenir Next LT Pro" pitchFamily="34"/>
              <a:buChar char="+"/>
              <a:tabLst/>
              <a:defRPr kumimoji="0" sz="1200" b="0" i="0" u="none" strike="noStrike" kern="0" cap="none" spc="0" normalizeH="0" baseline="0">
                <a:ln>
                  <a:noFill/>
                </a:ln>
                <a:solidFill>
                  <a:srgbClr val="001965"/>
                </a:solidFill>
                <a:effectLst/>
                <a:uLnTx/>
                <a:uFillTx/>
                <a:latin typeface="Avenir Next LT Pro"/>
              </a:defRPr>
            </a:lvl1pPr>
          </a:lstStyle>
          <a:p>
            <a:pPr marL="0" indent="0" algn="ctr">
              <a:spcBef>
                <a:spcPts val="600"/>
              </a:spcBef>
              <a:spcAft>
                <a:spcPts val="0"/>
              </a:spcAft>
              <a:buNone/>
              <a:defRPr/>
            </a:pPr>
            <a:r>
              <a:rPr lang="en-DE" sz="1100">
                <a:sym typeface="Calibri" panose="020F0502020204030204" pitchFamily="34" charset="0"/>
              </a:rPr>
              <a:t>12%</a:t>
            </a:r>
          </a:p>
        </p:txBody>
      </p:sp>
      <p:sp>
        <p:nvSpPr>
          <p:cNvPr id="82" name="Inhaltsplatzhalter 1">
            <a:extLst>
              <a:ext uri="{FF2B5EF4-FFF2-40B4-BE49-F238E27FC236}">
                <a16:creationId xmlns:a16="http://schemas.microsoft.com/office/drawing/2014/main" id="{65841AE0-6E43-8A1C-07FA-22D1E02CE24B}"/>
              </a:ext>
            </a:extLst>
          </p:cNvPr>
          <p:cNvSpPr txBox="1">
            <a:spLocks/>
          </p:cNvSpPr>
          <p:nvPr/>
        </p:nvSpPr>
        <p:spPr bwMode="auto">
          <a:xfrm>
            <a:off x="3039445" y="4173677"/>
            <a:ext cx="2489553" cy="423703"/>
          </a:xfrm>
          <a:prstGeom prst="rect">
            <a:avLst/>
          </a:prstGeom>
          <a:solidFill>
            <a:schemeClr val="bg1">
              <a:lumMod val="95000"/>
            </a:schemeClr>
          </a:solidFill>
          <a:ln cap="flat">
            <a:noFill/>
          </a:ln>
        </p:spPr>
        <p:txBody>
          <a:bodyPr vert="horz" wrap="square" lIns="35995" tIns="36000" rIns="35995" bIns="36000" anchor="ctr" anchorCtr="0" compatLnSpc="1">
            <a:noAutofit/>
          </a:bodyPr>
          <a:lstStyle>
            <a:defPPr>
              <a:defRPr lang="LID4096"/>
            </a:defPPr>
            <a:lvl1pPr marL="285721" marR="0" lvl="0" indent="-285721" defTabSz="914309" fontAlgn="auto">
              <a:lnSpc>
                <a:spcPct val="100000"/>
              </a:lnSpc>
              <a:spcBef>
                <a:spcPts val="0"/>
              </a:spcBef>
              <a:spcAft>
                <a:spcPts val="600"/>
              </a:spcAft>
              <a:buClr>
                <a:srgbClr val="2878FF"/>
              </a:buClr>
              <a:buSzPct val="100000"/>
              <a:buFont typeface="Avenir Next LT Pro" pitchFamily="34"/>
              <a:buChar char="+"/>
              <a:tabLst/>
              <a:defRPr kumimoji="0" sz="1200" b="0" i="0" u="none" strike="noStrike" kern="0" cap="none" spc="0" normalizeH="0" baseline="0">
                <a:ln>
                  <a:noFill/>
                </a:ln>
                <a:solidFill>
                  <a:srgbClr val="001965"/>
                </a:solidFill>
                <a:effectLst/>
                <a:uLnTx/>
                <a:uFillTx/>
                <a:latin typeface="Avenir Next LT Pro"/>
              </a:defRPr>
            </a:lvl1pPr>
          </a:lstStyle>
          <a:p>
            <a:pPr marL="0" indent="0" algn="ctr">
              <a:spcBef>
                <a:spcPts val="600"/>
              </a:spcBef>
              <a:spcAft>
                <a:spcPts val="0"/>
              </a:spcAft>
              <a:buNone/>
              <a:defRPr/>
            </a:pPr>
            <a:r>
              <a:rPr lang="en-DE" sz="1100">
                <a:sym typeface="Calibri" panose="020F0502020204030204" pitchFamily="34" charset="0"/>
              </a:rPr>
              <a:t>&lt;30</a:t>
            </a:r>
          </a:p>
        </p:txBody>
      </p:sp>
      <p:sp>
        <p:nvSpPr>
          <p:cNvPr id="83" name="Inhaltsplatzhalter 1">
            <a:extLst>
              <a:ext uri="{FF2B5EF4-FFF2-40B4-BE49-F238E27FC236}">
                <a16:creationId xmlns:a16="http://schemas.microsoft.com/office/drawing/2014/main" id="{FAC5F546-F029-01E7-9435-41C16D2184F2}"/>
              </a:ext>
            </a:extLst>
          </p:cNvPr>
          <p:cNvSpPr txBox="1">
            <a:spLocks/>
          </p:cNvSpPr>
          <p:nvPr/>
        </p:nvSpPr>
        <p:spPr bwMode="auto">
          <a:xfrm>
            <a:off x="3039445" y="4658758"/>
            <a:ext cx="2489553" cy="423703"/>
          </a:xfrm>
          <a:prstGeom prst="rect">
            <a:avLst/>
          </a:prstGeom>
          <a:solidFill>
            <a:schemeClr val="bg1">
              <a:lumMod val="95000"/>
            </a:schemeClr>
          </a:solidFill>
          <a:ln cap="flat">
            <a:noFill/>
          </a:ln>
        </p:spPr>
        <p:txBody>
          <a:bodyPr vert="horz" wrap="square" lIns="35995" tIns="36000" rIns="35995" bIns="36000" anchor="ctr" anchorCtr="0" compatLnSpc="1">
            <a:noAutofit/>
          </a:bodyPr>
          <a:lstStyle>
            <a:defPPr>
              <a:defRPr lang="LID4096"/>
            </a:defPPr>
            <a:lvl1pPr marL="285721" marR="0" lvl="0" indent="-285721" defTabSz="914309" fontAlgn="auto">
              <a:lnSpc>
                <a:spcPct val="100000"/>
              </a:lnSpc>
              <a:spcBef>
                <a:spcPts val="0"/>
              </a:spcBef>
              <a:spcAft>
                <a:spcPts val="600"/>
              </a:spcAft>
              <a:buClr>
                <a:srgbClr val="2878FF"/>
              </a:buClr>
              <a:buSzPct val="100000"/>
              <a:buFont typeface="Avenir Next LT Pro" pitchFamily="34"/>
              <a:buChar char="+"/>
              <a:tabLst/>
              <a:defRPr kumimoji="0" sz="1200" b="0" i="0" u="none" strike="noStrike" kern="0" cap="none" spc="0" normalizeH="0" baseline="0">
                <a:ln>
                  <a:noFill/>
                </a:ln>
                <a:solidFill>
                  <a:srgbClr val="001965"/>
                </a:solidFill>
                <a:effectLst/>
                <a:uLnTx/>
                <a:uFillTx/>
                <a:latin typeface="Avenir Next LT Pro"/>
              </a:defRPr>
            </a:lvl1pPr>
          </a:lstStyle>
          <a:p>
            <a:pPr marL="0" indent="0" algn="ctr">
              <a:spcBef>
                <a:spcPts val="600"/>
              </a:spcBef>
              <a:spcAft>
                <a:spcPts val="0"/>
              </a:spcAft>
              <a:buNone/>
              <a:defRPr/>
            </a:pPr>
            <a:r>
              <a:rPr lang="en-DE" sz="1100">
                <a:sym typeface="Calibri" panose="020F0502020204030204" pitchFamily="34" charset="0"/>
              </a:rPr>
              <a:t>2-14 mg</a:t>
            </a:r>
          </a:p>
        </p:txBody>
      </p:sp>
      <p:sp>
        <p:nvSpPr>
          <p:cNvPr id="84" name="Inhaltsplatzhalter 1">
            <a:extLst>
              <a:ext uri="{FF2B5EF4-FFF2-40B4-BE49-F238E27FC236}">
                <a16:creationId xmlns:a16="http://schemas.microsoft.com/office/drawing/2014/main" id="{CF0B90DE-5549-5572-1B94-7981323BCA3B}"/>
              </a:ext>
            </a:extLst>
          </p:cNvPr>
          <p:cNvSpPr txBox="1">
            <a:spLocks/>
          </p:cNvSpPr>
          <p:nvPr/>
        </p:nvSpPr>
        <p:spPr bwMode="auto">
          <a:xfrm>
            <a:off x="3039445" y="5626367"/>
            <a:ext cx="1212269" cy="423702"/>
          </a:xfrm>
          <a:prstGeom prst="rect">
            <a:avLst/>
          </a:prstGeom>
          <a:solidFill>
            <a:schemeClr val="bg1">
              <a:lumMod val="95000"/>
            </a:schemeClr>
          </a:solidFill>
          <a:ln cap="flat">
            <a:noFill/>
          </a:ln>
        </p:spPr>
        <p:txBody>
          <a:bodyPr vert="horz" wrap="square" lIns="35995" tIns="36000" rIns="35995" bIns="36000" anchor="t" anchorCtr="0" compatLnSpc="1">
            <a:noAutofit/>
          </a:bodyPr>
          <a:lstStyle>
            <a:defPPr>
              <a:defRPr lang="LID4096"/>
            </a:defPPr>
            <a:lvl1pPr marL="285721" marR="0" lvl="0" indent="-285721" defTabSz="914309" fontAlgn="auto">
              <a:lnSpc>
                <a:spcPct val="100000"/>
              </a:lnSpc>
              <a:spcBef>
                <a:spcPts val="0"/>
              </a:spcBef>
              <a:spcAft>
                <a:spcPts val="600"/>
              </a:spcAft>
              <a:buClr>
                <a:srgbClr val="2878FF"/>
              </a:buClr>
              <a:buSzPct val="100000"/>
              <a:buFont typeface="Avenir Next LT Pro" pitchFamily="34"/>
              <a:buChar char="+"/>
              <a:tabLst/>
              <a:defRPr kumimoji="0" sz="1200" b="0" i="0" u="none" strike="noStrike" kern="0" cap="none" spc="0" normalizeH="0" baseline="0">
                <a:ln>
                  <a:noFill/>
                </a:ln>
                <a:solidFill>
                  <a:srgbClr val="001965"/>
                </a:solidFill>
                <a:effectLst/>
                <a:uLnTx/>
                <a:uFillTx/>
                <a:latin typeface="Avenir Next LT Pro"/>
              </a:defRPr>
            </a:lvl1pPr>
          </a:lstStyle>
          <a:p>
            <a:pPr marL="0" indent="0" algn="just">
              <a:spcAft>
                <a:spcPts val="0"/>
              </a:spcAft>
              <a:buNone/>
              <a:defRPr/>
            </a:pPr>
            <a:r>
              <a:rPr lang="en-DK" sz="1100" b="1">
                <a:latin typeface="Avenir Next LT Pro Demi" panose="020B0504020202020204" pitchFamily="34" charset="77"/>
              </a:rPr>
              <a:t>Max</a:t>
            </a:r>
            <a:r>
              <a:rPr lang="en-GB" sz="1100" b="1">
                <a:latin typeface="Avenir Next LT Pro Demi" panose="020B0504020202020204" pitchFamily="34" charset="77"/>
              </a:rPr>
              <a:t>: -</a:t>
            </a:r>
            <a:r>
              <a:rPr lang="en-DK" sz="1100" b="1">
                <a:latin typeface="Avenir Next LT Pro Demi" panose="020B0504020202020204" pitchFamily="34" charset="77"/>
              </a:rPr>
              <a:t>9.8</a:t>
            </a:r>
            <a:r>
              <a:rPr lang="en-GB" sz="1100" b="1">
                <a:latin typeface="Avenir Next LT Pro Demi" panose="020B0504020202020204" pitchFamily="34" charset="77"/>
              </a:rPr>
              <a:t>%</a:t>
            </a:r>
            <a:br>
              <a:rPr lang="en-GB" sz="1100" b="1">
                <a:latin typeface="Avenir Next LT Pro Demi" panose="020B0504020202020204" pitchFamily="34" charset="77"/>
              </a:rPr>
            </a:br>
            <a:r>
              <a:rPr lang="en-GB" sz="1100"/>
              <a:t>PBO: </a:t>
            </a:r>
            <a:r>
              <a:rPr lang="en-DK" sz="1100"/>
              <a:t>           </a:t>
            </a:r>
            <a:r>
              <a:rPr lang="en-GB" sz="1100"/>
              <a:t>-</a:t>
            </a:r>
            <a:r>
              <a:rPr lang="en-DK" sz="1100"/>
              <a:t>0.3</a:t>
            </a:r>
            <a:r>
              <a:rPr lang="en-GB" sz="1100"/>
              <a:t>%</a:t>
            </a:r>
            <a:endParaRPr lang="en-DE" sz="1100">
              <a:sym typeface="Calibri" panose="020F0502020204030204" pitchFamily="34" charset="0"/>
            </a:endParaRPr>
          </a:p>
        </p:txBody>
      </p:sp>
      <p:sp>
        <p:nvSpPr>
          <p:cNvPr id="85" name="Inhaltsplatzhalter 1">
            <a:extLst>
              <a:ext uri="{FF2B5EF4-FFF2-40B4-BE49-F238E27FC236}">
                <a16:creationId xmlns:a16="http://schemas.microsoft.com/office/drawing/2014/main" id="{F5FD5EC7-1EB8-CDD8-754E-D7FEB08651CC}"/>
              </a:ext>
            </a:extLst>
          </p:cNvPr>
          <p:cNvSpPr txBox="1">
            <a:spLocks/>
          </p:cNvSpPr>
          <p:nvPr/>
        </p:nvSpPr>
        <p:spPr bwMode="auto">
          <a:xfrm>
            <a:off x="3039445" y="3203519"/>
            <a:ext cx="1212269" cy="423703"/>
          </a:xfrm>
          <a:prstGeom prst="rect">
            <a:avLst/>
          </a:prstGeom>
          <a:solidFill>
            <a:schemeClr val="bg1">
              <a:lumMod val="95000"/>
            </a:schemeClr>
          </a:solidFill>
          <a:ln cap="flat">
            <a:noFill/>
          </a:ln>
        </p:spPr>
        <p:txBody>
          <a:bodyPr vert="horz" wrap="square" lIns="35995" tIns="36000" rIns="35995" bIns="36000" anchor="ctr" anchorCtr="0" compatLnSpc="1">
            <a:noAutofit/>
          </a:bodyPr>
          <a:lstStyle>
            <a:defPPr>
              <a:defRPr lang="LID4096"/>
            </a:defPPr>
            <a:lvl1pPr marL="285721" marR="0" lvl="0" indent="-285721" defTabSz="914309" fontAlgn="auto">
              <a:lnSpc>
                <a:spcPct val="100000"/>
              </a:lnSpc>
              <a:spcBef>
                <a:spcPts val="0"/>
              </a:spcBef>
              <a:spcAft>
                <a:spcPts val="600"/>
              </a:spcAft>
              <a:buClr>
                <a:srgbClr val="2878FF"/>
              </a:buClr>
              <a:buSzPct val="100000"/>
              <a:buFont typeface="Avenir Next LT Pro" pitchFamily="34"/>
              <a:buChar char="+"/>
              <a:tabLst/>
              <a:defRPr kumimoji="0" sz="1200" b="0" i="0" u="none" strike="noStrike" kern="0" cap="none" spc="0" normalizeH="0" baseline="0">
                <a:ln>
                  <a:noFill/>
                </a:ln>
                <a:solidFill>
                  <a:srgbClr val="001965"/>
                </a:solidFill>
                <a:effectLst/>
                <a:uLnTx/>
                <a:uFillTx/>
                <a:latin typeface="Avenir Next LT Pro"/>
              </a:defRPr>
            </a:lvl1pPr>
          </a:lstStyle>
          <a:p>
            <a:pPr marL="0" indent="0" algn="ctr">
              <a:spcBef>
                <a:spcPts val="600"/>
              </a:spcBef>
              <a:spcAft>
                <a:spcPts val="0"/>
              </a:spcAft>
              <a:buNone/>
              <a:defRPr/>
            </a:pPr>
            <a:r>
              <a:rPr lang="en-DE" sz="1100" b="1">
                <a:latin typeface="Avenir Next LT Pro Demi" panose="020B0504020202020204" pitchFamily="34" charset="77"/>
                <a:sym typeface="Calibri" panose="020F0502020204030204" pitchFamily="34" charset="0"/>
              </a:rPr>
              <a:t>12 weeks</a:t>
            </a:r>
          </a:p>
        </p:txBody>
      </p:sp>
      <p:sp>
        <p:nvSpPr>
          <p:cNvPr id="86" name="Inhaltsplatzhalter 1">
            <a:extLst>
              <a:ext uri="{FF2B5EF4-FFF2-40B4-BE49-F238E27FC236}">
                <a16:creationId xmlns:a16="http://schemas.microsoft.com/office/drawing/2014/main" id="{A34CA86E-4E38-7BC2-7E67-D02278F1C5FD}"/>
              </a:ext>
            </a:extLst>
          </p:cNvPr>
          <p:cNvSpPr txBox="1">
            <a:spLocks/>
          </p:cNvSpPr>
          <p:nvPr/>
        </p:nvSpPr>
        <p:spPr bwMode="auto">
          <a:xfrm>
            <a:off x="3039445" y="5142560"/>
            <a:ext cx="1212269" cy="423703"/>
          </a:xfrm>
          <a:prstGeom prst="rect">
            <a:avLst/>
          </a:prstGeom>
          <a:solidFill>
            <a:schemeClr val="bg1">
              <a:lumMod val="95000"/>
            </a:schemeClr>
          </a:solidFill>
          <a:ln cap="flat">
            <a:noFill/>
          </a:ln>
        </p:spPr>
        <p:txBody>
          <a:bodyPr vert="horz" wrap="square" lIns="0" tIns="0" rIns="0" bIns="0" anchor="ctr" anchorCtr="0" compatLnSpc="1">
            <a:noAutofit/>
          </a:bodyPr>
          <a:lstStyle>
            <a:defPPr>
              <a:defRPr lang="LID4096"/>
            </a:defPPr>
            <a:lvl1pPr marL="285721" marR="0" lvl="0" indent="-285721" defTabSz="914309" fontAlgn="auto">
              <a:lnSpc>
                <a:spcPct val="100000"/>
              </a:lnSpc>
              <a:spcBef>
                <a:spcPts val="0"/>
              </a:spcBef>
              <a:spcAft>
                <a:spcPts val="600"/>
              </a:spcAft>
              <a:buClr>
                <a:srgbClr val="2878FF"/>
              </a:buClr>
              <a:buSzPct val="100000"/>
              <a:buFont typeface="Avenir Next LT Pro" pitchFamily="34"/>
              <a:buChar char="+"/>
              <a:tabLst/>
              <a:defRPr kumimoji="0" sz="1200" b="0" i="0" u="none" strike="noStrike" kern="0" cap="none" spc="0" normalizeH="0" baseline="0">
                <a:ln>
                  <a:noFill/>
                </a:ln>
                <a:solidFill>
                  <a:srgbClr val="001965"/>
                </a:solidFill>
                <a:effectLst/>
                <a:uLnTx/>
                <a:uFillTx/>
                <a:latin typeface="Avenir Next LT Pro"/>
              </a:defRPr>
            </a:lvl1pPr>
          </a:lstStyle>
          <a:p>
            <a:pPr marL="0" indent="0" algn="ctr">
              <a:spcBef>
                <a:spcPts val="600"/>
              </a:spcBef>
              <a:spcAft>
                <a:spcPts val="0"/>
              </a:spcAft>
              <a:buNone/>
              <a:defRPr/>
            </a:pPr>
            <a:r>
              <a:rPr lang="en-DE" sz="1100" b="1">
                <a:latin typeface="Avenir Next LT Pro Demi" panose="020B0504020202020204" pitchFamily="34" charset="77"/>
                <a:sym typeface="Calibri" panose="020F0502020204030204" pitchFamily="34" charset="0"/>
              </a:rPr>
              <a:t>Weekly</a:t>
            </a:r>
          </a:p>
        </p:txBody>
      </p:sp>
      <p:sp>
        <p:nvSpPr>
          <p:cNvPr id="87" name="Inhaltsplatzhalter 1">
            <a:extLst>
              <a:ext uri="{FF2B5EF4-FFF2-40B4-BE49-F238E27FC236}">
                <a16:creationId xmlns:a16="http://schemas.microsoft.com/office/drawing/2014/main" id="{7708FCB5-26A9-4AE5-55E2-4614110EFF8B}"/>
              </a:ext>
            </a:extLst>
          </p:cNvPr>
          <p:cNvSpPr txBox="1">
            <a:spLocks/>
          </p:cNvSpPr>
          <p:nvPr/>
        </p:nvSpPr>
        <p:spPr bwMode="auto">
          <a:xfrm>
            <a:off x="4326428" y="5626367"/>
            <a:ext cx="1212269" cy="423702"/>
          </a:xfrm>
          <a:prstGeom prst="rect">
            <a:avLst/>
          </a:prstGeom>
          <a:solidFill>
            <a:schemeClr val="bg1">
              <a:lumMod val="95000"/>
            </a:schemeClr>
          </a:solidFill>
          <a:ln cap="flat">
            <a:noFill/>
          </a:ln>
        </p:spPr>
        <p:txBody>
          <a:bodyPr vert="horz" wrap="square" lIns="35995" tIns="36000" rIns="35995" bIns="36000" anchor="t" anchorCtr="0" compatLnSpc="1">
            <a:noAutofit/>
          </a:bodyPr>
          <a:lstStyle>
            <a:defPPr>
              <a:defRPr lang="LID4096"/>
            </a:defPPr>
            <a:lvl1pPr marL="285721" marR="0" lvl="0" indent="-285721" defTabSz="914309" fontAlgn="auto">
              <a:lnSpc>
                <a:spcPct val="100000"/>
              </a:lnSpc>
              <a:spcBef>
                <a:spcPts val="0"/>
              </a:spcBef>
              <a:spcAft>
                <a:spcPts val="600"/>
              </a:spcAft>
              <a:buClr>
                <a:srgbClr val="2878FF"/>
              </a:buClr>
              <a:buSzPct val="100000"/>
              <a:buFont typeface="Avenir Next LT Pro" pitchFamily="34"/>
              <a:buChar char="+"/>
              <a:tabLst/>
              <a:defRPr kumimoji="0" sz="1200" b="0" i="0" u="none" strike="noStrike" kern="0" cap="none" spc="0" normalizeH="0" baseline="0">
                <a:ln>
                  <a:noFill/>
                </a:ln>
                <a:solidFill>
                  <a:srgbClr val="001965"/>
                </a:solidFill>
                <a:effectLst/>
                <a:uLnTx/>
                <a:uFillTx/>
                <a:latin typeface="Avenir Next LT Pro"/>
              </a:defRPr>
            </a:lvl1pPr>
          </a:lstStyle>
          <a:p>
            <a:pPr marL="0" indent="0" algn="just">
              <a:spcAft>
                <a:spcPts val="0"/>
              </a:spcAft>
              <a:buNone/>
              <a:defRPr/>
            </a:pPr>
            <a:r>
              <a:rPr lang="en-DK" sz="1100" b="1">
                <a:latin typeface="Avenir Next LT Pro Demi" panose="020B0504020202020204" pitchFamily="34" charset="77"/>
              </a:rPr>
              <a:t>Max</a:t>
            </a:r>
            <a:r>
              <a:rPr lang="en-GB" sz="1100" b="1">
                <a:latin typeface="Avenir Next LT Pro Demi" panose="020B0504020202020204" pitchFamily="34" charset="77"/>
              </a:rPr>
              <a:t>: -</a:t>
            </a:r>
            <a:r>
              <a:rPr lang="en-DK" sz="1100" b="1">
                <a:latin typeface="Avenir Next LT Pro Demi" panose="020B0504020202020204" pitchFamily="34" charset="77"/>
              </a:rPr>
              <a:t>9.7</a:t>
            </a:r>
            <a:r>
              <a:rPr lang="en-GB" sz="1100" b="1">
                <a:latin typeface="Avenir Next LT Pro Demi" panose="020B0504020202020204" pitchFamily="34" charset="77"/>
              </a:rPr>
              <a:t>%</a:t>
            </a:r>
            <a:br>
              <a:rPr lang="en-GB" sz="1100" b="1">
                <a:latin typeface="Avenir Next LT Pro Demi" panose="020B0504020202020204" pitchFamily="34" charset="77"/>
              </a:rPr>
            </a:br>
            <a:r>
              <a:rPr lang="en-GB" sz="1100"/>
              <a:t>PBO: </a:t>
            </a:r>
            <a:r>
              <a:rPr lang="en-DK" sz="1100"/>
              <a:t>           </a:t>
            </a:r>
            <a:r>
              <a:rPr lang="en-GB" sz="1100"/>
              <a:t>-</a:t>
            </a:r>
            <a:r>
              <a:rPr lang="en-DK" sz="1100"/>
              <a:t>0.3</a:t>
            </a:r>
            <a:r>
              <a:rPr lang="en-GB" sz="1100"/>
              <a:t>%</a:t>
            </a:r>
            <a:endParaRPr lang="en-DK" sz="1100"/>
          </a:p>
          <a:p>
            <a:pPr marL="0" indent="0" algn="just">
              <a:spcAft>
                <a:spcPts val="0"/>
              </a:spcAft>
              <a:buNone/>
              <a:defRPr/>
            </a:pPr>
            <a:endParaRPr lang="en-DK" sz="1100"/>
          </a:p>
          <a:p>
            <a:pPr marL="0" indent="0" algn="just">
              <a:spcAft>
                <a:spcPts val="0"/>
              </a:spcAft>
              <a:buNone/>
              <a:defRPr/>
            </a:pPr>
            <a:endParaRPr lang="en-DE" sz="1100">
              <a:sym typeface="Calibri" panose="020F0502020204030204" pitchFamily="34" charset="0"/>
            </a:endParaRPr>
          </a:p>
        </p:txBody>
      </p:sp>
      <p:sp>
        <p:nvSpPr>
          <p:cNvPr id="88" name="Inhaltsplatzhalter 1">
            <a:extLst>
              <a:ext uri="{FF2B5EF4-FFF2-40B4-BE49-F238E27FC236}">
                <a16:creationId xmlns:a16="http://schemas.microsoft.com/office/drawing/2014/main" id="{BBB7831E-7087-CEC1-8433-53F8C565DFB5}"/>
              </a:ext>
            </a:extLst>
          </p:cNvPr>
          <p:cNvSpPr txBox="1">
            <a:spLocks/>
          </p:cNvSpPr>
          <p:nvPr/>
        </p:nvSpPr>
        <p:spPr bwMode="auto">
          <a:xfrm>
            <a:off x="4326428" y="3203519"/>
            <a:ext cx="1212269" cy="423703"/>
          </a:xfrm>
          <a:prstGeom prst="rect">
            <a:avLst/>
          </a:prstGeom>
          <a:solidFill>
            <a:schemeClr val="bg1">
              <a:lumMod val="95000"/>
            </a:schemeClr>
          </a:solidFill>
          <a:ln cap="flat">
            <a:noFill/>
          </a:ln>
        </p:spPr>
        <p:txBody>
          <a:bodyPr vert="horz" wrap="square" lIns="35995" tIns="36000" rIns="35995" bIns="36000" anchor="ctr" anchorCtr="0" compatLnSpc="1">
            <a:noAutofit/>
          </a:bodyPr>
          <a:lstStyle>
            <a:defPPr>
              <a:defRPr lang="LID4096"/>
            </a:defPPr>
            <a:lvl1pPr marL="285721" marR="0" lvl="0" indent="-285721" defTabSz="914309" fontAlgn="auto">
              <a:lnSpc>
                <a:spcPct val="100000"/>
              </a:lnSpc>
              <a:spcBef>
                <a:spcPts val="0"/>
              </a:spcBef>
              <a:spcAft>
                <a:spcPts val="600"/>
              </a:spcAft>
              <a:buClr>
                <a:srgbClr val="2878FF"/>
              </a:buClr>
              <a:buSzPct val="100000"/>
              <a:buFont typeface="Avenir Next LT Pro" pitchFamily="34"/>
              <a:buChar char="+"/>
              <a:tabLst/>
              <a:defRPr kumimoji="0" sz="1200" b="0" i="0" u="none" strike="noStrike" kern="0" cap="none" spc="0" normalizeH="0" baseline="0">
                <a:ln>
                  <a:noFill/>
                </a:ln>
                <a:solidFill>
                  <a:srgbClr val="001965"/>
                </a:solidFill>
                <a:effectLst/>
                <a:uLnTx/>
                <a:uFillTx/>
                <a:latin typeface="Avenir Next LT Pro"/>
              </a:defRPr>
            </a:lvl1pPr>
          </a:lstStyle>
          <a:p>
            <a:pPr marL="0" indent="0" algn="ctr">
              <a:spcBef>
                <a:spcPts val="600"/>
              </a:spcBef>
              <a:spcAft>
                <a:spcPts val="0"/>
              </a:spcAft>
              <a:buNone/>
              <a:defRPr/>
            </a:pPr>
            <a:r>
              <a:rPr lang="en-GB" sz="1100" b="1">
                <a:latin typeface="Avenir Next LT Pro Demi" panose="020B0504020202020204" pitchFamily="34" charset="77"/>
                <a:sym typeface="Calibri" panose="020F0502020204030204" pitchFamily="34" charset="0"/>
              </a:rPr>
              <a:t>12-</a:t>
            </a:r>
            <a:r>
              <a:rPr lang="en-DE" sz="1100" b="1">
                <a:latin typeface="Avenir Next LT Pro Demi" panose="020B0504020202020204" pitchFamily="34" charset="77"/>
                <a:sym typeface="Calibri" panose="020F0502020204030204" pitchFamily="34" charset="0"/>
              </a:rPr>
              <a:t>13 weeks</a:t>
            </a:r>
          </a:p>
        </p:txBody>
      </p:sp>
      <p:sp>
        <p:nvSpPr>
          <p:cNvPr id="89" name="Inhaltsplatzhalter 1">
            <a:extLst>
              <a:ext uri="{FF2B5EF4-FFF2-40B4-BE49-F238E27FC236}">
                <a16:creationId xmlns:a16="http://schemas.microsoft.com/office/drawing/2014/main" id="{48B9A3A6-89C7-826E-D4DB-7D79EFD2832F}"/>
              </a:ext>
            </a:extLst>
          </p:cNvPr>
          <p:cNvSpPr txBox="1">
            <a:spLocks/>
          </p:cNvSpPr>
          <p:nvPr/>
        </p:nvSpPr>
        <p:spPr bwMode="auto">
          <a:xfrm>
            <a:off x="4326428" y="2718440"/>
            <a:ext cx="1212269" cy="423703"/>
          </a:xfrm>
          <a:prstGeom prst="rect">
            <a:avLst/>
          </a:prstGeom>
          <a:solidFill>
            <a:schemeClr val="bg1">
              <a:lumMod val="95000"/>
            </a:schemeClr>
          </a:solidFill>
          <a:ln cap="flat">
            <a:noFill/>
          </a:ln>
        </p:spPr>
        <p:txBody>
          <a:bodyPr vert="horz" wrap="square" lIns="35995" tIns="36000" rIns="35995" bIns="36000" anchor="ctr" anchorCtr="0" compatLnSpc="1">
            <a:noAutofit/>
          </a:bodyPr>
          <a:lstStyle>
            <a:defPPr>
              <a:defRPr lang="LID4096"/>
            </a:defPPr>
            <a:lvl1pPr marL="285721" marR="0" lvl="0" indent="-285721" defTabSz="914309" fontAlgn="auto">
              <a:lnSpc>
                <a:spcPct val="100000"/>
              </a:lnSpc>
              <a:spcBef>
                <a:spcPts val="0"/>
              </a:spcBef>
              <a:spcAft>
                <a:spcPts val="600"/>
              </a:spcAft>
              <a:buClr>
                <a:srgbClr val="2878FF"/>
              </a:buClr>
              <a:buSzPct val="100000"/>
              <a:buFont typeface="Avenir Next LT Pro" pitchFamily="34"/>
              <a:buChar char="+"/>
              <a:tabLst/>
              <a:defRPr kumimoji="0" sz="1200" b="0" i="0" u="none" strike="noStrike" kern="0" cap="none" spc="0" normalizeH="0" baseline="0">
                <a:ln>
                  <a:noFill/>
                </a:ln>
                <a:solidFill>
                  <a:srgbClr val="001965"/>
                </a:solidFill>
                <a:effectLst/>
                <a:uLnTx/>
                <a:uFillTx/>
                <a:latin typeface="Avenir Next LT Pro"/>
              </a:defRPr>
            </a:lvl1pPr>
          </a:lstStyle>
          <a:p>
            <a:pPr marL="0" indent="0" algn="ctr">
              <a:spcBef>
                <a:spcPts val="600"/>
              </a:spcBef>
              <a:spcAft>
                <a:spcPts val="0"/>
              </a:spcAft>
              <a:buNone/>
              <a:defRPr/>
            </a:pPr>
            <a:r>
              <a:rPr lang="en-DE" sz="1100">
                <a:sym typeface="Calibri" panose="020F0502020204030204" pitchFamily="34" charset="0"/>
              </a:rPr>
              <a:t>Ph1 MAD</a:t>
            </a:r>
            <a:r>
              <a:rPr lang="en-GB" sz="1100">
                <a:sym typeface="Calibri" panose="020F0502020204030204" pitchFamily="34" charset="0"/>
              </a:rPr>
              <a:t> </a:t>
            </a:r>
            <a:br>
              <a:rPr lang="en-DK" sz="1100">
                <a:sym typeface="Calibri" panose="020F0502020204030204" pitchFamily="34" charset="0"/>
              </a:rPr>
            </a:br>
            <a:r>
              <a:rPr lang="en-DK" sz="1100">
                <a:sym typeface="Calibri" panose="020F0502020204030204" pitchFamily="34" charset="0"/>
              </a:rPr>
              <a:t>(Part </a:t>
            </a:r>
            <a:r>
              <a:rPr lang="en-GB" sz="1100">
                <a:sym typeface="Calibri" panose="020F0502020204030204" pitchFamily="34" charset="0"/>
              </a:rPr>
              <a:t>2</a:t>
            </a:r>
            <a:r>
              <a:rPr lang="en-DK" sz="1100">
                <a:sym typeface="Calibri" panose="020F0502020204030204" pitchFamily="34" charset="0"/>
              </a:rPr>
              <a:t>b)</a:t>
            </a:r>
            <a:endParaRPr lang="en-DE" sz="1100">
              <a:sym typeface="Calibri" panose="020F0502020204030204" pitchFamily="34" charset="0"/>
            </a:endParaRPr>
          </a:p>
        </p:txBody>
      </p:sp>
      <p:sp>
        <p:nvSpPr>
          <p:cNvPr id="93" name="Inhaltsplatzhalter 1">
            <a:extLst>
              <a:ext uri="{FF2B5EF4-FFF2-40B4-BE49-F238E27FC236}">
                <a16:creationId xmlns:a16="http://schemas.microsoft.com/office/drawing/2014/main" id="{D26372EE-30CF-5D73-D44C-47EE8F3E1DF8}"/>
              </a:ext>
            </a:extLst>
          </p:cNvPr>
          <p:cNvSpPr txBox="1">
            <a:spLocks/>
          </p:cNvSpPr>
          <p:nvPr/>
        </p:nvSpPr>
        <p:spPr bwMode="auto">
          <a:xfrm>
            <a:off x="4326428" y="5142560"/>
            <a:ext cx="1212269" cy="423703"/>
          </a:xfrm>
          <a:prstGeom prst="rect">
            <a:avLst/>
          </a:prstGeom>
          <a:solidFill>
            <a:schemeClr val="bg1">
              <a:lumMod val="95000"/>
            </a:schemeClr>
          </a:solidFill>
          <a:ln cap="flat">
            <a:noFill/>
          </a:ln>
        </p:spPr>
        <p:txBody>
          <a:bodyPr vert="horz" wrap="square" lIns="0" tIns="0" rIns="0" bIns="0" anchor="ctr" anchorCtr="0" compatLnSpc="1">
            <a:noAutofit/>
          </a:bodyPr>
          <a:lstStyle>
            <a:defPPr>
              <a:defRPr lang="LID4096"/>
            </a:defPPr>
            <a:lvl1pPr marL="285721" marR="0" lvl="0" indent="-285721" defTabSz="914309" fontAlgn="auto">
              <a:lnSpc>
                <a:spcPct val="100000"/>
              </a:lnSpc>
              <a:spcBef>
                <a:spcPts val="0"/>
              </a:spcBef>
              <a:spcAft>
                <a:spcPts val="600"/>
              </a:spcAft>
              <a:buClr>
                <a:srgbClr val="2878FF"/>
              </a:buClr>
              <a:buSzPct val="100000"/>
              <a:buFont typeface="Avenir Next LT Pro" pitchFamily="34"/>
              <a:buChar char="+"/>
              <a:tabLst/>
              <a:defRPr kumimoji="0" sz="1200" b="0" i="0" u="none" strike="noStrike" kern="0" cap="none" spc="0" normalizeH="0" baseline="0">
                <a:ln>
                  <a:noFill/>
                </a:ln>
                <a:solidFill>
                  <a:srgbClr val="001965"/>
                </a:solidFill>
                <a:effectLst/>
                <a:uLnTx/>
                <a:uFillTx/>
                <a:latin typeface="Avenir Next LT Pro"/>
              </a:defRPr>
            </a:lvl1pPr>
          </a:lstStyle>
          <a:p>
            <a:pPr marL="0" indent="0" algn="ctr">
              <a:spcBef>
                <a:spcPts val="600"/>
              </a:spcBef>
              <a:spcAft>
                <a:spcPts val="0"/>
              </a:spcAft>
              <a:buNone/>
              <a:defRPr/>
            </a:pPr>
            <a:r>
              <a:rPr lang="en-DE" sz="1000" b="1">
                <a:latin typeface="Avenir Next LT Pro Demi" panose="020B0504020202020204" pitchFamily="34" charset="77"/>
                <a:sym typeface="Calibri" panose="020F0502020204030204" pitchFamily="34" charset="0"/>
              </a:rPr>
              <a:t>Weekly/</a:t>
            </a:r>
            <a:br>
              <a:rPr lang="en-DE" sz="1000" b="1">
                <a:latin typeface="Avenir Next LT Pro Demi" panose="020B0504020202020204" pitchFamily="34" charset="77"/>
                <a:sym typeface="Calibri" panose="020F0502020204030204" pitchFamily="34" charset="0"/>
              </a:rPr>
            </a:br>
            <a:r>
              <a:rPr lang="en-DE" sz="1000" b="1">
                <a:latin typeface="Avenir Next LT Pro Demi" panose="020B0504020202020204" pitchFamily="34" charset="77"/>
                <a:sym typeface="Calibri" panose="020F0502020204030204" pitchFamily="34" charset="0"/>
              </a:rPr>
              <a:t>Every-other-week/</a:t>
            </a:r>
            <a:br>
              <a:rPr lang="en-DE" sz="1000" b="1">
                <a:latin typeface="Avenir Next LT Pro Demi" panose="020B0504020202020204" pitchFamily="34" charset="77"/>
                <a:sym typeface="Calibri" panose="020F0502020204030204" pitchFamily="34" charset="0"/>
              </a:rPr>
            </a:br>
            <a:r>
              <a:rPr lang="en-GB" sz="1000" b="1">
                <a:latin typeface="Avenir Next LT Pro Demi" panose="020B0504020202020204" pitchFamily="34" charset="77"/>
                <a:sym typeface="Calibri" panose="020F0502020204030204" pitchFamily="34" charset="0"/>
              </a:rPr>
              <a:t>M</a:t>
            </a:r>
            <a:r>
              <a:rPr lang="en-DE" sz="1000" b="1">
                <a:latin typeface="Avenir Next LT Pro Demi" panose="020B0504020202020204" pitchFamily="34" charset="77"/>
                <a:sym typeface="Calibri" panose="020F0502020204030204" pitchFamily="34" charset="0"/>
              </a:rPr>
              <a:t>onthly</a:t>
            </a:r>
          </a:p>
        </p:txBody>
      </p:sp>
      <p:cxnSp>
        <p:nvCxnSpPr>
          <p:cNvPr id="96" name="Gerader Verbinder 2061">
            <a:extLst>
              <a:ext uri="{FF2B5EF4-FFF2-40B4-BE49-F238E27FC236}">
                <a16:creationId xmlns:a16="http://schemas.microsoft.com/office/drawing/2014/main" id="{20391E41-80A9-9C76-0415-CC9E8E9DE1FA}"/>
              </a:ext>
            </a:extLst>
          </p:cNvPr>
          <p:cNvCxnSpPr>
            <a:cxnSpLocks/>
          </p:cNvCxnSpPr>
          <p:nvPr/>
        </p:nvCxnSpPr>
        <p:spPr>
          <a:xfrm>
            <a:off x="518458" y="3173067"/>
            <a:ext cx="5010540" cy="0"/>
          </a:xfrm>
          <a:prstGeom prst="line">
            <a:avLst/>
          </a:prstGeom>
          <a:ln w="6350"/>
        </p:spPr>
        <p:style>
          <a:lnRef idx="1">
            <a:schemeClr val="accent2"/>
          </a:lnRef>
          <a:fillRef idx="0">
            <a:schemeClr val="accent2"/>
          </a:fillRef>
          <a:effectRef idx="0">
            <a:schemeClr val="accent2"/>
          </a:effectRef>
          <a:fontRef idx="minor">
            <a:schemeClr val="tx1"/>
          </a:fontRef>
        </p:style>
      </p:cxnSp>
      <p:cxnSp>
        <p:nvCxnSpPr>
          <p:cNvPr id="97" name="Gerader Verbinder 2061">
            <a:extLst>
              <a:ext uri="{FF2B5EF4-FFF2-40B4-BE49-F238E27FC236}">
                <a16:creationId xmlns:a16="http://schemas.microsoft.com/office/drawing/2014/main" id="{F75FC958-8556-16B3-087D-5A44E08FC42C}"/>
              </a:ext>
            </a:extLst>
          </p:cNvPr>
          <p:cNvCxnSpPr>
            <a:cxnSpLocks/>
          </p:cNvCxnSpPr>
          <p:nvPr/>
        </p:nvCxnSpPr>
        <p:spPr>
          <a:xfrm>
            <a:off x="518458" y="3659044"/>
            <a:ext cx="5010540" cy="0"/>
          </a:xfrm>
          <a:prstGeom prst="line">
            <a:avLst/>
          </a:prstGeom>
          <a:ln w="6350"/>
        </p:spPr>
        <p:style>
          <a:lnRef idx="1">
            <a:schemeClr val="accent2"/>
          </a:lnRef>
          <a:fillRef idx="0">
            <a:schemeClr val="accent2"/>
          </a:fillRef>
          <a:effectRef idx="0">
            <a:schemeClr val="accent2"/>
          </a:effectRef>
          <a:fontRef idx="minor">
            <a:schemeClr val="tx1"/>
          </a:fontRef>
        </p:style>
      </p:cxnSp>
      <p:cxnSp>
        <p:nvCxnSpPr>
          <p:cNvPr id="98" name="Gerader Verbinder 2061">
            <a:extLst>
              <a:ext uri="{FF2B5EF4-FFF2-40B4-BE49-F238E27FC236}">
                <a16:creationId xmlns:a16="http://schemas.microsoft.com/office/drawing/2014/main" id="{0955A05A-F8D2-363B-41B8-6B3015CC4218}"/>
              </a:ext>
            </a:extLst>
          </p:cNvPr>
          <p:cNvCxnSpPr>
            <a:cxnSpLocks/>
          </p:cNvCxnSpPr>
          <p:nvPr/>
        </p:nvCxnSpPr>
        <p:spPr>
          <a:xfrm>
            <a:off x="518458" y="4144807"/>
            <a:ext cx="5010540" cy="0"/>
          </a:xfrm>
          <a:prstGeom prst="line">
            <a:avLst/>
          </a:prstGeom>
          <a:ln w="6350"/>
        </p:spPr>
        <p:style>
          <a:lnRef idx="1">
            <a:schemeClr val="accent2"/>
          </a:lnRef>
          <a:fillRef idx="0">
            <a:schemeClr val="accent2"/>
          </a:fillRef>
          <a:effectRef idx="0">
            <a:schemeClr val="accent2"/>
          </a:effectRef>
          <a:fontRef idx="minor">
            <a:schemeClr val="tx1"/>
          </a:fontRef>
        </p:style>
      </p:cxnSp>
      <p:cxnSp>
        <p:nvCxnSpPr>
          <p:cNvPr id="99" name="Gerader Verbinder 2061">
            <a:extLst>
              <a:ext uri="{FF2B5EF4-FFF2-40B4-BE49-F238E27FC236}">
                <a16:creationId xmlns:a16="http://schemas.microsoft.com/office/drawing/2014/main" id="{CE4C2C87-167B-E2C1-8969-259C20A020B1}"/>
              </a:ext>
            </a:extLst>
          </p:cNvPr>
          <p:cNvCxnSpPr>
            <a:cxnSpLocks/>
          </p:cNvCxnSpPr>
          <p:nvPr/>
        </p:nvCxnSpPr>
        <p:spPr>
          <a:xfrm>
            <a:off x="518458" y="4630784"/>
            <a:ext cx="5010540" cy="0"/>
          </a:xfrm>
          <a:prstGeom prst="line">
            <a:avLst/>
          </a:prstGeom>
          <a:ln w="6350"/>
        </p:spPr>
        <p:style>
          <a:lnRef idx="1">
            <a:schemeClr val="accent2"/>
          </a:lnRef>
          <a:fillRef idx="0">
            <a:schemeClr val="accent2"/>
          </a:fillRef>
          <a:effectRef idx="0">
            <a:schemeClr val="accent2"/>
          </a:effectRef>
          <a:fontRef idx="minor">
            <a:schemeClr val="tx1"/>
          </a:fontRef>
        </p:style>
      </p:cxnSp>
      <p:cxnSp>
        <p:nvCxnSpPr>
          <p:cNvPr id="100" name="Gerader Verbinder 2061">
            <a:extLst>
              <a:ext uri="{FF2B5EF4-FFF2-40B4-BE49-F238E27FC236}">
                <a16:creationId xmlns:a16="http://schemas.microsoft.com/office/drawing/2014/main" id="{BA69F532-34BA-C3AA-BDFE-B240AE6E2D37}"/>
              </a:ext>
            </a:extLst>
          </p:cNvPr>
          <p:cNvCxnSpPr>
            <a:cxnSpLocks/>
          </p:cNvCxnSpPr>
          <p:nvPr/>
        </p:nvCxnSpPr>
        <p:spPr>
          <a:xfrm>
            <a:off x="518458" y="5116761"/>
            <a:ext cx="5010540" cy="0"/>
          </a:xfrm>
          <a:prstGeom prst="line">
            <a:avLst/>
          </a:prstGeom>
          <a:ln w="6350"/>
        </p:spPr>
        <p:style>
          <a:lnRef idx="1">
            <a:schemeClr val="accent2"/>
          </a:lnRef>
          <a:fillRef idx="0">
            <a:schemeClr val="accent2"/>
          </a:fillRef>
          <a:effectRef idx="0">
            <a:schemeClr val="accent2"/>
          </a:effectRef>
          <a:fontRef idx="minor">
            <a:schemeClr val="tx1"/>
          </a:fontRef>
        </p:style>
      </p:cxnSp>
      <p:cxnSp>
        <p:nvCxnSpPr>
          <p:cNvPr id="101" name="Gerader Verbinder 2061">
            <a:extLst>
              <a:ext uri="{FF2B5EF4-FFF2-40B4-BE49-F238E27FC236}">
                <a16:creationId xmlns:a16="http://schemas.microsoft.com/office/drawing/2014/main" id="{6EDC1A43-2565-2294-B90E-12FE85AA2D7A}"/>
              </a:ext>
            </a:extLst>
          </p:cNvPr>
          <p:cNvCxnSpPr>
            <a:cxnSpLocks/>
          </p:cNvCxnSpPr>
          <p:nvPr/>
        </p:nvCxnSpPr>
        <p:spPr>
          <a:xfrm>
            <a:off x="518458" y="5602738"/>
            <a:ext cx="5010540" cy="0"/>
          </a:xfrm>
          <a:prstGeom prst="line">
            <a:avLst/>
          </a:prstGeom>
          <a:ln w="6350"/>
        </p:spPr>
        <p:style>
          <a:lnRef idx="1">
            <a:schemeClr val="accent2"/>
          </a:lnRef>
          <a:fillRef idx="0">
            <a:schemeClr val="accent2"/>
          </a:fillRef>
          <a:effectRef idx="0">
            <a:schemeClr val="accent2"/>
          </a:effectRef>
          <a:fontRef idx="minor">
            <a:schemeClr val="tx1"/>
          </a:fontRef>
        </p:style>
      </p:cxnSp>
      <p:cxnSp>
        <p:nvCxnSpPr>
          <p:cNvPr id="102" name="Gerader Verbinder 2061">
            <a:extLst>
              <a:ext uri="{FF2B5EF4-FFF2-40B4-BE49-F238E27FC236}">
                <a16:creationId xmlns:a16="http://schemas.microsoft.com/office/drawing/2014/main" id="{02CA658F-A293-0B9C-9E44-09A4E3E50046}"/>
              </a:ext>
            </a:extLst>
          </p:cNvPr>
          <p:cNvCxnSpPr>
            <a:cxnSpLocks/>
          </p:cNvCxnSpPr>
          <p:nvPr/>
        </p:nvCxnSpPr>
        <p:spPr>
          <a:xfrm>
            <a:off x="518458" y="2687645"/>
            <a:ext cx="5010540" cy="0"/>
          </a:xfrm>
          <a:prstGeom prst="line">
            <a:avLst/>
          </a:prstGeom>
          <a:ln w="6350"/>
        </p:spPr>
        <p:style>
          <a:lnRef idx="1">
            <a:schemeClr val="accent2"/>
          </a:lnRef>
          <a:fillRef idx="0">
            <a:schemeClr val="accent2"/>
          </a:fillRef>
          <a:effectRef idx="0">
            <a:schemeClr val="accent2"/>
          </a:effectRef>
          <a:fontRef idx="minor">
            <a:schemeClr val="tx1"/>
          </a:fontRef>
        </p:style>
      </p:cxnSp>
      <p:cxnSp>
        <p:nvCxnSpPr>
          <p:cNvPr id="103" name="Gerader Verbinder 2061">
            <a:extLst>
              <a:ext uri="{FF2B5EF4-FFF2-40B4-BE49-F238E27FC236}">
                <a16:creationId xmlns:a16="http://schemas.microsoft.com/office/drawing/2014/main" id="{2A527C26-5BA7-3EB1-4195-B46DFA21F8B0}"/>
              </a:ext>
            </a:extLst>
          </p:cNvPr>
          <p:cNvCxnSpPr>
            <a:cxnSpLocks/>
          </p:cNvCxnSpPr>
          <p:nvPr/>
        </p:nvCxnSpPr>
        <p:spPr>
          <a:xfrm>
            <a:off x="518458" y="2202671"/>
            <a:ext cx="5010540" cy="0"/>
          </a:xfrm>
          <a:prstGeom prst="line">
            <a:avLst/>
          </a:prstGeom>
          <a:ln w="6350"/>
        </p:spPr>
        <p:style>
          <a:lnRef idx="1">
            <a:schemeClr val="accent2"/>
          </a:lnRef>
          <a:fillRef idx="0">
            <a:schemeClr val="accent2"/>
          </a:fillRef>
          <a:effectRef idx="0">
            <a:schemeClr val="accent2"/>
          </a:effectRef>
          <a:fontRef idx="minor">
            <a:schemeClr val="tx1"/>
          </a:fontRef>
        </p:style>
      </p:cxnSp>
      <p:sp>
        <p:nvSpPr>
          <p:cNvPr id="18" name="Rectangle 17">
            <a:extLst>
              <a:ext uri="{FF2B5EF4-FFF2-40B4-BE49-F238E27FC236}">
                <a16:creationId xmlns:a16="http://schemas.microsoft.com/office/drawing/2014/main" id="{180F6E5A-54B9-875E-9EE2-104BA1BB1522}"/>
              </a:ext>
            </a:extLst>
          </p:cNvPr>
          <p:cNvSpPr/>
          <p:nvPr/>
        </p:nvSpPr>
        <p:spPr>
          <a:xfrm>
            <a:off x="516006" y="6101677"/>
            <a:ext cx="1136057" cy="423702"/>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algn="ctr" defTabSz="914400">
              <a:defRPr/>
            </a:pPr>
            <a:r>
              <a:rPr lang="en-DK" sz="1100" b="1">
                <a:solidFill>
                  <a:srgbClr val="FFFFFF"/>
                </a:solidFill>
                <a:latin typeface="Avenir Next LT Pro Demi" panose="020B0504020202020204" pitchFamily="34" charset="77"/>
              </a:rPr>
              <a:t>Tolerability</a:t>
            </a:r>
            <a:endParaRPr lang="en-US" sz="1100" b="1">
              <a:solidFill>
                <a:srgbClr val="FFFFFF"/>
              </a:solidFill>
              <a:latin typeface="Avenir Next LT Pro Demi" panose="020B0504020202020204" pitchFamily="34" charset="77"/>
            </a:endParaRPr>
          </a:p>
        </p:txBody>
      </p:sp>
      <p:sp>
        <p:nvSpPr>
          <p:cNvPr id="19" name="Inhaltsplatzhalter 1">
            <a:extLst>
              <a:ext uri="{FF2B5EF4-FFF2-40B4-BE49-F238E27FC236}">
                <a16:creationId xmlns:a16="http://schemas.microsoft.com/office/drawing/2014/main" id="{51424425-8C05-5D0B-CDCA-2AE865A4FA28}"/>
              </a:ext>
            </a:extLst>
          </p:cNvPr>
          <p:cNvSpPr txBox="1">
            <a:spLocks/>
          </p:cNvSpPr>
          <p:nvPr/>
        </p:nvSpPr>
        <p:spPr bwMode="auto">
          <a:xfrm>
            <a:off x="1757101" y="6101676"/>
            <a:ext cx="3773858" cy="423702"/>
          </a:xfrm>
          <a:prstGeom prst="rect">
            <a:avLst/>
          </a:prstGeom>
          <a:solidFill>
            <a:schemeClr val="bg1">
              <a:lumMod val="95000"/>
            </a:schemeClr>
          </a:solidFill>
          <a:ln cap="flat">
            <a:noFill/>
          </a:ln>
        </p:spPr>
        <p:txBody>
          <a:bodyPr vert="horz" wrap="square" lIns="35995" tIns="36000" rIns="35995" bIns="36000" anchor="ctr" anchorCtr="0" compatLnSpc="1">
            <a:noAutofit/>
          </a:bodyPr>
          <a:lstStyle>
            <a:defPPr>
              <a:defRPr lang="LID4096"/>
            </a:defPPr>
            <a:lvl1pPr marL="285721" marR="0" lvl="0" indent="-285721" defTabSz="914309" fontAlgn="auto">
              <a:lnSpc>
                <a:spcPct val="100000"/>
              </a:lnSpc>
              <a:spcBef>
                <a:spcPts val="0"/>
              </a:spcBef>
              <a:spcAft>
                <a:spcPts val="600"/>
              </a:spcAft>
              <a:buClr>
                <a:srgbClr val="2878FF"/>
              </a:buClr>
              <a:buSzPct val="100000"/>
              <a:buFont typeface="Avenir Next LT Pro" pitchFamily="34"/>
              <a:buChar char="+"/>
              <a:tabLst/>
              <a:defRPr kumimoji="0" sz="1200" b="0" i="0" u="none" strike="noStrike" kern="0" cap="none" spc="0" normalizeH="0" baseline="0">
                <a:ln>
                  <a:noFill/>
                </a:ln>
                <a:solidFill>
                  <a:srgbClr val="001965"/>
                </a:solidFill>
                <a:effectLst/>
                <a:uLnTx/>
                <a:uFillTx/>
                <a:latin typeface="Avenir Next LT Pro"/>
              </a:defRPr>
            </a:lvl1pPr>
          </a:lstStyle>
          <a:p>
            <a:pPr marL="0" indent="0" algn="ctr">
              <a:buNone/>
            </a:pPr>
            <a:r>
              <a:rPr lang="en-GB" sz="1100">
                <a:sym typeface="Calibri" panose="020F0502020204030204" pitchFamily="34" charset="0"/>
              </a:rPr>
              <a:t>Mostly </a:t>
            </a:r>
            <a:r>
              <a:rPr lang="en-DE" sz="1100">
                <a:sym typeface="Calibri" panose="020F0502020204030204" pitchFamily="34" charset="0"/>
              </a:rPr>
              <a:t>mild gastrointestinal-related adverse events</a:t>
            </a:r>
          </a:p>
        </p:txBody>
      </p:sp>
      <p:cxnSp>
        <p:nvCxnSpPr>
          <p:cNvPr id="23" name="Gerader Verbinder 2061">
            <a:extLst>
              <a:ext uri="{FF2B5EF4-FFF2-40B4-BE49-F238E27FC236}">
                <a16:creationId xmlns:a16="http://schemas.microsoft.com/office/drawing/2014/main" id="{303287D1-36F4-CF53-641B-33C7D6326ACB}"/>
              </a:ext>
            </a:extLst>
          </p:cNvPr>
          <p:cNvCxnSpPr>
            <a:cxnSpLocks/>
          </p:cNvCxnSpPr>
          <p:nvPr/>
        </p:nvCxnSpPr>
        <p:spPr>
          <a:xfrm>
            <a:off x="518458" y="6078048"/>
            <a:ext cx="5010540" cy="0"/>
          </a:xfrm>
          <a:prstGeom prst="line">
            <a:avLst/>
          </a:prstGeom>
          <a:ln w="6350"/>
        </p:spPr>
        <p:style>
          <a:lnRef idx="1">
            <a:schemeClr val="accent2"/>
          </a:lnRef>
          <a:fillRef idx="0">
            <a:schemeClr val="accent2"/>
          </a:fillRef>
          <a:effectRef idx="0">
            <a:schemeClr val="accent2"/>
          </a:effectRef>
          <a:fontRef idx="minor">
            <a:schemeClr val="tx1"/>
          </a:fontRef>
        </p:style>
      </p:cxnSp>
      <p:grpSp>
        <p:nvGrpSpPr>
          <p:cNvPr id="14" name="Group 13">
            <a:extLst>
              <a:ext uri="{FF2B5EF4-FFF2-40B4-BE49-F238E27FC236}">
                <a16:creationId xmlns:a16="http://schemas.microsoft.com/office/drawing/2014/main" id="{BC25ED04-8BF8-4195-D1EA-96AD17C632D9}"/>
              </a:ext>
            </a:extLst>
          </p:cNvPr>
          <p:cNvGrpSpPr/>
          <p:nvPr/>
        </p:nvGrpSpPr>
        <p:grpSpPr>
          <a:xfrm>
            <a:off x="8696678" y="1529434"/>
            <a:ext cx="876714" cy="876714"/>
            <a:chOff x="8706833" y="1628775"/>
            <a:chExt cx="876714" cy="876714"/>
          </a:xfrm>
        </p:grpSpPr>
        <p:pic>
          <p:nvPicPr>
            <p:cNvPr id="12" name="Graphic 11">
              <a:extLst>
                <a:ext uri="{FF2B5EF4-FFF2-40B4-BE49-F238E27FC236}">
                  <a16:creationId xmlns:a16="http://schemas.microsoft.com/office/drawing/2014/main" id="{C216039A-F599-C4F2-887E-B56A8295BDF4}"/>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706833" y="1628775"/>
              <a:ext cx="876714" cy="876714"/>
            </a:xfrm>
            <a:prstGeom prst="rect">
              <a:avLst/>
            </a:prstGeom>
          </p:spPr>
        </p:pic>
        <p:pic>
          <p:nvPicPr>
            <p:cNvPr id="10" name="Graphic 9" descr="Lights On with solid fill">
              <a:extLst>
                <a:ext uri="{FF2B5EF4-FFF2-40B4-BE49-F238E27FC236}">
                  <a16:creationId xmlns:a16="http://schemas.microsoft.com/office/drawing/2014/main" id="{B436C5B8-4D0C-EF9A-75EB-3F36A311EBC6}"/>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866910" y="1760663"/>
              <a:ext cx="570622" cy="570622"/>
            </a:xfrm>
            <a:prstGeom prst="rect">
              <a:avLst/>
            </a:prstGeom>
            <a:extLst>
              <a:ext uri="{91240B29-F687-4F45-9708-019B960494DF}">
                <a14:hiddenLine xmlns:a14="http://schemas.microsoft.com/office/drawing/2010/main" w="13758" cap="flat">
                  <a:solidFill>
                    <a:srgbClr val="FFFFFF"/>
                  </a:solidFill>
                  <a:prstDash val="solid"/>
                  <a:miter/>
                </a14:hiddenLine>
              </a:ext>
            </a:extLst>
          </p:spPr>
        </p:pic>
      </p:grpSp>
      <p:sp>
        <p:nvSpPr>
          <p:cNvPr id="3" name="Oval 2">
            <a:extLst>
              <a:ext uri="{FF2B5EF4-FFF2-40B4-BE49-F238E27FC236}">
                <a16:creationId xmlns:a16="http://schemas.microsoft.com/office/drawing/2014/main" id="{398E4D43-AC26-ADA9-A567-21B5F9003807}"/>
              </a:ext>
            </a:extLst>
          </p:cNvPr>
          <p:cNvSpPr>
            <a:spLocks noChangeAspect="1"/>
          </p:cNvSpPr>
          <p:nvPr/>
        </p:nvSpPr>
        <p:spPr>
          <a:xfrm>
            <a:off x="6932720" y="3249398"/>
            <a:ext cx="360000" cy="360000"/>
          </a:xfrm>
          <a:prstGeom prst="ellipse">
            <a:avLst/>
          </a:prstGeom>
          <a:solidFill>
            <a:schemeClr val="accent4"/>
          </a:solidFill>
          <a:ln w="12700" cap="flat" cmpd="sng" algn="ctr">
            <a:noFill/>
            <a:prstDash val="solid"/>
            <a:miter lim="800000"/>
          </a:ln>
          <a:effectLst/>
        </p:spPr>
        <p:txBody>
          <a:bodyPr lIns="35995" tIns="35995" rIns="35995" bIns="35995" rtlCol="0" anchor="ctr"/>
          <a:lstStyle/>
          <a:p>
            <a:pPr algn="ctr" defTabSz="914355">
              <a:spcAft>
                <a:spcPts val="1200"/>
              </a:spcAft>
            </a:pPr>
            <a:r>
              <a:rPr lang="en-DK" sz="1600" b="1" kern="0">
                <a:latin typeface="Avenir Next LT Pro Demi" panose="020B0504020202020204" pitchFamily="34" charset="77"/>
              </a:rPr>
              <a:t>2</a:t>
            </a:r>
            <a:endParaRPr lang="de-DE" sz="1600" b="1" kern="0">
              <a:latin typeface="Avenir Next LT Pro Demi" panose="020B0504020202020204" pitchFamily="34" charset="77"/>
            </a:endParaRPr>
          </a:p>
        </p:txBody>
      </p:sp>
      <p:sp>
        <p:nvSpPr>
          <p:cNvPr id="4" name="Oval 3">
            <a:extLst>
              <a:ext uri="{FF2B5EF4-FFF2-40B4-BE49-F238E27FC236}">
                <a16:creationId xmlns:a16="http://schemas.microsoft.com/office/drawing/2014/main" id="{84F35FD0-4CF6-1F9F-4A47-7FE46E1DE176}"/>
              </a:ext>
            </a:extLst>
          </p:cNvPr>
          <p:cNvSpPr>
            <a:spLocks noChangeAspect="1"/>
          </p:cNvSpPr>
          <p:nvPr/>
        </p:nvSpPr>
        <p:spPr>
          <a:xfrm>
            <a:off x="6932720" y="4104380"/>
            <a:ext cx="360000" cy="360000"/>
          </a:xfrm>
          <a:prstGeom prst="ellipse">
            <a:avLst/>
          </a:prstGeom>
          <a:solidFill>
            <a:schemeClr val="accent4"/>
          </a:solidFill>
          <a:ln w="12700" cap="flat" cmpd="sng" algn="ctr">
            <a:noFill/>
            <a:prstDash val="solid"/>
            <a:miter lim="800000"/>
          </a:ln>
          <a:effectLst/>
        </p:spPr>
        <p:txBody>
          <a:bodyPr lIns="35995" tIns="35995" rIns="35995" bIns="35995" rtlCol="0" anchor="ctr"/>
          <a:lstStyle/>
          <a:p>
            <a:pPr algn="ctr" defTabSz="914355">
              <a:spcAft>
                <a:spcPts val="1200"/>
              </a:spcAft>
            </a:pPr>
            <a:r>
              <a:rPr lang="en-DK" sz="1600" b="1" kern="0">
                <a:latin typeface="Avenir Next LT Pro Demi" panose="020B0504020202020204" pitchFamily="34" charset="77"/>
              </a:rPr>
              <a:t>3</a:t>
            </a:r>
            <a:endParaRPr lang="de-DE" sz="1600" b="1" kern="0">
              <a:latin typeface="Avenir Next LT Pro Demi" panose="020B0504020202020204" pitchFamily="34" charset="77"/>
            </a:endParaRPr>
          </a:p>
        </p:txBody>
      </p:sp>
      <p:sp>
        <p:nvSpPr>
          <p:cNvPr id="5" name="Oval 4">
            <a:extLst>
              <a:ext uri="{FF2B5EF4-FFF2-40B4-BE49-F238E27FC236}">
                <a16:creationId xmlns:a16="http://schemas.microsoft.com/office/drawing/2014/main" id="{6EC570DC-22CE-1C90-5C84-A80C90A41DE0}"/>
              </a:ext>
            </a:extLst>
          </p:cNvPr>
          <p:cNvSpPr>
            <a:spLocks noChangeAspect="1"/>
          </p:cNvSpPr>
          <p:nvPr/>
        </p:nvSpPr>
        <p:spPr>
          <a:xfrm>
            <a:off x="6932720" y="4932065"/>
            <a:ext cx="360000" cy="360000"/>
          </a:xfrm>
          <a:prstGeom prst="ellipse">
            <a:avLst/>
          </a:prstGeom>
          <a:solidFill>
            <a:schemeClr val="accent4"/>
          </a:solidFill>
          <a:ln w="12700" cap="flat" cmpd="sng" algn="ctr">
            <a:noFill/>
            <a:prstDash val="solid"/>
            <a:miter lim="800000"/>
          </a:ln>
          <a:effectLst/>
        </p:spPr>
        <p:txBody>
          <a:bodyPr lIns="35995" tIns="35995" rIns="35995" bIns="35995" rtlCol="0" anchor="ctr"/>
          <a:lstStyle/>
          <a:p>
            <a:pPr algn="ctr" defTabSz="914355">
              <a:spcAft>
                <a:spcPts val="1200"/>
              </a:spcAft>
            </a:pPr>
            <a:r>
              <a:rPr lang="en-DK" sz="1600" b="1" kern="0">
                <a:latin typeface="Avenir Next LT Pro Demi" panose="020B0504020202020204" pitchFamily="34" charset="77"/>
              </a:rPr>
              <a:t>4</a:t>
            </a:r>
            <a:endParaRPr lang="de-DE" sz="1600" b="1" kern="0">
              <a:latin typeface="Avenir Next LT Pro Demi" panose="020B0504020202020204" pitchFamily="34" charset="77"/>
            </a:endParaRPr>
          </a:p>
        </p:txBody>
      </p:sp>
      <p:sp>
        <p:nvSpPr>
          <p:cNvPr id="7" name="TextBox 6">
            <a:extLst>
              <a:ext uri="{FF2B5EF4-FFF2-40B4-BE49-F238E27FC236}">
                <a16:creationId xmlns:a16="http://schemas.microsoft.com/office/drawing/2014/main" id="{E1362517-9FA8-2F96-CD07-E2B0A9EFDA76}"/>
              </a:ext>
            </a:extLst>
          </p:cNvPr>
          <p:cNvSpPr txBox="1"/>
          <p:nvPr/>
        </p:nvSpPr>
        <p:spPr>
          <a:xfrm>
            <a:off x="11594381" y="6399575"/>
            <a:ext cx="27602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92F5A-FC14-4E83-B4CC-18F6C2D780A4}" type="slidenum">
              <a:rPr kumimoji="0" lang="en-US" sz="1000" b="0" i="0" u="none" strike="noStrike" kern="0" cap="none" spc="40" normalizeH="0" baseline="0" noProof="0" smtClean="0">
                <a:ln>
                  <a:noFill/>
                </a:ln>
                <a:solidFill>
                  <a:srgbClr val="2878FF"/>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0" cap="none" spc="40" normalizeH="0" baseline="0" noProof="0">
              <a:ln>
                <a:noFill/>
              </a:ln>
              <a:solidFill>
                <a:srgbClr val="2878FF"/>
              </a:solidFill>
              <a:effectLst/>
              <a:uLnTx/>
              <a:uFillTx/>
              <a:latin typeface="Avenir Next LT Pro"/>
              <a:ea typeface="+mn-ea"/>
              <a:cs typeface="+mn-cs"/>
            </a:endParaRPr>
          </a:p>
        </p:txBody>
      </p:sp>
      <p:sp>
        <p:nvSpPr>
          <p:cNvPr id="24" name="Rounded Rectangle 10">
            <a:extLst>
              <a:ext uri="{FF2B5EF4-FFF2-40B4-BE49-F238E27FC236}">
                <a16:creationId xmlns:a16="http://schemas.microsoft.com/office/drawing/2014/main" id="{90559546-17F2-0AAB-D6CE-86A17993190A}"/>
              </a:ext>
            </a:extLst>
          </p:cNvPr>
          <p:cNvSpPr/>
          <p:nvPr/>
        </p:nvSpPr>
        <p:spPr>
          <a:xfrm>
            <a:off x="6932720" y="5602738"/>
            <a:ext cx="4661661" cy="922640"/>
          </a:xfrm>
          <a:prstGeom prst="roundRect">
            <a:avLst>
              <a:gd name="adj" fmla="val 50000"/>
            </a:avLst>
          </a:prstGeom>
          <a:solidFill>
            <a:schemeClr val="tx1"/>
          </a:solid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en-DK" sz="1400" b="1">
                <a:solidFill>
                  <a:schemeClr val="bg1"/>
                </a:solidFill>
                <a:latin typeface="Avenir Next LT Pro Demi" panose="020B0504020202020204" pitchFamily="34" charset="77"/>
              </a:rPr>
              <a:t>NEXT STEPS </a:t>
            </a:r>
            <a:br>
              <a:rPr lang="en-DK" sz="1200" b="1">
                <a:solidFill>
                  <a:schemeClr val="bg1"/>
                </a:solidFill>
                <a:latin typeface="Avenir Next LT Pro Demi" panose="020B0504020202020204" pitchFamily="34" charset="77"/>
              </a:rPr>
            </a:br>
            <a:r>
              <a:rPr lang="en-DK" sz="1200" b="1">
                <a:solidFill>
                  <a:schemeClr val="bg1"/>
                </a:solidFill>
                <a:latin typeface="Avenir Next LT Pro Demi" panose="020B0504020202020204" pitchFamily="34" charset="77"/>
              </a:rPr>
              <a:t>Ongoing US </a:t>
            </a:r>
            <a:r>
              <a:rPr lang="en-US" sz="1200" b="1">
                <a:solidFill>
                  <a:schemeClr val="bg1"/>
                </a:solidFill>
                <a:latin typeface="Avenir Next LT Pro Demi" panose="020B0504020202020204" pitchFamily="34" charset="77"/>
              </a:rPr>
              <a:t>Ph</a:t>
            </a:r>
            <a:r>
              <a:rPr lang="en-DK" sz="1200" b="1" err="1">
                <a:solidFill>
                  <a:schemeClr val="bg1"/>
                </a:solidFill>
                <a:latin typeface="Avenir Next LT Pro Demi" panose="020B0504020202020204" pitchFamily="34" charset="77"/>
              </a:rPr>
              <a:t>ase</a:t>
            </a:r>
            <a:r>
              <a:rPr lang="en-DK" sz="1200" b="1">
                <a:solidFill>
                  <a:schemeClr val="bg1"/>
                </a:solidFill>
                <a:latin typeface="Avenir Next LT Pro Demi" panose="020B0504020202020204" pitchFamily="34" charset="77"/>
              </a:rPr>
              <a:t> </a:t>
            </a:r>
            <a:r>
              <a:rPr lang="en-US" sz="1200" b="1">
                <a:solidFill>
                  <a:schemeClr val="bg1"/>
                </a:solidFill>
                <a:latin typeface="Avenir Next LT Pro Demi" panose="020B0504020202020204" pitchFamily="34" charset="77"/>
              </a:rPr>
              <a:t>1b</a:t>
            </a:r>
            <a:r>
              <a:rPr lang="en-DK" sz="1200" b="1">
                <a:solidFill>
                  <a:schemeClr val="bg1"/>
                </a:solidFill>
                <a:latin typeface="Avenir Next LT Pro Demi" panose="020B0504020202020204" pitchFamily="34" charset="77"/>
              </a:rPr>
              <a:t> trial</a:t>
            </a:r>
            <a:r>
              <a:rPr lang="en-US" sz="1200" b="1">
                <a:solidFill>
                  <a:schemeClr val="bg1"/>
                </a:solidFill>
                <a:latin typeface="Avenir Next LT Pro Demi" panose="020B0504020202020204" pitchFamily="34" charset="77"/>
              </a:rPr>
              <a:t> in obese patients</a:t>
            </a:r>
            <a:r>
              <a:rPr lang="en-DK" sz="1200" b="1">
                <a:solidFill>
                  <a:schemeClr val="bg1"/>
                </a:solidFill>
                <a:latin typeface="Avenir Next LT Pro Demi" panose="020B0504020202020204" pitchFamily="34" charset="77"/>
              </a:rPr>
              <a:t> (</a:t>
            </a:r>
            <a:r>
              <a:rPr lang="en-US" sz="1200" b="1">
                <a:solidFill>
                  <a:schemeClr val="bg1"/>
                </a:solidFill>
                <a:latin typeface="Avenir Next LT Pro Demi" panose="020B0504020202020204" pitchFamily="34" charset="77"/>
              </a:rPr>
              <a:t>BMI 30-45</a:t>
            </a:r>
            <a:r>
              <a:rPr lang="en-DK" sz="1200" b="1">
                <a:solidFill>
                  <a:schemeClr val="bg1"/>
                </a:solidFill>
                <a:latin typeface="Avenir Next LT Pro Demi" panose="020B0504020202020204" pitchFamily="34" charset="77"/>
              </a:rPr>
              <a:t>); initiation of Phase 2 trial expected in Q3 2026</a:t>
            </a:r>
            <a:br>
              <a:rPr lang="en-DK" sz="1200" b="1">
                <a:solidFill>
                  <a:schemeClr val="bg1"/>
                </a:solidFill>
                <a:latin typeface="Avenir Next LT Pro Demi" panose="020B0504020202020204" pitchFamily="34" charset="77"/>
              </a:rPr>
            </a:br>
            <a:r>
              <a:rPr lang="en-DK" sz="1200">
                <a:solidFill>
                  <a:schemeClr val="bg1"/>
                </a:solidFill>
              </a:rPr>
              <a:t>(AbbVie </a:t>
            </a:r>
            <a:r>
              <a:rPr lang="en-DK" sz="1200" err="1">
                <a:solidFill>
                  <a:schemeClr val="bg1"/>
                </a:solidFill>
              </a:rPr>
              <a:t>responsib</a:t>
            </a:r>
            <a:r>
              <a:rPr lang="en-US" sz="1200">
                <a:solidFill>
                  <a:schemeClr val="bg1"/>
                </a:solidFill>
              </a:rPr>
              <a:t>le</a:t>
            </a:r>
            <a:r>
              <a:rPr lang="en-DK" sz="1200">
                <a:solidFill>
                  <a:schemeClr val="bg1"/>
                </a:solidFill>
              </a:rPr>
              <a:t>)</a:t>
            </a:r>
            <a:endParaRPr lang="en-US" sz="1200">
              <a:solidFill>
                <a:schemeClr val="bg1"/>
              </a:solidFill>
              <a:latin typeface="Avenir Next LT Pro Demi" panose="020B0504020202020204" pitchFamily="34" charset="77"/>
            </a:endParaRPr>
          </a:p>
        </p:txBody>
      </p:sp>
    </p:spTree>
    <p:custDataLst>
      <p:tags r:id="rId1"/>
    </p:custDataLst>
    <p:extLst>
      <p:ext uri="{BB962C8B-B14F-4D97-AF65-F5344CB8AC3E}">
        <p14:creationId xmlns:p14="http://schemas.microsoft.com/office/powerpoint/2010/main" val="30222553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A7C9F-8954-EE86-59DA-B8322EE9C062}"/>
            </a:ext>
          </a:extLst>
        </p:cNvPr>
        <p:cNvGrpSpPr/>
        <p:nvPr/>
      </p:nvGrpSpPr>
      <p:grpSpPr>
        <a:xfrm>
          <a:off x="0" y="0"/>
          <a:ext cx="0" cy="0"/>
          <a:chOff x="0" y="0"/>
          <a:chExt cx="0" cy="0"/>
        </a:xfrm>
      </p:grpSpPr>
      <p:pic>
        <p:nvPicPr>
          <p:cNvPr id="6" name="Picture 5" descr="A person in a lab coat and goggles&#10;&#10;AI-generated content may be incorrect.">
            <a:extLst>
              <a:ext uri="{FF2B5EF4-FFF2-40B4-BE49-F238E27FC236}">
                <a16:creationId xmlns:a16="http://schemas.microsoft.com/office/drawing/2014/main" id="{42ABE092-2848-1B14-7E81-FAFF6A02DDDF}"/>
              </a:ext>
            </a:extLst>
          </p:cNvPr>
          <p:cNvPicPr>
            <a:picLocks noChangeAspect="1"/>
          </p:cNvPicPr>
          <p:nvPr/>
        </p:nvPicPr>
        <p:blipFill>
          <a:blip r:embed="rId3">
            <a:extLst>
              <a:ext uri="{28A0092B-C50C-407E-A947-70E740481C1C}">
                <a14:useLocalDpi xmlns:a14="http://schemas.microsoft.com/office/drawing/2010/main" val="0"/>
              </a:ext>
            </a:extLst>
          </a:blip>
          <a:srcRect l="22181" t="15261" r="29777"/>
          <a:stretch>
            <a:fillRect/>
          </a:stretch>
        </p:blipFill>
        <p:spPr>
          <a:xfrm>
            <a:off x="6369189" y="-444"/>
            <a:ext cx="5830327" cy="6857552"/>
          </a:xfrm>
          <a:prstGeom prst="rect">
            <a:avLst/>
          </a:prstGeom>
          <a:ln>
            <a:noFill/>
          </a:ln>
        </p:spPr>
      </p:pic>
      <p:graphicFrame>
        <p:nvGraphicFramePr>
          <p:cNvPr id="5" name="think-cell data - do not delete" hidden="1">
            <a:extLst>
              <a:ext uri="{FF2B5EF4-FFF2-40B4-BE49-F238E27FC236}">
                <a16:creationId xmlns:a16="http://schemas.microsoft.com/office/drawing/2014/main" id="{F0CF8079-C81A-32A0-FC28-E7191F244CAA}"/>
              </a:ext>
            </a:extLst>
          </p:cNvPr>
          <p:cNvGraphicFramePr>
            <a:graphicFrameLocks/>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245" imgH="245" progId="TCLayout.ActiveDocument.1">
                  <p:embed/>
                </p:oleObj>
              </mc:Choice>
              <mc:Fallback>
                <p:oleObj name="think-cell Slide" r:id="rId4" imgW="245" imgH="245" progId="TCLayout.ActiveDocument.1">
                  <p:embed/>
                  <p:pic>
                    <p:nvPicPr>
                      <p:cNvPr id="5" name="think-cell data - do not delete" hidden="1">
                        <a:extLst>
                          <a:ext uri="{FF2B5EF4-FFF2-40B4-BE49-F238E27FC236}">
                            <a16:creationId xmlns:a16="http://schemas.microsoft.com/office/drawing/2014/main" id="{F0CF8079-C81A-32A0-FC28-E7191F244CAA}"/>
                          </a:ext>
                        </a:extLst>
                      </p:cNvPr>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2017AD55-6C74-DCD2-F5CE-BCCC5184E713}"/>
              </a:ext>
            </a:extLst>
          </p:cNvPr>
          <p:cNvSpPr/>
          <p:nvPr/>
        </p:nvSpPr>
        <p:spPr>
          <a:xfrm>
            <a:off x="-6417" y="448"/>
            <a:ext cx="6485607" cy="6857107"/>
          </a:xfrm>
          <a:prstGeom prst="rect">
            <a:avLst/>
          </a:prstGeom>
          <a:solidFill>
            <a:schemeClr val="tx1"/>
          </a:solidFill>
          <a:ln w="9525">
            <a:solidFill>
              <a:schemeClr val="tx1"/>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23" name="Straight Connector 22">
            <a:extLst>
              <a:ext uri="{FF2B5EF4-FFF2-40B4-BE49-F238E27FC236}">
                <a16:creationId xmlns:a16="http://schemas.microsoft.com/office/drawing/2014/main" id="{3E60B84F-6B18-00B8-B846-790E3D532626}"/>
              </a:ext>
            </a:extLst>
          </p:cNvPr>
          <p:cNvCxnSpPr>
            <a:cxnSpLocks/>
          </p:cNvCxnSpPr>
          <p:nvPr/>
        </p:nvCxnSpPr>
        <p:spPr>
          <a:xfrm>
            <a:off x="3315933" y="1871037"/>
            <a:ext cx="0" cy="4032465"/>
          </a:xfrm>
          <a:prstGeom prst="line">
            <a:avLst/>
          </a:prstGeom>
          <a:ln w="635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BFEBFAD5-65B4-AEA5-141A-9B50A214977B}"/>
              </a:ext>
            </a:extLst>
          </p:cNvPr>
          <p:cNvCxnSpPr>
            <a:cxnSpLocks/>
          </p:cNvCxnSpPr>
          <p:nvPr/>
        </p:nvCxnSpPr>
        <p:spPr>
          <a:xfrm>
            <a:off x="686836" y="3754441"/>
            <a:ext cx="5258195" cy="0"/>
          </a:xfrm>
          <a:prstGeom prst="line">
            <a:avLst/>
          </a:prstGeom>
          <a:ln w="6350">
            <a:solidFill>
              <a:schemeClr val="tx2"/>
            </a:solidFill>
          </a:ln>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038B001C-B9AD-B6E8-14C0-E62C68939D53}"/>
              </a:ext>
            </a:extLst>
          </p:cNvPr>
          <p:cNvSpPr txBox="1"/>
          <p:nvPr/>
        </p:nvSpPr>
        <p:spPr>
          <a:xfrm>
            <a:off x="619909" y="2810067"/>
            <a:ext cx="2567510" cy="307777"/>
          </a:xfrm>
          <a:prstGeom prst="rect">
            <a:avLst/>
          </a:prstGeom>
          <a:noFill/>
        </p:spPr>
        <p:txBody>
          <a:bodyPr wrap="square"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DK" sz="14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Upfront payment</a:t>
            </a: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endParaRPr>
          </a:p>
        </p:txBody>
      </p:sp>
      <p:sp>
        <p:nvSpPr>
          <p:cNvPr id="38" name="TextBox 37">
            <a:extLst>
              <a:ext uri="{FF2B5EF4-FFF2-40B4-BE49-F238E27FC236}">
                <a16:creationId xmlns:a16="http://schemas.microsoft.com/office/drawing/2014/main" id="{1A51CBB5-469D-5183-980B-9C59E6F615EB}"/>
              </a:ext>
            </a:extLst>
          </p:cNvPr>
          <p:cNvSpPr txBox="1"/>
          <p:nvPr/>
        </p:nvSpPr>
        <p:spPr>
          <a:xfrm>
            <a:off x="3590160" y="2810067"/>
            <a:ext cx="2233633" cy="307777"/>
          </a:xfrm>
          <a:prstGeom prst="rect">
            <a:avLst/>
          </a:prstGeom>
          <a:noFill/>
        </p:spPr>
        <p:txBody>
          <a:bodyPr wrap="square"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DK" sz="14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Deal + royalties</a:t>
            </a: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endParaRPr>
          </a:p>
        </p:txBody>
      </p:sp>
      <p:sp>
        <p:nvSpPr>
          <p:cNvPr id="39" name="TextBox 38">
            <a:extLst>
              <a:ext uri="{FF2B5EF4-FFF2-40B4-BE49-F238E27FC236}">
                <a16:creationId xmlns:a16="http://schemas.microsoft.com/office/drawing/2014/main" id="{BDB20470-145D-FAD7-35F6-275557E79523}"/>
              </a:ext>
            </a:extLst>
          </p:cNvPr>
          <p:cNvSpPr txBox="1"/>
          <p:nvPr/>
        </p:nvSpPr>
        <p:spPr>
          <a:xfrm>
            <a:off x="3511928" y="2419188"/>
            <a:ext cx="2390097" cy="430887"/>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a:t>
            </a:r>
            <a:r>
              <a:rPr kumimoji="0" lang="en-DK" sz="2800" b="1" i="0" u="none" strike="noStrike" kern="1200" cap="none" spc="50" normalizeH="0" baseline="0" noProof="0">
                <a:ln>
                  <a:noFill/>
                </a:ln>
                <a:solidFill>
                  <a:srgbClr val="FFFFFF"/>
                </a:solidFill>
                <a:effectLst/>
                <a:uLnTx/>
                <a:uFillTx/>
                <a:latin typeface="Avenir Next LT Pro"/>
                <a:ea typeface="+mn-ea"/>
                <a:cs typeface="+mn-cs"/>
              </a:rPr>
              <a:t>2.2bn</a:t>
            </a:r>
          </a:p>
        </p:txBody>
      </p:sp>
      <p:sp>
        <p:nvSpPr>
          <p:cNvPr id="42" name="TextBox 41">
            <a:extLst>
              <a:ext uri="{FF2B5EF4-FFF2-40B4-BE49-F238E27FC236}">
                <a16:creationId xmlns:a16="http://schemas.microsoft.com/office/drawing/2014/main" id="{967C12C7-DC15-13A6-FE55-644AC956D742}"/>
              </a:ext>
            </a:extLst>
          </p:cNvPr>
          <p:cNvSpPr txBox="1"/>
          <p:nvPr/>
        </p:nvSpPr>
        <p:spPr>
          <a:xfrm>
            <a:off x="3621298" y="4166689"/>
            <a:ext cx="2171356" cy="430887"/>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da-DK" sz="2800" b="1" i="0" u="none" strike="noStrike" kern="1200" cap="none" spc="50" normalizeH="0" baseline="0" noProof="0">
                <a:ln>
                  <a:noFill/>
                </a:ln>
                <a:solidFill>
                  <a:srgbClr val="FFFFFF"/>
                </a:solidFill>
                <a:effectLst/>
                <a:uLnTx/>
                <a:uFillTx/>
                <a:latin typeface="Avenir Next LT Pro"/>
                <a:ea typeface="+mn-ea"/>
                <a:cs typeface="+mn-cs"/>
              </a:rPr>
              <a:t>NEXT STEP</a:t>
            </a:r>
            <a:endParaRPr kumimoji="0" lang="en-DK" sz="2800" b="1" i="0" u="none" strike="noStrike" kern="1200" cap="none" spc="50" normalizeH="0" baseline="0" noProof="0">
              <a:ln>
                <a:noFill/>
              </a:ln>
              <a:solidFill>
                <a:srgbClr val="FFFFFF"/>
              </a:solidFill>
              <a:effectLst/>
              <a:uLnTx/>
              <a:uFillTx/>
              <a:latin typeface="Avenir Next LT Pro"/>
              <a:ea typeface="+mn-ea"/>
              <a:cs typeface="+mn-cs"/>
            </a:endParaRPr>
          </a:p>
        </p:txBody>
      </p:sp>
      <p:sp>
        <p:nvSpPr>
          <p:cNvPr id="43" name="TextBox 42">
            <a:extLst>
              <a:ext uri="{FF2B5EF4-FFF2-40B4-BE49-F238E27FC236}">
                <a16:creationId xmlns:a16="http://schemas.microsoft.com/office/drawing/2014/main" id="{D947E29F-EAFE-EDE4-DAC1-62FDA31BA049}"/>
              </a:ext>
            </a:extLst>
          </p:cNvPr>
          <p:cNvSpPr txBox="1"/>
          <p:nvPr/>
        </p:nvSpPr>
        <p:spPr>
          <a:xfrm>
            <a:off x="519566" y="4166689"/>
            <a:ext cx="2768195" cy="430887"/>
          </a:xfrm>
          <a:prstGeom prst="rect">
            <a:avLst/>
          </a:prstGeom>
          <a:noFill/>
        </p:spPr>
        <p:txBody>
          <a:bodyPr wrap="square" lIns="0" tIns="0" rIns="0" bIns="0" rtlCol="0" anchor="t">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DK" sz="2800" b="1" i="0" u="none" strike="noStrike" kern="1200" cap="none" spc="0" normalizeH="0" baseline="0" noProof="0">
                <a:ln>
                  <a:noFill/>
                </a:ln>
                <a:solidFill>
                  <a:srgbClr val="FFFFFF"/>
                </a:solidFill>
                <a:effectLst/>
                <a:uLnTx/>
                <a:uFillTx/>
                <a:latin typeface="Avenir Next LT Pro"/>
                <a:ea typeface="+mn-ea"/>
                <a:cs typeface="+mn-cs"/>
              </a:rPr>
              <a:t>-9.8% vs -0.2%</a:t>
            </a:r>
          </a:p>
        </p:txBody>
      </p:sp>
      <p:sp>
        <p:nvSpPr>
          <p:cNvPr id="44" name="TextBox 43">
            <a:extLst>
              <a:ext uri="{FF2B5EF4-FFF2-40B4-BE49-F238E27FC236}">
                <a16:creationId xmlns:a16="http://schemas.microsoft.com/office/drawing/2014/main" id="{09F7B5F8-7763-32F4-8511-1EAA8CD2F521}"/>
              </a:ext>
            </a:extLst>
          </p:cNvPr>
          <p:cNvSpPr txBox="1"/>
          <p:nvPr/>
        </p:nvSpPr>
        <p:spPr>
          <a:xfrm>
            <a:off x="505247" y="4619885"/>
            <a:ext cx="2796835" cy="738664"/>
          </a:xfrm>
          <a:prstGeom prst="rect">
            <a:avLst/>
          </a:prstGeom>
          <a:noFill/>
        </p:spPr>
        <p:txBody>
          <a:bodyPr wrap="square"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W</a:t>
            </a:r>
            <a:r>
              <a:rPr kumimoji="0" lang="en-DK" sz="1400" b="0"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eight loss in Ph1 </a:t>
            </a:r>
            <a:r>
              <a:rPr kumimoji="0" lang="en-GB" sz="1400" b="0"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MAD study</a:t>
            </a:r>
            <a:endParaRPr kumimoji="0" lang="en-DE" sz="1400" b="0"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DE" sz="1400" b="1"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BMI &lt;30)</a:t>
            </a:r>
            <a:r>
              <a:rPr kumimoji="0" lang="en-GB" sz="1400" b="1"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 </a:t>
            </a:r>
            <a:br>
              <a:rPr kumimoji="0" lang="en-DK" sz="1400" b="1"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br>
            <a:r>
              <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Multiple doses for </a:t>
            </a:r>
            <a:r>
              <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12</a:t>
            </a:r>
            <a:r>
              <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 weeks </a:t>
            </a:r>
          </a:p>
        </p:txBody>
      </p:sp>
      <p:sp>
        <p:nvSpPr>
          <p:cNvPr id="45" name="TextBox 44">
            <a:extLst>
              <a:ext uri="{FF2B5EF4-FFF2-40B4-BE49-F238E27FC236}">
                <a16:creationId xmlns:a16="http://schemas.microsoft.com/office/drawing/2014/main" id="{EE3DF1B3-D2FD-760A-27C1-3B236995A942}"/>
              </a:ext>
            </a:extLst>
          </p:cNvPr>
          <p:cNvSpPr txBox="1"/>
          <p:nvPr/>
        </p:nvSpPr>
        <p:spPr>
          <a:xfrm>
            <a:off x="3476744" y="4619885"/>
            <a:ext cx="2469265" cy="738664"/>
          </a:xfrm>
          <a:prstGeom prst="rect">
            <a:avLst/>
          </a:prstGeom>
          <a:noFill/>
        </p:spPr>
        <p:txBody>
          <a:bodyPr wrap="square"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DE" sz="1400" b="0" i="0" u="none" strike="noStrike" kern="1200" cap="none" spc="0" normalizeH="0" baseline="0" noProof="0" dirty="0">
                <a:ln>
                  <a:noFill/>
                </a:ln>
                <a:solidFill>
                  <a:srgbClr val="FFFFFF"/>
                </a:solidFill>
                <a:effectLst/>
                <a:uLnTx/>
                <a:uFillTx/>
                <a:latin typeface="Avenir Next LT Pro Demi" panose="020B0704020202020204" pitchFamily="34" charset="0"/>
                <a:ea typeface="+mn-ea"/>
                <a:cs typeface="+mn-cs"/>
              </a:rPr>
              <a:t>Ph1b US in obese patients</a:t>
            </a:r>
            <a:br>
              <a:rPr kumimoji="0" lang="en-GB" sz="1400" b="0" i="0" u="none" strike="noStrike" kern="1200" cap="none" spc="0" normalizeH="0" baseline="0" noProof="0" dirty="0">
                <a:ln>
                  <a:noFill/>
                </a:ln>
                <a:solidFill>
                  <a:srgbClr val="FFFFFF"/>
                </a:solidFill>
                <a:effectLst/>
                <a:uLnTx/>
                <a:uFillTx/>
                <a:latin typeface="Avenir Next LT Pro Demi" panose="020B0704020202020204" pitchFamily="34" charset="0"/>
                <a:ea typeface="+mn-ea"/>
                <a:cs typeface="+mn-cs"/>
              </a:rPr>
            </a:br>
            <a:r>
              <a:rPr kumimoji="0" lang="en-DE" sz="1400" b="0" i="0" u="none" strike="noStrike" kern="1200" cap="none" spc="0" normalizeH="0" baseline="0" noProof="0" dirty="0">
                <a:ln>
                  <a:noFill/>
                </a:ln>
                <a:solidFill>
                  <a:srgbClr val="FFFFFF"/>
                </a:solidFill>
                <a:effectLst/>
                <a:uLnTx/>
                <a:uFillTx/>
                <a:latin typeface="Avenir Next LT Pro Demi" panose="020B0704020202020204" pitchFamily="34" charset="0"/>
                <a:ea typeface="+mn-ea"/>
                <a:cs typeface="+mn-cs"/>
              </a:rPr>
              <a:t> </a:t>
            </a:r>
            <a:r>
              <a:rPr kumimoji="0" lang="en-DE" sz="1400" b="1" i="0" u="none" strike="noStrike" kern="1200" cap="none" spc="0" normalizeH="0" baseline="0" noProof="0" dirty="0">
                <a:ln>
                  <a:noFill/>
                </a:ln>
                <a:solidFill>
                  <a:srgbClr val="FFFFFF"/>
                </a:solidFill>
                <a:effectLst/>
                <a:uLnTx/>
                <a:uFillTx/>
                <a:latin typeface="Avenir Next LT Pro" panose="020B0504020202020204" pitchFamily="34" charset="77"/>
                <a:ea typeface="+mn-ea"/>
                <a:cs typeface="+mn-cs"/>
              </a:rPr>
              <a:t>(BMI 30-45) </a:t>
            </a: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venir Next LT Pro" panose="020B0504020202020204" pitchFamily="34" charset="77"/>
                <a:ea typeface="+mn-ea"/>
                <a:cs typeface="+mn-cs"/>
              </a:rPr>
              <a:t>(AbbVie responsible)</a:t>
            </a:r>
            <a:endParaRPr kumimoji="0" lang="en-GB" sz="1400" b="0" i="0" u="none" strike="noStrike" kern="1200" cap="none" spc="0" normalizeH="0" baseline="0" noProof="0" dirty="0">
              <a:ln>
                <a:noFill/>
              </a:ln>
              <a:solidFill>
                <a:srgbClr val="FFFFFF"/>
              </a:solidFill>
              <a:effectLst/>
              <a:uLnTx/>
              <a:uFillTx/>
              <a:latin typeface="Avenir Next LT Pro" panose="020B0504020202020204" pitchFamily="34" charset="77"/>
              <a:ea typeface="+mn-ea"/>
              <a:cs typeface="+mn-cs"/>
            </a:endParaRPr>
          </a:p>
        </p:txBody>
      </p:sp>
      <p:sp>
        <p:nvSpPr>
          <p:cNvPr id="4" name="TextBox 3">
            <a:extLst>
              <a:ext uri="{FF2B5EF4-FFF2-40B4-BE49-F238E27FC236}">
                <a16:creationId xmlns:a16="http://schemas.microsoft.com/office/drawing/2014/main" id="{6B6CC191-9DA5-D41E-5DEF-6A98DA14F941}"/>
              </a:ext>
            </a:extLst>
          </p:cNvPr>
          <p:cNvSpPr txBox="1"/>
          <p:nvPr/>
        </p:nvSpPr>
        <p:spPr>
          <a:xfrm>
            <a:off x="708616" y="2419188"/>
            <a:ext cx="2390097" cy="430887"/>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a:t>
            </a:r>
            <a:r>
              <a:rPr kumimoji="0" lang="en-DK" sz="2800" b="1" i="0" u="none" strike="noStrike" kern="1200" cap="none" spc="50" normalizeH="0" baseline="0" noProof="0">
                <a:ln>
                  <a:noFill/>
                </a:ln>
                <a:solidFill>
                  <a:srgbClr val="FFFFFF"/>
                </a:solidFill>
                <a:effectLst/>
                <a:uLnTx/>
                <a:uFillTx/>
                <a:latin typeface="Avenir Next LT Pro"/>
                <a:ea typeface="+mn-ea"/>
                <a:cs typeface="+mn-cs"/>
              </a:rPr>
              <a:t>350m</a:t>
            </a:r>
          </a:p>
        </p:txBody>
      </p:sp>
      <p:sp>
        <p:nvSpPr>
          <p:cNvPr id="13" name="Rectangle 12">
            <a:extLst>
              <a:ext uri="{FF2B5EF4-FFF2-40B4-BE49-F238E27FC236}">
                <a16:creationId xmlns:a16="http://schemas.microsoft.com/office/drawing/2014/main" id="{9E5ED4EC-E0E2-3F1F-7C6A-6D62EF1B4E81}"/>
              </a:ext>
            </a:extLst>
          </p:cNvPr>
          <p:cNvSpPr/>
          <p:nvPr/>
        </p:nvSpPr>
        <p:spPr>
          <a:xfrm>
            <a:off x="6484412" y="892"/>
            <a:ext cx="5709176" cy="6857108"/>
          </a:xfrm>
          <a:prstGeom prst="rect">
            <a:avLst/>
          </a:prstGeom>
          <a:solidFill>
            <a:schemeClr val="tx1">
              <a:alpha val="50095"/>
            </a:schemeClr>
          </a:solidFill>
          <a:ln w="9525">
            <a:no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67565E1-C6AE-5504-0669-B25E31AB9CBB}"/>
              </a:ext>
            </a:extLst>
          </p:cNvPr>
          <p:cNvSpPr>
            <a:spLocks noGrp="1"/>
          </p:cNvSpPr>
          <p:nvPr>
            <p:ph type="title"/>
          </p:nvPr>
        </p:nvSpPr>
        <p:spPr>
          <a:xfrm>
            <a:off x="566180" y="553090"/>
            <a:ext cx="5714302" cy="720197"/>
          </a:xfrm>
        </p:spPr>
        <p:txBody>
          <a:bodyPr vert="horz"/>
          <a:lstStyle/>
          <a:p>
            <a:r>
              <a:rPr lang="en-DK">
                <a:solidFill>
                  <a:schemeClr val="bg1"/>
                </a:solidFill>
              </a:rPr>
              <a:t>Our landmark deal with </a:t>
            </a:r>
            <a:r>
              <a:rPr lang="en-US">
                <a:solidFill>
                  <a:schemeClr val="bg1"/>
                </a:solidFill>
              </a:rPr>
              <a:t>AbbVie</a:t>
            </a:r>
            <a:r>
              <a:rPr lang="en-DK">
                <a:solidFill>
                  <a:schemeClr val="bg1"/>
                </a:solidFill>
              </a:rPr>
              <a:t> sets the stage for future partnering</a:t>
            </a:r>
            <a:endParaRPr lang="en-DK">
              <a:solidFill>
                <a:schemeClr val="bg1"/>
              </a:solidFill>
              <a:latin typeface="Avenir Next LT Pro" panose="020B0504020202020204" pitchFamily="34" charset="77"/>
            </a:endParaRPr>
          </a:p>
        </p:txBody>
      </p:sp>
      <p:sp>
        <p:nvSpPr>
          <p:cNvPr id="10" name="Rectangle 9">
            <a:extLst>
              <a:ext uri="{FF2B5EF4-FFF2-40B4-BE49-F238E27FC236}">
                <a16:creationId xmlns:a16="http://schemas.microsoft.com/office/drawing/2014/main" id="{F06959C6-A439-3313-3E9C-95961A4D6275}"/>
              </a:ext>
            </a:extLst>
          </p:cNvPr>
          <p:cNvSpPr/>
          <p:nvPr/>
        </p:nvSpPr>
        <p:spPr>
          <a:xfrm>
            <a:off x="6441202" y="2850075"/>
            <a:ext cx="5760544" cy="4007034"/>
          </a:xfrm>
          <a:prstGeom prst="rect">
            <a:avLst/>
          </a:prstGeom>
          <a:gradFill flip="none" rotWithShape="1">
            <a:gsLst>
              <a:gs pos="2000">
                <a:schemeClr val="tx1"/>
              </a:gs>
              <a:gs pos="54000">
                <a:schemeClr val="accent4">
                  <a:alpha val="0"/>
                  <a:lumMod val="0"/>
                  <a:lumOff val="100000"/>
                </a:scheme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2" name="Graphic 11">
            <a:extLst>
              <a:ext uri="{FF2B5EF4-FFF2-40B4-BE49-F238E27FC236}">
                <a16:creationId xmlns:a16="http://schemas.microsoft.com/office/drawing/2014/main" id="{D41E7265-4800-9472-2AA9-B10DEB5D2AB5}"/>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808794" y="4039574"/>
            <a:ext cx="907084" cy="1044000"/>
          </a:xfrm>
          <a:prstGeom prst="rect">
            <a:avLst/>
          </a:prstGeom>
        </p:spPr>
      </p:pic>
      <p:pic>
        <p:nvPicPr>
          <p:cNvPr id="14" name="Graphic 13">
            <a:extLst>
              <a:ext uri="{FF2B5EF4-FFF2-40B4-BE49-F238E27FC236}">
                <a16:creationId xmlns:a16="http://schemas.microsoft.com/office/drawing/2014/main" id="{B357E40A-F312-F26A-DABD-7E35B9720519}"/>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7180233" y="4039574"/>
            <a:ext cx="907084" cy="1044000"/>
          </a:xfrm>
          <a:prstGeom prst="rect">
            <a:avLst/>
          </a:prstGeom>
        </p:spPr>
      </p:pic>
      <p:pic>
        <p:nvPicPr>
          <p:cNvPr id="15" name="Graphic 14">
            <a:extLst>
              <a:ext uri="{FF2B5EF4-FFF2-40B4-BE49-F238E27FC236}">
                <a16:creationId xmlns:a16="http://schemas.microsoft.com/office/drawing/2014/main" id="{5AFF5CB2-D435-069D-954A-1F7E1DBEDCBE}"/>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10437355" y="4036508"/>
            <a:ext cx="907084" cy="1044000"/>
          </a:xfrm>
          <a:prstGeom prst="rect">
            <a:avLst/>
          </a:prstGeom>
        </p:spPr>
      </p:pic>
      <p:cxnSp>
        <p:nvCxnSpPr>
          <p:cNvPr id="17" name="Straight Connector 16">
            <a:extLst>
              <a:ext uri="{FF2B5EF4-FFF2-40B4-BE49-F238E27FC236}">
                <a16:creationId xmlns:a16="http://schemas.microsoft.com/office/drawing/2014/main" id="{2CB84B51-2C23-BB97-CCB5-CAA6BE940476}"/>
              </a:ext>
            </a:extLst>
          </p:cNvPr>
          <p:cNvCxnSpPr>
            <a:cxnSpLocks/>
          </p:cNvCxnSpPr>
          <p:nvPr/>
        </p:nvCxnSpPr>
        <p:spPr>
          <a:xfrm>
            <a:off x="7180233" y="6130532"/>
            <a:ext cx="4242599" cy="0"/>
          </a:xfrm>
          <a:prstGeom prst="line">
            <a:avLst/>
          </a:prstGeom>
          <a:ln>
            <a:solidFill>
              <a:schemeClr val="bg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8" name="Rounded Rectangle 17">
            <a:extLst>
              <a:ext uri="{FF2B5EF4-FFF2-40B4-BE49-F238E27FC236}">
                <a16:creationId xmlns:a16="http://schemas.microsoft.com/office/drawing/2014/main" id="{2AAE3B2F-E5F8-8932-6EC7-0FF304744CBA}"/>
              </a:ext>
            </a:extLst>
          </p:cNvPr>
          <p:cNvSpPr/>
          <p:nvPr/>
        </p:nvSpPr>
        <p:spPr>
          <a:xfrm>
            <a:off x="8249071" y="5986532"/>
            <a:ext cx="2098053" cy="288000"/>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rPr>
              <a:t>Features of ABBV-295</a:t>
            </a:r>
            <a:endParaRPr kumimoji="0" lang="en-GB" sz="12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endParaRPr>
          </a:p>
        </p:txBody>
      </p:sp>
      <p:sp>
        <p:nvSpPr>
          <p:cNvPr id="24" name="Rectangle 23">
            <a:extLst>
              <a:ext uri="{FF2B5EF4-FFF2-40B4-BE49-F238E27FC236}">
                <a16:creationId xmlns:a16="http://schemas.microsoft.com/office/drawing/2014/main" id="{A9531D4E-B8E0-8DBB-A9D7-DC20EC4FB2DB}"/>
              </a:ext>
            </a:extLst>
          </p:cNvPr>
          <p:cNvSpPr/>
          <p:nvPr/>
        </p:nvSpPr>
        <p:spPr>
          <a:xfrm>
            <a:off x="6846533" y="5147941"/>
            <a:ext cx="1562125" cy="537415"/>
          </a:xfrm>
          <a:prstGeom prst="rect">
            <a:avLst/>
          </a:prstGeom>
          <a:solidFill>
            <a:srgbClr val="FFFFFF">
              <a:alpha val="0"/>
            </a:srgbClr>
          </a:solidFill>
          <a:ln w="12700" cap="flat" cmpd="sng" algn="ctr">
            <a:noFill/>
            <a:prstDash val="dash"/>
            <a:miter lim="800000"/>
          </a:ln>
          <a:effectLst/>
          <a:extLst>
            <a:ext uri="{91240B29-F687-4F45-9708-019B960494DF}">
              <a14:hiddenLine xmlns:a14="http://schemas.microsoft.com/office/drawing/2010/main" w="12700" cap="flat" cmpd="sng" algn="ctr">
                <a:solidFill>
                  <a:srgbClr val="FFFFFF"/>
                </a:solidFill>
                <a:prstDash val="dash"/>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Balanced </a:t>
            </a:r>
            <a:br>
              <a:rPr kumimoji="0" lang="en-US" sz="12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br>
            <a:r>
              <a:rPr kumimoji="0" lang="en-US" sz="12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receptor profile</a:t>
            </a:r>
          </a:p>
        </p:txBody>
      </p:sp>
      <p:sp>
        <p:nvSpPr>
          <p:cNvPr id="25" name="Rectangle 24">
            <a:extLst>
              <a:ext uri="{FF2B5EF4-FFF2-40B4-BE49-F238E27FC236}">
                <a16:creationId xmlns:a16="http://schemas.microsoft.com/office/drawing/2014/main" id="{8785C61D-A85A-C314-B20E-C0C50DB01380}"/>
              </a:ext>
            </a:extLst>
          </p:cNvPr>
          <p:cNvSpPr/>
          <p:nvPr/>
        </p:nvSpPr>
        <p:spPr>
          <a:xfrm>
            <a:off x="8475572" y="5147941"/>
            <a:ext cx="1562125" cy="537415"/>
          </a:xfrm>
          <a:prstGeom prst="rect">
            <a:avLst/>
          </a:prstGeom>
          <a:solidFill>
            <a:srgbClr val="FFFFFF">
              <a:alpha val="0"/>
            </a:srgbClr>
          </a:solidFill>
          <a:ln w="12700" cap="flat" cmpd="sng" algn="ctr">
            <a:noFill/>
            <a:prstDash val="dash"/>
            <a:miter lim="800000"/>
          </a:ln>
          <a:effectLst/>
          <a:extLst>
            <a:ext uri="{91240B29-F687-4F45-9708-019B960494DF}">
              <a14:hiddenLine xmlns:a14="http://schemas.microsoft.com/office/drawing/2010/main" w="12700" cap="flat" cmpd="sng" algn="ctr">
                <a:solidFill>
                  <a:srgbClr val="FFFFFF"/>
                </a:solidFill>
                <a:prstDash val="dash"/>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rPr>
              <a:t>Long </a:t>
            </a:r>
            <a:br>
              <a:rPr kumimoji="0" lang="en-DK" sz="1200" b="0"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rPr>
            </a:br>
            <a:r>
              <a:rPr kumimoji="0" lang="en-DK" sz="1200" b="0"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rPr>
              <a:t>h</a:t>
            </a:r>
            <a:r>
              <a:rPr kumimoji="0" lang="en-US" sz="1200" b="0"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rPr>
              <a:t>alf-life</a:t>
            </a:r>
          </a:p>
        </p:txBody>
      </p:sp>
      <p:sp>
        <p:nvSpPr>
          <p:cNvPr id="27" name="Rectangle 26">
            <a:extLst>
              <a:ext uri="{FF2B5EF4-FFF2-40B4-BE49-F238E27FC236}">
                <a16:creationId xmlns:a16="http://schemas.microsoft.com/office/drawing/2014/main" id="{B9E6D6A7-F3BF-47E8-71E5-B570FEC9C8A8}"/>
              </a:ext>
            </a:extLst>
          </p:cNvPr>
          <p:cNvSpPr/>
          <p:nvPr/>
        </p:nvSpPr>
        <p:spPr>
          <a:xfrm>
            <a:off x="10122723" y="5147941"/>
            <a:ext cx="1562125" cy="537415"/>
          </a:xfrm>
          <a:prstGeom prst="rect">
            <a:avLst/>
          </a:prstGeom>
          <a:solidFill>
            <a:srgbClr val="FFFFFF">
              <a:alpha val="0"/>
            </a:srgbClr>
          </a:solidFill>
          <a:ln w="12700" cap="flat" cmpd="sng" algn="ctr">
            <a:noFill/>
            <a:prstDash val="dash"/>
            <a:miter lim="800000"/>
          </a:ln>
          <a:effectLst/>
          <a:extLst>
            <a:ext uri="{91240B29-F687-4F45-9708-019B960494DF}">
              <a14:hiddenLine xmlns:a14="http://schemas.microsoft.com/office/drawing/2010/main" w="12700" cap="flat" cmpd="sng" algn="ctr">
                <a:solidFill>
                  <a:srgbClr val="FFFFFF"/>
                </a:solidFill>
                <a:prstDash val="dash"/>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Stability at neutral pH, potential for </a:t>
            </a:r>
            <a:br>
              <a:rPr kumimoji="0" lang="en-DK" sz="12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br>
            <a:r>
              <a:rPr kumimoji="0" lang="en-DK" sz="12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co-formulation</a:t>
            </a:r>
            <a:endParaRPr kumimoji="0" lang="en-GB" sz="12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sp>
        <p:nvSpPr>
          <p:cNvPr id="31" name="Rounded Rectangle 30">
            <a:extLst>
              <a:ext uri="{FF2B5EF4-FFF2-40B4-BE49-F238E27FC236}">
                <a16:creationId xmlns:a16="http://schemas.microsoft.com/office/drawing/2014/main" id="{F821D76C-79C0-9FA6-2207-7CFE56AB1C2F}"/>
              </a:ext>
            </a:extLst>
          </p:cNvPr>
          <p:cNvSpPr/>
          <p:nvPr/>
        </p:nvSpPr>
        <p:spPr>
          <a:xfrm>
            <a:off x="552753" y="149627"/>
            <a:ext cx="2683633" cy="288000"/>
          </a:xfrm>
          <a:prstGeom prst="roundRect">
            <a:avLst>
              <a:gd name="adj" fmla="val 50000"/>
            </a:avLst>
          </a:prstGeom>
          <a:solidFill>
            <a:schemeClr val="bg2">
              <a:alpha val="49757"/>
            </a:schemeClr>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LONG-ACTING AMYLIN ANALOG</a:t>
            </a:r>
          </a:p>
        </p:txBody>
      </p:sp>
      <p:sp>
        <p:nvSpPr>
          <p:cNvPr id="3" name="TextBox 2">
            <a:extLst>
              <a:ext uri="{FF2B5EF4-FFF2-40B4-BE49-F238E27FC236}">
                <a16:creationId xmlns:a16="http://schemas.microsoft.com/office/drawing/2014/main" id="{47B01AD7-1662-770A-F131-0BB53398C2B4}"/>
              </a:ext>
            </a:extLst>
          </p:cNvPr>
          <p:cNvSpPr txBox="1"/>
          <p:nvPr/>
        </p:nvSpPr>
        <p:spPr>
          <a:xfrm>
            <a:off x="11594381" y="6399575"/>
            <a:ext cx="276027" cy="153888"/>
          </a:xfrm>
          <a:prstGeom prst="rect">
            <a:avLst/>
          </a:prstGeom>
          <a:noFill/>
        </p:spPr>
        <p:txBody>
          <a:bodyPr wrap="square" lIns="0" tIns="0" rIns="0" bIns="0"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fld id="{27692F5A-FC14-4E83-B4CC-18F6C2D780A4}" type="slidenum">
              <a:rPr kumimoji="0" lang="en-US" sz="1000" b="0" i="0" u="none" strike="noStrike" kern="1200" cap="none" spc="40" normalizeH="0" baseline="0" noProof="0" smtClean="0">
                <a:ln>
                  <a:noFill/>
                </a:ln>
                <a:solidFill>
                  <a:srgbClr val="FFFFFF"/>
                </a:solidFill>
                <a:effectLst/>
                <a:uLnTx/>
                <a:uFillTx/>
                <a:latin typeface="Avenir Next LT Pro" panose="020B0504020202020204" pitchFamily="34" charset="77"/>
                <a:ea typeface="+mn-ea"/>
                <a:cs typeface="+mn-cs"/>
              </a:rPr>
              <a:pPr marL="0" marR="0" lvl="0" indent="0" algn="r" defTabSz="914446" rtl="0" eaLnBrk="1" fontAlgn="auto" latinLnBrk="0" hangingPunct="1">
                <a:lnSpc>
                  <a:spcPct val="100000"/>
                </a:lnSpc>
                <a:spcBef>
                  <a:spcPts val="0"/>
                </a:spcBef>
                <a:spcAft>
                  <a:spcPts val="0"/>
                </a:spcAft>
                <a:buClrTx/>
                <a:buSzTx/>
                <a:buFontTx/>
                <a:buNone/>
                <a:tabLst/>
                <a:defRPr/>
              </a:pPr>
              <a:t>16</a:t>
            </a:fld>
            <a:endParaRPr kumimoji="0" lang="en-US" sz="1000" b="0" i="0" u="none" strike="noStrike" kern="1200" cap="none" spc="40" normalizeH="0" baseline="0" noProof="0">
              <a:ln>
                <a:noFill/>
              </a:ln>
              <a:solidFill>
                <a:srgbClr val="FFFFFF"/>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1967224768"/>
      </p:ext>
    </p:extLst>
  </p:cSld>
  <p:clrMapOvr>
    <a:masterClrMapping/>
  </p:clrMapOvr>
  <p:transition spd="slow">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2A0C28-C45F-42C7-177F-7FD42D0A5262}"/>
              </a:ext>
            </a:extLst>
          </p:cNvPr>
          <p:cNvSpPr>
            <a:spLocks noGrp="1"/>
          </p:cNvSpPr>
          <p:nvPr>
            <p:ph type="title"/>
          </p:nvPr>
        </p:nvSpPr>
        <p:spPr>
          <a:xfrm>
            <a:off x="565459" y="552715"/>
            <a:ext cx="10017711" cy="720197"/>
          </a:xfrm>
        </p:spPr>
        <p:txBody>
          <a:bodyPr/>
          <a:lstStyle/>
          <a:p>
            <a:r>
              <a:rPr lang="en-US" sz="2600"/>
              <a:t>Advancement of first-in-class triple agonist BI</a:t>
            </a:r>
            <a:r>
              <a:rPr lang="en-DK" sz="2600"/>
              <a:t> </a:t>
            </a:r>
            <a:r>
              <a:rPr lang="en-US" sz="2600"/>
              <a:t>3034701 validates our strength in scientific innovation and partnering</a:t>
            </a:r>
            <a:endParaRPr lang="en-GB" sz="2600"/>
          </a:p>
        </p:txBody>
      </p:sp>
      <p:sp>
        <p:nvSpPr>
          <p:cNvPr id="7" name="Rectangle 6">
            <a:extLst>
              <a:ext uri="{FF2B5EF4-FFF2-40B4-BE49-F238E27FC236}">
                <a16:creationId xmlns:a16="http://schemas.microsoft.com/office/drawing/2014/main" id="{C3622F13-4594-79FF-D60D-B7B5A54F3D92}"/>
              </a:ext>
            </a:extLst>
          </p:cNvPr>
          <p:cNvSpPr/>
          <p:nvPr/>
        </p:nvSpPr>
        <p:spPr>
          <a:xfrm>
            <a:off x="565458" y="3149399"/>
            <a:ext cx="5406037" cy="1833569"/>
          </a:xfrm>
          <a:prstGeom prst="rect">
            <a:avLst/>
          </a:prstGeom>
          <a:solidFill>
            <a:schemeClr val="tx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lstStyle/>
          <a:p>
            <a:pPr marL="285750" marR="0" lvl="0" indent="-285750" algn="l" defTabSz="914446" rtl="0" eaLnBrk="1" fontAlgn="auto" latinLnBrk="0" hangingPunct="1">
              <a:lnSpc>
                <a:spcPct val="100000"/>
              </a:lnSpc>
              <a:spcBef>
                <a:spcPts val="0"/>
              </a:spcBef>
              <a:spcAft>
                <a:spcPts val="1200"/>
              </a:spcAft>
              <a:buClr>
                <a:srgbClr val="2878FF"/>
              </a:buClr>
              <a:buSzTx/>
              <a:buFont typeface="System Font Regular"/>
              <a:buChar char="+"/>
              <a:tabLst/>
              <a:defRPr/>
            </a:pPr>
            <a:endPar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a:p>
            <a:pPr marL="285750" marR="0" lvl="0" indent="-285750" algn="l" defTabSz="914446" rtl="0" eaLnBrk="1" fontAlgn="auto" latinLnBrk="0" hangingPunct="1">
              <a:lnSpc>
                <a:spcPct val="100000"/>
              </a:lnSpc>
              <a:spcBef>
                <a:spcPts val="0"/>
              </a:spcBef>
              <a:spcAft>
                <a:spcPts val="1200"/>
              </a:spcAft>
              <a:buClr>
                <a:srgbClr val="2878FF"/>
              </a:buClr>
              <a:buSzTx/>
              <a:buFont typeface="System Font Regular"/>
              <a:buChar char="+"/>
              <a:tabLst/>
              <a:defRPr/>
            </a:pPr>
            <a:r>
              <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Investigational</a:t>
            </a:r>
            <a:r>
              <a:rPr lang="en-DK" sz="1400">
                <a:solidFill>
                  <a:srgbClr val="FFFFFF"/>
                </a:solidFill>
                <a:latin typeface="Avenir Next LT Pro" panose="020B0504020202020204" pitchFamily="34" charset="0"/>
              </a:rPr>
              <a:t>, potential f</a:t>
            </a:r>
            <a:r>
              <a:rPr kumimoji="0" lang="en-US" sz="1400" b="0" i="0" u="none" strike="noStrike" kern="1200" cap="none" spc="0" normalizeH="0" baseline="0" noProof="0" err="1">
                <a:ln>
                  <a:noFill/>
                </a:ln>
                <a:solidFill>
                  <a:srgbClr val="FFFFFF"/>
                </a:solidFill>
                <a:effectLst/>
                <a:uLnTx/>
                <a:uFillTx/>
                <a:latin typeface="Avenir Next LT Pro" panose="020B0504020202020204" pitchFamily="34" charset="0"/>
                <a:ea typeface="+mn-ea"/>
                <a:cs typeface="+mn-cs"/>
              </a:rPr>
              <a:t>irst</a:t>
            </a:r>
            <a:r>
              <a:rPr kumimoji="0" lang="en-US"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in-class triple receptor agonist peptide</a:t>
            </a:r>
            <a:r>
              <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 </a:t>
            </a:r>
            <a:r>
              <a:rPr kumimoji="0" lang="en-US"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for obesity</a:t>
            </a:r>
            <a:endPar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a:p>
            <a:pPr marL="285750" lvl="0" indent="-285750">
              <a:spcAft>
                <a:spcPts val="1200"/>
              </a:spcAft>
              <a:buClr>
                <a:srgbClr val="2878FF"/>
              </a:buClr>
              <a:buFont typeface="System Font Regular"/>
              <a:buChar char="+"/>
              <a:defRPr/>
            </a:pPr>
            <a:r>
              <a:rPr kumimoji="0" lang="en-US"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Targets three receptors</a:t>
            </a:r>
            <a:r>
              <a:rPr lang="en-US" sz="1400">
                <a:solidFill>
                  <a:srgbClr val="FFFFFF"/>
                </a:solidFill>
                <a:latin typeface="Avenir Next LT Pro" panose="020B0504020202020204" pitchFamily="34" charset="0"/>
              </a:rPr>
              <a:t> GLP-1, GIP</a:t>
            </a:r>
            <a:r>
              <a:rPr lang="en-DK" sz="1400">
                <a:solidFill>
                  <a:srgbClr val="FFFFFF"/>
                </a:solidFill>
                <a:latin typeface="Avenir Next LT Pro" panose="020B0504020202020204" pitchFamily="34" charset="0"/>
              </a:rPr>
              <a:t> and</a:t>
            </a:r>
            <a:r>
              <a:rPr lang="en-US" sz="1400">
                <a:solidFill>
                  <a:srgbClr val="FFFFFF"/>
                </a:solidFill>
                <a:latin typeface="Avenir Next LT Pro" panose="020B0504020202020204" pitchFamily="34" charset="0"/>
              </a:rPr>
              <a:t> NPY2</a:t>
            </a:r>
            <a:r>
              <a:rPr kumimoji="0" lang="en-US"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 for enhanced efficacy</a:t>
            </a:r>
            <a:endPar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a:p>
            <a:pPr marL="285750" marR="0" lvl="0" indent="-285750" algn="ctr" defTabSz="914446" rtl="0" eaLnBrk="1" fontAlgn="auto" latinLnBrk="0" hangingPunct="1">
              <a:lnSpc>
                <a:spcPct val="100000"/>
              </a:lnSpc>
              <a:spcBef>
                <a:spcPts val="0"/>
              </a:spcBef>
              <a:spcAft>
                <a:spcPts val="1200"/>
              </a:spcAft>
              <a:buClr>
                <a:srgbClr val="2878FF"/>
              </a:buClr>
              <a:buSzTx/>
              <a:buFont typeface="System Font Regular"/>
              <a:buChar char="+"/>
              <a:tabLst/>
              <a:defRPr/>
            </a:pPr>
            <a:endPar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a:p>
            <a:pPr marL="285750" marR="0" lvl="0" indent="-285750" algn="ctr" defTabSz="914446" rtl="0" eaLnBrk="1" fontAlgn="auto" latinLnBrk="0" hangingPunct="1">
              <a:lnSpc>
                <a:spcPct val="100000"/>
              </a:lnSpc>
              <a:spcBef>
                <a:spcPts val="0"/>
              </a:spcBef>
              <a:spcAft>
                <a:spcPts val="1200"/>
              </a:spcAft>
              <a:buClr>
                <a:srgbClr val="2878FF"/>
              </a:buClr>
              <a:buSzTx/>
              <a:buFont typeface="System Font Regular"/>
              <a:buChar char="+"/>
              <a:tabLst/>
              <a:defRPr/>
            </a:pPr>
            <a:endPar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a:p>
            <a:pPr marL="285750" marR="0" lvl="0" indent="-285750" algn="ctr" defTabSz="914446" rtl="0" eaLnBrk="1" fontAlgn="auto" latinLnBrk="0" hangingPunct="1">
              <a:lnSpc>
                <a:spcPct val="100000"/>
              </a:lnSpc>
              <a:spcBef>
                <a:spcPts val="0"/>
              </a:spcBef>
              <a:spcAft>
                <a:spcPts val="1200"/>
              </a:spcAft>
              <a:buClr>
                <a:srgbClr val="2878FF"/>
              </a:buClr>
              <a:buSzTx/>
              <a:buFont typeface="System Font Regular"/>
              <a:buChar char="+"/>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sp>
        <p:nvSpPr>
          <p:cNvPr id="8" name="Rectangle 7">
            <a:extLst>
              <a:ext uri="{FF2B5EF4-FFF2-40B4-BE49-F238E27FC236}">
                <a16:creationId xmlns:a16="http://schemas.microsoft.com/office/drawing/2014/main" id="{89901E4B-7E68-C1D4-47A2-3F139EFBE19D}"/>
              </a:ext>
            </a:extLst>
          </p:cNvPr>
          <p:cNvSpPr/>
          <p:nvPr/>
        </p:nvSpPr>
        <p:spPr>
          <a:xfrm>
            <a:off x="6292337" y="3149399"/>
            <a:ext cx="5406037" cy="1833569"/>
          </a:xfrm>
          <a:prstGeom prst="rect">
            <a:avLst/>
          </a:prstGeom>
          <a:solidFill>
            <a:schemeClr val="tx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lstStyle/>
          <a:p>
            <a:pPr marL="285750" marR="0" lvl="0" indent="-285750" algn="l" defTabSz="1219261" rtl="0" eaLnBrk="1" fontAlgn="auto" latinLnBrk="0" hangingPunct="1">
              <a:lnSpc>
                <a:spcPct val="100000"/>
              </a:lnSpc>
              <a:spcBef>
                <a:spcPts val="0"/>
              </a:spcBef>
              <a:spcAft>
                <a:spcPts val="1200"/>
              </a:spcAft>
              <a:buClr>
                <a:srgbClr val="2878FF"/>
              </a:buClr>
              <a:buSzTx/>
              <a:buFont typeface="System Font Regular"/>
              <a:buChar char="+"/>
              <a:tabLst/>
              <a:defRPr/>
            </a:pPr>
            <a:endPar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a:p>
            <a:pPr marL="285750" marR="0" lvl="0" indent="-285750" algn="l" defTabSz="1219261" rtl="0" eaLnBrk="1" fontAlgn="auto" latinLnBrk="0" hangingPunct="1">
              <a:lnSpc>
                <a:spcPct val="100000"/>
              </a:lnSpc>
              <a:spcBef>
                <a:spcPts val="0"/>
              </a:spcBef>
              <a:spcAft>
                <a:spcPts val="1200"/>
              </a:spcAft>
              <a:buClr>
                <a:srgbClr val="2878FF"/>
              </a:buClr>
              <a:buSzTx/>
              <a:buFont typeface="System Font Regular"/>
              <a:buChar char="+"/>
              <a:tabLst/>
              <a:defRPr/>
            </a:pPr>
            <a:r>
              <a:rPr kumimoji="0" lang="en-US"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BI 3034701</a:t>
            </a:r>
            <a:r>
              <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 to enter </a:t>
            </a:r>
            <a:r>
              <a:rPr kumimoji="0" lang="en-US"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Phase 2 </a:t>
            </a:r>
            <a:r>
              <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in the middle of </a:t>
            </a:r>
            <a:r>
              <a:rPr kumimoji="0" lang="en-US"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2026</a:t>
            </a:r>
            <a:endPar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a:p>
            <a:pPr marL="285750" marR="0" lvl="0" indent="-285750" algn="l" defTabSz="1219261" rtl="0" eaLnBrk="1" fontAlgn="auto" latinLnBrk="0" hangingPunct="1">
              <a:lnSpc>
                <a:spcPct val="100000"/>
              </a:lnSpc>
              <a:spcBef>
                <a:spcPts val="0"/>
              </a:spcBef>
              <a:spcAft>
                <a:spcPts val="1200"/>
              </a:spcAft>
              <a:buClr>
                <a:srgbClr val="2878FF"/>
              </a:buClr>
              <a:buSzTx/>
              <a:buFont typeface="System Font Regular"/>
              <a:buChar char="+"/>
              <a:tabLst/>
              <a:defRPr/>
            </a:pPr>
            <a:r>
              <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Demonstrated </a:t>
            </a:r>
            <a:r>
              <a:rPr kumimoji="0" lang="en-US"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favorable safety and tolerability profile</a:t>
            </a:r>
            <a:endPar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a:p>
            <a:pPr marL="285750" marR="0" lvl="0" indent="-285750" algn="l" defTabSz="1219261" rtl="0" eaLnBrk="1" fontAlgn="auto" latinLnBrk="0" hangingPunct="1">
              <a:lnSpc>
                <a:spcPct val="100000"/>
              </a:lnSpc>
              <a:spcBef>
                <a:spcPts val="0"/>
              </a:spcBef>
              <a:spcAft>
                <a:spcPts val="1200"/>
              </a:spcAft>
              <a:buClr>
                <a:srgbClr val="2878FF"/>
              </a:buClr>
              <a:buSzTx/>
              <a:buFont typeface="System Font Regular"/>
              <a:buChar char="+"/>
              <a:tabLst/>
              <a:defRPr/>
            </a:pPr>
            <a:r>
              <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S</a:t>
            </a:r>
            <a:r>
              <a:rPr kumimoji="0" lang="en-US" sz="1400" b="0" i="0" u="none" strike="noStrike" kern="1200" cap="none" spc="0" normalizeH="0" baseline="0" noProof="0" err="1">
                <a:ln>
                  <a:noFill/>
                </a:ln>
                <a:solidFill>
                  <a:srgbClr val="FFFFFF"/>
                </a:solidFill>
                <a:effectLst/>
                <a:uLnTx/>
                <a:uFillTx/>
                <a:latin typeface="Avenir Next LT Pro" panose="020B0504020202020204" pitchFamily="34" charset="0"/>
                <a:ea typeface="+mn-ea"/>
                <a:cs typeface="+mn-cs"/>
              </a:rPr>
              <a:t>howed</a:t>
            </a:r>
            <a:r>
              <a:rPr kumimoji="0" lang="en-US"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 encouraging weight</a:t>
            </a:r>
            <a:r>
              <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 </a:t>
            </a:r>
            <a:r>
              <a:rPr kumimoji="0" lang="en-US"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loss</a:t>
            </a:r>
            <a:r>
              <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 </a:t>
            </a:r>
            <a:r>
              <a:rPr kumimoji="0" lang="en-US"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in healthy and overweight</a:t>
            </a:r>
            <a:r>
              <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obese</a:t>
            </a:r>
            <a:r>
              <a:rPr kumimoji="0" lang="en-US"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 participants</a:t>
            </a:r>
            <a:endPar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a:p>
            <a:pPr marL="285750" marR="0" lvl="0" indent="-285750" algn="l" defTabSz="1219261" rtl="0" eaLnBrk="1" fontAlgn="auto" latinLnBrk="0" hangingPunct="1">
              <a:lnSpc>
                <a:spcPct val="100000"/>
              </a:lnSpc>
              <a:spcBef>
                <a:spcPts val="0"/>
              </a:spcBef>
              <a:spcAft>
                <a:spcPts val="1200"/>
              </a:spcAft>
              <a:buClr>
                <a:srgbClr val="2878FF"/>
              </a:buClr>
              <a:buSzTx/>
              <a:buFont typeface="System Font Regular"/>
              <a:buChar char="+"/>
              <a:tabLst/>
              <a:defRPr/>
            </a:pPr>
            <a:endPar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a:p>
            <a:pPr marL="285750" marR="0" lvl="0" indent="-285750" algn="ctr" defTabSz="1219261" rtl="0" eaLnBrk="1" fontAlgn="auto" latinLnBrk="0" hangingPunct="1">
              <a:lnSpc>
                <a:spcPct val="100000"/>
              </a:lnSpc>
              <a:spcBef>
                <a:spcPts val="0"/>
              </a:spcBef>
              <a:spcAft>
                <a:spcPts val="1200"/>
              </a:spcAft>
              <a:buClr>
                <a:srgbClr val="2878FF"/>
              </a:buClr>
              <a:buSzTx/>
              <a:buFont typeface="System Font Regular"/>
              <a:buChar char="+"/>
              <a:tabLst/>
              <a:defRPr/>
            </a:pPr>
            <a:endPar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a:p>
            <a:pPr marL="285750" marR="0" lvl="0" indent="-285750" algn="ctr" defTabSz="1219261" rtl="0" eaLnBrk="1" fontAlgn="auto" latinLnBrk="0" hangingPunct="1">
              <a:lnSpc>
                <a:spcPct val="100000"/>
              </a:lnSpc>
              <a:spcBef>
                <a:spcPts val="0"/>
              </a:spcBef>
              <a:spcAft>
                <a:spcPts val="1200"/>
              </a:spcAft>
              <a:buClr>
                <a:srgbClr val="2878FF"/>
              </a:buClr>
              <a:buSzTx/>
              <a:buFont typeface="System Font Regular"/>
              <a:buChar char="+"/>
              <a:tabLst/>
              <a:defRPr/>
            </a:pPr>
            <a:endPar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a:p>
            <a:pPr marL="285750" marR="0" lvl="0" indent="-285750" algn="ctr" defTabSz="914446" rtl="0" eaLnBrk="1" fontAlgn="auto" latinLnBrk="0" hangingPunct="1">
              <a:lnSpc>
                <a:spcPct val="100000"/>
              </a:lnSpc>
              <a:spcBef>
                <a:spcPts val="0"/>
              </a:spcBef>
              <a:spcAft>
                <a:spcPts val="1200"/>
              </a:spcAft>
              <a:buClr>
                <a:srgbClr val="2878FF"/>
              </a:buClr>
              <a:buSzTx/>
              <a:buFont typeface="System Font Regular"/>
              <a:buChar char="+"/>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sp>
        <p:nvSpPr>
          <p:cNvPr id="9" name="Rectangle: Rounded Corners 8">
            <a:extLst>
              <a:ext uri="{FF2B5EF4-FFF2-40B4-BE49-F238E27FC236}">
                <a16:creationId xmlns:a16="http://schemas.microsoft.com/office/drawing/2014/main" id="{91181572-F084-A87C-3327-366242CC29DA}"/>
              </a:ext>
            </a:extLst>
          </p:cNvPr>
          <p:cNvSpPr/>
          <p:nvPr/>
        </p:nvSpPr>
        <p:spPr>
          <a:xfrm>
            <a:off x="1788998" y="2927146"/>
            <a:ext cx="2958958" cy="440938"/>
          </a:xfrm>
          <a:prstGeom prst="roundRect">
            <a:avLst>
              <a:gd name="adj" fmla="val 50000"/>
            </a:avLst>
          </a:prstGeom>
          <a:solidFill>
            <a:schemeClr val="tx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4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Scientific innovation</a:t>
            </a:r>
            <a:endParaRPr kumimoji="0" lang="en-GB" sz="14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sp>
        <p:nvSpPr>
          <p:cNvPr id="10" name="Rectangle: Rounded Corners 9">
            <a:extLst>
              <a:ext uri="{FF2B5EF4-FFF2-40B4-BE49-F238E27FC236}">
                <a16:creationId xmlns:a16="http://schemas.microsoft.com/office/drawing/2014/main" id="{1A5E354D-A73B-E643-620D-618B044400EC}"/>
              </a:ext>
            </a:extLst>
          </p:cNvPr>
          <p:cNvSpPr/>
          <p:nvPr/>
        </p:nvSpPr>
        <p:spPr>
          <a:xfrm>
            <a:off x="7515877" y="2927146"/>
            <a:ext cx="2958958" cy="440938"/>
          </a:xfrm>
          <a:prstGeom prst="roundRect">
            <a:avLst>
              <a:gd name="adj" fmla="val 50000"/>
            </a:avLst>
          </a:prstGeom>
          <a:solidFill>
            <a:schemeClr val="tx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4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Clinical progression</a:t>
            </a:r>
            <a:endParaRPr kumimoji="0" lang="en-GB" sz="14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sp>
        <p:nvSpPr>
          <p:cNvPr id="11" name="Rectangle: Rounded Corners 10">
            <a:extLst>
              <a:ext uri="{FF2B5EF4-FFF2-40B4-BE49-F238E27FC236}">
                <a16:creationId xmlns:a16="http://schemas.microsoft.com/office/drawing/2014/main" id="{ACDFEB5C-3C12-6D85-6355-35207A13F794}"/>
              </a:ext>
            </a:extLst>
          </p:cNvPr>
          <p:cNvSpPr/>
          <p:nvPr/>
        </p:nvSpPr>
        <p:spPr>
          <a:xfrm>
            <a:off x="565460" y="5527499"/>
            <a:ext cx="11132916" cy="585301"/>
          </a:xfrm>
          <a:prstGeom prst="roundRect">
            <a:avLst>
              <a:gd name="adj" fmla="val 50000"/>
            </a:avLst>
          </a:prstGeom>
          <a:solidFill>
            <a:schemeClr val="accent2">
              <a:alpha val="50391"/>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72000" tIns="144000" rIns="7200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venir Next LT Pro" panose="020B0504020202020204" pitchFamily="34" charset="0"/>
                <a:ea typeface="+mn-ea"/>
                <a:cs typeface="+mn-cs"/>
              </a:rPr>
              <a:t>BI 3034701</a:t>
            </a:r>
            <a:r>
              <a:rPr kumimoji="0" lang="en-DK" sz="1400" b="0" i="0" u="none" strike="noStrike" kern="1200" cap="none" spc="0" normalizeH="0" baseline="0" noProof="0">
                <a:ln>
                  <a:noFill/>
                </a:ln>
                <a:solidFill>
                  <a:schemeClr val="bg1"/>
                </a:solidFill>
                <a:effectLst/>
                <a:uLnTx/>
                <a:uFillTx/>
                <a:latin typeface="Avenir Next LT Pro" panose="020B0504020202020204" pitchFamily="34" charset="0"/>
                <a:ea typeface="+mn-ea"/>
                <a:cs typeface="+mn-cs"/>
              </a:rPr>
              <a:t>*</a:t>
            </a:r>
            <a:r>
              <a:rPr kumimoji="0" lang="en-US" sz="1400" b="0" i="0" u="none" strike="noStrike" kern="1200" cap="none" spc="0" normalizeH="0" baseline="0" noProof="0">
                <a:ln>
                  <a:noFill/>
                </a:ln>
                <a:solidFill>
                  <a:schemeClr val="bg1"/>
                </a:solidFill>
                <a:effectLst/>
                <a:uLnTx/>
                <a:uFillTx/>
                <a:latin typeface="Avenir Next LT Pro" panose="020B0504020202020204" pitchFamily="34" charset="0"/>
                <a:ea typeface="+mn-ea"/>
                <a:cs typeface="+mn-cs"/>
              </a:rPr>
              <a:t> </a:t>
            </a:r>
            <a:r>
              <a:rPr kumimoji="0" lang="en-DK" sz="1400" b="0" i="0" u="none" strike="noStrike" kern="1200" cap="none" spc="0" normalizeH="0" baseline="0" noProof="0">
                <a:ln>
                  <a:noFill/>
                </a:ln>
                <a:solidFill>
                  <a:schemeClr val="bg1"/>
                </a:solidFill>
                <a:effectLst/>
                <a:uLnTx/>
                <a:uFillTx/>
                <a:latin typeface="Avenir Next LT Pro" panose="020B0504020202020204" pitchFamily="34" charset="0"/>
                <a:ea typeface="+mn-ea"/>
                <a:cs typeface="+mn-cs"/>
              </a:rPr>
              <a:t>v</a:t>
            </a:r>
            <a:r>
              <a:rPr kumimoji="0" lang="en-US" sz="1400" b="0" i="0" u="none" strike="noStrike" kern="1200" cap="none" spc="0" normalizeH="0" baseline="0" noProof="0" err="1">
                <a:ln>
                  <a:noFill/>
                </a:ln>
                <a:solidFill>
                  <a:schemeClr val="bg1"/>
                </a:solidFill>
                <a:effectLst/>
                <a:uLnTx/>
                <a:uFillTx/>
                <a:latin typeface="Avenir Next LT Pro" panose="020B0504020202020204" pitchFamily="34" charset="0"/>
                <a:ea typeface="+mn-ea"/>
                <a:cs typeface="+mn-cs"/>
              </a:rPr>
              <a:t>alidates</a:t>
            </a:r>
            <a:r>
              <a:rPr kumimoji="0" lang="en-US" sz="1400" b="0" i="0" u="none" strike="noStrike" kern="1200" cap="none" spc="0" normalizeH="0" baseline="0" noProof="0">
                <a:ln>
                  <a:noFill/>
                </a:ln>
                <a:solidFill>
                  <a:schemeClr val="bg1"/>
                </a:solidFill>
                <a:effectLst/>
                <a:uLnTx/>
                <a:uFillTx/>
                <a:latin typeface="Avenir Next LT Pro" panose="020B0504020202020204" pitchFamily="34" charset="0"/>
                <a:ea typeface="+mn-ea"/>
                <a:cs typeface="+mn-cs"/>
              </a:rPr>
              <a:t> Gubra’s </a:t>
            </a:r>
            <a:r>
              <a:rPr kumimoji="0" lang="en-US" sz="1400" b="1" u="none" strike="noStrike" kern="1200" cap="none" spc="0" normalizeH="0" baseline="0" noProof="0">
                <a:ln>
                  <a:noFill/>
                </a:ln>
                <a:solidFill>
                  <a:schemeClr val="bg1"/>
                </a:solidFill>
                <a:effectLst/>
                <a:uLnTx/>
                <a:uFillTx/>
                <a:latin typeface="Avenir Next LT Pro Demi" panose="020B0504020202020204" pitchFamily="34" charset="77"/>
              </a:rPr>
              <a:t>deep peptide expertise</a:t>
            </a:r>
            <a:r>
              <a:rPr kumimoji="0" lang="en-DK" sz="1400" b="1" u="none" strike="noStrike" kern="1200" cap="none" spc="0" normalizeH="0" baseline="0" noProof="0">
                <a:ln>
                  <a:noFill/>
                </a:ln>
                <a:solidFill>
                  <a:schemeClr val="bg1"/>
                </a:solidFill>
                <a:effectLst/>
                <a:uLnTx/>
                <a:uFillTx/>
                <a:latin typeface="Avenir Next LT Pro Demi" panose="020B0504020202020204" pitchFamily="34" charset="77"/>
              </a:rPr>
              <a:t> </a:t>
            </a:r>
            <a:r>
              <a:rPr kumimoji="0" lang="en-DK" sz="1400" b="0" i="0" u="none" strike="noStrike" kern="1200" cap="none" spc="0" normalizeH="0" baseline="0" noProof="0">
                <a:ln>
                  <a:noFill/>
                </a:ln>
                <a:solidFill>
                  <a:schemeClr val="bg1"/>
                </a:solidFill>
                <a:effectLst/>
                <a:uLnTx/>
                <a:uFillTx/>
                <a:latin typeface="Avenir Next LT Pro" panose="020B0504020202020204" pitchFamily="34" charset="0"/>
                <a:ea typeface="+mn-ea"/>
                <a:cs typeface="+mn-cs"/>
              </a:rPr>
              <a:t>and </a:t>
            </a:r>
            <a:r>
              <a:rPr kumimoji="0" lang="en-DK" sz="1400" b="1" u="none" strike="noStrike" kern="1200" cap="none" spc="0" normalizeH="0" baseline="0" noProof="0">
                <a:ln>
                  <a:noFill/>
                </a:ln>
                <a:solidFill>
                  <a:schemeClr val="bg1"/>
                </a:solidFill>
                <a:effectLst/>
                <a:uLnTx/>
                <a:uFillTx/>
                <a:latin typeface="Avenir Next LT Pro Demi" panose="020B0504020202020204" pitchFamily="34" charset="77"/>
              </a:rPr>
              <a:t>strong partnering capabilities</a:t>
            </a:r>
            <a:endParaRPr kumimoji="0" lang="en-US" sz="1400" b="1" u="none" strike="noStrike" kern="1200" cap="none" spc="0" normalizeH="0" baseline="0" noProof="0">
              <a:ln>
                <a:noFill/>
              </a:ln>
              <a:solidFill>
                <a:schemeClr val="bg1"/>
              </a:solidFill>
              <a:effectLst/>
              <a:uLnTx/>
              <a:uFillTx/>
              <a:latin typeface="Avenir Next LT Pro Demi" panose="020B0504020202020204" pitchFamily="34" charset="77"/>
            </a:endParaRPr>
          </a:p>
        </p:txBody>
      </p:sp>
      <p:sp>
        <p:nvSpPr>
          <p:cNvPr id="18" name="Oval 17">
            <a:extLst>
              <a:ext uri="{FF2B5EF4-FFF2-40B4-BE49-F238E27FC236}">
                <a16:creationId xmlns:a16="http://schemas.microsoft.com/office/drawing/2014/main" id="{D31C988C-4A7F-E44B-01AD-5FD40128FF11}"/>
              </a:ext>
            </a:extLst>
          </p:cNvPr>
          <p:cNvSpPr/>
          <p:nvPr/>
        </p:nvSpPr>
        <p:spPr>
          <a:xfrm>
            <a:off x="3029941" y="5204635"/>
            <a:ext cx="477072" cy="477072"/>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C36537BF-9C6C-64A0-25ED-935E16AE58F9}"/>
              </a:ext>
            </a:extLst>
          </p:cNvPr>
          <p:cNvSpPr/>
          <p:nvPr/>
        </p:nvSpPr>
        <p:spPr>
          <a:xfrm>
            <a:off x="4840611" y="2170687"/>
            <a:ext cx="5360488" cy="333663"/>
          </a:xfrm>
          <a:prstGeom prst="rect">
            <a:avLst/>
          </a:prstGeom>
          <a:solidFill>
            <a:schemeClr val="accent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F5F88DE3-E7D1-5C59-E26D-124AA0DB7CCF}"/>
              </a:ext>
            </a:extLst>
          </p:cNvPr>
          <p:cNvSpPr/>
          <p:nvPr/>
        </p:nvSpPr>
        <p:spPr>
          <a:xfrm>
            <a:off x="8581022" y="1682494"/>
            <a:ext cx="1166639" cy="3450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PHASE 1</a:t>
            </a:r>
            <a:endParaRPr kumimoji="0" lang="en-GB" sz="12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endParaRPr>
          </a:p>
        </p:txBody>
      </p:sp>
      <p:sp>
        <p:nvSpPr>
          <p:cNvPr id="25" name="Rectangle 24">
            <a:extLst>
              <a:ext uri="{FF2B5EF4-FFF2-40B4-BE49-F238E27FC236}">
                <a16:creationId xmlns:a16="http://schemas.microsoft.com/office/drawing/2014/main" id="{057E8170-687B-50BC-C164-1CA5D09A0336}"/>
              </a:ext>
            </a:extLst>
          </p:cNvPr>
          <p:cNvSpPr/>
          <p:nvPr/>
        </p:nvSpPr>
        <p:spPr>
          <a:xfrm>
            <a:off x="6546886" y="1682494"/>
            <a:ext cx="1709425" cy="3450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PRE-CLINICAL</a:t>
            </a:r>
            <a:endParaRPr kumimoji="0" lang="en-GB" sz="12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endParaRPr>
          </a:p>
        </p:txBody>
      </p:sp>
      <p:sp>
        <p:nvSpPr>
          <p:cNvPr id="26" name="Rectangle 25">
            <a:extLst>
              <a:ext uri="{FF2B5EF4-FFF2-40B4-BE49-F238E27FC236}">
                <a16:creationId xmlns:a16="http://schemas.microsoft.com/office/drawing/2014/main" id="{F455F5DF-09D3-48A5-AFEF-8CD1B6D07B19}"/>
              </a:ext>
            </a:extLst>
          </p:cNvPr>
          <p:cNvSpPr/>
          <p:nvPr/>
        </p:nvSpPr>
        <p:spPr>
          <a:xfrm>
            <a:off x="4675105" y="1682494"/>
            <a:ext cx="1709425" cy="3450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DRUG DISCOVERY</a:t>
            </a:r>
            <a:endParaRPr kumimoji="0" lang="en-GB" sz="12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endParaRPr>
          </a:p>
        </p:txBody>
      </p:sp>
      <p:sp>
        <p:nvSpPr>
          <p:cNvPr id="27" name="Rectangle 26">
            <a:extLst>
              <a:ext uri="{FF2B5EF4-FFF2-40B4-BE49-F238E27FC236}">
                <a16:creationId xmlns:a16="http://schemas.microsoft.com/office/drawing/2014/main" id="{9D24B622-D59A-72AE-7831-1B941CC89387}"/>
              </a:ext>
            </a:extLst>
          </p:cNvPr>
          <p:cNvSpPr/>
          <p:nvPr/>
        </p:nvSpPr>
        <p:spPr>
          <a:xfrm>
            <a:off x="2979566" y="1682494"/>
            <a:ext cx="1709425" cy="3450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PARTNER</a:t>
            </a:r>
            <a:endParaRPr kumimoji="0" lang="en-GB" sz="12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endParaRPr>
          </a:p>
        </p:txBody>
      </p:sp>
      <p:sp>
        <p:nvSpPr>
          <p:cNvPr id="28" name="Rectangle 27">
            <a:extLst>
              <a:ext uri="{FF2B5EF4-FFF2-40B4-BE49-F238E27FC236}">
                <a16:creationId xmlns:a16="http://schemas.microsoft.com/office/drawing/2014/main" id="{36BAF518-BE65-8A97-E192-A0E3CAB0E6DE}"/>
              </a:ext>
            </a:extLst>
          </p:cNvPr>
          <p:cNvSpPr/>
          <p:nvPr/>
        </p:nvSpPr>
        <p:spPr>
          <a:xfrm>
            <a:off x="1618782" y="1682494"/>
            <a:ext cx="1709425" cy="3450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DISEASE AREA</a:t>
            </a:r>
            <a:endParaRPr kumimoji="0" lang="en-GB" sz="12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endParaRPr>
          </a:p>
        </p:txBody>
      </p:sp>
      <p:sp>
        <p:nvSpPr>
          <p:cNvPr id="29" name="Rectangle 28">
            <a:extLst>
              <a:ext uri="{FF2B5EF4-FFF2-40B4-BE49-F238E27FC236}">
                <a16:creationId xmlns:a16="http://schemas.microsoft.com/office/drawing/2014/main" id="{EF4D9709-B188-F615-2085-877359D40763}"/>
              </a:ext>
            </a:extLst>
          </p:cNvPr>
          <p:cNvSpPr/>
          <p:nvPr/>
        </p:nvSpPr>
        <p:spPr>
          <a:xfrm>
            <a:off x="135267" y="1682494"/>
            <a:ext cx="1709425" cy="3450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PROJECT</a:t>
            </a:r>
            <a:endParaRPr kumimoji="0" lang="en-GB" sz="12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endParaRPr>
          </a:p>
        </p:txBody>
      </p:sp>
      <p:sp>
        <p:nvSpPr>
          <p:cNvPr id="30" name="Rectangle 29">
            <a:extLst>
              <a:ext uri="{FF2B5EF4-FFF2-40B4-BE49-F238E27FC236}">
                <a16:creationId xmlns:a16="http://schemas.microsoft.com/office/drawing/2014/main" id="{A4D47AE7-B1A3-CBA5-9FA4-53F2E149CD22}"/>
              </a:ext>
            </a:extLst>
          </p:cNvPr>
          <p:cNvSpPr/>
          <p:nvPr/>
        </p:nvSpPr>
        <p:spPr>
          <a:xfrm>
            <a:off x="565458" y="2148514"/>
            <a:ext cx="1709425" cy="3450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Triple agonist</a:t>
            </a:r>
            <a:endParaRPr kumimoji="0" lang="en-GB" sz="12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endParaRPr>
          </a:p>
        </p:txBody>
      </p:sp>
      <p:sp>
        <p:nvSpPr>
          <p:cNvPr id="31" name="Rectangle 30">
            <a:extLst>
              <a:ext uri="{FF2B5EF4-FFF2-40B4-BE49-F238E27FC236}">
                <a16:creationId xmlns:a16="http://schemas.microsoft.com/office/drawing/2014/main" id="{16A9F053-8B7C-1211-87B1-48579CDCE739}"/>
              </a:ext>
            </a:extLst>
          </p:cNvPr>
          <p:cNvSpPr/>
          <p:nvPr/>
        </p:nvSpPr>
        <p:spPr>
          <a:xfrm>
            <a:off x="1878611" y="2148514"/>
            <a:ext cx="1709425" cy="3450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Obesity</a:t>
            </a:r>
            <a:endParaRPr kumimoji="0" lang="en-GB" sz="12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endParaRPr>
          </a:p>
        </p:txBody>
      </p:sp>
      <p:sp>
        <p:nvSpPr>
          <p:cNvPr id="32" name="Rectangle 31">
            <a:extLst>
              <a:ext uri="{FF2B5EF4-FFF2-40B4-BE49-F238E27FC236}">
                <a16:creationId xmlns:a16="http://schemas.microsoft.com/office/drawing/2014/main" id="{94FCC970-8E1F-D01D-3A97-AA396A718BE0}"/>
              </a:ext>
            </a:extLst>
          </p:cNvPr>
          <p:cNvSpPr/>
          <p:nvPr/>
        </p:nvSpPr>
        <p:spPr>
          <a:xfrm>
            <a:off x="3410172" y="2145638"/>
            <a:ext cx="1430439" cy="3450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Boehringer </a:t>
            </a:r>
            <a:br>
              <a:rPr kumimoji="0" lang="en-DK" sz="12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br>
            <a:r>
              <a:rPr kumimoji="0" lang="en-DK" sz="12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Ingelheim</a:t>
            </a:r>
            <a:endParaRPr kumimoji="0" lang="en-GB" sz="12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endParaRPr>
          </a:p>
        </p:txBody>
      </p:sp>
      <p:cxnSp>
        <p:nvCxnSpPr>
          <p:cNvPr id="34" name="Straight Connector 33">
            <a:extLst>
              <a:ext uri="{FF2B5EF4-FFF2-40B4-BE49-F238E27FC236}">
                <a16:creationId xmlns:a16="http://schemas.microsoft.com/office/drawing/2014/main" id="{95B09CA3-47E7-4B8C-DA48-C570F59732A4}"/>
              </a:ext>
            </a:extLst>
          </p:cNvPr>
          <p:cNvCxnSpPr>
            <a:cxnSpLocks/>
          </p:cNvCxnSpPr>
          <p:nvPr/>
        </p:nvCxnSpPr>
        <p:spPr>
          <a:xfrm>
            <a:off x="647139" y="2071898"/>
            <a:ext cx="1097749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Freeform 14">
            <a:extLst>
              <a:ext uri="{FF2B5EF4-FFF2-40B4-BE49-F238E27FC236}">
                <a16:creationId xmlns:a16="http://schemas.microsoft.com/office/drawing/2014/main" id="{671B01A2-22E3-B40A-FF95-EE0BD8CD0FCC}"/>
              </a:ext>
            </a:extLst>
          </p:cNvPr>
          <p:cNvSpPr/>
          <p:nvPr/>
        </p:nvSpPr>
        <p:spPr>
          <a:xfrm>
            <a:off x="10201099" y="2170688"/>
            <a:ext cx="1451591" cy="324000"/>
          </a:xfrm>
          <a:custGeom>
            <a:avLst/>
            <a:gdLst>
              <a:gd name="connsiteX0" fmla="*/ 0 w 1255616"/>
              <a:gd name="connsiteY0" fmla="*/ 0 h 324000"/>
              <a:gd name="connsiteX1" fmla="*/ 915374 w 1255616"/>
              <a:gd name="connsiteY1" fmla="*/ 0 h 324000"/>
              <a:gd name="connsiteX2" fmla="*/ 937748 w 1255616"/>
              <a:gd name="connsiteY2" fmla="*/ 0 h 324000"/>
              <a:gd name="connsiteX3" fmla="*/ 1085495 w 1255616"/>
              <a:gd name="connsiteY3" fmla="*/ 0 h 324000"/>
              <a:gd name="connsiteX4" fmla="*/ 1255616 w 1255616"/>
              <a:gd name="connsiteY4" fmla="*/ 162000 h 324000"/>
              <a:gd name="connsiteX5" fmla="*/ 1085495 w 1255616"/>
              <a:gd name="connsiteY5" fmla="*/ 324000 h 324000"/>
              <a:gd name="connsiteX6" fmla="*/ 937748 w 1255616"/>
              <a:gd name="connsiteY6" fmla="*/ 324000 h 324000"/>
              <a:gd name="connsiteX7" fmla="*/ 915374 w 1255616"/>
              <a:gd name="connsiteY7" fmla="*/ 324000 h 324000"/>
              <a:gd name="connsiteX8" fmla="*/ 0 w 1255616"/>
              <a:gd name="connsiteY8" fmla="*/ 324000 h 3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616" h="324000">
                <a:moveTo>
                  <a:pt x="0" y="0"/>
                </a:moveTo>
                <a:lnTo>
                  <a:pt x="915374" y="0"/>
                </a:lnTo>
                <a:lnTo>
                  <a:pt x="937748" y="0"/>
                </a:lnTo>
                <a:lnTo>
                  <a:pt x="1085495" y="0"/>
                </a:lnTo>
                <a:cubicBezTo>
                  <a:pt x="1179450" y="0"/>
                  <a:pt x="1255616" y="72530"/>
                  <a:pt x="1255616" y="162000"/>
                </a:cubicBezTo>
                <a:cubicBezTo>
                  <a:pt x="1255616" y="251470"/>
                  <a:pt x="1179450" y="324000"/>
                  <a:pt x="1085495" y="324000"/>
                </a:cubicBezTo>
                <a:lnTo>
                  <a:pt x="937748" y="324000"/>
                </a:lnTo>
                <a:lnTo>
                  <a:pt x="915374" y="324000"/>
                </a:lnTo>
                <a:lnTo>
                  <a:pt x="0" y="324000"/>
                </a:lnTo>
                <a:close/>
              </a:path>
            </a:pathLst>
          </a:custGeom>
          <a:solidFill>
            <a:schemeClr val="accent1">
              <a:alpha val="29876"/>
            </a:schemeClr>
          </a:solidFill>
          <a:ln w="6350">
            <a:solidFill>
              <a:schemeClr val="accent1"/>
            </a:solidFill>
            <a:prstDash val="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E569C8F4-26B6-FC95-1364-F1E1704E9BB1}"/>
              </a:ext>
            </a:extLst>
          </p:cNvPr>
          <p:cNvSpPr/>
          <p:nvPr/>
        </p:nvSpPr>
        <p:spPr>
          <a:xfrm>
            <a:off x="10201100" y="1682494"/>
            <a:ext cx="1166639" cy="3450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PHASE 2</a:t>
            </a:r>
            <a:endParaRPr kumimoji="0" lang="en-GB" sz="12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endParaRPr>
          </a:p>
        </p:txBody>
      </p:sp>
      <p:sp>
        <p:nvSpPr>
          <p:cNvPr id="4" name="Rounded Rectangle 42">
            <a:extLst>
              <a:ext uri="{FF2B5EF4-FFF2-40B4-BE49-F238E27FC236}">
                <a16:creationId xmlns:a16="http://schemas.microsoft.com/office/drawing/2014/main" id="{F81A0737-E060-725F-FE1E-F098535A23A3}"/>
              </a:ext>
            </a:extLst>
          </p:cNvPr>
          <p:cNvSpPr/>
          <p:nvPr/>
        </p:nvSpPr>
        <p:spPr>
          <a:xfrm>
            <a:off x="566180" y="142571"/>
            <a:ext cx="1532558" cy="288000"/>
          </a:xfrm>
          <a:prstGeom prst="roundRect">
            <a:avLst>
              <a:gd name="adj" fmla="val 50000"/>
            </a:avLst>
          </a:prstGeom>
          <a:solidFill>
            <a:schemeClr val="accent2">
              <a:alpha val="49757"/>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GB" sz="1200" b="1">
                <a:solidFill>
                  <a:schemeClr val="bg1"/>
                </a:solidFill>
                <a:latin typeface="Avenir Next LT Pro Demi" panose="020B0504020202020204" pitchFamily="34" charset="77"/>
              </a:rPr>
              <a:t>TRIPLE AGONIST</a:t>
            </a:r>
          </a:p>
        </p:txBody>
      </p:sp>
      <p:sp>
        <p:nvSpPr>
          <p:cNvPr id="5" name="Footer Placeholder 438">
            <a:extLst>
              <a:ext uri="{FF2B5EF4-FFF2-40B4-BE49-F238E27FC236}">
                <a16:creationId xmlns:a16="http://schemas.microsoft.com/office/drawing/2014/main" id="{EF8CF786-B847-2A96-6B78-EF04A29BDDEE}"/>
              </a:ext>
            </a:extLst>
          </p:cNvPr>
          <p:cNvSpPr txBox="1">
            <a:spLocks/>
          </p:cNvSpPr>
          <p:nvPr/>
        </p:nvSpPr>
        <p:spPr>
          <a:xfrm>
            <a:off x="509532" y="6378372"/>
            <a:ext cx="11188842" cy="153888"/>
          </a:xfrm>
          <a:prstGeom prst="rect">
            <a:avLst/>
          </a:prstGeom>
        </p:spPr>
        <p:txBody>
          <a:bodyPr vert="horz" wrap="square" lIns="0" tIns="0" rIns="0" bIns="0" rtlCol="0" anchor="t">
            <a:spAutoFit/>
          </a:bodyPr>
          <a:lstStyle>
            <a:defPPr>
              <a:defRPr lang="sv-SE"/>
            </a:defPPr>
            <a:lvl1pPr marL="0" algn="l" defTabSz="914400" rtl="0" eaLnBrk="1" latinLnBrk="0" hangingPunct="1">
              <a:defRPr sz="1000" kern="1200">
                <a:solidFill>
                  <a:schemeClr val="tx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2878FF">
                    <a:lumMod val="60000"/>
                    <a:lumOff val="40000"/>
                  </a:srgbClr>
                </a:solidFill>
                <a:latin typeface="Avenir Next LT Pro"/>
              </a:rPr>
              <a:t>Note</a:t>
            </a:r>
            <a:r>
              <a:rPr lang="en-DK">
                <a:solidFill>
                  <a:srgbClr val="2878FF">
                    <a:lumMod val="60000"/>
                    <a:lumOff val="40000"/>
                  </a:srgbClr>
                </a:solidFill>
                <a:latin typeface="Avenir Next LT Pro"/>
              </a:rPr>
              <a:t>s</a:t>
            </a:r>
            <a:r>
              <a:rPr lang="en-US">
                <a:solidFill>
                  <a:srgbClr val="2878FF">
                    <a:lumMod val="60000"/>
                    <a:lumOff val="40000"/>
                  </a:srgbClr>
                </a:solidFill>
                <a:latin typeface="Avenir Next LT Pro"/>
              </a:rPr>
              <a:t>:</a:t>
            </a:r>
            <a:r>
              <a:rPr lang="en-DK">
                <a:solidFill>
                  <a:srgbClr val="2878FF">
                    <a:lumMod val="60000"/>
                    <a:lumOff val="40000"/>
                  </a:srgbClr>
                </a:solidFill>
                <a:latin typeface="Avenir Next LT Pro"/>
              </a:rPr>
              <a:t> *</a:t>
            </a:r>
            <a:r>
              <a:rPr lang="en-US">
                <a:solidFill>
                  <a:srgbClr val="2878FF">
                    <a:lumMod val="60000"/>
                    <a:lumOff val="40000"/>
                  </a:srgbClr>
                </a:solidFill>
                <a:latin typeface="Avenir Next LT Pro"/>
              </a:rPr>
              <a:t>BI 3034701 was developed </a:t>
            </a:r>
            <a:r>
              <a:rPr lang="en-DK">
                <a:solidFill>
                  <a:srgbClr val="2878FF">
                    <a:lumMod val="60000"/>
                    <a:lumOff val="40000"/>
                  </a:srgbClr>
                </a:solidFill>
                <a:latin typeface="Avenir Next LT Pro"/>
              </a:rPr>
              <a:t>in</a:t>
            </a:r>
            <a:r>
              <a:rPr lang="en-US">
                <a:solidFill>
                  <a:srgbClr val="2878FF">
                    <a:lumMod val="60000"/>
                    <a:lumOff val="40000"/>
                  </a:srgbClr>
                </a:solidFill>
                <a:latin typeface="Avenir Next LT Pro"/>
              </a:rPr>
              <a:t> cooperation with Boehringer Ingelheim</a:t>
            </a:r>
            <a:r>
              <a:rPr lang="en-DK">
                <a:solidFill>
                  <a:srgbClr val="2878FF">
                    <a:lumMod val="60000"/>
                    <a:lumOff val="40000"/>
                  </a:srgbClr>
                </a:solidFill>
                <a:latin typeface="Avenir Next LT Pro"/>
              </a:rPr>
              <a:t>. </a:t>
            </a:r>
            <a:r>
              <a:rPr lang="en-US">
                <a:solidFill>
                  <a:srgbClr val="2878FF">
                    <a:lumMod val="60000"/>
                    <a:lumOff val="40000"/>
                  </a:srgbClr>
                </a:solidFill>
                <a:latin typeface="Avenir Next LT Pro"/>
              </a:rPr>
              <a:t>Boehringer Ingelheim is solely responsible for further development and global commercialization of BI 3034701</a:t>
            </a:r>
            <a:endParaRPr lang="sv-SE">
              <a:solidFill>
                <a:srgbClr val="2878FF">
                  <a:lumMod val="60000"/>
                  <a:lumOff val="40000"/>
                </a:srgbClr>
              </a:solidFill>
              <a:latin typeface="Avenir Next LT Pro"/>
            </a:endParaRPr>
          </a:p>
        </p:txBody>
      </p:sp>
      <p:sp>
        <p:nvSpPr>
          <p:cNvPr id="21" name="Oval 20">
            <a:extLst>
              <a:ext uri="{FF2B5EF4-FFF2-40B4-BE49-F238E27FC236}">
                <a16:creationId xmlns:a16="http://schemas.microsoft.com/office/drawing/2014/main" id="{62B01730-DD7A-4C5E-9209-2C7CA9EBC29A}"/>
              </a:ext>
            </a:extLst>
          </p:cNvPr>
          <p:cNvSpPr/>
          <p:nvPr/>
        </p:nvSpPr>
        <p:spPr>
          <a:xfrm>
            <a:off x="8828858" y="5204635"/>
            <a:ext cx="477072" cy="477072"/>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6" name="Straight Arrow Connector 5">
            <a:extLst>
              <a:ext uri="{FF2B5EF4-FFF2-40B4-BE49-F238E27FC236}">
                <a16:creationId xmlns:a16="http://schemas.microsoft.com/office/drawing/2014/main" id="{0B151CE2-A674-CF14-FCC9-78EC565534F3}"/>
              </a:ext>
            </a:extLst>
          </p:cNvPr>
          <p:cNvCxnSpPr>
            <a:cxnSpLocks/>
          </p:cNvCxnSpPr>
          <p:nvPr/>
        </p:nvCxnSpPr>
        <p:spPr>
          <a:xfrm>
            <a:off x="3271316" y="5450181"/>
            <a:ext cx="0" cy="107035"/>
          </a:xfrm>
          <a:prstGeom prst="straightConnector1">
            <a:avLst/>
          </a:prstGeom>
          <a:ln w="63500" cap="rnd">
            <a:solidFill>
              <a:schemeClr val="bg1"/>
            </a:solidFill>
            <a:round/>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AD340E97-13DA-AF8A-FF5C-F462279599D7}"/>
              </a:ext>
            </a:extLst>
          </p:cNvPr>
          <p:cNvCxnSpPr>
            <a:cxnSpLocks/>
          </p:cNvCxnSpPr>
          <p:nvPr/>
        </p:nvCxnSpPr>
        <p:spPr>
          <a:xfrm>
            <a:off x="9067394" y="5450181"/>
            <a:ext cx="0" cy="107035"/>
          </a:xfrm>
          <a:prstGeom prst="straightConnector1">
            <a:avLst/>
          </a:prstGeom>
          <a:ln w="63500" cap="rnd">
            <a:solidFill>
              <a:schemeClr val="bg1"/>
            </a:solidFill>
            <a:roun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9153476"/>
      </p:ext>
    </p:extLst>
  </p:cSld>
  <p:clrMapOvr>
    <a:masterClrMapping/>
  </p:clrMapOvr>
  <p:transition spd="slow">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1A4DAF1-3D12-5A02-8859-95A4306817A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41A4DAF1-3D12-5A02-8859-95A4306817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EAFCB37B-39FB-A57B-8D0B-25DFF4FB97AC}"/>
              </a:ext>
            </a:extLst>
          </p:cNvPr>
          <p:cNvPicPr>
            <a:picLocks noChangeAspect="1"/>
          </p:cNvPicPr>
          <p:nvPr/>
        </p:nvPicPr>
        <p:blipFill>
          <a:blip r:embed="rId6" cstate="print">
            <a:extLst>
              <a:ext uri="{28A0092B-C50C-407E-A947-70E740481C1C}">
                <a14:useLocalDpi xmlns:a14="http://schemas.microsoft.com/office/drawing/2010/main" val="0"/>
              </a:ext>
            </a:extLst>
          </a:blip>
          <a:srcRect t="7500" b="7500"/>
          <a:stretch/>
        </p:blipFill>
        <p:spPr>
          <a:xfrm>
            <a:off x="-21773" y="0"/>
            <a:ext cx="12215360" cy="6922008"/>
          </a:xfrm>
          <a:prstGeom prst="rect">
            <a:avLst/>
          </a:prstGeom>
        </p:spPr>
      </p:pic>
      <p:sp>
        <p:nvSpPr>
          <p:cNvPr id="5" name="Rectangle 4">
            <a:extLst>
              <a:ext uri="{FF2B5EF4-FFF2-40B4-BE49-F238E27FC236}">
                <a16:creationId xmlns:a16="http://schemas.microsoft.com/office/drawing/2014/main" id="{52FC5575-43B1-2254-F9E9-A76537F3220C}"/>
              </a:ext>
            </a:extLst>
          </p:cNvPr>
          <p:cNvSpPr/>
          <p:nvPr/>
        </p:nvSpPr>
        <p:spPr>
          <a:xfrm>
            <a:off x="-23313" y="0"/>
            <a:ext cx="12215360" cy="6922008"/>
          </a:xfrm>
          <a:prstGeom prst="rect">
            <a:avLst/>
          </a:prstGeom>
          <a:solidFill>
            <a:schemeClr val="tx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63261CA1-09C7-8921-8E93-74C1D89A9291}"/>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
        <p:nvSpPr>
          <p:cNvPr id="25" name="Rectangle 24">
            <a:extLst>
              <a:ext uri="{FF2B5EF4-FFF2-40B4-BE49-F238E27FC236}">
                <a16:creationId xmlns:a16="http://schemas.microsoft.com/office/drawing/2014/main" id="{E3C7A5B7-6A06-9E81-F526-34A44770476F}"/>
              </a:ext>
            </a:extLst>
          </p:cNvPr>
          <p:cNvSpPr/>
          <p:nvPr/>
        </p:nvSpPr>
        <p:spPr>
          <a:xfrm>
            <a:off x="-23312" y="3204839"/>
            <a:ext cx="12216900" cy="3717169"/>
          </a:xfrm>
          <a:prstGeom prst="rect">
            <a:avLst/>
          </a:prstGeom>
          <a:gradFill flip="none" rotWithShape="1">
            <a:gsLst>
              <a:gs pos="2000">
                <a:schemeClr val="tx1">
                  <a:alpha val="49565"/>
                </a:schemeClr>
              </a:gs>
              <a:gs pos="100000">
                <a:schemeClr val="accent4">
                  <a:alpha val="0"/>
                  <a:lumMod val="0"/>
                  <a:lumOff val="100000"/>
                </a:scheme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Title 1">
            <a:extLst>
              <a:ext uri="{FF2B5EF4-FFF2-40B4-BE49-F238E27FC236}">
                <a16:creationId xmlns:a16="http://schemas.microsoft.com/office/drawing/2014/main" id="{1E077E14-DF49-2288-3A20-D8ECE3D1D215}"/>
              </a:ext>
            </a:extLst>
          </p:cNvPr>
          <p:cNvSpPr txBox="1">
            <a:spLocks/>
          </p:cNvSpPr>
          <p:nvPr/>
        </p:nvSpPr>
        <p:spPr>
          <a:xfrm>
            <a:off x="2446592" y="2392237"/>
            <a:ext cx="7692728" cy="1002023"/>
          </a:xfrm>
          <a:prstGeom prst="rect">
            <a:avLst/>
          </a:prstGeom>
        </p:spPr>
        <p:txBody>
          <a:bodyPr vert="horz" lIns="0" tIns="0" rIns="0" bIns="0"/>
          <a:lstStyle>
            <a:lvl1pPr algn="l" defTabSz="914400" rtl="0" eaLnBrk="1" latinLnBrk="0" hangingPunct="1">
              <a:lnSpc>
                <a:spcPct val="90000"/>
              </a:lnSpc>
              <a:spcBef>
                <a:spcPct val="0"/>
              </a:spcBef>
              <a:buNone/>
              <a:defRPr sz="4000" b="1" i="0" kern="1200">
                <a:solidFill>
                  <a:schemeClr val="bg1"/>
                </a:solidFill>
                <a:latin typeface="Avenir Next LT Pro" panose="020B0504020202020204" pitchFamily="34" charset="77"/>
                <a:ea typeface="+mj-ea"/>
                <a:cs typeface="+mj-cs"/>
              </a:defRPr>
            </a:lvl1pPr>
          </a:lstStyle>
          <a:p>
            <a:pPr marL="0" marR="0" lvl="0" indent="0" defTabSz="914400" rtl="0" eaLnBrk="1" fontAlgn="auto" latinLnBrk="0" hangingPunct="1">
              <a:lnSpc>
                <a:spcPct val="90000"/>
              </a:lnSpc>
              <a:spcBef>
                <a:spcPct val="0"/>
              </a:spcBef>
              <a:spcAft>
                <a:spcPts val="600"/>
              </a:spcAft>
              <a:buClrTx/>
              <a:buSzTx/>
              <a:buFontTx/>
              <a:buNone/>
              <a:tabLst/>
              <a:defRPr/>
            </a:pPr>
            <a:r>
              <a:rPr kumimoji="0" lang="en-US" sz="7600" b="1" i="0" u="none" strike="noStrike" kern="1200" cap="none" spc="80" normalizeH="0" baseline="0" noProof="0">
                <a:ln>
                  <a:noFill/>
                </a:ln>
                <a:effectLst/>
                <a:uLnTx/>
                <a:uFillTx/>
                <a:latin typeface="Avenir Next LT Pro" panose="020B0504020202020204" pitchFamily="34" charset="77"/>
                <a:ea typeface="+mj-ea"/>
                <a:cs typeface="+mj-cs"/>
              </a:rPr>
              <a:t>GUB-UCN2</a:t>
            </a:r>
          </a:p>
        </p:txBody>
      </p:sp>
      <p:sp>
        <p:nvSpPr>
          <p:cNvPr id="24" name="TextBox 23">
            <a:extLst>
              <a:ext uri="{FF2B5EF4-FFF2-40B4-BE49-F238E27FC236}">
                <a16:creationId xmlns:a16="http://schemas.microsoft.com/office/drawing/2014/main" id="{2FA6BCDE-B91F-57CE-692A-E307D6600549}"/>
              </a:ext>
            </a:extLst>
          </p:cNvPr>
          <p:cNvSpPr txBox="1"/>
          <p:nvPr/>
        </p:nvSpPr>
        <p:spPr>
          <a:xfrm>
            <a:off x="2446592" y="3519434"/>
            <a:ext cx="7267424" cy="954107"/>
          </a:xfrm>
          <a:prstGeom prst="rect">
            <a:avLst/>
          </a:prstGeom>
          <a:noFill/>
        </p:spPr>
        <p:txBody>
          <a:bodyPr wrap="square" rtlCol="0">
            <a:spAutoFit/>
          </a:bodyPr>
          <a:lstStyle/>
          <a:p>
            <a:r>
              <a:rPr lang="en-DK" sz="2800" b="1">
                <a:solidFill>
                  <a:srgbClr val="FFFFFF"/>
                </a:solidFill>
                <a:latin typeface="Avenir Next LT Pro Demi" panose="020B0504020202020204" pitchFamily="34" charset="77"/>
              </a:rPr>
              <a:t>Gubra’s next mega-program focuses on m</a:t>
            </a:r>
            <a:r>
              <a:rPr lang="en-US" sz="2800" b="1" err="1">
                <a:solidFill>
                  <a:srgbClr val="FFFFFF"/>
                </a:solidFill>
                <a:latin typeface="Avenir Next LT Pro Demi" panose="020B0504020202020204" pitchFamily="34" charset="77"/>
              </a:rPr>
              <a:t>uscle‑preserv</a:t>
            </a:r>
            <a:r>
              <a:rPr lang="en-DK" sz="2800" b="1" err="1">
                <a:solidFill>
                  <a:srgbClr val="FFFFFF"/>
                </a:solidFill>
                <a:latin typeface="Avenir Next LT Pro Demi" panose="020B0504020202020204" pitchFamily="34" charset="77"/>
              </a:rPr>
              <a:t>ation</a:t>
            </a:r>
            <a:endParaRPr lang="en-DK" sz="2800" b="1">
              <a:latin typeface="Avenir Next LT Pro Demi" panose="020B0504020202020204" pitchFamily="34" charset="77"/>
            </a:endParaRPr>
          </a:p>
        </p:txBody>
      </p:sp>
      <p:sp>
        <p:nvSpPr>
          <p:cNvPr id="6" name="Rounded Rectangle 44">
            <a:extLst>
              <a:ext uri="{FF2B5EF4-FFF2-40B4-BE49-F238E27FC236}">
                <a16:creationId xmlns:a16="http://schemas.microsoft.com/office/drawing/2014/main" id="{BA632BB1-2B5F-5CDB-B664-A2686FEA15C7}"/>
              </a:ext>
            </a:extLst>
          </p:cNvPr>
          <p:cNvSpPr/>
          <p:nvPr/>
        </p:nvSpPr>
        <p:spPr>
          <a:xfrm>
            <a:off x="566180" y="142571"/>
            <a:ext cx="912669" cy="288000"/>
          </a:xfrm>
          <a:prstGeom prst="roundRect">
            <a:avLst>
              <a:gd name="adj" fmla="val 50000"/>
            </a:avLst>
          </a:prstGeom>
          <a:solidFill>
            <a:schemeClr val="tx2">
              <a:alpha val="49757"/>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GB" sz="1200" b="1">
                <a:latin typeface="Avenir Next LT Pro Demi" panose="020B0504020202020204" pitchFamily="34" charset="77"/>
              </a:rPr>
              <a:t>UCN2</a:t>
            </a:r>
          </a:p>
        </p:txBody>
      </p:sp>
    </p:spTree>
    <p:extLst>
      <p:ext uri="{BB962C8B-B14F-4D97-AF65-F5344CB8AC3E}">
        <p14:creationId xmlns:p14="http://schemas.microsoft.com/office/powerpoint/2010/main" val="870120286"/>
      </p:ext>
    </p:extLst>
  </p:cSld>
  <p:clrMapOvr>
    <a:masterClrMapping/>
  </p:clrMapOvr>
  <p:transition spd="slow">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2E816449-97FD-C3B7-9927-A62764F1A543}"/>
              </a:ext>
            </a:extLst>
          </p:cNvPr>
          <p:cNvSpPr/>
          <p:nvPr/>
        </p:nvSpPr>
        <p:spPr>
          <a:xfrm>
            <a:off x="-2" y="1412876"/>
            <a:ext cx="12193589" cy="5445124"/>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1" name="Picture 110" descr="A blue and yellow tube structure&#10;&#10;AI-generated content may be incorrect.">
            <a:extLst>
              <a:ext uri="{FF2B5EF4-FFF2-40B4-BE49-F238E27FC236}">
                <a16:creationId xmlns:a16="http://schemas.microsoft.com/office/drawing/2014/main" id="{31A4589B-536C-F750-50B6-C19D2D8BC56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61932" y="1866344"/>
            <a:ext cx="3320432" cy="1404798"/>
          </a:xfrm>
          <a:prstGeom prst="rect">
            <a:avLst/>
          </a:prstGeom>
        </p:spPr>
      </p:pic>
      <p:sp>
        <p:nvSpPr>
          <p:cNvPr id="33" name="Rectangle 32">
            <a:extLst>
              <a:ext uri="{FF2B5EF4-FFF2-40B4-BE49-F238E27FC236}">
                <a16:creationId xmlns:a16="http://schemas.microsoft.com/office/drawing/2014/main" id="{850BF0AB-9DF1-BA8B-0572-0E4D355D6125}"/>
              </a:ext>
            </a:extLst>
          </p:cNvPr>
          <p:cNvSpPr/>
          <p:nvPr/>
        </p:nvSpPr>
        <p:spPr>
          <a:xfrm>
            <a:off x="1204479" y="4844622"/>
            <a:ext cx="2279321" cy="13872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5" name="Rectangle 34">
            <a:extLst>
              <a:ext uri="{FF2B5EF4-FFF2-40B4-BE49-F238E27FC236}">
                <a16:creationId xmlns:a16="http://schemas.microsoft.com/office/drawing/2014/main" id="{47722E3E-5738-E398-965C-F757F7778374}"/>
              </a:ext>
            </a:extLst>
          </p:cNvPr>
          <p:cNvSpPr/>
          <p:nvPr/>
        </p:nvSpPr>
        <p:spPr>
          <a:xfrm>
            <a:off x="3717221" y="4844622"/>
            <a:ext cx="2279321" cy="13872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6" name="Rectangle 35">
            <a:extLst>
              <a:ext uri="{FF2B5EF4-FFF2-40B4-BE49-F238E27FC236}">
                <a16:creationId xmlns:a16="http://schemas.microsoft.com/office/drawing/2014/main" id="{B68A1BE7-FF9D-D478-6B56-AA373E994FC1}"/>
              </a:ext>
            </a:extLst>
          </p:cNvPr>
          <p:cNvSpPr/>
          <p:nvPr/>
        </p:nvSpPr>
        <p:spPr>
          <a:xfrm>
            <a:off x="6229963" y="4844622"/>
            <a:ext cx="2279321" cy="13872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7" name="Rectangle 36">
            <a:extLst>
              <a:ext uri="{FF2B5EF4-FFF2-40B4-BE49-F238E27FC236}">
                <a16:creationId xmlns:a16="http://schemas.microsoft.com/office/drawing/2014/main" id="{C5B7418D-94FF-7317-1E42-A78E716BE38A}"/>
              </a:ext>
            </a:extLst>
          </p:cNvPr>
          <p:cNvSpPr/>
          <p:nvPr/>
        </p:nvSpPr>
        <p:spPr>
          <a:xfrm>
            <a:off x="8742704" y="4844622"/>
            <a:ext cx="2279321" cy="13872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aphicFrame>
        <p:nvGraphicFramePr>
          <p:cNvPr id="13" name="think-cell data - do not delete" hidden="1">
            <a:extLst>
              <a:ext uri="{FF2B5EF4-FFF2-40B4-BE49-F238E27FC236}">
                <a16:creationId xmlns:a16="http://schemas.microsoft.com/office/drawing/2014/main" id="{2AB6265C-2914-3D12-FB31-5215A38DA4C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3" name="think-cell data - do not delete" hidden="1">
                        <a:extLst>
                          <a:ext uri="{FF2B5EF4-FFF2-40B4-BE49-F238E27FC236}">
                            <a16:creationId xmlns:a16="http://schemas.microsoft.com/office/drawing/2014/main" id="{2AB6265C-2914-3D12-FB31-5215A38DA4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Title 23">
            <a:extLst>
              <a:ext uri="{FF2B5EF4-FFF2-40B4-BE49-F238E27FC236}">
                <a16:creationId xmlns:a16="http://schemas.microsoft.com/office/drawing/2014/main" id="{95C71C8A-E8A2-FAE8-5012-3DCFB81AD9D7}"/>
              </a:ext>
            </a:extLst>
          </p:cNvPr>
          <p:cNvSpPr txBox="1">
            <a:spLocks/>
          </p:cNvSpPr>
          <p:nvPr/>
        </p:nvSpPr>
        <p:spPr>
          <a:xfrm>
            <a:off x="565459" y="552715"/>
            <a:ext cx="10017711" cy="666849"/>
          </a:xfrm>
          <a:prstGeom prst="rect">
            <a:avLst/>
          </a:prstGeom>
        </p:spPr>
        <p:txBody>
          <a:bodyPr vert="horz" wrap="square" lIns="0" tIns="0" rIns="0" bIns="0" rtlCol="0" anchor="t" anchorCtr="0">
            <a:spAutoFit/>
          </a:bodyPr>
          <a:lstStyle>
            <a:lvl1pPr algn="l" defTabSz="914377" rtl="0" eaLnBrk="1" latinLnBrk="0" hangingPunct="1">
              <a:lnSpc>
                <a:spcPct val="90000"/>
              </a:lnSpc>
              <a:spcBef>
                <a:spcPct val="0"/>
              </a:spcBef>
              <a:buNone/>
              <a:defRPr sz="3000" b="1" i="0" kern="1200">
                <a:solidFill>
                  <a:schemeClr val="tx2"/>
                </a:solidFill>
                <a:latin typeface="Avenir Next LT Pro" panose="020B0504020202020204" pitchFamily="34" charset="77"/>
                <a:ea typeface="Avenir Next LT Pro" panose="020B0504020202020204" pitchFamily="34" charset="77"/>
                <a:cs typeface="Avenir Next LT Pro" panose="020B0504020202020204" pitchFamily="34" charset="77"/>
              </a:defRPr>
            </a:lvl1pPr>
          </a:lstStyle>
          <a:p>
            <a:pPr>
              <a:lnSpc>
                <a:spcPts val="2550"/>
              </a:lnSpc>
            </a:pPr>
            <a:r>
              <a:rPr lang="en-US" sz="2600">
                <a:solidFill>
                  <a:schemeClr val="tx1"/>
                </a:solidFill>
              </a:rPr>
              <a:t>Gubra’s next mega-</a:t>
            </a:r>
            <a:r>
              <a:rPr lang="en-US" sz="2600" err="1">
                <a:solidFill>
                  <a:schemeClr val="tx1"/>
                </a:solidFill>
              </a:rPr>
              <a:t>progr</a:t>
            </a:r>
            <a:r>
              <a:rPr lang="en-DK" sz="2600">
                <a:solidFill>
                  <a:schemeClr val="tx1"/>
                </a:solidFill>
              </a:rPr>
              <a:t>am GUB-UCN2 </a:t>
            </a:r>
            <a:r>
              <a:rPr lang="en-US" sz="2600">
                <a:solidFill>
                  <a:schemeClr val="tx1"/>
                </a:solidFill>
              </a:rPr>
              <a:t>h</a:t>
            </a:r>
            <a:r>
              <a:rPr lang="en-DK" sz="2600">
                <a:solidFill>
                  <a:schemeClr val="tx1"/>
                </a:solidFill>
              </a:rPr>
              <a:t>as a novel mechanism of action that addresses key obesity trends</a:t>
            </a:r>
            <a:endParaRPr lang="en-US" sz="2600">
              <a:solidFill>
                <a:schemeClr val="tx1"/>
              </a:solidFill>
            </a:endParaRPr>
          </a:p>
        </p:txBody>
      </p:sp>
      <p:sp>
        <p:nvSpPr>
          <p:cNvPr id="12" name="Footer Placeholder 438">
            <a:extLst>
              <a:ext uri="{FF2B5EF4-FFF2-40B4-BE49-F238E27FC236}">
                <a16:creationId xmlns:a16="http://schemas.microsoft.com/office/drawing/2014/main" id="{753BF29B-11FC-36C2-E704-98E6806F08BD}"/>
              </a:ext>
            </a:extLst>
          </p:cNvPr>
          <p:cNvSpPr txBox="1">
            <a:spLocks/>
          </p:cNvSpPr>
          <p:nvPr/>
        </p:nvSpPr>
        <p:spPr>
          <a:xfrm>
            <a:off x="516732" y="6425223"/>
            <a:ext cx="10933112" cy="153888"/>
          </a:xfrm>
          <a:prstGeom prst="rect">
            <a:avLst/>
          </a:prstGeom>
        </p:spPr>
        <p:txBody>
          <a:bodyPr vert="horz" lIns="0" tIns="0" rIns="0" bIns="0" rtlCol="0" anchor="t">
            <a:spAutoFit/>
          </a:bodyPr>
          <a:lstStyle>
            <a:defPPr>
              <a:defRPr lang="sv-SE"/>
            </a:defPPr>
            <a:lvl1pPr marL="0" algn="l" defTabSz="914400" rtl="0" eaLnBrk="1" latinLnBrk="0" hangingPunct="1">
              <a:defRPr sz="1000" kern="1200">
                <a:solidFill>
                  <a:schemeClr val="tx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7AAAF3"/>
                </a:solidFill>
                <a:latin typeface="Avenir Next LT Pro"/>
              </a:rPr>
              <a:t>Note:</a:t>
            </a:r>
            <a:r>
              <a:rPr lang="en-DK">
                <a:solidFill>
                  <a:srgbClr val="7AAAF3"/>
                </a:solidFill>
                <a:latin typeface="Avenir Next LT Pro"/>
              </a:rPr>
              <a:t> UCN2 = urocortin-2; CRHR2 = </a:t>
            </a:r>
            <a:r>
              <a:rPr lang="en-US">
                <a:solidFill>
                  <a:srgbClr val="7AAAF3"/>
                </a:solidFill>
                <a:latin typeface="Avenir Next LT Pro"/>
              </a:rPr>
              <a:t>Corticotropin-releasing hormone receptor 2</a:t>
            </a:r>
            <a:r>
              <a:rPr lang="en-DK">
                <a:solidFill>
                  <a:srgbClr val="7AAAF3"/>
                </a:solidFill>
                <a:latin typeface="Avenir Next LT Pro"/>
              </a:rPr>
              <a:t>; s.c. = subcutaneous</a:t>
            </a:r>
            <a:endParaRPr lang="sv-SE">
              <a:solidFill>
                <a:srgbClr val="7AAAF3"/>
              </a:solidFill>
              <a:latin typeface="Avenir Next LT Pro"/>
            </a:endParaRPr>
          </a:p>
        </p:txBody>
      </p:sp>
      <p:sp>
        <p:nvSpPr>
          <p:cNvPr id="2" name="Rounded Rectangle 44">
            <a:extLst>
              <a:ext uri="{FF2B5EF4-FFF2-40B4-BE49-F238E27FC236}">
                <a16:creationId xmlns:a16="http://schemas.microsoft.com/office/drawing/2014/main" id="{597173A0-F709-598F-8A83-AC6329B76387}"/>
              </a:ext>
            </a:extLst>
          </p:cNvPr>
          <p:cNvSpPr/>
          <p:nvPr/>
        </p:nvSpPr>
        <p:spPr>
          <a:xfrm>
            <a:off x="566180" y="142571"/>
            <a:ext cx="912669" cy="288000"/>
          </a:xfrm>
          <a:prstGeom prst="roundRect">
            <a:avLst>
              <a:gd name="adj" fmla="val 50000"/>
            </a:avLst>
          </a:prstGeom>
          <a:solidFill>
            <a:schemeClr val="tx2">
              <a:alpha val="49757"/>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GB" sz="1200" b="1">
                <a:solidFill>
                  <a:schemeClr val="tx1"/>
                </a:solidFill>
                <a:latin typeface="Avenir Next LT Pro Demi" panose="020B0504020202020204" pitchFamily="34" charset="77"/>
              </a:rPr>
              <a:t>UCN2</a:t>
            </a:r>
          </a:p>
        </p:txBody>
      </p:sp>
      <p:sp>
        <p:nvSpPr>
          <p:cNvPr id="28" name="TextBox 27">
            <a:extLst>
              <a:ext uri="{FF2B5EF4-FFF2-40B4-BE49-F238E27FC236}">
                <a16:creationId xmlns:a16="http://schemas.microsoft.com/office/drawing/2014/main" id="{F71DF636-203C-24B0-876C-9625E03CE578}"/>
              </a:ext>
            </a:extLst>
          </p:cNvPr>
          <p:cNvSpPr txBox="1"/>
          <p:nvPr/>
        </p:nvSpPr>
        <p:spPr>
          <a:xfrm>
            <a:off x="11594381" y="6399575"/>
            <a:ext cx="276027" cy="153888"/>
          </a:xfrm>
          <a:prstGeom prst="rect">
            <a:avLst/>
          </a:prstGeom>
          <a:noFill/>
        </p:spPr>
        <p:txBody>
          <a:bodyPr wrap="square" lIns="0" tIns="0" rIns="0" bIns="0"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fld id="{27692F5A-FC14-4E83-B4CC-18F6C2D780A4}" type="slidenum">
              <a:rPr kumimoji="0" lang="en-US" sz="1000" b="0" i="0" u="none" strike="noStrike" kern="1200" cap="none" spc="40" normalizeH="0" baseline="0" noProof="0" smtClean="0">
                <a:ln>
                  <a:noFill/>
                </a:ln>
                <a:solidFill>
                  <a:schemeClr val="tx2"/>
                </a:solidFill>
                <a:effectLst/>
                <a:uLnTx/>
                <a:uFillTx/>
                <a:latin typeface="Avenir Next LT Pro" panose="020B0504020202020204" pitchFamily="34" charset="77"/>
                <a:ea typeface="+mn-ea"/>
                <a:cs typeface="+mn-cs"/>
              </a:rPr>
              <a:pPr marL="0" marR="0" lvl="0" indent="0" algn="r" defTabSz="914446" rtl="0" eaLnBrk="1" fontAlgn="auto" latinLnBrk="0" hangingPunct="1">
                <a:lnSpc>
                  <a:spcPct val="100000"/>
                </a:lnSpc>
                <a:spcBef>
                  <a:spcPts val="0"/>
                </a:spcBef>
                <a:spcAft>
                  <a:spcPts val="0"/>
                </a:spcAft>
                <a:buClrTx/>
                <a:buSzTx/>
                <a:buFontTx/>
                <a:buNone/>
                <a:tabLst/>
                <a:defRPr/>
              </a:pPr>
              <a:t>19</a:t>
            </a:fld>
            <a:endParaRPr kumimoji="0" lang="en-US" sz="1000" b="0" i="0" u="none" strike="noStrike" kern="1200" cap="none" spc="40" normalizeH="0" baseline="0" noProof="0">
              <a:ln>
                <a:noFill/>
              </a:ln>
              <a:solidFill>
                <a:schemeClr val="tx2"/>
              </a:solidFill>
              <a:effectLst/>
              <a:uLnTx/>
              <a:uFillTx/>
              <a:latin typeface="Avenir Next LT Pro" panose="020B0504020202020204" pitchFamily="34" charset="77"/>
              <a:ea typeface="+mn-ea"/>
              <a:cs typeface="+mn-cs"/>
            </a:endParaRPr>
          </a:p>
        </p:txBody>
      </p:sp>
      <p:pic>
        <p:nvPicPr>
          <p:cNvPr id="68" name="Picture 67" descr="A close-up of a human heart&#10;&#10;AI-generated content may be incorrect.">
            <a:extLst>
              <a:ext uri="{FF2B5EF4-FFF2-40B4-BE49-F238E27FC236}">
                <a16:creationId xmlns:a16="http://schemas.microsoft.com/office/drawing/2014/main" id="{08E7B69F-391F-0CB1-290E-407E69CED17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42973" y="4085034"/>
            <a:ext cx="523240" cy="706833"/>
          </a:xfrm>
          <a:prstGeom prst="rect">
            <a:avLst/>
          </a:prstGeom>
        </p:spPr>
      </p:pic>
      <p:pic>
        <p:nvPicPr>
          <p:cNvPr id="69" name="Picture 68" descr="A group of yellow round objects&#10;&#10;AI-generated content may be incorrect.">
            <a:extLst>
              <a:ext uri="{FF2B5EF4-FFF2-40B4-BE49-F238E27FC236}">
                <a16:creationId xmlns:a16="http://schemas.microsoft.com/office/drawing/2014/main" id="{0D5A1732-D27F-1930-ABE0-080AC7DF1FF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70313" y="4248437"/>
            <a:ext cx="567057" cy="543430"/>
          </a:xfrm>
          <a:prstGeom prst="rect">
            <a:avLst/>
          </a:prstGeom>
        </p:spPr>
      </p:pic>
      <p:pic>
        <p:nvPicPr>
          <p:cNvPr id="70" name="Picture 69" descr="A close up of a muscle&#10;&#10;AI-generated content may be incorrect.">
            <a:extLst>
              <a:ext uri="{FF2B5EF4-FFF2-40B4-BE49-F238E27FC236}">
                <a16:creationId xmlns:a16="http://schemas.microsoft.com/office/drawing/2014/main" id="{62E3BF7F-84FC-ECA7-7687-816D9280F68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378258">
            <a:off x="4312331" y="3995059"/>
            <a:ext cx="825369" cy="873316"/>
          </a:xfrm>
          <a:prstGeom prst="rect">
            <a:avLst/>
          </a:prstGeom>
        </p:spPr>
      </p:pic>
      <p:sp>
        <p:nvSpPr>
          <p:cNvPr id="72" name="TextBox 71">
            <a:extLst>
              <a:ext uri="{FF2B5EF4-FFF2-40B4-BE49-F238E27FC236}">
                <a16:creationId xmlns:a16="http://schemas.microsoft.com/office/drawing/2014/main" id="{EF459880-1948-1FB3-7311-848EE4DEBEBB}"/>
              </a:ext>
            </a:extLst>
          </p:cNvPr>
          <p:cNvSpPr txBox="1"/>
          <p:nvPr/>
        </p:nvSpPr>
        <p:spPr>
          <a:xfrm>
            <a:off x="5595571" y="1673946"/>
            <a:ext cx="1447060" cy="461665"/>
          </a:xfrm>
          <a:prstGeom prst="rect">
            <a:avLst/>
          </a:prstGeom>
        </p:spPr>
        <p:txBody>
          <a:bodyPr wrap="square" rtlCol="0">
            <a:spAutoFit/>
          </a:bodyPr>
          <a:lstStyle/>
          <a:p>
            <a:pPr algn="ctr" defTabSz="914400"/>
            <a:r>
              <a:rPr lang="en-GB" sz="1200">
                <a:solidFill>
                  <a:srgbClr val="001965"/>
                </a:solidFill>
                <a:latin typeface="Avenir Next LT Pro"/>
              </a:rPr>
              <a:t> </a:t>
            </a:r>
            <a:br>
              <a:rPr lang="en-GB" sz="1200">
                <a:solidFill>
                  <a:srgbClr val="001965"/>
                </a:solidFill>
                <a:latin typeface="Avenir Next LT Pro"/>
              </a:rPr>
            </a:br>
            <a:r>
              <a:rPr lang="en-GB" sz="1200">
                <a:solidFill>
                  <a:srgbClr val="001965"/>
                </a:solidFill>
                <a:latin typeface="Avenir Next LT Pro"/>
              </a:rPr>
              <a:t>UCN2</a:t>
            </a:r>
          </a:p>
        </p:txBody>
      </p:sp>
      <p:sp>
        <p:nvSpPr>
          <p:cNvPr id="73" name="TextBox 72">
            <a:extLst>
              <a:ext uri="{FF2B5EF4-FFF2-40B4-BE49-F238E27FC236}">
                <a16:creationId xmlns:a16="http://schemas.microsoft.com/office/drawing/2014/main" id="{602F33BC-301B-65EA-E23F-009767BC2E4D}"/>
              </a:ext>
            </a:extLst>
          </p:cNvPr>
          <p:cNvSpPr txBox="1"/>
          <p:nvPr/>
        </p:nvSpPr>
        <p:spPr>
          <a:xfrm>
            <a:off x="4742121" y="2858592"/>
            <a:ext cx="782715" cy="276999"/>
          </a:xfrm>
          <a:prstGeom prst="rect">
            <a:avLst/>
          </a:prstGeom>
          <a:noFill/>
        </p:spPr>
        <p:txBody>
          <a:bodyPr wrap="square" rtlCol="0">
            <a:spAutoFit/>
          </a:bodyPr>
          <a:lstStyle/>
          <a:p>
            <a:pPr algn="ctr" defTabSz="914400"/>
            <a:r>
              <a:rPr lang="en-GB" sz="1200">
                <a:solidFill>
                  <a:srgbClr val="001965"/>
                </a:solidFill>
                <a:latin typeface="Avenir Next LT Pro"/>
              </a:rPr>
              <a:t>CRHR2</a:t>
            </a:r>
          </a:p>
        </p:txBody>
      </p:sp>
      <p:sp>
        <p:nvSpPr>
          <p:cNvPr id="74" name="TextBox 73">
            <a:extLst>
              <a:ext uri="{FF2B5EF4-FFF2-40B4-BE49-F238E27FC236}">
                <a16:creationId xmlns:a16="http://schemas.microsoft.com/office/drawing/2014/main" id="{AA6BB726-2BA7-B1C9-6183-A40D66F603B8}"/>
              </a:ext>
            </a:extLst>
          </p:cNvPr>
          <p:cNvSpPr txBox="1"/>
          <p:nvPr/>
        </p:nvSpPr>
        <p:spPr>
          <a:xfrm>
            <a:off x="4088217" y="5010506"/>
            <a:ext cx="1880261" cy="276999"/>
          </a:xfrm>
          <a:prstGeom prst="rect">
            <a:avLst/>
          </a:prstGeom>
          <a:noFill/>
        </p:spPr>
        <p:txBody>
          <a:bodyPr wrap="square" rtlCol="0">
            <a:spAutoFit/>
          </a:bodyPr>
          <a:lstStyle/>
          <a:p>
            <a:pPr algn="ctr" defTabSz="914400"/>
            <a:r>
              <a:rPr lang="en-GB" sz="1200" b="1">
                <a:solidFill>
                  <a:srgbClr val="001965"/>
                </a:solidFill>
                <a:latin typeface="Avenir Next LT Pro Demi" panose="020B0504020202020204" pitchFamily="34" charset="77"/>
              </a:rPr>
              <a:t>Muscle mass &amp; function</a:t>
            </a:r>
            <a:endParaRPr lang="en-DK" sz="1200" b="1">
              <a:solidFill>
                <a:srgbClr val="001965"/>
              </a:solidFill>
              <a:latin typeface="Avenir Next LT Pro Demi" panose="020B0504020202020204" pitchFamily="34" charset="77"/>
            </a:endParaRPr>
          </a:p>
        </p:txBody>
      </p:sp>
      <p:sp>
        <p:nvSpPr>
          <p:cNvPr id="75" name="TextBox 74">
            <a:extLst>
              <a:ext uri="{FF2B5EF4-FFF2-40B4-BE49-F238E27FC236}">
                <a16:creationId xmlns:a16="http://schemas.microsoft.com/office/drawing/2014/main" id="{F6BB8919-322A-6B01-5595-3B31AC6CA537}"/>
              </a:ext>
            </a:extLst>
          </p:cNvPr>
          <p:cNvSpPr txBox="1"/>
          <p:nvPr/>
        </p:nvSpPr>
        <p:spPr>
          <a:xfrm>
            <a:off x="1710177" y="5010506"/>
            <a:ext cx="1322773" cy="276999"/>
          </a:xfrm>
          <a:prstGeom prst="rect">
            <a:avLst/>
          </a:prstGeom>
          <a:noFill/>
        </p:spPr>
        <p:txBody>
          <a:bodyPr wrap="square" rtlCol="0">
            <a:spAutoFit/>
          </a:bodyPr>
          <a:lstStyle/>
          <a:p>
            <a:pPr algn="ctr" defTabSz="914400"/>
            <a:r>
              <a:rPr lang="en-GB" sz="1200" b="1">
                <a:solidFill>
                  <a:srgbClr val="001965"/>
                </a:solidFill>
                <a:latin typeface="Avenir Next LT Pro Demi" panose="020B0504020202020204" pitchFamily="34" charset="77"/>
              </a:rPr>
              <a:t>Adiposity</a:t>
            </a:r>
          </a:p>
        </p:txBody>
      </p:sp>
      <p:sp>
        <p:nvSpPr>
          <p:cNvPr id="76" name="TextBox 75">
            <a:extLst>
              <a:ext uri="{FF2B5EF4-FFF2-40B4-BE49-F238E27FC236}">
                <a16:creationId xmlns:a16="http://schemas.microsoft.com/office/drawing/2014/main" id="{CD808287-A128-3181-EF30-349A460C4D3D}"/>
              </a:ext>
            </a:extLst>
          </p:cNvPr>
          <p:cNvSpPr txBox="1"/>
          <p:nvPr/>
        </p:nvSpPr>
        <p:spPr>
          <a:xfrm>
            <a:off x="6530645" y="5010506"/>
            <a:ext cx="1840891" cy="276999"/>
          </a:xfrm>
          <a:prstGeom prst="rect">
            <a:avLst/>
          </a:prstGeom>
          <a:noFill/>
        </p:spPr>
        <p:txBody>
          <a:bodyPr wrap="square" rtlCol="0">
            <a:spAutoFit/>
          </a:bodyPr>
          <a:lstStyle/>
          <a:p>
            <a:pPr algn="ctr" defTabSz="914400"/>
            <a:r>
              <a:rPr lang="en-GB" sz="1200" b="1">
                <a:solidFill>
                  <a:srgbClr val="001965"/>
                </a:solidFill>
                <a:latin typeface="Avenir Next LT Pro Demi" panose="020B0504020202020204" pitchFamily="34" charset="77"/>
              </a:rPr>
              <a:t>Cardiac function</a:t>
            </a:r>
          </a:p>
        </p:txBody>
      </p:sp>
      <p:pic>
        <p:nvPicPr>
          <p:cNvPr id="77" name="Picture 76" descr="A cartoon of a human kidney&#10;&#10;AI-generated content may be incorrect.">
            <a:extLst>
              <a:ext uri="{FF2B5EF4-FFF2-40B4-BE49-F238E27FC236}">
                <a16:creationId xmlns:a16="http://schemas.microsoft.com/office/drawing/2014/main" id="{F116B3B1-5BC0-CCA9-2EBC-C472328126C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635734" y="4236623"/>
            <a:ext cx="490058" cy="590177"/>
          </a:xfrm>
          <a:prstGeom prst="rect">
            <a:avLst/>
          </a:prstGeom>
        </p:spPr>
      </p:pic>
      <p:pic>
        <p:nvPicPr>
          <p:cNvPr id="78" name="Graphic 77">
            <a:extLst>
              <a:ext uri="{FF2B5EF4-FFF2-40B4-BE49-F238E27FC236}">
                <a16:creationId xmlns:a16="http://schemas.microsoft.com/office/drawing/2014/main" id="{1276C8CC-8C49-BA7F-EC49-4A444708793C}"/>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3821701" y="4999401"/>
            <a:ext cx="299209" cy="299209"/>
          </a:xfrm>
          <a:prstGeom prst="rect">
            <a:avLst/>
          </a:prstGeom>
        </p:spPr>
      </p:pic>
      <p:pic>
        <p:nvPicPr>
          <p:cNvPr id="79" name="Graphic 78">
            <a:extLst>
              <a:ext uri="{FF2B5EF4-FFF2-40B4-BE49-F238E27FC236}">
                <a16:creationId xmlns:a16="http://schemas.microsoft.com/office/drawing/2014/main" id="{0F9A125F-8C00-0C62-9942-FBAE89BEC1A6}"/>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rot="10800000">
            <a:off x="1656252" y="4999401"/>
            <a:ext cx="299209" cy="299209"/>
          </a:xfrm>
          <a:prstGeom prst="rect">
            <a:avLst/>
          </a:prstGeom>
        </p:spPr>
      </p:pic>
      <p:pic>
        <p:nvPicPr>
          <p:cNvPr id="80" name="Graphic 79">
            <a:extLst>
              <a:ext uri="{FF2B5EF4-FFF2-40B4-BE49-F238E27FC236}">
                <a16:creationId xmlns:a16="http://schemas.microsoft.com/office/drawing/2014/main" id="{A258F412-8B90-AC64-E000-405C61212058}"/>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6497192" y="4999401"/>
            <a:ext cx="299209" cy="299209"/>
          </a:xfrm>
          <a:prstGeom prst="rect">
            <a:avLst/>
          </a:prstGeom>
        </p:spPr>
      </p:pic>
      <p:sp>
        <p:nvSpPr>
          <p:cNvPr id="81" name="TextBox 80">
            <a:extLst>
              <a:ext uri="{FF2B5EF4-FFF2-40B4-BE49-F238E27FC236}">
                <a16:creationId xmlns:a16="http://schemas.microsoft.com/office/drawing/2014/main" id="{99011226-E362-C471-DF3C-2AD7106B8A0F}"/>
              </a:ext>
            </a:extLst>
          </p:cNvPr>
          <p:cNvSpPr txBox="1"/>
          <p:nvPr/>
        </p:nvSpPr>
        <p:spPr>
          <a:xfrm>
            <a:off x="9160909" y="5010506"/>
            <a:ext cx="1575526" cy="276999"/>
          </a:xfrm>
          <a:prstGeom prst="rect">
            <a:avLst/>
          </a:prstGeom>
          <a:noFill/>
        </p:spPr>
        <p:txBody>
          <a:bodyPr wrap="square" rtlCol="0">
            <a:spAutoFit/>
          </a:bodyPr>
          <a:lstStyle/>
          <a:p>
            <a:pPr algn="ctr" defTabSz="914400"/>
            <a:r>
              <a:rPr lang="en-GB" sz="1200" b="1">
                <a:solidFill>
                  <a:srgbClr val="001965"/>
                </a:solidFill>
                <a:latin typeface="Avenir Next LT Pro Demi" panose="020B0504020202020204" pitchFamily="34" charset="77"/>
              </a:rPr>
              <a:t>Renal function</a:t>
            </a:r>
          </a:p>
        </p:txBody>
      </p:sp>
      <p:pic>
        <p:nvPicPr>
          <p:cNvPr id="82" name="Graphic 81">
            <a:extLst>
              <a:ext uri="{FF2B5EF4-FFF2-40B4-BE49-F238E27FC236}">
                <a16:creationId xmlns:a16="http://schemas.microsoft.com/office/drawing/2014/main" id="{E2A66AC9-FA60-B6CC-E206-9A5413ADB72D}"/>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9056280" y="4999401"/>
            <a:ext cx="299209" cy="299209"/>
          </a:xfrm>
          <a:prstGeom prst="rect">
            <a:avLst/>
          </a:prstGeom>
        </p:spPr>
      </p:pic>
      <p:sp>
        <p:nvSpPr>
          <p:cNvPr id="83" name="TextBox 82">
            <a:extLst>
              <a:ext uri="{FF2B5EF4-FFF2-40B4-BE49-F238E27FC236}">
                <a16:creationId xmlns:a16="http://schemas.microsoft.com/office/drawing/2014/main" id="{684CC8C5-1699-224F-0035-51CF131B8393}"/>
              </a:ext>
            </a:extLst>
          </p:cNvPr>
          <p:cNvSpPr txBox="1"/>
          <p:nvPr/>
        </p:nvSpPr>
        <p:spPr>
          <a:xfrm>
            <a:off x="1234840" y="5317324"/>
            <a:ext cx="2038004"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DK" sz="1200" kern="0">
                <a:solidFill>
                  <a:srgbClr val="001965"/>
                </a:solidFill>
                <a:latin typeface="Avenir Next LT Pro"/>
              </a:rPr>
              <a:t>Additive effect on</a:t>
            </a:r>
            <a:r>
              <a:rPr kumimoji="0" lang="en-US" sz="1200" b="0" i="0" u="none" strike="noStrike" kern="0" cap="none" spc="0" normalizeH="0" baseline="0" noProof="0">
                <a:ln>
                  <a:noFill/>
                </a:ln>
                <a:solidFill>
                  <a:srgbClr val="001965"/>
                </a:solidFill>
                <a:effectLst/>
                <a:uLnTx/>
                <a:uFillTx/>
                <a:latin typeface="Avenir Next LT Pro"/>
              </a:rPr>
              <a:t> fat mass</a:t>
            </a:r>
            <a:r>
              <a:rPr kumimoji="0" lang="en-DK" sz="1200" b="0" i="0" u="none" strike="noStrike" kern="0" cap="none" spc="0" normalizeH="0" baseline="0" noProof="0">
                <a:ln>
                  <a:noFill/>
                </a:ln>
                <a:solidFill>
                  <a:srgbClr val="001965"/>
                </a:solidFill>
                <a:effectLst/>
                <a:uLnTx/>
                <a:uFillTx/>
                <a:latin typeface="Avenir Next LT Pro"/>
              </a:rPr>
              <a:t> loss, reducing </a:t>
            </a:r>
            <a:r>
              <a:rPr kumimoji="0" lang="en-US" sz="1200" b="0" i="0" u="none" strike="noStrike" kern="0" cap="none" spc="0" normalizeH="0" baseline="0" noProof="0">
                <a:ln>
                  <a:noFill/>
                </a:ln>
                <a:solidFill>
                  <a:srgbClr val="001965"/>
                </a:solidFill>
                <a:effectLst/>
                <a:uLnTx/>
                <a:uFillTx/>
                <a:latin typeface="Avenir Next LT Pro"/>
              </a:rPr>
              <a:t>plasma triglycerides</a:t>
            </a:r>
          </a:p>
        </p:txBody>
      </p:sp>
      <p:sp>
        <p:nvSpPr>
          <p:cNvPr id="84" name="TextBox 83">
            <a:extLst>
              <a:ext uri="{FF2B5EF4-FFF2-40B4-BE49-F238E27FC236}">
                <a16:creationId xmlns:a16="http://schemas.microsoft.com/office/drawing/2014/main" id="{7961B3B1-9E6A-107A-E45C-5417715603D3}"/>
              </a:ext>
            </a:extLst>
          </p:cNvPr>
          <p:cNvSpPr txBox="1"/>
          <p:nvPr/>
        </p:nvSpPr>
        <p:spPr>
          <a:xfrm>
            <a:off x="3736192" y="5317324"/>
            <a:ext cx="2107894"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1965"/>
                </a:solidFill>
                <a:effectLst/>
                <a:uLnTx/>
                <a:uFillTx/>
                <a:latin typeface="Avenir Next LT Pro"/>
              </a:rPr>
              <a:t>Increases muscle mass, restoring loss from </a:t>
            </a:r>
            <a:r>
              <a:rPr kumimoji="0" lang="en-DK" sz="1200" b="0" i="0" u="none" strike="noStrike" kern="0" cap="none" spc="0" normalizeH="0" baseline="0" noProof="0">
                <a:ln>
                  <a:noFill/>
                </a:ln>
                <a:solidFill>
                  <a:srgbClr val="001965"/>
                </a:solidFill>
                <a:effectLst/>
                <a:uLnTx/>
                <a:uFillTx/>
                <a:latin typeface="Avenir Next LT Pro"/>
              </a:rPr>
              <a:t>anti-</a:t>
            </a:r>
            <a:r>
              <a:rPr kumimoji="0" lang="en-US" sz="1200" b="0" i="0" u="none" strike="noStrike" kern="0" cap="none" spc="0" normalizeH="0" baseline="0" noProof="0">
                <a:ln>
                  <a:noFill/>
                </a:ln>
                <a:solidFill>
                  <a:srgbClr val="001965"/>
                </a:solidFill>
                <a:effectLst/>
                <a:uLnTx/>
                <a:uFillTx/>
                <a:latin typeface="Avenir Next LT Pro"/>
              </a:rPr>
              <a:t>obesity drug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1965"/>
              </a:solidFill>
              <a:effectLst/>
              <a:uLnTx/>
              <a:uFillTx/>
              <a:latin typeface="Avenir Next LT Pro"/>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1965"/>
              </a:solidFill>
              <a:effectLst/>
              <a:uLnTx/>
              <a:uFillTx/>
              <a:latin typeface="Avenir Next LT Pro"/>
            </a:endParaRPr>
          </a:p>
        </p:txBody>
      </p:sp>
      <p:sp>
        <p:nvSpPr>
          <p:cNvPr id="85" name="TextBox 84">
            <a:extLst>
              <a:ext uri="{FF2B5EF4-FFF2-40B4-BE49-F238E27FC236}">
                <a16:creationId xmlns:a16="http://schemas.microsoft.com/office/drawing/2014/main" id="{ECF170A0-1081-7343-F4DD-1DB0C05EA1CC}"/>
              </a:ext>
            </a:extLst>
          </p:cNvPr>
          <p:cNvSpPr txBox="1"/>
          <p:nvPr/>
        </p:nvSpPr>
        <p:spPr>
          <a:xfrm>
            <a:off x="6288445" y="5317324"/>
            <a:ext cx="2107894" cy="830997"/>
          </a:xfrm>
          <a:prstGeom prst="rect">
            <a:avLst/>
          </a:prstGeom>
          <a:noFill/>
        </p:spPr>
        <p:txBody>
          <a:bodyPr wrap="square" lIns="91440" tIns="45720" rIns="91440" bIns="4572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DK" sz="1200" b="0" i="0" u="none" strike="noStrike" kern="0" cap="none" spc="0" normalizeH="0" baseline="0" noProof="0">
                <a:ln>
                  <a:noFill/>
                </a:ln>
                <a:solidFill>
                  <a:srgbClr val="001965"/>
                </a:solidFill>
                <a:effectLst/>
                <a:uLnTx/>
                <a:uFillTx/>
                <a:latin typeface="Avenir Next LT Pro"/>
              </a:rPr>
              <a:t>Potential to improve cardiac function and CV outcomes in key patient </a:t>
            </a:r>
            <a:r>
              <a:rPr lang="en-DK" sz="1200" kern="0">
                <a:solidFill>
                  <a:srgbClr val="001965"/>
                </a:solidFill>
                <a:latin typeface="Avenir Next LT Pro"/>
              </a:rPr>
              <a:t>groups</a:t>
            </a:r>
            <a:endParaRPr lang="en-US" sz="1200" b="0" i="0" u="none" strike="noStrike" kern="0" cap="none" spc="0" normalizeH="0" baseline="30000" noProof="0">
              <a:ln>
                <a:noFill/>
              </a:ln>
              <a:solidFill>
                <a:srgbClr val="001965"/>
              </a:solidFill>
              <a:effectLst/>
              <a:uLnTx/>
              <a:uFillTx/>
              <a:latin typeface="Avenir Next LT Pro"/>
            </a:endParaRPr>
          </a:p>
        </p:txBody>
      </p:sp>
      <p:sp>
        <p:nvSpPr>
          <p:cNvPr id="86" name="TextBox 85">
            <a:extLst>
              <a:ext uri="{FF2B5EF4-FFF2-40B4-BE49-F238E27FC236}">
                <a16:creationId xmlns:a16="http://schemas.microsoft.com/office/drawing/2014/main" id="{99CD4509-1A86-12CB-9D5B-6D0C1D24CC33}"/>
              </a:ext>
            </a:extLst>
          </p:cNvPr>
          <p:cNvSpPr txBox="1"/>
          <p:nvPr/>
        </p:nvSpPr>
        <p:spPr>
          <a:xfrm>
            <a:off x="8906546" y="5317324"/>
            <a:ext cx="1948435" cy="830997"/>
          </a:xfrm>
          <a:prstGeom prst="rect">
            <a:avLst/>
          </a:prstGeom>
          <a:noFill/>
        </p:spPr>
        <p:txBody>
          <a:bodyPr wrap="square" lIns="91440" tIns="45720" rIns="91440" bIns="45720" rtlCol="0" anchor="t">
            <a:spAutoFit/>
          </a:bodyPr>
          <a:lstStyle/>
          <a:p>
            <a:pPr algn="ctr" defTabSz="914400">
              <a:defRPr/>
            </a:pPr>
            <a:r>
              <a:rPr kumimoji="0" lang="en-DK" sz="1200" b="0" i="0" u="none" strike="noStrike" kern="0" cap="none" spc="0" normalizeH="0" baseline="0" noProof="0">
                <a:ln>
                  <a:noFill/>
                </a:ln>
                <a:solidFill>
                  <a:srgbClr val="001965"/>
                </a:solidFill>
                <a:effectLst/>
                <a:uLnTx/>
                <a:uFillTx/>
                <a:latin typeface="Avenir Next LT Pro"/>
              </a:rPr>
              <a:t>Potential to improve  renal function and </a:t>
            </a:r>
            <a:r>
              <a:rPr lang="en-DK" sz="1200" kern="0">
                <a:solidFill>
                  <a:srgbClr val="001965"/>
                </a:solidFill>
                <a:latin typeface="Avenir Next LT Pro"/>
              </a:rPr>
              <a:t>fibrotic </a:t>
            </a:r>
            <a:r>
              <a:rPr kumimoji="0" lang="en-DK" sz="1200" b="0" i="0" u="none" strike="noStrike" kern="0" cap="none" spc="0" normalizeH="0" baseline="0" noProof="0" err="1">
                <a:ln>
                  <a:noFill/>
                </a:ln>
                <a:solidFill>
                  <a:srgbClr val="001965"/>
                </a:solidFill>
                <a:effectLst/>
                <a:uLnTx/>
                <a:uFillTx/>
                <a:latin typeface="Avenir Next LT Pro"/>
              </a:rPr>
              <a:t>remodeling</a:t>
            </a:r>
            <a:r>
              <a:rPr kumimoji="0" lang="en-DK" sz="1200" b="0" i="0" u="none" strike="noStrike" kern="0" cap="none" spc="0" normalizeH="0" baseline="0" noProof="0">
                <a:ln>
                  <a:noFill/>
                </a:ln>
                <a:solidFill>
                  <a:srgbClr val="001965"/>
                </a:solidFill>
                <a:effectLst/>
                <a:uLnTx/>
                <a:uFillTx/>
                <a:latin typeface="Avenir Next LT Pro"/>
              </a:rPr>
              <a:t> in key patient </a:t>
            </a:r>
            <a:r>
              <a:rPr lang="en-DK" sz="1200" kern="0">
                <a:solidFill>
                  <a:srgbClr val="001965"/>
                </a:solidFill>
                <a:latin typeface="Avenir Next LT Pro"/>
              </a:rPr>
              <a:t>groups</a:t>
            </a:r>
            <a:endParaRPr lang="en-US" sz="1200" b="0" i="0" u="none" strike="noStrike" kern="0" cap="none" spc="0" normalizeH="0" baseline="30000" noProof="0">
              <a:ln>
                <a:noFill/>
              </a:ln>
              <a:solidFill>
                <a:srgbClr val="001965"/>
              </a:solidFill>
              <a:effectLst/>
              <a:uLnTx/>
              <a:uFillTx/>
              <a:latin typeface="Avenir Next LT Pro"/>
            </a:endParaRPr>
          </a:p>
        </p:txBody>
      </p:sp>
      <p:sp>
        <p:nvSpPr>
          <p:cNvPr id="87" name="Left Brace 86">
            <a:extLst>
              <a:ext uri="{FF2B5EF4-FFF2-40B4-BE49-F238E27FC236}">
                <a16:creationId xmlns:a16="http://schemas.microsoft.com/office/drawing/2014/main" id="{8978E88A-C219-C7D0-9B4D-DC6E4E21DF71}"/>
              </a:ext>
            </a:extLst>
          </p:cNvPr>
          <p:cNvSpPr/>
          <p:nvPr/>
        </p:nvSpPr>
        <p:spPr>
          <a:xfrm rot="5400000">
            <a:off x="5793795" y="117626"/>
            <a:ext cx="542515" cy="7631422"/>
          </a:xfrm>
          <a:prstGeom prst="leftBrace">
            <a:avLst>
              <a:gd name="adj1" fmla="val 0"/>
              <a:gd name="adj2" fmla="val 50000"/>
            </a:avLst>
          </a:prstGeom>
          <a:noFill/>
          <a:ln w="12700" cap="flat" cmpd="sng" algn="ctr">
            <a:solidFill>
              <a:srgbClr val="00196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001965"/>
              </a:solidFill>
              <a:effectLst/>
              <a:uLnTx/>
              <a:uFillTx/>
              <a:latin typeface="Avenir Next LT Pro"/>
              <a:ea typeface="+mn-ea"/>
              <a:cs typeface="+mn-cs"/>
            </a:endParaRPr>
          </a:p>
        </p:txBody>
      </p:sp>
      <p:sp>
        <p:nvSpPr>
          <p:cNvPr id="88" name="TextBox 87">
            <a:extLst>
              <a:ext uri="{FF2B5EF4-FFF2-40B4-BE49-F238E27FC236}">
                <a16:creationId xmlns:a16="http://schemas.microsoft.com/office/drawing/2014/main" id="{789CE2DC-46A6-2CFE-191B-01B457513941}"/>
              </a:ext>
            </a:extLst>
          </p:cNvPr>
          <p:cNvSpPr txBox="1"/>
          <p:nvPr/>
        </p:nvSpPr>
        <p:spPr>
          <a:xfrm>
            <a:off x="5038240" y="3379527"/>
            <a:ext cx="1967817" cy="276999"/>
          </a:xfrm>
          <a:prstGeom prst="rect">
            <a:avLst/>
          </a:prstGeom>
          <a:noFill/>
        </p:spPr>
        <p:txBody>
          <a:bodyPr wrap="square" rtlCol="0">
            <a:spAutoFit/>
          </a:bodyPr>
          <a:lstStyle/>
          <a:p>
            <a:pPr algn="ctr" defTabSz="914400"/>
            <a:r>
              <a:rPr lang="en-GB" sz="1200">
                <a:solidFill>
                  <a:srgbClr val="001965"/>
                </a:solidFill>
                <a:latin typeface="Avenir Next LT Pro"/>
              </a:rPr>
              <a:t>Downstream Signalling</a:t>
            </a:r>
          </a:p>
        </p:txBody>
      </p:sp>
      <p:sp>
        <p:nvSpPr>
          <p:cNvPr id="95" name="Oval 94">
            <a:extLst>
              <a:ext uri="{FF2B5EF4-FFF2-40B4-BE49-F238E27FC236}">
                <a16:creationId xmlns:a16="http://schemas.microsoft.com/office/drawing/2014/main" id="{02BF4969-3C4A-A0B9-71CC-4FEAC4F24341}"/>
              </a:ext>
            </a:extLst>
          </p:cNvPr>
          <p:cNvSpPr/>
          <p:nvPr/>
        </p:nvSpPr>
        <p:spPr>
          <a:xfrm>
            <a:off x="7636875" y="4462775"/>
            <a:ext cx="267883" cy="263593"/>
          </a:xfrm>
          <a:prstGeom prst="ellipse">
            <a:avLst/>
          </a:prstGeom>
          <a:solidFill>
            <a:srgbClr val="CCDDE7"/>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FFFFFF"/>
              </a:solidFill>
              <a:effectLst/>
              <a:uLnTx/>
              <a:uFillTx/>
              <a:latin typeface="Avenir Next LT Pro"/>
              <a:ea typeface="+mn-ea"/>
              <a:cs typeface="+mn-cs"/>
            </a:endParaRPr>
          </a:p>
        </p:txBody>
      </p:sp>
      <p:sp>
        <p:nvSpPr>
          <p:cNvPr id="97" name="Oval 96">
            <a:extLst>
              <a:ext uri="{FF2B5EF4-FFF2-40B4-BE49-F238E27FC236}">
                <a16:creationId xmlns:a16="http://schemas.microsoft.com/office/drawing/2014/main" id="{7E3243BA-3A22-B125-34F2-F37C13CC3FBF}"/>
              </a:ext>
            </a:extLst>
          </p:cNvPr>
          <p:cNvSpPr/>
          <p:nvPr/>
        </p:nvSpPr>
        <p:spPr>
          <a:xfrm>
            <a:off x="9991852" y="4455262"/>
            <a:ext cx="267883" cy="263593"/>
          </a:xfrm>
          <a:prstGeom prst="ellipse">
            <a:avLst/>
          </a:prstGeom>
          <a:solidFill>
            <a:srgbClr val="CCDDE7"/>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FFFFFF"/>
              </a:solidFill>
              <a:effectLst/>
              <a:uLnTx/>
              <a:uFillTx/>
              <a:latin typeface="Avenir Next LT Pro"/>
              <a:ea typeface="+mn-ea"/>
              <a:cs typeface="+mn-cs"/>
            </a:endParaRPr>
          </a:p>
        </p:txBody>
      </p:sp>
      <p:sp>
        <p:nvSpPr>
          <p:cNvPr id="109" name="Rectangle: Rounded Corners 39">
            <a:extLst>
              <a:ext uri="{FF2B5EF4-FFF2-40B4-BE49-F238E27FC236}">
                <a16:creationId xmlns:a16="http://schemas.microsoft.com/office/drawing/2014/main" id="{00E1E28D-D14F-42C0-74E0-BA8B309344E6}"/>
              </a:ext>
            </a:extLst>
          </p:cNvPr>
          <p:cNvSpPr/>
          <p:nvPr/>
        </p:nvSpPr>
        <p:spPr>
          <a:xfrm>
            <a:off x="565459" y="1714153"/>
            <a:ext cx="4343888" cy="385623"/>
          </a:xfrm>
          <a:prstGeom prst="round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r>
              <a:rPr lang="en-DK" sz="1200" b="1">
                <a:solidFill>
                  <a:schemeClr val="tx1"/>
                </a:solidFill>
                <a:latin typeface="Avenir Next LT Pro Demi" panose="020B0504020202020204" pitchFamily="34" charset="77"/>
              </a:rPr>
              <a:t>GUB-UCN2’S NOVEL MECHANISM HAS THE </a:t>
            </a:r>
            <a:r>
              <a:rPr kumimoji="0" lang="en-US" sz="1200" b="1" i="0" u="none" strike="noStrike" kern="1200" cap="none" spc="0" normalizeH="0" baseline="0" noProof="0">
                <a:ln>
                  <a:noFill/>
                </a:ln>
                <a:solidFill>
                  <a:schemeClr val="tx1"/>
                </a:solidFill>
                <a:effectLst/>
                <a:uLnTx/>
                <a:uFillTx/>
                <a:latin typeface="Avenir Next LT Pro Demi" panose="020B0504020202020204" pitchFamily="34" charset="77"/>
                <a:ea typeface="+mn-ea"/>
                <a:cs typeface="+mn-cs"/>
              </a:rPr>
              <a:t>POTENTIAL TO </a:t>
            </a:r>
            <a:r>
              <a:rPr kumimoji="0" lang="en-DK" sz="1200" b="1" i="0" u="none" strike="noStrike" kern="1200" cap="none" spc="0" normalizeH="0" baseline="0" noProof="0">
                <a:ln>
                  <a:noFill/>
                </a:ln>
                <a:solidFill>
                  <a:schemeClr val="tx1"/>
                </a:solidFill>
                <a:effectLst/>
                <a:uLnTx/>
                <a:uFillTx/>
                <a:latin typeface="Avenir Next LT Pro Demi" panose="020B0504020202020204" pitchFamily="34" charset="77"/>
                <a:ea typeface="+mn-ea"/>
                <a:cs typeface="+mn-cs"/>
              </a:rPr>
              <a:t>ADDRESS</a:t>
            </a:r>
            <a:r>
              <a:rPr kumimoji="0" lang="en-US" sz="1200" b="1" i="0" u="none" strike="noStrike" kern="1200" cap="none" spc="0" normalizeH="0" baseline="0" noProof="0">
                <a:ln>
                  <a:noFill/>
                </a:ln>
                <a:solidFill>
                  <a:schemeClr val="tx1"/>
                </a:solidFill>
                <a:effectLst/>
                <a:uLnTx/>
                <a:uFillTx/>
                <a:latin typeface="Avenir Next LT Pro Demi" panose="020B0504020202020204" pitchFamily="34" charset="77"/>
                <a:ea typeface="+mn-ea"/>
                <a:cs typeface="+mn-cs"/>
              </a:rPr>
              <a:t> METABOLIC AND CARDIORENAL INDICATIONS</a:t>
            </a:r>
            <a:endParaRPr kumimoji="0" lang="en-GB" sz="1200" b="1" i="0" u="none" strike="noStrike" kern="1200" cap="none" spc="0" normalizeH="0" baseline="0" noProof="0">
              <a:ln>
                <a:noFill/>
              </a:ln>
              <a:solidFill>
                <a:schemeClr val="tx1"/>
              </a:solidFill>
              <a:effectLst/>
              <a:uLnTx/>
              <a:uFillTx/>
              <a:latin typeface="Avenir Next LT Pro Demi" panose="020B0504020202020204" pitchFamily="34" charset="77"/>
              <a:ea typeface="+mn-ea"/>
              <a:cs typeface="+mn-cs"/>
            </a:endParaRPr>
          </a:p>
        </p:txBody>
      </p:sp>
      <p:sp>
        <p:nvSpPr>
          <p:cNvPr id="119" name="Rectangle: Rounded Corners 118">
            <a:extLst>
              <a:ext uri="{FF2B5EF4-FFF2-40B4-BE49-F238E27FC236}">
                <a16:creationId xmlns:a16="http://schemas.microsoft.com/office/drawing/2014/main" id="{DFB11FBF-0CDE-6F44-9633-9FA6CC771377}"/>
              </a:ext>
            </a:extLst>
          </p:cNvPr>
          <p:cNvSpPr/>
          <p:nvPr/>
        </p:nvSpPr>
        <p:spPr>
          <a:xfrm>
            <a:off x="7816188" y="1882174"/>
            <a:ext cx="3957536" cy="1936019"/>
          </a:xfrm>
          <a:prstGeom prst="roundRect">
            <a:avLst>
              <a:gd name="adj" fmla="val 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tIns="396000" rIns="72000" bIns="72000" rtlCol="0" anchor="t"/>
          <a:lstStyle/>
          <a:p>
            <a:pPr marL="0" marR="0" lvl="0" indent="0" algn="ctr" defTabSz="914446" rtl="0" eaLnBrk="1" fontAlgn="auto" latinLnBrk="0" hangingPunct="1">
              <a:lnSpc>
                <a:spcPct val="100000"/>
              </a:lnSpc>
              <a:spcBef>
                <a:spcPts val="0"/>
              </a:spcBef>
              <a:spcAft>
                <a:spcPts val="400"/>
              </a:spcAft>
              <a:buClrTx/>
              <a:buSzTx/>
              <a:buFontTx/>
              <a:buNone/>
              <a:tabLst/>
              <a:defRPr/>
            </a:pPr>
            <a:r>
              <a:rPr lang="en-DK" sz="1400" b="1">
                <a:solidFill>
                  <a:schemeClr val="tx1"/>
                </a:solidFill>
                <a:latin typeface="Avenir Next LT Pro Demi" panose="020B0504020202020204" pitchFamily="34" charset="77"/>
              </a:rPr>
              <a:t>Key features of GUB-UCN2</a:t>
            </a:r>
          </a:p>
          <a:p>
            <a:pPr marL="171450" indent="-171450">
              <a:spcAft>
                <a:spcPts val="400"/>
              </a:spcAft>
              <a:buClr>
                <a:schemeClr val="tx1"/>
              </a:buClr>
              <a:buFont typeface="System Font Regular"/>
              <a:buChar char="+"/>
              <a:defRPr/>
            </a:pPr>
            <a:r>
              <a:rPr lang="en-DK" sz="1200">
                <a:solidFill>
                  <a:schemeClr val="tx1"/>
                </a:solidFill>
                <a:latin typeface="Avenir Next LT Pro"/>
              </a:rPr>
              <a:t>38 aa neuropeptide</a:t>
            </a:r>
          </a:p>
          <a:p>
            <a:pPr marL="171450" indent="-171450">
              <a:spcAft>
                <a:spcPts val="400"/>
              </a:spcAft>
              <a:buClr>
                <a:schemeClr val="tx1"/>
              </a:buClr>
              <a:buFont typeface="System Font Regular"/>
              <a:buChar char="+"/>
              <a:defRPr/>
            </a:pPr>
            <a:r>
              <a:rPr lang="en-DK" sz="1200">
                <a:solidFill>
                  <a:schemeClr val="tx1"/>
                </a:solidFill>
                <a:latin typeface="Avenir Next LT Pro"/>
              </a:rPr>
              <a:t>Highly potent and selective CHRH2 agonist</a:t>
            </a:r>
          </a:p>
          <a:p>
            <a:pPr marL="171450" indent="-171450">
              <a:spcAft>
                <a:spcPts val="400"/>
              </a:spcAft>
              <a:buClr>
                <a:schemeClr val="tx1"/>
              </a:buClr>
              <a:buFont typeface="System Font Regular"/>
              <a:buChar char="+"/>
              <a:defRPr/>
            </a:pPr>
            <a:r>
              <a:rPr lang="en-US" sz="1200">
                <a:solidFill>
                  <a:schemeClr val="tx1"/>
                </a:solidFill>
                <a:latin typeface="Avenir Next LT Pro"/>
              </a:rPr>
              <a:t>Excellent physical and chemical stability</a:t>
            </a:r>
            <a:endParaRPr lang="en-DK" sz="1200">
              <a:solidFill>
                <a:schemeClr val="tx1"/>
              </a:solidFill>
              <a:latin typeface="Avenir Next LT Pro"/>
            </a:endParaRPr>
          </a:p>
          <a:p>
            <a:pPr marL="171450" indent="-171450">
              <a:spcAft>
                <a:spcPts val="400"/>
              </a:spcAft>
              <a:buClr>
                <a:schemeClr val="tx1"/>
              </a:buClr>
              <a:buFont typeface="System Font Regular"/>
              <a:buChar char="+"/>
              <a:defRPr/>
            </a:pPr>
            <a:r>
              <a:rPr lang="en-US" sz="1200">
                <a:solidFill>
                  <a:schemeClr val="tx1"/>
                </a:solidFill>
                <a:latin typeface="Avenir Next LT Pro"/>
              </a:rPr>
              <a:t>Long-acting </a:t>
            </a:r>
            <a:r>
              <a:rPr lang="en-DK" sz="1200">
                <a:solidFill>
                  <a:schemeClr val="tx1"/>
                </a:solidFill>
                <a:latin typeface="Avenir Next LT Pro"/>
              </a:rPr>
              <a:t>properties</a:t>
            </a:r>
            <a:r>
              <a:rPr lang="en-US" sz="1200">
                <a:solidFill>
                  <a:schemeClr val="tx1"/>
                </a:solidFill>
                <a:latin typeface="Avenir Next LT Pro"/>
              </a:rPr>
              <a:t>, supporting weekly dosing</a:t>
            </a:r>
            <a:endParaRPr lang="en-DK" sz="1200">
              <a:solidFill>
                <a:schemeClr val="tx1"/>
              </a:solidFill>
              <a:latin typeface="Avenir Next LT Pro"/>
            </a:endParaRPr>
          </a:p>
          <a:p>
            <a:pPr marL="171450" indent="-171450">
              <a:spcAft>
                <a:spcPts val="400"/>
              </a:spcAft>
              <a:buClr>
                <a:schemeClr val="tx1"/>
              </a:buClr>
              <a:buFont typeface="System Font Regular"/>
              <a:buChar char="+"/>
              <a:defRPr/>
            </a:pPr>
            <a:r>
              <a:rPr kumimoji="0" lang="en-DK" sz="1200" i="0" u="none" strike="noStrike" kern="1200" cap="none" spc="0" normalizeH="0" baseline="0" noProof="0">
                <a:ln>
                  <a:noFill/>
                </a:ln>
                <a:solidFill>
                  <a:schemeClr val="tx1"/>
                </a:solidFill>
                <a:effectLst/>
                <a:uLnTx/>
                <a:uFillTx/>
                <a:latin typeface="Avenir Next LT Pro"/>
                <a:ea typeface="+mn-ea"/>
                <a:cs typeface="+mn-cs"/>
              </a:rPr>
              <a:t>Formulated for s.c. injection</a:t>
            </a:r>
            <a:endParaRPr kumimoji="0" lang="en-DK" sz="1200" i="0" u="none" strike="noStrike" kern="1200" cap="none" spc="0" normalizeH="0" baseline="0" noProof="0">
              <a:ln>
                <a:noFill/>
              </a:ln>
              <a:solidFill>
                <a:schemeClr val="tx1"/>
              </a:solidFill>
              <a:effectLst/>
              <a:uLnTx/>
              <a:uFillTx/>
              <a:latin typeface="Avenir Next LT Pro Demi" panose="020B0504020202020204" pitchFamily="34" charset="77"/>
              <a:ea typeface="+mn-ea"/>
              <a:cs typeface="+mn-cs"/>
            </a:endParaRPr>
          </a:p>
        </p:txBody>
      </p:sp>
      <p:grpSp>
        <p:nvGrpSpPr>
          <p:cNvPr id="17" name="Group 16">
            <a:extLst>
              <a:ext uri="{FF2B5EF4-FFF2-40B4-BE49-F238E27FC236}">
                <a16:creationId xmlns:a16="http://schemas.microsoft.com/office/drawing/2014/main" id="{25A3E0B1-1A37-FB8F-D0D9-3E9FD935FF8F}"/>
              </a:ext>
            </a:extLst>
          </p:cNvPr>
          <p:cNvGrpSpPr/>
          <p:nvPr/>
        </p:nvGrpSpPr>
        <p:grpSpPr>
          <a:xfrm>
            <a:off x="9440074" y="1529434"/>
            <a:ext cx="703653" cy="703653"/>
            <a:chOff x="8706833" y="1628775"/>
            <a:chExt cx="876714" cy="876714"/>
          </a:xfrm>
        </p:grpSpPr>
        <p:pic>
          <p:nvPicPr>
            <p:cNvPr id="18" name="Graphic 17">
              <a:extLst>
                <a:ext uri="{FF2B5EF4-FFF2-40B4-BE49-F238E27FC236}">
                  <a16:creationId xmlns:a16="http://schemas.microsoft.com/office/drawing/2014/main" id="{C133D5BB-9AB1-0BF0-83CD-827F1356C51C}"/>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8706833" y="1628775"/>
              <a:ext cx="876714" cy="876714"/>
            </a:xfrm>
            <a:prstGeom prst="rect">
              <a:avLst/>
            </a:prstGeom>
          </p:spPr>
        </p:pic>
        <p:pic>
          <p:nvPicPr>
            <p:cNvPr id="19" name="Graphic 18" descr="Lights On with solid fill">
              <a:extLst>
                <a:ext uri="{FF2B5EF4-FFF2-40B4-BE49-F238E27FC236}">
                  <a16:creationId xmlns:a16="http://schemas.microsoft.com/office/drawing/2014/main" id="{D7299C8C-7908-7595-E2DC-F6A6B8C30F9B}"/>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8866910" y="1760663"/>
              <a:ext cx="570622" cy="570622"/>
            </a:xfrm>
            <a:prstGeom prst="rect">
              <a:avLst/>
            </a:prstGeom>
            <a:extLst>
              <a:ext uri="{91240B29-F687-4F45-9708-019B960494DF}">
                <a14:hiddenLine xmlns:a14="http://schemas.microsoft.com/office/drawing/2010/main" w="13758" cap="flat">
                  <a:solidFill>
                    <a:srgbClr val="FFFFFF"/>
                  </a:solidFill>
                  <a:prstDash val="solid"/>
                  <a:miter/>
                </a14:hiddenLine>
              </a:ext>
            </a:extLst>
          </p:spPr>
        </p:pic>
      </p:grpSp>
      <p:grpSp>
        <p:nvGrpSpPr>
          <p:cNvPr id="41" name="Group 40">
            <a:extLst>
              <a:ext uri="{FF2B5EF4-FFF2-40B4-BE49-F238E27FC236}">
                <a16:creationId xmlns:a16="http://schemas.microsoft.com/office/drawing/2014/main" id="{5BB20652-5B0E-EF6A-C1FF-733C46D01A3C}"/>
              </a:ext>
            </a:extLst>
          </p:cNvPr>
          <p:cNvGrpSpPr/>
          <p:nvPr/>
        </p:nvGrpSpPr>
        <p:grpSpPr>
          <a:xfrm>
            <a:off x="6139765" y="2059033"/>
            <a:ext cx="350685" cy="412420"/>
            <a:chOff x="6981399" y="24975"/>
            <a:chExt cx="384047" cy="451657"/>
          </a:xfrm>
        </p:grpSpPr>
        <p:sp>
          <p:nvSpPr>
            <p:cNvPr id="3" name="Oval 2">
              <a:extLst>
                <a:ext uri="{FF2B5EF4-FFF2-40B4-BE49-F238E27FC236}">
                  <a16:creationId xmlns:a16="http://schemas.microsoft.com/office/drawing/2014/main" id="{2C805528-891A-2DAA-827C-EE32DDF82F17}"/>
                </a:ext>
              </a:extLst>
            </p:cNvPr>
            <p:cNvSpPr/>
            <p:nvPr/>
          </p:nvSpPr>
          <p:spPr>
            <a:xfrm>
              <a:off x="6983581" y="50056"/>
              <a:ext cx="94771" cy="94771"/>
            </a:xfrm>
            <a:prstGeom prst="ellipse">
              <a:avLst/>
            </a:prstGeom>
            <a:solidFill>
              <a:schemeClr val="bg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 name="Oval 3">
              <a:extLst>
                <a:ext uri="{FF2B5EF4-FFF2-40B4-BE49-F238E27FC236}">
                  <a16:creationId xmlns:a16="http://schemas.microsoft.com/office/drawing/2014/main" id="{ED20867E-EF99-EC39-7960-F4B492484909}"/>
                </a:ext>
              </a:extLst>
            </p:cNvPr>
            <p:cNvSpPr/>
            <p:nvPr/>
          </p:nvSpPr>
          <p:spPr>
            <a:xfrm>
              <a:off x="7008264" y="377198"/>
              <a:ext cx="94771" cy="94771"/>
            </a:xfrm>
            <a:prstGeom prst="ellipse">
              <a:avLst/>
            </a:prstGeom>
            <a:solidFill>
              <a:schemeClr val="bg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0" name="Oval 39">
              <a:extLst>
                <a:ext uri="{FF2B5EF4-FFF2-40B4-BE49-F238E27FC236}">
                  <a16:creationId xmlns:a16="http://schemas.microsoft.com/office/drawing/2014/main" id="{6EFB82F5-6438-2B86-FB76-374AB0C3A185}"/>
                </a:ext>
              </a:extLst>
            </p:cNvPr>
            <p:cNvSpPr/>
            <p:nvPr/>
          </p:nvSpPr>
          <p:spPr>
            <a:xfrm>
              <a:off x="7211483" y="25931"/>
              <a:ext cx="66988" cy="66988"/>
            </a:xfrm>
            <a:prstGeom prst="ellipse">
              <a:avLst/>
            </a:prstGeom>
            <a:solidFill>
              <a:schemeClr val="bg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nvGrpSpPr>
            <p:cNvPr id="63" name="Group 62">
              <a:extLst>
                <a:ext uri="{FF2B5EF4-FFF2-40B4-BE49-F238E27FC236}">
                  <a16:creationId xmlns:a16="http://schemas.microsoft.com/office/drawing/2014/main" id="{C5004FB8-1042-79BA-DBC3-C12DE6271212}"/>
                </a:ext>
              </a:extLst>
            </p:cNvPr>
            <p:cNvGrpSpPr/>
            <p:nvPr/>
          </p:nvGrpSpPr>
          <p:grpSpPr>
            <a:xfrm>
              <a:off x="6981399" y="24975"/>
              <a:ext cx="384047" cy="451657"/>
              <a:chOff x="-1425184" y="4079449"/>
              <a:chExt cx="642299" cy="755371"/>
            </a:xfrm>
          </p:grpSpPr>
          <p:grpSp>
            <p:nvGrpSpPr>
              <p:cNvPr id="64" name="Graphic 3">
                <a:extLst>
                  <a:ext uri="{FF2B5EF4-FFF2-40B4-BE49-F238E27FC236}">
                    <a16:creationId xmlns:a16="http://schemas.microsoft.com/office/drawing/2014/main" id="{4D0EFD67-FCF3-9092-A85B-DEE39262D009}"/>
                  </a:ext>
                </a:extLst>
              </p:cNvPr>
              <p:cNvGrpSpPr/>
              <p:nvPr/>
            </p:nvGrpSpPr>
            <p:grpSpPr>
              <a:xfrm>
                <a:off x="-1241996" y="4349580"/>
                <a:ext cx="249698" cy="249698"/>
                <a:chOff x="1063621" y="3706715"/>
                <a:chExt cx="249698" cy="249698"/>
              </a:xfrm>
              <a:solidFill>
                <a:srgbClr val="001965"/>
              </a:solidFill>
            </p:grpSpPr>
            <p:sp>
              <p:nvSpPr>
                <p:cNvPr id="107" name="Freeform 106">
                  <a:extLst>
                    <a:ext uri="{FF2B5EF4-FFF2-40B4-BE49-F238E27FC236}">
                      <a16:creationId xmlns:a16="http://schemas.microsoft.com/office/drawing/2014/main" id="{125B5690-1192-47C5-5284-386FABDE3662}"/>
                    </a:ext>
                  </a:extLst>
                </p:cNvPr>
                <p:cNvSpPr/>
                <p:nvPr/>
              </p:nvSpPr>
              <p:spPr>
                <a:xfrm>
                  <a:off x="1070747" y="3713842"/>
                  <a:ext cx="235446" cy="235446"/>
                </a:xfrm>
                <a:custGeom>
                  <a:avLst/>
                  <a:gdLst>
                    <a:gd name="connsiteX0" fmla="*/ 235447 w 235446"/>
                    <a:gd name="connsiteY0" fmla="*/ 117723 h 235446"/>
                    <a:gd name="connsiteX1" fmla="*/ 117723 w 235446"/>
                    <a:gd name="connsiteY1" fmla="*/ 235447 h 235446"/>
                    <a:gd name="connsiteX2" fmla="*/ 0 w 235446"/>
                    <a:gd name="connsiteY2" fmla="*/ 117723 h 235446"/>
                    <a:gd name="connsiteX3" fmla="*/ 117723 w 235446"/>
                    <a:gd name="connsiteY3" fmla="*/ 0 h 235446"/>
                    <a:gd name="connsiteX4" fmla="*/ 235447 w 235446"/>
                    <a:gd name="connsiteY4" fmla="*/ 117723 h 235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446" h="235446">
                      <a:moveTo>
                        <a:pt x="235447" y="117723"/>
                      </a:moveTo>
                      <a:cubicBezTo>
                        <a:pt x="235447" y="182740"/>
                        <a:pt x="182740" y="235447"/>
                        <a:pt x="117723" y="235447"/>
                      </a:cubicBezTo>
                      <a:cubicBezTo>
                        <a:pt x="52707" y="235447"/>
                        <a:pt x="0" y="182740"/>
                        <a:pt x="0" y="117723"/>
                      </a:cubicBezTo>
                      <a:cubicBezTo>
                        <a:pt x="0" y="52707"/>
                        <a:pt x="52707" y="0"/>
                        <a:pt x="117723" y="0"/>
                      </a:cubicBezTo>
                      <a:cubicBezTo>
                        <a:pt x="182740" y="0"/>
                        <a:pt x="235447" y="52707"/>
                        <a:pt x="235447" y="117723"/>
                      </a:cubicBezTo>
                      <a:close/>
                    </a:path>
                  </a:pathLst>
                </a:custGeom>
                <a:solidFill>
                  <a:schemeClr val="accent2"/>
                </a:solidFill>
                <a:ln w="6350" cap="flat">
                  <a:solidFill>
                    <a:schemeClr val="tx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001965"/>
                    </a:solidFill>
                    <a:effectLst/>
                    <a:uLnTx/>
                    <a:uFillTx/>
                    <a:latin typeface="Avenir Next LT Pro"/>
                  </a:endParaRPr>
                </a:p>
              </p:txBody>
            </p:sp>
            <p:sp>
              <p:nvSpPr>
                <p:cNvPr id="108" name="Freeform 107">
                  <a:extLst>
                    <a:ext uri="{FF2B5EF4-FFF2-40B4-BE49-F238E27FC236}">
                      <a16:creationId xmlns:a16="http://schemas.microsoft.com/office/drawing/2014/main" id="{2A61F32D-8D5B-CA9E-AEA0-5DF7A7AB7D0A}"/>
                    </a:ext>
                  </a:extLst>
                </p:cNvPr>
                <p:cNvSpPr/>
                <p:nvPr/>
              </p:nvSpPr>
              <p:spPr>
                <a:xfrm>
                  <a:off x="1063621" y="3706715"/>
                  <a:ext cx="249698" cy="249698"/>
                </a:xfrm>
                <a:custGeom>
                  <a:avLst/>
                  <a:gdLst>
                    <a:gd name="connsiteX0" fmla="*/ 124849 w 249698"/>
                    <a:gd name="connsiteY0" fmla="*/ 249699 h 249698"/>
                    <a:gd name="connsiteX1" fmla="*/ 0 w 249698"/>
                    <a:gd name="connsiteY1" fmla="*/ 124849 h 249698"/>
                    <a:gd name="connsiteX2" fmla="*/ 124849 w 249698"/>
                    <a:gd name="connsiteY2" fmla="*/ 0 h 249698"/>
                    <a:gd name="connsiteX3" fmla="*/ 249699 w 249698"/>
                    <a:gd name="connsiteY3" fmla="*/ 124849 h 249698"/>
                    <a:gd name="connsiteX4" fmla="*/ 124849 w 249698"/>
                    <a:gd name="connsiteY4" fmla="*/ 249699 h 249698"/>
                    <a:gd name="connsiteX5" fmla="*/ 124849 w 249698"/>
                    <a:gd name="connsiteY5" fmla="*/ 14157 h 249698"/>
                    <a:gd name="connsiteX6" fmla="*/ 14252 w 249698"/>
                    <a:gd name="connsiteY6" fmla="*/ 124754 h 249698"/>
                    <a:gd name="connsiteX7" fmla="*/ 124849 w 249698"/>
                    <a:gd name="connsiteY7" fmla="*/ 235352 h 249698"/>
                    <a:gd name="connsiteX8" fmla="*/ 235447 w 249698"/>
                    <a:gd name="connsiteY8" fmla="*/ 124754 h 249698"/>
                    <a:gd name="connsiteX9" fmla="*/ 124849 w 249698"/>
                    <a:gd name="connsiteY9" fmla="*/ 14157 h 249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698" h="249698">
                      <a:moveTo>
                        <a:pt x="124849" y="249699"/>
                      </a:moveTo>
                      <a:cubicBezTo>
                        <a:pt x="55964" y="249699"/>
                        <a:pt x="0" y="193640"/>
                        <a:pt x="0" y="124849"/>
                      </a:cubicBezTo>
                      <a:cubicBezTo>
                        <a:pt x="0" y="56059"/>
                        <a:pt x="56059" y="0"/>
                        <a:pt x="124849" y="0"/>
                      </a:cubicBezTo>
                      <a:cubicBezTo>
                        <a:pt x="193640" y="0"/>
                        <a:pt x="249699" y="56059"/>
                        <a:pt x="249699" y="124849"/>
                      </a:cubicBezTo>
                      <a:cubicBezTo>
                        <a:pt x="249699" y="193640"/>
                        <a:pt x="193640" y="249699"/>
                        <a:pt x="124849" y="249699"/>
                      </a:cubicBezTo>
                      <a:close/>
                      <a:moveTo>
                        <a:pt x="124849" y="14157"/>
                      </a:moveTo>
                      <a:cubicBezTo>
                        <a:pt x="63850" y="14157"/>
                        <a:pt x="14252" y="63755"/>
                        <a:pt x="14252" y="124754"/>
                      </a:cubicBezTo>
                      <a:cubicBezTo>
                        <a:pt x="14252" y="185754"/>
                        <a:pt x="63850" y="235352"/>
                        <a:pt x="124849" y="235352"/>
                      </a:cubicBezTo>
                      <a:cubicBezTo>
                        <a:pt x="185849" y="235352"/>
                        <a:pt x="235447" y="185754"/>
                        <a:pt x="235447" y="124754"/>
                      </a:cubicBezTo>
                      <a:cubicBezTo>
                        <a:pt x="235447" y="63755"/>
                        <a:pt x="185849" y="14157"/>
                        <a:pt x="124849" y="14157"/>
                      </a:cubicBezTo>
                      <a:close/>
                    </a:path>
                  </a:pathLst>
                </a:custGeom>
                <a:grpFill/>
                <a:ln w="6350" cap="flat">
                  <a:solidFill>
                    <a:schemeClr val="tx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001965"/>
                    </a:solidFill>
                    <a:effectLst/>
                    <a:uLnTx/>
                    <a:uFillTx/>
                    <a:latin typeface="Avenir Next LT Pro"/>
                  </a:endParaRPr>
                </a:p>
              </p:txBody>
            </p:sp>
          </p:grpSp>
          <p:grpSp>
            <p:nvGrpSpPr>
              <p:cNvPr id="65" name="Graphic 3">
                <a:extLst>
                  <a:ext uri="{FF2B5EF4-FFF2-40B4-BE49-F238E27FC236}">
                    <a16:creationId xmlns:a16="http://schemas.microsoft.com/office/drawing/2014/main" id="{87DCDAC3-05CC-9937-4037-CEDA8C84792B}"/>
                  </a:ext>
                </a:extLst>
              </p:cNvPr>
              <p:cNvGrpSpPr/>
              <p:nvPr/>
            </p:nvGrpSpPr>
            <p:grpSpPr>
              <a:xfrm>
                <a:off x="-940989" y="4493338"/>
                <a:ext cx="145087" cy="145182"/>
                <a:chOff x="1364628" y="3850473"/>
                <a:chExt cx="145087" cy="145182"/>
              </a:xfrm>
              <a:solidFill>
                <a:srgbClr val="001965"/>
              </a:solidFill>
            </p:grpSpPr>
            <p:sp>
              <p:nvSpPr>
                <p:cNvPr id="105" name="Freeform 104">
                  <a:extLst>
                    <a:ext uri="{FF2B5EF4-FFF2-40B4-BE49-F238E27FC236}">
                      <a16:creationId xmlns:a16="http://schemas.microsoft.com/office/drawing/2014/main" id="{3EDE41B7-F565-31E9-17D0-85999B4CA193}"/>
                    </a:ext>
                  </a:extLst>
                </p:cNvPr>
                <p:cNvSpPr/>
                <p:nvPr/>
              </p:nvSpPr>
              <p:spPr>
                <a:xfrm rot="-2700000">
                  <a:off x="1371671" y="3857706"/>
                  <a:ext cx="130930" cy="130930"/>
                </a:xfrm>
                <a:custGeom>
                  <a:avLst/>
                  <a:gdLst>
                    <a:gd name="connsiteX0" fmla="*/ 130930 w 130930"/>
                    <a:gd name="connsiteY0" fmla="*/ 65465 h 130930"/>
                    <a:gd name="connsiteX1" fmla="*/ 65465 w 130930"/>
                    <a:gd name="connsiteY1" fmla="*/ 130930 h 130930"/>
                    <a:gd name="connsiteX2" fmla="*/ 0 w 130930"/>
                    <a:gd name="connsiteY2" fmla="*/ 65465 h 130930"/>
                    <a:gd name="connsiteX3" fmla="*/ 65465 w 130930"/>
                    <a:gd name="connsiteY3" fmla="*/ 0 h 130930"/>
                    <a:gd name="connsiteX4" fmla="*/ 130930 w 130930"/>
                    <a:gd name="connsiteY4" fmla="*/ 65465 h 130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30" h="130930">
                      <a:moveTo>
                        <a:pt x="130930" y="65465"/>
                      </a:moveTo>
                      <a:cubicBezTo>
                        <a:pt x="130930" y="101621"/>
                        <a:pt x="101621" y="130930"/>
                        <a:pt x="65465" y="130930"/>
                      </a:cubicBezTo>
                      <a:cubicBezTo>
                        <a:pt x="29310" y="130930"/>
                        <a:pt x="0" y="101621"/>
                        <a:pt x="0" y="65465"/>
                      </a:cubicBezTo>
                      <a:cubicBezTo>
                        <a:pt x="0" y="29310"/>
                        <a:pt x="29310" y="0"/>
                        <a:pt x="65465" y="0"/>
                      </a:cubicBezTo>
                      <a:cubicBezTo>
                        <a:pt x="101621" y="0"/>
                        <a:pt x="130930" y="29310"/>
                        <a:pt x="130930" y="65465"/>
                      </a:cubicBezTo>
                      <a:close/>
                    </a:path>
                  </a:pathLst>
                </a:custGeom>
                <a:solidFill>
                  <a:schemeClr val="accent2"/>
                </a:solidFill>
                <a:ln w="6350" cap="flat">
                  <a:solidFill>
                    <a:schemeClr val="tx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001965"/>
                    </a:solidFill>
                    <a:effectLst/>
                    <a:uLnTx/>
                    <a:uFillTx/>
                    <a:latin typeface="Avenir Next LT Pro"/>
                  </a:endParaRPr>
                </a:p>
              </p:txBody>
            </p:sp>
            <p:sp>
              <p:nvSpPr>
                <p:cNvPr id="106" name="Freeform 105">
                  <a:extLst>
                    <a:ext uri="{FF2B5EF4-FFF2-40B4-BE49-F238E27FC236}">
                      <a16:creationId xmlns:a16="http://schemas.microsoft.com/office/drawing/2014/main" id="{400C6642-8838-54C5-EE50-635B8EFEE8C6}"/>
                    </a:ext>
                  </a:extLst>
                </p:cNvPr>
                <p:cNvSpPr/>
                <p:nvPr/>
              </p:nvSpPr>
              <p:spPr>
                <a:xfrm>
                  <a:off x="1364628" y="3850473"/>
                  <a:ext cx="145087" cy="145182"/>
                </a:xfrm>
                <a:custGeom>
                  <a:avLst/>
                  <a:gdLst>
                    <a:gd name="connsiteX0" fmla="*/ 72496 w 145087"/>
                    <a:gd name="connsiteY0" fmla="*/ 145183 h 145182"/>
                    <a:gd name="connsiteX1" fmla="*/ 0 w 145087"/>
                    <a:gd name="connsiteY1" fmla="*/ 72591 h 145182"/>
                    <a:gd name="connsiteX2" fmla="*/ 72496 w 145087"/>
                    <a:gd name="connsiteY2" fmla="*/ 0 h 145182"/>
                    <a:gd name="connsiteX3" fmla="*/ 145088 w 145087"/>
                    <a:gd name="connsiteY3" fmla="*/ 72591 h 145182"/>
                    <a:gd name="connsiteX4" fmla="*/ 72496 w 145087"/>
                    <a:gd name="connsiteY4" fmla="*/ 145183 h 145182"/>
                    <a:gd name="connsiteX5" fmla="*/ 72496 w 145087"/>
                    <a:gd name="connsiteY5" fmla="*/ 14347 h 145182"/>
                    <a:gd name="connsiteX6" fmla="*/ 14252 w 145087"/>
                    <a:gd name="connsiteY6" fmla="*/ 72686 h 145182"/>
                    <a:gd name="connsiteX7" fmla="*/ 72496 w 145087"/>
                    <a:gd name="connsiteY7" fmla="*/ 131025 h 145182"/>
                    <a:gd name="connsiteX8" fmla="*/ 130835 w 145087"/>
                    <a:gd name="connsiteY8" fmla="*/ 72686 h 145182"/>
                    <a:gd name="connsiteX9" fmla="*/ 72496 w 145087"/>
                    <a:gd name="connsiteY9" fmla="*/ 14347 h 14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087" h="145182">
                      <a:moveTo>
                        <a:pt x="72496" y="145183"/>
                      </a:moveTo>
                      <a:cubicBezTo>
                        <a:pt x="32495" y="145183"/>
                        <a:pt x="0" y="112593"/>
                        <a:pt x="0" y="72591"/>
                      </a:cubicBezTo>
                      <a:cubicBezTo>
                        <a:pt x="0" y="32590"/>
                        <a:pt x="32495" y="0"/>
                        <a:pt x="72496" y="0"/>
                      </a:cubicBezTo>
                      <a:cubicBezTo>
                        <a:pt x="112498" y="0"/>
                        <a:pt x="145088" y="32590"/>
                        <a:pt x="145088" y="72591"/>
                      </a:cubicBezTo>
                      <a:cubicBezTo>
                        <a:pt x="145088" y="112593"/>
                        <a:pt x="112498" y="145183"/>
                        <a:pt x="72496" y="145183"/>
                      </a:cubicBezTo>
                      <a:close/>
                      <a:moveTo>
                        <a:pt x="72496" y="14347"/>
                      </a:moveTo>
                      <a:cubicBezTo>
                        <a:pt x="40381" y="14347"/>
                        <a:pt x="14252" y="40476"/>
                        <a:pt x="14252" y="72686"/>
                      </a:cubicBezTo>
                      <a:cubicBezTo>
                        <a:pt x="14252" y="104896"/>
                        <a:pt x="40381" y="131025"/>
                        <a:pt x="72496" y="131025"/>
                      </a:cubicBezTo>
                      <a:cubicBezTo>
                        <a:pt x="104611" y="131025"/>
                        <a:pt x="130835" y="104896"/>
                        <a:pt x="130835" y="72686"/>
                      </a:cubicBezTo>
                      <a:cubicBezTo>
                        <a:pt x="130835" y="40476"/>
                        <a:pt x="104706" y="14347"/>
                        <a:pt x="72496" y="14347"/>
                      </a:cubicBezTo>
                      <a:close/>
                    </a:path>
                  </a:pathLst>
                </a:custGeom>
                <a:grpFill/>
                <a:ln w="6350" cap="flat">
                  <a:solidFill>
                    <a:schemeClr val="tx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001965"/>
                    </a:solidFill>
                    <a:effectLst/>
                    <a:uLnTx/>
                    <a:uFillTx/>
                    <a:latin typeface="Avenir Next LT Pro"/>
                  </a:endParaRPr>
                </a:p>
              </p:txBody>
            </p:sp>
          </p:grpSp>
          <p:sp>
            <p:nvSpPr>
              <p:cNvPr id="66" name="Freeform 65">
                <a:extLst>
                  <a:ext uri="{FF2B5EF4-FFF2-40B4-BE49-F238E27FC236}">
                    <a16:creationId xmlns:a16="http://schemas.microsoft.com/office/drawing/2014/main" id="{C334093E-73D4-7DBF-7572-DD293F6B2E79}"/>
                  </a:ext>
                </a:extLst>
              </p:cNvPr>
              <p:cNvSpPr/>
              <p:nvPr/>
            </p:nvSpPr>
            <p:spPr>
              <a:xfrm>
                <a:off x="-1045691" y="4079449"/>
                <a:ext cx="118950" cy="118962"/>
              </a:xfrm>
              <a:custGeom>
                <a:avLst/>
                <a:gdLst>
                  <a:gd name="connsiteX0" fmla="*/ 59475 w 118950"/>
                  <a:gd name="connsiteY0" fmla="*/ 118963 h 118962"/>
                  <a:gd name="connsiteX1" fmla="*/ 2656 w 118950"/>
                  <a:gd name="connsiteY1" fmla="*/ 77061 h 118962"/>
                  <a:gd name="connsiteX2" fmla="*/ 41898 w 118950"/>
                  <a:gd name="connsiteY2" fmla="*/ 2664 h 118962"/>
                  <a:gd name="connsiteX3" fmla="*/ 116294 w 118950"/>
                  <a:gd name="connsiteY3" fmla="*/ 41906 h 118962"/>
                  <a:gd name="connsiteX4" fmla="*/ 116294 w 118950"/>
                  <a:gd name="connsiteY4" fmla="*/ 41906 h 118962"/>
                  <a:gd name="connsiteX5" fmla="*/ 77053 w 118950"/>
                  <a:gd name="connsiteY5" fmla="*/ 116302 h 118962"/>
                  <a:gd name="connsiteX6" fmla="*/ 59570 w 118950"/>
                  <a:gd name="connsiteY6" fmla="*/ 118963 h 118962"/>
                  <a:gd name="connsiteX7" fmla="*/ 59475 w 118950"/>
                  <a:gd name="connsiteY7" fmla="*/ 14256 h 118962"/>
                  <a:gd name="connsiteX8" fmla="*/ 46173 w 118950"/>
                  <a:gd name="connsiteY8" fmla="*/ 16252 h 118962"/>
                  <a:gd name="connsiteX9" fmla="*/ 16339 w 118950"/>
                  <a:gd name="connsiteY9" fmla="*/ 72785 h 118962"/>
                  <a:gd name="connsiteX10" fmla="*/ 72872 w 118950"/>
                  <a:gd name="connsiteY10" fmla="*/ 102620 h 118962"/>
                  <a:gd name="connsiteX11" fmla="*/ 102707 w 118950"/>
                  <a:gd name="connsiteY11" fmla="*/ 46086 h 118962"/>
                  <a:gd name="connsiteX12" fmla="*/ 59475 w 118950"/>
                  <a:gd name="connsiteY12" fmla="*/ 14256 h 118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950" h="118962">
                    <a:moveTo>
                      <a:pt x="59475" y="118963"/>
                    </a:moveTo>
                    <a:cubicBezTo>
                      <a:pt x="34106" y="118963"/>
                      <a:pt x="10543" y="102525"/>
                      <a:pt x="2656" y="77061"/>
                    </a:cubicBezTo>
                    <a:cubicBezTo>
                      <a:pt x="-7035" y="45706"/>
                      <a:pt x="10638" y="12356"/>
                      <a:pt x="41898" y="2664"/>
                    </a:cubicBezTo>
                    <a:cubicBezTo>
                      <a:pt x="73252" y="-7027"/>
                      <a:pt x="106603" y="10551"/>
                      <a:pt x="116294" y="41906"/>
                    </a:cubicBezTo>
                    <a:lnTo>
                      <a:pt x="116294" y="41906"/>
                    </a:lnTo>
                    <a:cubicBezTo>
                      <a:pt x="125986" y="73260"/>
                      <a:pt x="108313" y="106611"/>
                      <a:pt x="77053" y="116302"/>
                    </a:cubicBezTo>
                    <a:cubicBezTo>
                      <a:pt x="71257" y="118107"/>
                      <a:pt x="65366" y="118963"/>
                      <a:pt x="59570" y="118963"/>
                    </a:cubicBezTo>
                    <a:close/>
                    <a:moveTo>
                      <a:pt x="59475" y="14256"/>
                    </a:moveTo>
                    <a:cubicBezTo>
                      <a:pt x="55105" y="14256"/>
                      <a:pt x="50544" y="14921"/>
                      <a:pt x="46173" y="16252"/>
                    </a:cubicBezTo>
                    <a:cubicBezTo>
                      <a:pt x="22325" y="23568"/>
                      <a:pt x="8927" y="48937"/>
                      <a:pt x="16339" y="72785"/>
                    </a:cubicBezTo>
                    <a:cubicBezTo>
                      <a:pt x="23750" y="96634"/>
                      <a:pt x="49119" y="110031"/>
                      <a:pt x="72872" y="102620"/>
                    </a:cubicBezTo>
                    <a:cubicBezTo>
                      <a:pt x="96721" y="95304"/>
                      <a:pt x="110118" y="69935"/>
                      <a:pt x="102707" y="46086"/>
                    </a:cubicBezTo>
                    <a:cubicBezTo>
                      <a:pt x="96721" y="26703"/>
                      <a:pt x="78763" y="14256"/>
                      <a:pt x="59475" y="14256"/>
                    </a:cubicBezTo>
                    <a:close/>
                  </a:path>
                </a:pathLst>
              </a:custGeom>
              <a:solidFill>
                <a:srgbClr val="001965"/>
              </a:solidFill>
              <a:ln w="6350" cap="flat">
                <a:solidFill>
                  <a:schemeClr val="tx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001965"/>
                  </a:solidFill>
                  <a:effectLst/>
                  <a:uLnTx/>
                  <a:uFillTx/>
                  <a:latin typeface="Avenir Next LT Pro"/>
                </a:endParaRPr>
              </a:p>
            </p:txBody>
          </p:sp>
          <p:grpSp>
            <p:nvGrpSpPr>
              <p:cNvPr id="67" name="Graphic 3">
                <a:extLst>
                  <a:ext uri="{FF2B5EF4-FFF2-40B4-BE49-F238E27FC236}">
                    <a16:creationId xmlns:a16="http://schemas.microsoft.com/office/drawing/2014/main" id="{323A96FE-5105-1154-4126-3F86BD0632FE}"/>
                  </a:ext>
                </a:extLst>
              </p:cNvPr>
              <p:cNvGrpSpPr/>
              <p:nvPr/>
            </p:nvGrpSpPr>
            <p:grpSpPr>
              <a:xfrm>
                <a:off x="-1176600" y="4153171"/>
                <a:ext cx="66553" cy="66619"/>
                <a:chOff x="1129017" y="3510306"/>
                <a:chExt cx="66553" cy="66619"/>
              </a:xfrm>
              <a:solidFill>
                <a:srgbClr val="001965"/>
              </a:solidFill>
            </p:grpSpPr>
            <p:sp>
              <p:nvSpPr>
                <p:cNvPr id="103" name="Freeform 102">
                  <a:extLst>
                    <a:ext uri="{FF2B5EF4-FFF2-40B4-BE49-F238E27FC236}">
                      <a16:creationId xmlns:a16="http://schemas.microsoft.com/office/drawing/2014/main" id="{03729B28-A5CD-D286-9798-533FED9997FB}"/>
                    </a:ext>
                  </a:extLst>
                </p:cNvPr>
                <p:cNvSpPr/>
                <p:nvPr/>
              </p:nvSpPr>
              <p:spPr>
                <a:xfrm>
                  <a:off x="1136115" y="3517444"/>
                  <a:ext cx="52357" cy="52357"/>
                </a:xfrm>
                <a:custGeom>
                  <a:avLst/>
                  <a:gdLst>
                    <a:gd name="connsiteX0" fmla="*/ 50360 w 52357"/>
                    <a:gd name="connsiteY0" fmla="*/ 16155 h 52357"/>
                    <a:gd name="connsiteX1" fmla="*/ 36203 w 52357"/>
                    <a:gd name="connsiteY1" fmla="*/ 50360 h 52357"/>
                    <a:gd name="connsiteX2" fmla="*/ 1997 w 52357"/>
                    <a:gd name="connsiteY2" fmla="*/ 36203 h 52357"/>
                    <a:gd name="connsiteX3" fmla="*/ 16155 w 52357"/>
                    <a:gd name="connsiteY3" fmla="*/ 1997 h 52357"/>
                    <a:gd name="connsiteX4" fmla="*/ 50360 w 52357"/>
                    <a:gd name="connsiteY4" fmla="*/ 16155 h 52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57" h="52357">
                      <a:moveTo>
                        <a:pt x="50360" y="16155"/>
                      </a:moveTo>
                      <a:cubicBezTo>
                        <a:pt x="55871" y="29457"/>
                        <a:pt x="49600" y="44849"/>
                        <a:pt x="36203" y="50360"/>
                      </a:cubicBezTo>
                      <a:cubicBezTo>
                        <a:pt x="22901" y="55871"/>
                        <a:pt x="7508" y="49600"/>
                        <a:pt x="1997" y="36203"/>
                      </a:cubicBezTo>
                      <a:cubicBezTo>
                        <a:pt x="-3514" y="22901"/>
                        <a:pt x="2757" y="7508"/>
                        <a:pt x="16155" y="1997"/>
                      </a:cubicBezTo>
                      <a:cubicBezTo>
                        <a:pt x="29457" y="-3513"/>
                        <a:pt x="44849" y="2757"/>
                        <a:pt x="50360" y="16155"/>
                      </a:cubicBezTo>
                      <a:close/>
                    </a:path>
                  </a:pathLst>
                </a:custGeom>
                <a:solidFill>
                  <a:schemeClr val="accent2"/>
                </a:solidFill>
                <a:ln w="6350" cap="flat">
                  <a:solidFill>
                    <a:schemeClr val="tx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001965"/>
                    </a:solidFill>
                    <a:effectLst/>
                    <a:uLnTx/>
                    <a:uFillTx/>
                    <a:latin typeface="Avenir Next LT Pro"/>
                  </a:endParaRPr>
                </a:p>
              </p:txBody>
            </p:sp>
            <p:sp>
              <p:nvSpPr>
                <p:cNvPr id="104" name="Freeform 103">
                  <a:extLst>
                    <a:ext uri="{FF2B5EF4-FFF2-40B4-BE49-F238E27FC236}">
                      <a16:creationId xmlns:a16="http://schemas.microsoft.com/office/drawing/2014/main" id="{8A491128-7796-66FA-CEC7-D63DB124266A}"/>
                    </a:ext>
                  </a:extLst>
                </p:cNvPr>
                <p:cNvSpPr/>
                <p:nvPr/>
              </p:nvSpPr>
              <p:spPr>
                <a:xfrm>
                  <a:off x="1129017" y="3510306"/>
                  <a:ext cx="66553" cy="66619"/>
                </a:xfrm>
                <a:custGeom>
                  <a:avLst/>
                  <a:gdLst>
                    <a:gd name="connsiteX0" fmla="*/ 33324 w 66553"/>
                    <a:gd name="connsiteY0" fmla="*/ 66619 h 66619"/>
                    <a:gd name="connsiteX1" fmla="*/ 2540 w 66553"/>
                    <a:gd name="connsiteY1" fmla="*/ 46096 h 66619"/>
                    <a:gd name="connsiteX2" fmla="*/ 20497 w 66553"/>
                    <a:gd name="connsiteY2" fmla="*/ 2579 h 66619"/>
                    <a:gd name="connsiteX3" fmla="*/ 64014 w 66553"/>
                    <a:gd name="connsiteY3" fmla="*/ 20537 h 66619"/>
                    <a:gd name="connsiteX4" fmla="*/ 64014 w 66553"/>
                    <a:gd name="connsiteY4" fmla="*/ 20537 h 66619"/>
                    <a:gd name="connsiteX5" fmla="*/ 46056 w 66553"/>
                    <a:gd name="connsiteY5" fmla="*/ 64054 h 66619"/>
                    <a:gd name="connsiteX6" fmla="*/ 33324 w 66553"/>
                    <a:gd name="connsiteY6" fmla="*/ 66619 h 66619"/>
                    <a:gd name="connsiteX7" fmla="*/ 33324 w 66553"/>
                    <a:gd name="connsiteY7" fmla="*/ 14266 h 66619"/>
                    <a:gd name="connsiteX8" fmla="*/ 26008 w 66553"/>
                    <a:gd name="connsiteY8" fmla="*/ 15692 h 66619"/>
                    <a:gd name="connsiteX9" fmla="*/ 15747 w 66553"/>
                    <a:gd name="connsiteY9" fmla="*/ 40585 h 66619"/>
                    <a:gd name="connsiteX10" fmla="*/ 40641 w 66553"/>
                    <a:gd name="connsiteY10" fmla="*/ 50847 h 66619"/>
                    <a:gd name="connsiteX11" fmla="*/ 50902 w 66553"/>
                    <a:gd name="connsiteY11" fmla="*/ 25953 h 66619"/>
                    <a:gd name="connsiteX12" fmla="*/ 33324 w 66553"/>
                    <a:gd name="connsiteY12" fmla="*/ 14266 h 66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553" h="66619">
                      <a:moveTo>
                        <a:pt x="33324" y="66619"/>
                      </a:moveTo>
                      <a:cubicBezTo>
                        <a:pt x="20307" y="66619"/>
                        <a:pt x="7860" y="58923"/>
                        <a:pt x="2540" y="46096"/>
                      </a:cubicBezTo>
                      <a:cubicBezTo>
                        <a:pt x="-4491" y="29184"/>
                        <a:pt x="3585" y="9611"/>
                        <a:pt x="20497" y="2579"/>
                      </a:cubicBezTo>
                      <a:cubicBezTo>
                        <a:pt x="37505" y="-4547"/>
                        <a:pt x="56983" y="3625"/>
                        <a:pt x="64014" y="20537"/>
                      </a:cubicBezTo>
                      <a:lnTo>
                        <a:pt x="64014" y="20537"/>
                      </a:lnTo>
                      <a:cubicBezTo>
                        <a:pt x="71045" y="37450"/>
                        <a:pt x="62969" y="57023"/>
                        <a:pt x="46056" y="64054"/>
                      </a:cubicBezTo>
                      <a:cubicBezTo>
                        <a:pt x="41876" y="65764"/>
                        <a:pt x="37600" y="66619"/>
                        <a:pt x="33324" y="66619"/>
                      </a:cubicBezTo>
                      <a:close/>
                      <a:moveTo>
                        <a:pt x="33324" y="14266"/>
                      </a:moveTo>
                      <a:cubicBezTo>
                        <a:pt x="30854" y="14266"/>
                        <a:pt x="28384" y="14741"/>
                        <a:pt x="26008" y="15692"/>
                      </a:cubicBezTo>
                      <a:cubicBezTo>
                        <a:pt x="16317" y="19682"/>
                        <a:pt x="11756" y="30894"/>
                        <a:pt x="15747" y="40585"/>
                      </a:cubicBezTo>
                      <a:cubicBezTo>
                        <a:pt x="19737" y="50277"/>
                        <a:pt x="30949" y="54838"/>
                        <a:pt x="40641" y="50847"/>
                      </a:cubicBezTo>
                      <a:cubicBezTo>
                        <a:pt x="50332" y="46856"/>
                        <a:pt x="54893" y="35645"/>
                        <a:pt x="50902" y="25953"/>
                      </a:cubicBezTo>
                      <a:cubicBezTo>
                        <a:pt x="47862" y="18637"/>
                        <a:pt x="40736" y="14266"/>
                        <a:pt x="33324" y="14266"/>
                      </a:cubicBezTo>
                      <a:close/>
                    </a:path>
                  </a:pathLst>
                </a:custGeom>
                <a:grpFill/>
                <a:ln w="6350" cap="flat">
                  <a:solidFill>
                    <a:schemeClr val="tx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001965"/>
                    </a:solidFill>
                    <a:effectLst/>
                    <a:uLnTx/>
                    <a:uFillTx/>
                    <a:latin typeface="Avenir Next LT Pro"/>
                  </a:endParaRPr>
                </a:p>
              </p:txBody>
            </p:sp>
          </p:grpSp>
          <p:sp>
            <p:nvSpPr>
              <p:cNvPr id="89" name="Freeform 88">
                <a:extLst>
                  <a:ext uri="{FF2B5EF4-FFF2-40B4-BE49-F238E27FC236}">
                    <a16:creationId xmlns:a16="http://schemas.microsoft.com/office/drawing/2014/main" id="{59DAF3A2-FECB-C644-7AD0-86F5CD84F45C}"/>
                  </a:ext>
                </a:extLst>
              </p:cNvPr>
              <p:cNvSpPr/>
              <p:nvPr/>
            </p:nvSpPr>
            <p:spPr>
              <a:xfrm>
                <a:off x="-1425184" y="4114039"/>
                <a:ext cx="171216" cy="171216"/>
              </a:xfrm>
              <a:custGeom>
                <a:avLst/>
                <a:gdLst>
                  <a:gd name="connsiteX0" fmla="*/ 85608 w 171216"/>
                  <a:gd name="connsiteY0" fmla="*/ 171217 h 171216"/>
                  <a:gd name="connsiteX1" fmla="*/ 0 w 171216"/>
                  <a:gd name="connsiteY1" fmla="*/ 85608 h 171216"/>
                  <a:gd name="connsiteX2" fmla="*/ 85608 w 171216"/>
                  <a:gd name="connsiteY2" fmla="*/ 0 h 171216"/>
                  <a:gd name="connsiteX3" fmla="*/ 171217 w 171216"/>
                  <a:gd name="connsiteY3" fmla="*/ 85608 h 171216"/>
                  <a:gd name="connsiteX4" fmla="*/ 85608 w 171216"/>
                  <a:gd name="connsiteY4" fmla="*/ 171217 h 171216"/>
                  <a:gd name="connsiteX5" fmla="*/ 85608 w 171216"/>
                  <a:gd name="connsiteY5" fmla="*/ 14252 h 171216"/>
                  <a:gd name="connsiteX6" fmla="*/ 14252 w 171216"/>
                  <a:gd name="connsiteY6" fmla="*/ 85608 h 171216"/>
                  <a:gd name="connsiteX7" fmla="*/ 85608 w 171216"/>
                  <a:gd name="connsiteY7" fmla="*/ 156964 h 171216"/>
                  <a:gd name="connsiteX8" fmla="*/ 156964 w 171216"/>
                  <a:gd name="connsiteY8" fmla="*/ 85608 h 171216"/>
                  <a:gd name="connsiteX9" fmla="*/ 85608 w 171216"/>
                  <a:gd name="connsiteY9" fmla="*/ 14252 h 17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216" h="171216">
                    <a:moveTo>
                      <a:pt x="85608" y="171217"/>
                    </a:moveTo>
                    <a:cubicBezTo>
                      <a:pt x="38386" y="171217"/>
                      <a:pt x="0" y="132831"/>
                      <a:pt x="0" y="85608"/>
                    </a:cubicBezTo>
                    <a:cubicBezTo>
                      <a:pt x="0" y="38386"/>
                      <a:pt x="38386" y="0"/>
                      <a:pt x="85608" y="0"/>
                    </a:cubicBezTo>
                    <a:cubicBezTo>
                      <a:pt x="132831" y="0"/>
                      <a:pt x="171217" y="38386"/>
                      <a:pt x="171217" y="85608"/>
                    </a:cubicBezTo>
                    <a:cubicBezTo>
                      <a:pt x="171217" y="132831"/>
                      <a:pt x="132831" y="171217"/>
                      <a:pt x="85608" y="171217"/>
                    </a:cubicBezTo>
                    <a:close/>
                    <a:moveTo>
                      <a:pt x="85608" y="14252"/>
                    </a:moveTo>
                    <a:cubicBezTo>
                      <a:pt x="46272" y="14252"/>
                      <a:pt x="14252" y="46272"/>
                      <a:pt x="14252" y="85608"/>
                    </a:cubicBezTo>
                    <a:cubicBezTo>
                      <a:pt x="14252" y="124944"/>
                      <a:pt x="46272" y="156964"/>
                      <a:pt x="85608" y="156964"/>
                    </a:cubicBezTo>
                    <a:cubicBezTo>
                      <a:pt x="124944" y="156964"/>
                      <a:pt x="156964" y="124944"/>
                      <a:pt x="156964" y="85608"/>
                    </a:cubicBezTo>
                    <a:cubicBezTo>
                      <a:pt x="156964" y="46272"/>
                      <a:pt x="124944" y="14252"/>
                      <a:pt x="85608" y="14252"/>
                    </a:cubicBezTo>
                    <a:close/>
                  </a:path>
                </a:pathLst>
              </a:custGeom>
              <a:solidFill>
                <a:srgbClr val="001965"/>
              </a:solidFill>
              <a:ln w="6350" cap="flat">
                <a:solidFill>
                  <a:schemeClr val="tx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001965"/>
                  </a:solidFill>
                  <a:effectLst/>
                  <a:uLnTx/>
                  <a:uFillTx/>
                  <a:latin typeface="Avenir Next LT Pro"/>
                </a:endParaRPr>
              </a:p>
            </p:txBody>
          </p:sp>
          <p:sp>
            <p:nvSpPr>
              <p:cNvPr id="90" name="Freeform 89">
                <a:extLst>
                  <a:ext uri="{FF2B5EF4-FFF2-40B4-BE49-F238E27FC236}">
                    <a16:creationId xmlns:a16="http://schemas.microsoft.com/office/drawing/2014/main" id="{5FED3DCE-C601-F90A-6B92-E3D4F82E2635}"/>
                  </a:ext>
                </a:extLst>
              </p:cNvPr>
              <p:cNvSpPr/>
              <p:nvPr/>
            </p:nvSpPr>
            <p:spPr>
              <a:xfrm>
                <a:off x="-1385943" y="4663604"/>
                <a:ext cx="171216" cy="171216"/>
              </a:xfrm>
              <a:custGeom>
                <a:avLst/>
                <a:gdLst>
                  <a:gd name="connsiteX0" fmla="*/ 85608 w 171216"/>
                  <a:gd name="connsiteY0" fmla="*/ 171217 h 171216"/>
                  <a:gd name="connsiteX1" fmla="*/ 0 w 171216"/>
                  <a:gd name="connsiteY1" fmla="*/ 85608 h 171216"/>
                  <a:gd name="connsiteX2" fmla="*/ 85608 w 171216"/>
                  <a:gd name="connsiteY2" fmla="*/ 0 h 171216"/>
                  <a:gd name="connsiteX3" fmla="*/ 171217 w 171216"/>
                  <a:gd name="connsiteY3" fmla="*/ 85608 h 171216"/>
                  <a:gd name="connsiteX4" fmla="*/ 85608 w 171216"/>
                  <a:gd name="connsiteY4" fmla="*/ 171217 h 171216"/>
                  <a:gd name="connsiteX5" fmla="*/ 85608 w 171216"/>
                  <a:gd name="connsiteY5" fmla="*/ 14157 h 171216"/>
                  <a:gd name="connsiteX6" fmla="*/ 14252 w 171216"/>
                  <a:gd name="connsiteY6" fmla="*/ 85513 h 171216"/>
                  <a:gd name="connsiteX7" fmla="*/ 85608 w 171216"/>
                  <a:gd name="connsiteY7" fmla="*/ 156869 h 171216"/>
                  <a:gd name="connsiteX8" fmla="*/ 156964 w 171216"/>
                  <a:gd name="connsiteY8" fmla="*/ 85513 h 171216"/>
                  <a:gd name="connsiteX9" fmla="*/ 85608 w 171216"/>
                  <a:gd name="connsiteY9" fmla="*/ 14157 h 17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216" h="171216">
                    <a:moveTo>
                      <a:pt x="85608" y="171217"/>
                    </a:moveTo>
                    <a:cubicBezTo>
                      <a:pt x="38386" y="171217"/>
                      <a:pt x="0" y="132831"/>
                      <a:pt x="0" y="85608"/>
                    </a:cubicBezTo>
                    <a:cubicBezTo>
                      <a:pt x="0" y="38386"/>
                      <a:pt x="38386" y="0"/>
                      <a:pt x="85608" y="0"/>
                    </a:cubicBezTo>
                    <a:cubicBezTo>
                      <a:pt x="132831" y="0"/>
                      <a:pt x="171217" y="38386"/>
                      <a:pt x="171217" y="85608"/>
                    </a:cubicBezTo>
                    <a:cubicBezTo>
                      <a:pt x="171217" y="132831"/>
                      <a:pt x="132831" y="171217"/>
                      <a:pt x="85608" y="171217"/>
                    </a:cubicBezTo>
                    <a:close/>
                    <a:moveTo>
                      <a:pt x="85608" y="14157"/>
                    </a:moveTo>
                    <a:cubicBezTo>
                      <a:pt x="46272" y="14157"/>
                      <a:pt x="14252" y="46177"/>
                      <a:pt x="14252" y="85513"/>
                    </a:cubicBezTo>
                    <a:cubicBezTo>
                      <a:pt x="14252" y="124849"/>
                      <a:pt x="46272" y="156869"/>
                      <a:pt x="85608" y="156869"/>
                    </a:cubicBezTo>
                    <a:cubicBezTo>
                      <a:pt x="124944" y="156869"/>
                      <a:pt x="156964" y="124849"/>
                      <a:pt x="156964" y="85513"/>
                    </a:cubicBezTo>
                    <a:cubicBezTo>
                      <a:pt x="156964" y="46177"/>
                      <a:pt x="124944" y="14157"/>
                      <a:pt x="85608" y="14157"/>
                    </a:cubicBezTo>
                    <a:close/>
                  </a:path>
                </a:pathLst>
              </a:custGeom>
              <a:solidFill>
                <a:srgbClr val="001965"/>
              </a:solidFill>
              <a:ln w="6350" cap="flat">
                <a:solidFill>
                  <a:schemeClr val="tx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001965"/>
                  </a:solidFill>
                  <a:effectLst/>
                  <a:uLnTx/>
                  <a:uFillTx/>
                  <a:latin typeface="Avenir Next LT Pro"/>
                </a:endParaRPr>
              </a:p>
            </p:txBody>
          </p:sp>
          <p:grpSp>
            <p:nvGrpSpPr>
              <p:cNvPr id="91" name="Graphic 3">
                <a:extLst>
                  <a:ext uri="{FF2B5EF4-FFF2-40B4-BE49-F238E27FC236}">
                    <a16:creationId xmlns:a16="http://schemas.microsoft.com/office/drawing/2014/main" id="{47B3C121-3ADC-F268-4FDC-DDC06398E717}"/>
                  </a:ext>
                </a:extLst>
              </p:cNvPr>
              <p:cNvGrpSpPr/>
              <p:nvPr/>
            </p:nvGrpSpPr>
            <p:grpSpPr>
              <a:xfrm>
                <a:off x="-954101" y="4218745"/>
                <a:ext cx="171216" cy="171216"/>
                <a:chOff x="1351516" y="3575880"/>
                <a:chExt cx="171216" cy="171216"/>
              </a:xfrm>
              <a:solidFill>
                <a:srgbClr val="001965"/>
              </a:solidFill>
            </p:grpSpPr>
            <p:sp>
              <p:nvSpPr>
                <p:cNvPr id="101" name="Freeform 100">
                  <a:extLst>
                    <a:ext uri="{FF2B5EF4-FFF2-40B4-BE49-F238E27FC236}">
                      <a16:creationId xmlns:a16="http://schemas.microsoft.com/office/drawing/2014/main" id="{8AC78E4C-2774-9D0F-9EEF-301A415041BA}"/>
                    </a:ext>
                  </a:extLst>
                </p:cNvPr>
                <p:cNvSpPr/>
                <p:nvPr/>
              </p:nvSpPr>
              <p:spPr>
                <a:xfrm>
                  <a:off x="1358642" y="3582911"/>
                  <a:ext cx="156964" cy="156964"/>
                </a:xfrm>
                <a:custGeom>
                  <a:avLst/>
                  <a:gdLst>
                    <a:gd name="connsiteX0" fmla="*/ 156964 w 156964"/>
                    <a:gd name="connsiteY0" fmla="*/ 78482 h 156964"/>
                    <a:gd name="connsiteX1" fmla="*/ 78482 w 156964"/>
                    <a:gd name="connsiteY1" fmla="*/ 156964 h 156964"/>
                    <a:gd name="connsiteX2" fmla="*/ 0 w 156964"/>
                    <a:gd name="connsiteY2" fmla="*/ 78482 h 156964"/>
                    <a:gd name="connsiteX3" fmla="*/ 78482 w 156964"/>
                    <a:gd name="connsiteY3" fmla="*/ 0 h 156964"/>
                    <a:gd name="connsiteX4" fmla="*/ 156964 w 156964"/>
                    <a:gd name="connsiteY4" fmla="*/ 78482 h 156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964" h="156964">
                      <a:moveTo>
                        <a:pt x="156964" y="78482"/>
                      </a:moveTo>
                      <a:cubicBezTo>
                        <a:pt x="156964" y="121827"/>
                        <a:pt x="121827" y="156964"/>
                        <a:pt x="78482" y="156964"/>
                      </a:cubicBezTo>
                      <a:cubicBezTo>
                        <a:pt x="35138" y="156964"/>
                        <a:pt x="0" y="121827"/>
                        <a:pt x="0" y="78482"/>
                      </a:cubicBezTo>
                      <a:cubicBezTo>
                        <a:pt x="0" y="35138"/>
                        <a:pt x="35138" y="0"/>
                        <a:pt x="78482" y="0"/>
                      </a:cubicBezTo>
                      <a:cubicBezTo>
                        <a:pt x="121827" y="0"/>
                        <a:pt x="156964" y="35138"/>
                        <a:pt x="156964" y="78482"/>
                      </a:cubicBezTo>
                      <a:close/>
                    </a:path>
                  </a:pathLst>
                </a:custGeom>
                <a:solidFill>
                  <a:schemeClr val="accent2"/>
                </a:solidFill>
                <a:ln w="6350" cap="flat">
                  <a:solidFill>
                    <a:schemeClr val="tx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001965"/>
                    </a:solidFill>
                    <a:effectLst/>
                    <a:uLnTx/>
                    <a:uFillTx/>
                    <a:latin typeface="Avenir Next LT Pro"/>
                  </a:endParaRPr>
                </a:p>
              </p:txBody>
            </p:sp>
            <p:sp>
              <p:nvSpPr>
                <p:cNvPr id="102" name="Freeform 101">
                  <a:extLst>
                    <a:ext uri="{FF2B5EF4-FFF2-40B4-BE49-F238E27FC236}">
                      <a16:creationId xmlns:a16="http://schemas.microsoft.com/office/drawing/2014/main" id="{F91B787D-8BBD-EB3D-87EF-2D55D91E34C9}"/>
                    </a:ext>
                  </a:extLst>
                </p:cNvPr>
                <p:cNvSpPr/>
                <p:nvPr/>
              </p:nvSpPr>
              <p:spPr>
                <a:xfrm>
                  <a:off x="1351516" y="3575880"/>
                  <a:ext cx="171216" cy="171216"/>
                </a:xfrm>
                <a:custGeom>
                  <a:avLst/>
                  <a:gdLst>
                    <a:gd name="connsiteX0" fmla="*/ 85608 w 171216"/>
                    <a:gd name="connsiteY0" fmla="*/ 171217 h 171216"/>
                    <a:gd name="connsiteX1" fmla="*/ 0 w 171216"/>
                    <a:gd name="connsiteY1" fmla="*/ 85608 h 171216"/>
                    <a:gd name="connsiteX2" fmla="*/ 85608 w 171216"/>
                    <a:gd name="connsiteY2" fmla="*/ 0 h 171216"/>
                    <a:gd name="connsiteX3" fmla="*/ 171217 w 171216"/>
                    <a:gd name="connsiteY3" fmla="*/ 85608 h 171216"/>
                    <a:gd name="connsiteX4" fmla="*/ 85608 w 171216"/>
                    <a:gd name="connsiteY4" fmla="*/ 171217 h 171216"/>
                    <a:gd name="connsiteX5" fmla="*/ 85608 w 171216"/>
                    <a:gd name="connsiteY5" fmla="*/ 14157 h 171216"/>
                    <a:gd name="connsiteX6" fmla="*/ 14252 w 171216"/>
                    <a:gd name="connsiteY6" fmla="*/ 85513 h 171216"/>
                    <a:gd name="connsiteX7" fmla="*/ 85608 w 171216"/>
                    <a:gd name="connsiteY7" fmla="*/ 156869 h 171216"/>
                    <a:gd name="connsiteX8" fmla="*/ 156964 w 171216"/>
                    <a:gd name="connsiteY8" fmla="*/ 85513 h 171216"/>
                    <a:gd name="connsiteX9" fmla="*/ 85608 w 171216"/>
                    <a:gd name="connsiteY9" fmla="*/ 14157 h 17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216" h="171216">
                      <a:moveTo>
                        <a:pt x="85608" y="171217"/>
                      </a:moveTo>
                      <a:cubicBezTo>
                        <a:pt x="38386" y="171217"/>
                        <a:pt x="0" y="132831"/>
                        <a:pt x="0" y="85608"/>
                      </a:cubicBezTo>
                      <a:cubicBezTo>
                        <a:pt x="0" y="38386"/>
                        <a:pt x="38386" y="0"/>
                        <a:pt x="85608" y="0"/>
                      </a:cubicBezTo>
                      <a:cubicBezTo>
                        <a:pt x="132831" y="0"/>
                        <a:pt x="171217" y="38386"/>
                        <a:pt x="171217" y="85608"/>
                      </a:cubicBezTo>
                      <a:cubicBezTo>
                        <a:pt x="171217" y="132831"/>
                        <a:pt x="132831" y="171217"/>
                        <a:pt x="85608" y="171217"/>
                      </a:cubicBezTo>
                      <a:close/>
                      <a:moveTo>
                        <a:pt x="85608" y="14157"/>
                      </a:moveTo>
                      <a:cubicBezTo>
                        <a:pt x="46272" y="14157"/>
                        <a:pt x="14252" y="46177"/>
                        <a:pt x="14252" y="85513"/>
                      </a:cubicBezTo>
                      <a:cubicBezTo>
                        <a:pt x="14252" y="124849"/>
                        <a:pt x="46272" y="156869"/>
                        <a:pt x="85608" y="156869"/>
                      </a:cubicBezTo>
                      <a:cubicBezTo>
                        <a:pt x="124944" y="156869"/>
                        <a:pt x="156964" y="124849"/>
                        <a:pt x="156964" y="85513"/>
                      </a:cubicBezTo>
                      <a:cubicBezTo>
                        <a:pt x="156964" y="46177"/>
                        <a:pt x="124944" y="14157"/>
                        <a:pt x="85608" y="14157"/>
                      </a:cubicBezTo>
                      <a:close/>
                    </a:path>
                  </a:pathLst>
                </a:custGeom>
                <a:grpFill/>
                <a:ln w="6350" cap="flat">
                  <a:solidFill>
                    <a:schemeClr val="tx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001965"/>
                    </a:solidFill>
                    <a:effectLst/>
                    <a:uLnTx/>
                    <a:uFillTx/>
                    <a:latin typeface="Avenir Next LT Pro"/>
                  </a:endParaRPr>
                </a:p>
              </p:txBody>
            </p:sp>
          </p:grpSp>
          <p:sp>
            <p:nvSpPr>
              <p:cNvPr id="92" name="Freeform 91">
                <a:extLst>
                  <a:ext uri="{FF2B5EF4-FFF2-40B4-BE49-F238E27FC236}">
                    <a16:creationId xmlns:a16="http://schemas.microsoft.com/office/drawing/2014/main" id="{31DF2D92-7146-290E-CC2E-4B73FCEECEFC}"/>
                  </a:ext>
                </a:extLst>
              </p:cNvPr>
              <p:cNvSpPr/>
              <p:nvPr/>
            </p:nvSpPr>
            <p:spPr>
              <a:xfrm rot="19102198">
                <a:off x="-1255115" y="4245239"/>
                <a:ext cx="14252" cy="157534"/>
              </a:xfrm>
              <a:custGeom>
                <a:avLst/>
                <a:gdLst>
                  <a:gd name="connsiteX0" fmla="*/ 0 w 14252"/>
                  <a:gd name="connsiteY0" fmla="*/ 0 h 157534"/>
                  <a:gd name="connsiteX1" fmla="*/ 14252 w 14252"/>
                  <a:gd name="connsiteY1" fmla="*/ 0 h 157534"/>
                  <a:gd name="connsiteX2" fmla="*/ 14252 w 14252"/>
                  <a:gd name="connsiteY2" fmla="*/ 157535 h 157534"/>
                  <a:gd name="connsiteX3" fmla="*/ 0 w 14252"/>
                  <a:gd name="connsiteY3" fmla="*/ 157535 h 157534"/>
                </a:gdLst>
                <a:ahLst/>
                <a:cxnLst>
                  <a:cxn ang="0">
                    <a:pos x="connsiteX0" y="connsiteY0"/>
                  </a:cxn>
                  <a:cxn ang="0">
                    <a:pos x="connsiteX1" y="connsiteY1"/>
                  </a:cxn>
                  <a:cxn ang="0">
                    <a:pos x="connsiteX2" y="connsiteY2"/>
                  </a:cxn>
                  <a:cxn ang="0">
                    <a:pos x="connsiteX3" y="connsiteY3"/>
                  </a:cxn>
                </a:cxnLst>
                <a:rect l="l" t="t" r="r" b="b"/>
                <a:pathLst>
                  <a:path w="14252" h="157534">
                    <a:moveTo>
                      <a:pt x="0" y="0"/>
                    </a:moveTo>
                    <a:lnTo>
                      <a:pt x="14252" y="0"/>
                    </a:lnTo>
                    <a:lnTo>
                      <a:pt x="14252" y="157535"/>
                    </a:lnTo>
                    <a:lnTo>
                      <a:pt x="0" y="157535"/>
                    </a:lnTo>
                    <a:close/>
                  </a:path>
                </a:pathLst>
              </a:custGeom>
              <a:solidFill>
                <a:srgbClr val="001965"/>
              </a:solidFill>
              <a:ln w="6350" cap="flat">
                <a:solidFill>
                  <a:schemeClr val="tx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001965"/>
                  </a:solidFill>
                  <a:effectLst/>
                  <a:uLnTx/>
                  <a:uFillTx/>
                  <a:latin typeface="Avenir Next LT Pro"/>
                </a:endParaRPr>
              </a:p>
            </p:txBody>
          </p:sp>
          <p:sp>
            <p:nvSpPr>
              <p:cNvPr id="93" name="Freeform 92">
                <a:extLst>
                  <a:ext uri="{FF2B5EF4-FFF2-40B4-BE49-F238E27FC236}">
                    <a16:creationId xmlns:a16="http://schemas.microsoft.com/office/drawing/2014/main" id="{3B52C254-CFA9-E509-0C66-6FCADB9B7CD7}"/>
                  </a:ext>
                </a:extLst>
              </p:cNvPr>
              <p:cNvSpPr/>
              <p:nvPr/>
            </p:nvSpPr>
            <p:spPr>
              <a:xfrm rot="17821800">
                <a:off x="-971653" y="4492327"/>
                <a:ext cx="14252" cy="78197"/>
              </a:xfrm>
              <a:custGeom>
                <a:avLst/>
                <a:gdLst>
                  <a:gd name="connsiteX0" fmla="*/ 0 w 14252"/>
                  <a:gd name="connsiteY0" fmla="*/ 0 h 78197"/>
                  <a:gd name="connsiteX1" fmla="*/ 14252 w 14252"/>
                  <a:gd name="connsiteY1" fmla="*/ 0 h 78197"/>
                  <a:gd name="connsiteX2" fmla="*/ 14252 w 14252"/>
                  <a:gd name="connsiteY2" fmla="*/ 78197 h 78197"/>
                  <a:gd name="connsiteX3" fmla="*/ 0 w 14252"/>
                  <a:gd name="connsiteY3" fmla="*/ 78197 h 78197"/>
                </a:gdLst>
                <a:ahLst/>
                <a:cxnLst>
                  <a:cxn ang="0">
                    <a:pos x="connsiteX0" y="connsiteY0"/>
                  </a:cxn>
                  <a:cxn ang="0">
                    <a:pos x="connsiteX1" y="connsiteY1"/>
                  </a:cxn>
                  <a:cxn ang="0">
                    <a:pos x="connsiteX2" y="connsiteY2"/>
                  </a:cxn>
                  <a:cxn ang="0">
                    <a:pos x="connsiteX3" y="connsiteY3"/>
                  </a:cxn>
                </a:cxnLst>
                <a:rect l="l" t="t" r="r" b="b"/>
                <a:pathLst>
                  <a:path w="14252" h="78197">
                    <a:moveTo>
                      <a:pt x="0" y="0"/>
                    </a:moveTo>
                    <a:lnTo>
                      <a:pt x="14252" y="0"/>
                    </a:lnTo>
                    <a:lnTo>
                      <a:pt x="14252" y="78197"/>
                    </a:lnTo>
                    <a:lnTo>
                      <a:pt x="0" y="78197"/>
                    </a:lnTo>
                    <a:close/>
                  </a:path>
                </a:pathLst>
              </a:custGeom>
              <a:solidFill>
                <a:srgbClr val="001965"/>
              </a:solidFill>
              <a:ln w="6350" cap="flat">
                <a:solidFill>
                  <a:schemeClr val="tx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001965"/>
                  </a:solidFill>
                  <a:effectLst/>
                  <a:uLnTx/>
                  <a:uFillTx/>
                  <a:latin typeface="Avenir Next LT Pro"/>
                </a:endParaRPr>
              </a:p>
            </p:txBody>
          </p:sp>
          <p:sp>
            <p:nvSpPr>
              <p:cNvPr id="94" name="Freeform 93">
                <a:extLst>
                  <a:ext uri="{FF2B5EF4-FFF2-40B4-BE49-F238E27FC236}">
                    <a16:creationId xmlns:a16="http://schemas.microsoft.com/office/drawing/2014/main" id="{429E86F5-35AD-9AF5-8B6A-39BA538FF163}"/>
                  </a:ext>
                </a:extLst>
              </p:cNvPr>
              <p:cNvSpPr/>
              <p:nvPr/>
            </p:nvSpPr>
            <p:spPr>
              <a:xfrm rot="18221399">
                <a:off x="-1292539" y="4617686"/>
                <a:ext cx="141572" cy="14252"/>
              </a:xfrm>
              <a:custGeom>
                <a:avLst/>
                <a:gdLst>
                  <a:gd name="connsiteX0" fmla="*/ 0 w 141572"/>
                  <a:gd name="connsiteY0" fmla="*/ 0 h 14252"/>
                  <a:gd name="connsiteX1" fmla="*/ 141572 w 141572"/>
                  <a:gd name="connsiteY1" fmla="*/ 0 h 14252"/>
                  <a:gd name="connsiteX2" fmla="*/ 141572 w 141572"/>
                  <a:gd name="connsiteY2" fmla="*/ 14252 h 14252"/>
                  <a:gd name="connsiteX3" fmla="*/ 0 w 141572"/>
                  <a:gd name="connsiteY3" fmla="*/ 14252 h 14252"/>
                </a:gdLst>
                <a:ahLst/>
                <a:cxnLst>
                  <a:cxn ang="0">
                    <a:pos x="connsiteX0" y="connsiteY0"/>
                  </a:cxn>
                  <a:cxn ang="0">
                    <a:pos x="connsiteX1" y="connsiteY1"/>
                  </a:cxn>
                  <a:cxn ang="0">
                    <a:pos x="connsiteX2" y="connsiteY2"/>
                  </a:cxn>
                  <a:cxn ang="0">
                    <a:pos x="connsiteX3" y="connsiteY3"/>
                  </a:cxn>
                </a:cxnLst>
                <a:rect l="l" t="t" r="r" b="b"/>
                <a:pathLst>
                  <a:path w="141572" h="14252">
                    <a:moveTo>
                      <a:pt x="0" y="0"/>
                    </a:moveTo>
                    <a:lnTo>
                      <a:pt x="141572" y="0"/>
                    </a:lnTo>
                    <a:lnTo>
                      <a:pt x="141572" y="14252"/>
                    </a:lnTo>
                    <a:lnTo>
                      <a:pt x="0" y="14252"/>
                    </a:lnTo>
                    <a:close/>
                  </a:path>
                </a:pathLst>
              </a:custGeom>
              <a:solidFill>
                <a:srgbClr val="001965"/>
              </a:solidFill>
              <a:ln w="6350" cap="flat">
                <a:solidFill>
                  <a:schemeClr val="tx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001965"/>
                  </a:solidFill>
                  <a:effectLst/>
                  <a:uLnTx/>
                  <a:uFillTx/>
                  <a:latin typeface="Avenir Next LT Pro"/>
                </a:endParaRPr>
              </a:p>
            </p:txBody>
          </p:sp>
          <p:sp>
            <p:nvSpPr>
              <p:cNvPr id="96" name="Freeform 95">
                <a:extLst>
                  <a:ext uri="{FF2B5EF4-FFF2-40B4-BE49-F238E27FC236}">
                    <a16:creationId xmlns:a16="http://schemas.microsoft.com/office/drawing/2014/main" id="{F9FF32C4-2378-2D59-014C-DE4F480013F2}"/>
                  </a:ext>
                </a:extLst>
              </p:cNvPr>
              <p:cNvSpPr/>
              <p:nvPr/>
            </p:nvSpPr>
            <p:spPr>
              <a:xfrm rot="19706401">
                <a:off x="-1030386" y="4363657"/>
                <a:ext cx="104136" cy="14252"/>
              </a:xfrm>
              <a:custGeom>
                <a:avLst/>
                <a:gdLst>
                  <a:gd name="connsiteX0" fmla="*/ 0 w 104136"/>
                  <a:gd name="connsiteY0" fmla="*/ 0 h 14252"/>
                  <a:gd name="connsiteX1" fmla="*/ 104136 w 104136"/>
                  <a:gd name="connsiteY1" fmla="*/ 0 h 14252"/>
                  <a:gd name="connsiteX2" fmla="*/ 104136 w 104136"/>
                  <a:gd name="connsiteY2" fmla="*/ 14252 h 14252"/>
                  <a:gd name="connsiteX3" fmla="*/ 0 w 104136"/>
                  <a:gd name="connsiteY3" fmla="*/ 14252 h 14252"/>
                </a:gdLst>
                <a:ahLst/>
                <a:cxnLst>
                  <a:cxn ang="0">
                    <a:pos x="connsiteX0" y="connsiteY0"/>
                  </a:cxn>
                  <a:cxn ang="0">
                    <a:pos x="connsiteX1" y="connsiteY1"/>
                  </a:cxn>
                  <a:cxn ang="0">
                    <a:pos x="connsiteX2" y="connsiteY2"/>
                  </a:cxn>
                  <a:cxn ang="0">
                    <a:pos x="connsiteX3" y="connsiteY3"/>
                  </a:cxn>
                </a:cxnLst>
                <a:rect l="l" t="t" r="r" b="b"/>
                <a:pathLst>
                  <a:path w="104136" h="14252">
                    <a:moveTo>
                      <a:pt x="0" y="0"/>
                    </a:moveTo>
                    <a:lnTo>
                      <a:pt x="104136" y="0"/>
                    </a:lnTo>
                    <a:lnTo>
                      <a:pt x="104136" y="14252"/>
                    </a:lnTo>
                    <a:lnTo>
                      <a:pt x="0" y="14252"/>
                    </a:lnTo>
                    <a:close/>
                  </a:path>
                </a:pathLst>
              </a:custGeom>
              <a:solidFill>
                <a:srgbClr val="001965"/>
              </a:solidFill>
              <a:ln w="6350" cap="flat">
                <a:solidFill>
                  <a:schemeClr val="tx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001965"/>
                  </a:solidFill>
                  <a:effectLst/>
                  <a:uLnTx/>
                  <a:uFillTx/>
                  <a:latin typeface="Avenir Next LT Pro"/>
                </a:endParaRPr>
              </a:p>
            </p:txBody>
          </p:sp>
          <p:sp>
            <p:nvSpPr>
              <p:cNvPr id="98" name="Freeform 97">
                <a:extLst>
                  <a:ext uri="{FF2B5EF4-FFF2-40B4-BE49-F238E27FC236}">
                    <a16:creationId xmlns:a16="http://schemas.microsoft.com/office/drawing/2014/main" id="{8F424D85-1FAF-E4DB-8ABB-E30810B670D2}"/>
                  </a:ext>
                </a:extLst>
              </p:cNvPr>
              <p:cNvSpPr/>
              <p:nvPr/>
            </p:nvSpPr>
            <p:spPr>
              <a:xfrm rot="20493000">
                <a:off x="-1119222" y="4153226"/>
                <a:ext cx="82757" cy="14252"/>
              </a:xfrm>
              <a:custGeom>
                <a:avLst/>
                <a:gdLst>
                  <a:gd name="connsiteX0" fmla="*/ 0 w 82757"/>
                  <a:gd name="connsiteY0" fmla="*/ 0 h 14252"/>
                  <a:gd name="connsiteX1" fmla="*/ 82758 w 82757"/>
                  <a:gd name="connsiteY1" fmla="*/ 0 h 14252"/>
                  <a:gd name="connsiteX2" fmla="*/ 82758 w 82757"/>
                  <a:gd name="connsiteY2" fmla="*/ 14252 h 14252"/>
                  <a:gd name="connsiteX3" fmla="*/ 0 w 82757"/>
                  <a:gd name="connsiteY3" fmla="*/ 14252 h 14252"/>
                </a:gdLst>
                <a:ahLst/>
                <a:cxnLst>
                  <a:cxn ang="0">
                    <a:pos x="connsiteX0" y="connsiteY0"/>
                  </a:cxn>
                  <a:cxn ang="0">
                    <a:pos x="connsiteX1" y="connsiteY1"/>
                  </a:cxn>
                  <a:cxn ang="0">
                    <a:pos x="connsiteX2" y="connsiteY2"/>
                  </a:cxn>
                  <a:cxn ang="0">
                    <a:pos x="connsiteX3" y="connsiteY3"/>
                  </a:cxn>
                </a:cxnLst>
                <a:rect l="l" t="t" r="r" b="b"/>
                <a:pathLst>
                  <a:path w="82757" h="14252">
                    <a:moveTo>
                      <a:pt x="0" y="0"/>
                    </a:moveTo>
                    <a:lnTo>
                      <a:pt x="82758" y="0"/>
                    </a:lnTo>
                    <a:lnTo>
                      <a:pt x="82758" y="14252"/>
                    </a:lnTo>
                    <a:lnTo>
                      <a:pt x="0" y="14252"/>
                    </a:lnTo>
                    <a:close/>
                  </a:path>
                </a:pathLst>
              </a:custGeom>
              <a:solidFill>
                <a:srgbClr val="001965"/>
              </a:solidFill>
              <a:ln w="6350" cap="flat">
                <a:solidFill>
                  <a:schemeClr val="tx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001965"/>
                  </a:solidFill>
                  <a:effectLst/>
                  <a:uLnTx/>
                  <a:uFillTx/>
                  <a:latin typeface="Avenir Next LT Pro"/>
                </a:endParaRPr>
              </a:p>
            </p:txBody>
          </p:sp>
          <p:sp>
            <p:nvSpPr>
              <p:cNvPr id="99" name="Freeform 98">
                <a:extLst>
                  <a:ext uri="{FF2B5EF4-FFF2-40B4-BE49-F238E27FC236}">
                    <a16:creationId xmlns:a16="http://schemas.microsoft.com/office/drawing/2014/main" id="{B269E302-2685-A413-D8BC-37D6F5302653}"/>
                  </a:ext>
                </a:extLst>
              </p:cNvPr>
              <p:cNvSpPr/>
              <p:nvPr/>
            </p:nvSpPr>
            <p:spPr>
              <a:xfrm>
                <a:off x="-1124177" y="4401839"/>
                <a:ext cx="79622" cy="79717"/>
              </a:xfrm>
              <a:custGeom>
                <a:avLst/>
                <a:gdLst>
                  <a:gd name="connsiteX0" fmla="*/ 72496 w 79622"/>
                  <a:gd name="connsiteY0" fmla="*/ 79717 h 79717"/>
                  <a:gd name="connsiteX1" fmla="*/ 65370 w 79622"/>
                  <a:gd name="connsiteY1" fmla="*/ 72591 h 79717"/>
                  <a:gd name="connsiteX2" fmla="*/ 7126 w 79622"/>
                  <a:gd name="connsiteY2" fmla="*/ 14252 h 79717"/>
                  <a:gd name="connsiteX3" fmla="*/ 0 w 79622"/>
                  <a:gd name="connsiteY3" fmla="*/ 7126 h 79717"/>
                  <a:gd name="connsiteX4" fmla="*/ 7126 w 79622"/>
                  <a:gd name="connsiteY4" fmla="*/ 0 h 79717"/>
                  <a:gd name="connsiteX5" fmla="*/ 79622 w 79622"/>
                  <a:gd name="connsiteY5" fmla="*/ 72591 h 79717"/>
                  <a:gd name="connsiteX6" fmla="*/ 72496 w 79622"/>
                  <a:gd name="connsiteY6" fmla="*/ 79717 h 7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622" h="79717">
                    <a:moveTo>
                      <a:pt x="72496" y="79717"/>
                    </a:moveTo>
                    <a:cubicBezTo>
                      <a:pt x="68601" y="79717"/>
                      <a:pt x="65370" y="76487"/>
                      <a:pt x="65370" y="72591"/>
                    </a:cubicBezTo>
                    <a:cubicBezTo>
                      <a:pt x="65370" y="40476"/>
                      <a:pt x="39241" y="14252"/>
                      <a:pt x="7126" y="14252"/>
                    </a:cubicBezTo>
                    <a:cubicBezTo>
                      <a:pt x="3230" y="14252"/>
                      <a:pt x="0" y="11022"/>
                      <a:pt x="0" y="7126"/>
                    </a:cubicBezTo>
                    <a:cubicBezTo>
                      <a:pt x="0" y="3231"/>
                      <a:pt x="3230" y="0"/>
                      <a:pt x="7126" y="0"/>
                    </a:cubicBezTo>
                    <a:cubicBezTo>
                      <a:pt x="47127" y="0"/>
                      <a:pt x="79622" y="32590"/>
                      <a:pt x="79622" y="72591"/>
                    </a:cubicBezTo>
                    <a:cubicBezTo>
                      <a:pt x="79622" y="76487"/>
                      <a:pt x="76392" y="79717"/>
                      <a:pt x="72496" y="79717"/>
                    </a:cubicBezTo>
                    <a:close/>
                  </a:path>
                </a:pathLst>
              </a:custGeom>
              <a:solidFill>
                <a:srgbClr val="001965"/>
              </a:solidFill>
              <a:ln w="6350" cap="flat">
                <a:solidFill>
                  <a:schemeClr val="tx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001965"/>
                  </a:solidFill>
                  <a:effectLst/>
                  <a:uLnTx/>
                  <a:uFillTx/>
                  <a:latin typeface="Avenir Next LT Pro"/>
                </a:endParaRPr>
              </a:p>
            </p:txBody>
          </p:sp>
          <p:sp>
            <p:nvSpPr>
              <p:cNvPr id="100" name="Freeform 99">
                <a:extLst>
                  <a:ext uri="{FF2B5EF4-FFF2-40B4-BE49-F238E27FC236}">
                    <a16:creationId xmlns:a16="http://schemas.microsoft.com/office/drawing/2014/main" id="{AD705849-FCA8-3228-FD2C-86F8EB1CFC75}"/>
                  </a:ext>
                </a:extLst>
              </p:cNvPr>
              <p:cNvSpPr/>
              <p:nvPr/>
            </p:nvSpPr>
            <p:spPr>
              <a:xfrm rot="19269599">
                <a:off x="-939774" y="4168387"/>
                <a:ext cx="14252" cy="79242"/>
              </a:xfrm>
              <a:custGeom>
                <a:avLst/>
                <a:gdLst>
                  <a:gd name="connsiteX0" fmla="*/ 0 w 14252"/>
                  <a:gd name="connsiteY0" fmla="*/ 0 h 79242"/>
                  <a:gd name="connsiteX1" fmla="*/ 14252 w 14252"/>
                  <a:gd name="connsiteY1" fmla="*/ 0 h 79242"/>
                  <a:gd name="connsiteX2" fmla="*/ 14252 w 14252"/>
                  <a:gd name="connsiteY2" fmla="*/ 79242 h 79242"/>
                  <a:gd name="connsiteX3" fmla="*/ 0 w 14252"/>
                  <a:gd name="connsiteY3" fmla="*/ 79242 h 79242"/>
                </a:gdLst>
                <a:ahLst/>
                <a:cxnLst>
                  <a:cxn ang="0">
                    <a:pos x="connsiteX0" y="connsiteY0"/>
                  </a:cxn>
                  <a:cxn ang="0">
                    <a:pos x="connsiteX1" y="connsiteY1"/>
                  </a:cxn>
                  <a:cxn ang="0">
                    <a:pos x="connsiteX2" y="connsiteY2"/>
                  </a:cxn>
                  <a:cxn ang="0">
                    <a:pos x="connsiteX3" y="connsiteY3"/>
                  </a:cxn>
                </a:cxnLst>
                <a:rect l="l" t="t" r="r" b="b"/>
                <a:pathLst>
                  <a:path w="14252" h="79242">
                    <a:moveTo>
                      <a:pt x="0" y="0"/>
                    </a:moveTo>
                    <a:lnTo>
                      <a:pt x="14252" y="0"/>
                    </a:lnTo>
                    <a:lnTo>
                      <a:pt x="14252" y="79242"/>
                    </a:lnTo>
                    <a:lnTo>
                      <a:pt x="0" y="79242"/>
                    </a:lnTo>
                    <a:close/>
                  </a:path>
                </a:pathLst>
              </a:custGeom>
              <a:solidFill>
                <a:srgbClr val="001965"/>
              </a:solidFill>
              <a:ln w="6350" cap="flat">
                <a:solidFill>
                  <a:schemeClr val="tx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001965"/>
                  </a:solidFill>
                  <a:effectLst/>
                  <a:uLnTx/>
                  <a:uFillTx/>
                  <a:latin typeface="Avenir Next LT Pro"/>
                </a:endParaRPr>
              </a:p>
            </p:txBody>
          </p:sp>
        </p:grpSp>
      </p:grpSp>
    </p:spTree>
    <p:extLst>
      <p:ext uri="{BB962C8B-B14F-4D97-AF65-F5344CB8AC3E}">
        <p14:creationId xmlns:p14="http://schemas.microsoft.com/office/powerpoint/2010/main" val="388824945"/>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59F90E1-CA93-EF35-48E3-7E49953EE190}"/>
              </a:ext>
            </a:extLst>
          </p:cNvPr>
          <p:cNvGraphicFramePr>
            <a:graphicFrameLocks/>
          </p:cNvGraphicFramePr>
          <p:nvPr>
            <p:custDataLst>
              <p:tags r:id="rId1"/>
            </p:custDataLst>
            <p:extLst>
              <p:ext uri="{D42A27DB-BD31-4B8C-83A1-F6EECF244321}">
                <p14:modId xmlns:p14="http://schemas.microsoft.com/office/powerpoint/2010/main" val="600502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A59F90E1-CA93-EF35-48E3-7E49953EE1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23">
            <a:extLst>
              <a:ext uri="{FF2B5EF4-FFF2-40B4-BE49-F238E27FC236}">
                <a16:creationId xmlns:a16="http://schemas.microsoft.com/office/drawing/2014/main" id="{424B6B63-71A0-EF2C-DDB7-7B0491C27944}"/>
              </a:ext>
            </a:extLst>
          </p:cNvPr>
          <p:cNvSpPr>
            <a:spLocks noGrp="1"/>
          </p:cNvSpPr>
          <p:nvPr>
            <p:ph type="title"/>
          </p:nvPr>
        </p:nvSpPr>
        <p:spPr/>
        <p:txBody>
          <a:bodyPr vert="horz"/>
          <a:lstStyle/>
          <a:p>
            <a:r>
              <a:rPr lang="en-GB" sz="2600">
                <a:solidFill>
                  <a:schemeClr val="tx1"/>
                </a:solidFill>
              </a:rPr>
              <a:t>Forward looking statements</a:t>
            </a:r>
            <a:endParaRPr lang="en-DK" sz="2600">
              <a:solidFill>
                <a:schemeClr val="tx1"/>
              </a:solidFill>
            </a:endParaRPr>
          </a:p>
        </p:txBody>
      </p:sp>
      <p:sp>
        <p:nvSpPr>
          <p:cNvPr id="6" name="Rectangle 5">
            <a:extLst>
              <a:ext uri="{FF2B5EF4-FFF2-40B4-BE49-F238E27FC236}">
                <a16:creationId xmlns:a16="http://schemas.microsoft.com/office/drawing/2014/main" id="{1D4F5E35-18D3-104A-98CF-23339DC0AC49}"/>
              </a:ext>
            </a:extLst>
          </p:cNvPr>
          <p:cNvSpPr/>
          <p:nvPr/>
        </p:nvSpPr>
        <p:spPr>
          <a:xfrm>
            <a:off x="514658" y="1828799"/>
            <a:ext cx="10381942" cy="36660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46"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001965"/>
                </a:solidFill>
                <a:effectLst/>
                <a:uLnTx/>
                <a:uFillTx/>
                <a:latin typeface="Avenir Next LT Pro" panose="020B0504020202020204" pitchFamily="34" charset="0"/>
                <a:ea typeface="+mn-ea"/>
                <a:cs typeface="+mn-cs"/>
              </a:rPr>
              <a:t>Matters discussed in this presentation may constitute forward-looking statements. Forward-looking statements are statements that are not historical facts and that can be identified by words such as “believe“, “expect“, “anticipate“, “intends“, “estimate“, “will“, “may“, “continue“, “should“, and similar expressions. The absence of these words, however, does not mean that the statements are not forward-looking. </a:t>
            </a:r>
          </a:p>
          <a:p>
            <a:pPr marL="0" marR="0" lvl="0" indent="0" algn="l" defTabSz="914446"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001965"/>
                </a:solidFill>
                <a:effectLst/>
                <a:uLnTx/>
                <a:uFillTx/>
                <a:latin typeface="Avenir Next LT Pro" panose="020B0504020202020204" pitchFamily="34" charset="0"/>
                <a:ea typeface="+mn-ea"/>
                <a:cs typeface="+mn-cs"/>
              </a:rPr>
              <a:t>The forward-looking statements in this presentation are based upon various assumptions, many of which are based, in turn, upon further assumptions. Although the company believes that these assumptions were reasonable when made, these assumptions are inherently subject to significant known and unknown risks, uncertainties, contingencies and other important factors which are difficult or impossible to predict and are beyond its control. Such risks, uncertainties, contingencies and other important factors could cause actual events to differ materially from the expectations expressed or implied in this release by such forward-looking statements. New risks and uncertainties may emerge from time to time, and it is not possible to predict all risks and uncertainties. </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1965"/>
                </a:solidFill>
                <a:effectLst/>
                <a:uLnTx/>
                <a:uFillTx/>
                <a:latin typeface="Avenir Next LT Pro" panose="020B0504020202020204" pitchFamily="34" charset="0"/>
                <a:ea typeface="+mn-ea"/>
                <a:cs typeface="+mn-cs"/>
              </a:rPr>
              <a:t>The information, opinions and forward-looking statements contained in this presentation speak only as at its date and are subject to change without notice.</a:t>
            </a:r>
            <a:endParaRPr kumimoji="0" lang="en-US" sz="1600" b="0" i="0" u="none" strike="noStrike" kern="1200" cap="none" spc="0" normalizeH="0" baseline="0" noProof="0">
              <a:ln>
                <a:noFill/>
              </a:ln>
              <a:solidFill>
                <a:srgbClr val="001965"/>
              </a:solidFill>
              <a:effectLst/>
              <a:uLnTx/>
              <a:uFillTx/>
              <a:latin typeface="Avenir Next LT Pro" panose="020B0504020202020204" pitchFamily="34" charset="0"/>
              <a:ea typeface="+mn-ea"/>
              <a:cs typeface="+mn-cs"/>
            </a:endParaRPr>
          </a:p>
        </p:txBody>
      </p:sp>
      <p:cxnSp>
        <p:nvCxnSpPr>
          <p:cNvPr id="2" name="Straight Connector 1">
            <a:extLst>
              <a:ext uri="{FF2B5EF4-FFF2-40B4-BE49-F238E27FC236}">
                <a16:creationId xmlns:a16="http://schemas.microsoft.com/office/drawing/2014/main" id="{246D1B37-BFF3-64CB-B074-E68F39A470D3}"/>
              </a:ext>
            </a:extLst>
          </p:cNvPr>
          <p:cNvCxnSpPr>
            <a:cxnSpLocks/>
          </p:cNvCxnSpPr>
          <p:nvPr/>
        </p:nvCxnSpPr>
        <p:spPr>
          <a:xfrm>
            <a:off x="565459" y="1078523"/>
            <a:ext cx="5508000" cy="0"/>
          </a:xfrm>
          <a:prstGeom prst="line">
            <a:avLst/>
          </a:prstGeom>
          <a:ln w="38100">
            <a:gradFill>
              <a:gsLst>
                <a:gs pos="0">
                  <a:schemeClr val="accent5"/>
                </a:gs>
                <a:gs pos="34000">
                  <a:schemeClr val="bg2"/>
                </a:gs>
                <a:gs pos="67000">
                  <a:schemeClr val="tx2"/>
                </a:gs>
                <a:gs pos="100000">
                  <a:schemeClr val="accent1"/>
                </a:gs>
              </a:gsLst>
              <a:lin ang="27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7054629"/>
      </p:ext>
    </p:extLst>
  </p:cSld>
  <p:clrMapOvr>
    <a:masterClrMapping/>
  </p:clrMapOvr>
  <p:transition spd="slow">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53957E-7A31-0E87-D7EA-B89F0A59FEDB}"/>
            </a:ext>
          </a:extLst>
        </p:cNvPr>
        <p:cNvGrpSpPr/>
        <p:nvPr/>
      </p:nvGrpSpPr>
      <p:grpSpPr>
        <a:xfrm>
          <a:off x="0" y="0"/>
          <a:ext cx="0" cy="0"/>
          <a:chOff x="0" y="0"/>
          <a:chExt cx="0" cy="0"/>
        </a:xfrm>
      </p:grpSpPr>
      <p:sp>
        <p:nvSpPr>
          <p:cNvPr id="11506" name="Rectangle 11505">
            <a:extLst>
              <a:ext uri="{FF2B5EF4-FFF2-40B4-BE49-F238E27FC236}">
                <a16:creationId xmlns:a16="http://schemas.microsoft.com/office/drawing/2014/main" id="{48BD5968-A54C-C8A7-1FD2-2CCF7781622D}"/>
              </a:ext>
            </a:extLst>
          </p:cNvPr>
          <p:cNvSpPr/>
          <p:nvPr/>
        </p:nvSpPr>
        <p:spPr>
          <a:xfrm>
            <a:off x="565459" y="1932040"/>
            <a:ext cx="11137386" cy="43732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6" name="Object 5" hidden="1">
            <a:extLst>
              <a:ext uri="{FF2B5EF4-FFF2-40B4-BE49-F238E27FC236}">
                <a16:creationId xmlns:a16="http://schemas.microsoft.com/office/drawing/2014/main" id="{91B701E0-08D1-7CCD-6B61-D5F6E526342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91B701E0-08D1-7CCD-6B61-D5F6E52634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5" name="Group 14">
            <a:extLst>
              <a:ext uri="{FF2B5EF4-FFF2-40B4-BE49-F238E27FC236}">
                <a16:creationId xmlns:a16="http://schemas.microsoft.com/office/drawing/2014/main" id="{81B1D634-D0DF-A6A2-3159-E7FA871000A8}"/>
              </a:ext>
            </a:extLst>
          </p:cNvPr>
          <p:cNvGrpSpPr/>
          <p:nvPr/>
        </p:nvGrpSpPr>
        <p:grpSpPr>
          <a:xfrm>
            <a:off x="773652" y="5741654"/>
            <a:ext cx="1355194" cy="219456"/>
            <a:chOff x="565459" y="5390942"/>
            <a:chExt cx="1355194" cy="219456"/>
          </a:xfrm>
        </p:grpSpPr>
        <p:sp>
          <p:nvSpPr>
            <p:cNvPr id="6061" name="rc818">
              <a:extLst>
                <a:ext uri="{FF2B5EF4-FFF2-40B4-BE49-F238E27FC236}">
                  <a16:creationId xmlns:a16="http://schemas.microsoft.com/office/drawing/2014/main" id="{80069141-89CD-9799-03FD-02FBA373104C}"/>
                </a:ext>
              </a:extLst>
            </p:cNvPr>
            <p:cNvSpPr/>
            <p:nvPr/>
          </p:nvSpPr>
          <p:spPr>
            <a:xfrm>
              <a:off x="565459" y="5390942"/>
              <a:ext cx="219455" cy="219456"/>
            </a:xfrm>
            <a:prstGeom prst="rect">
              <a:avLst/>
            </a:prstGeom>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62" name="pt819">
              <a:extLst>
                <a:ext uri="{FF2B5EF4-FFF2-40B4-BE49-F238E27FC236}">
                  <a16:creationId xmlns:a16="http://schemas.microsoft.com/office/drawing/2014/main" id="{7DA90E55-62BC-1836-B15C-66E9CF6081F8}"/>
                </a:ext>
              </a:extLst>
            </p:cNvPr>
            <p:cNvSpPr/>
            <p:nvPr/>
          </p:nvSpPr>
          <p:spPr>
            <a:xfrm>
              <a:off x="657136" y="5482619"/>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63" name="pl820">
              <a:extLst>
                <a:ext uri="{FF2B5EF4-FFF2-40B4-BE49-F238E27FC236}">
                  <a16:creationId xmlns:a16="http://schemas.microsoft.com/office/drawing/2014/main" id="{5F4A0B29-DBDD-98F0-3DDE-2B451CBAAE38}"/>
                </a:ext>
              </a:extLst>
            </p:cNvPr>
            <p:cNvSpPr/>
            <p:nvPr/>
          </p:nvSpPr>
          <p:spPr>
            <a:xfrm>
              <a:off x="587404" y="5500670"/>
              <a:ext cx="175564" cy="0"/>
            </a:xfrm>
            <a:custGeom>
              <a:avLst/>
              <a:gdLst/>
              <a:ahLst/>
              <a:cxnLst/>
              <a:rect l="0" t="0" r="0" b="0"/>
              <a:pathLst>
                <a:path w="175564">
                  <a:moveTo>
                    <a:pt x="0" y="0"/>
                  </a:moveTo>
                  <a:lnTo>
                    <a:pt x="175564"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76" name="tx833">
              <a:extLst>
                <a:ext uri="{FF2B5EF4-FFF2-40B4-BE49-F238E27FC236}">
                  <a16:creationId xmlns:a16="http://schemas.microsoft.com/office/drawing/2014/main" id="{DE398F94-5652-D3A7-0A28-69BF25D531F8}"/>
                </a:ext>
              </a:extLst>
            </p:cNvPr>
            <p:cNvSpPr/>
            <p:nvPr/>
          </p:nvSpPr>
          <p:spPr>
            <a:xfrm>
              <a:off x="856841" y="5458398"/>
              <a:ext cx="1063812" cy="142096"/>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10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Vehicle + Vehicle</a:t>
              </a:r>
            </a:p>
          </p:txBody>
        </p:sp>
      </p:grpSp>
      <p:grpSp>
        <p:nvGrpSpPr>
          <p:cNvPr id="14" name="Group 13">
            <a:extLst>
              <a:ext uri="{FF2B5EF4-FFF2-40B4-BE49-F238E27FC236}">
                <a16:creationId xmlns:a16="http://schemas.microsoft.com/office/drawing/2014/main" id="{48B4AD2D-8C62-4228-1E19-A7BEA19B1046}"/>
              </a:ext>
            </a:extLst>
          </p:cNvPr>
          <p:cNvGrpSpPr/>
          <p:nvPr/>
        </p:nvGrpSpPr>
        <p:grpSpPr>
          <a:xfrm>
            <a:off x="773652" y="5968605"/>
            <a:ext cx="1624226" cy="219455"/>
            <a:chOff x="565459" y="5617893"/>
            <a:chExt cx="1624226" cy="219455"/>
          </a:xfrm>
        </p:grpSpPr>
        <p:sp>
          <p:nvSpPr>
            <p:cNvPr id="6064" name="rc821">
              <a:extLst>
                <a:ext uri="{FF2B5EF4-FFF2-40B4-BE49-F238E27FC236}">
                  <a16:creationId xmlns:a16="http://schemas.microsoft.com/office/drawing/2014/main" id="{654D6EF8-3C82-EC82-3F21-963D77782344}"/>
                </a:ext>
              </a:extLst>
            </p:cNvPr>
            <p:cNvSpPr/>
            <p:nvPr/>
          </p:nvSpPr>
          <p:spPr>
            <a:xfrm>
              <a:off x="565459" y="5617893"/>
              <a:ext cx="219455" cy="219455"/>
            </a:xfrm>
            <a:prstGeom prst="rect">
              <a:avLst/>
            </a:prstGeom>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65" name="pt822">
              <a:extLst>
                <a:ext uri="{FF2B5EF4-FFF2-40B4-BE49-F238E27FC236}">
                  <a16:creationId xmlns:a16="http://schemas.microsoft.com/office/drawing/2014/main" id="{342C05AA-0CD2-3C39-003C-B8B7F4C3CDD7}"/>
                </a:ext>
              </a:extLst>
            </p:cNvPr>
            <p:cNvSpPr/>
            <p:nvPr/>
          </p:nvSpPr>
          <p:spPr>
            <a:xfrm>
              <a:off x="657136" y="5702075"/>
              <a:ext cx="36101" cy="36101"/>
            </a:xfrm>
            <a:prstGeom prst="ellipse">
              <a:avLst/>
            </a:prstGeom>
            <a:solidFill>
              <a:schemeClr val="accent2"/>
            </a:solidFill>
            <a:ln w="9000" cap="rnd">
              <a:solidFill>
                <a:schemeClr val="accent2"/>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66" name="pl823">
              <a:extLst>
                <a:ext uri="{FF2B5EF4-FFF2-40B4-BE49-F238E27FC236}">
                  <a16:creationId xmlns:a16="http://schemas.microsoft.com/office/drawing/2014/main" id="{EA79293E-B0AD-7A2E-169C-8EFC3083989D}"/>
                </a:ext>
              </a:extLst>
            </p:cNvPr>
            <p:cNvSpPr/>
            <p:nvPr/>
          </p:nvSpPr>
          <p:spPr>
            <a:xfrm>
              <a:off x="587404" y="5720126"/>
              <a:ext cx="175564" cy="0"/>
            </a:xfrm>
            <a:custGeom>
              <a:avLst/>
              <a:gdLst/>
              <a:ahLst/>
              <a:cxnLst/>
              <a:rect l="0" t="0" r="0" b="0"/>
              <a:pathLst>
                <a:path w="175564">
                  <a:moveTo>
                    <a:pt x="0" y="0"/>
                  </a:moveTo>
                  <a:lnTo>
                    <a:pt x="175564" y="0"/>
                  </a:lnTo>
                </a:path>
              </a:pathLst>
            </a:custGeom>
            <a:ln w="5420" cap="flat">
              <a:solidFill>
                <a:schemeClr val="accent2"/>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77" name="tx834">
              <a:extLst>
                <a:ext uri="{FF2B5EF4-FFF2-40B4-BE49-F238E27FC236}">
                  <a16:creationId xmlns:a16="http://schemas.microsoft.com/office/drawing/2014/main" id="{647859A0-DE7D-354A-2118-133D868C24C3}"/>
                </a:ext>
              </a:extLst>
            </p:cNvPr>
            <p:cNvSpPr/>
            <p:nvPr/>
          </p:nvSpPr>
          <p:spPr>
            <a:xfrm>
              <a:off x="819366" y="5691401"/>
              <a:ext cx="1370319" cy="91074"/>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10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GUB-UCN2 + Vehicle</a:t>
              </a:r>
            </a:p>
          </p:txBody>
        </p:sp>
      </p:grpSp>
      <p:grpSp>
        <p:nvGrpSpPr>
          <p:cNvPr id="11504" name="Group 11503">
            <a:extLst>
              <a:ext uri="{FF2B5EF4-FFF2-40B4-BE49-F238E27FC236}">
                <a16:creationId xmlns:a16="http://schemas.microsoft.com/office/drawing/2014/main" id="{FB40A1F9-83E2-B7FB-2791-80572C5905D0}"/>
              </a:ext>
            </a:extLst>
          </p:cNvPr>
          <p:cNvGrpSpPr/>
          <p:nvPr/>
        </p:nvGrpSpPr>
        <p:grpSpPr>
          <a:xfrm>
            <a:off x="2553371" y="5968605"/>
            <a:ext cx="1927656" cy="219455"/>
            <a:chOff x="565458" y="6052767"/>
            <a:chExt cx="1927656" cy="219455"/>
          </a:xfrm>
        </p:grpSpPr>
        <p:sp>
          <p:nvSpPr>
            <p:cNvPr id="6067" name="rc824">
              <a:extLst>
                <a:ext uri="{FF2B5EF4-FFF2-40B4-BE49-F238E27FC236}">
                  <a16:creationId xmlns:a16="http://schemas.microsoft.com/office/drawing/2014/main" id="{00C6FBB0-10CF-3865-5089-ECEC87C66472}"/>
                </a:ext>
              </a:extLst>
            </p:cNvPr>
            <p:cNvSpPr/>
            <p:nvPr/>
          </p:nvSpPr>
          <p:spPr>
            <a:xfrm>
              <a:off x="565458" y="6052767"/>
              <a:ext cx="219455" cy="219455"/>
            </a:xfrm>
            <a:prstGeom prst="rect">
              <a:avLst/>
            </a:prstGeom>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68" name="pt825">
              <a:extLst>
                <a:ext uri="{FF2B5EF4-FFF2-40B4-BE49-F238E27FC236}">
                  <a16:creationId xmlns:a16="http://schemas.microsoft.com/office/drawing/2014/main" id="{E51370EE-FCAF-7116-9144-26CBDCDB6837}"/>
                </a:ext>
              </a:extLst>
            </p:cNvPr>
            <p:cNvSpPr/>
            <p:nvPr/>
          </p:nvSpPr>
          <p:spPr>
            <a:xfrm>
              <a:off x="657135" y="6144444"/>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69" name="pl826">
              <a:extLst>
                <a:ext uri="{FF2B5EF4-FFF2-40B4-BE49-F238E27FC236}">
                  <a16:creationId xmlns:a16="http://schemas.microsoft.com/office/drawing/2014/main" id="{8C2499AB-BF60-C9E8-7A05-E50059284571}"/>
                </a:ext>
              </a:extLst>
            </p:cNvPr>
            <p:cNvSpPr/>
            <p:nvPr/>
          </p:nvSpPr>
          <p:spPr>
            <a:xfrm>
              <a:off x="587403" y="6162495"/>
              <a:ext cx="175564" cy="0"/>
            </a:xfrm>
            <a:custGeom>
              <a:avLst/>
              <a:gdLst/>
              <a:ahLst/>
              <a:cxnLst/>
              <a:rect l="0" t="0" r="0" b="0"/>
              <a:pathLst>
                <a:path w="175564">
                  <a:moveTo>
                    <a:pt x="0" y="0"/>
                  </a:moveTo>
                  <a:lnTo>
                    <a:pt x="175564"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78" name="tx835">
              <a:extLst>
                <a:ext uri="{FF2B5EF4-FFF2-40B4-BE49-F238E27FC236}">
                  <a16:creationId xmlns:a16="http://schemas.microsoft.com/office/drawing/2014/main" id="{BB90FAD0-BB92-F7A7-666A-DF00857C692B}"/>
                </a:ext>
              </a:extLst>
            </p:cNvPr>
            <p:cNvSpPr/>
            <p:nvPr/>
          </p:nvSpPr>
          <p:spPr>
            <a:xfrm>
              <a:off x="613673" y="6091305"/>
              <a:ext cx="1879441" cy="155773"/>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10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Semaglutide +</a:t>
              </a:r>
              <a:r>
                <a:rPr kumimoji="0" lang="en-DK" sz="10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 </a:t>
              </a:r>
              <a:r>
                <a:rPr kumimoji="0" lang="en-US" sz="10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Vehicle </a:t>
              </a:r>
            </a:p>
          </p:txBody>
        </p:sp>
      </p:grpSp>
      <p:sp>
        <p:nvSpPr>
          <p:cNvPr id="6073" name="rc830">
            <a:extLst>
              <a:ext uri="{FF2B5EF4-FFF2-40B4-BE49-F238E27FC236}">
                <a16:creationId xmlns:a16="http://schemas.microsoft.com/office/drawing/2014/main" id="{7D903AAB-DF45-9D1A-C971-F624593CEB30}"/>
              </a:ext>
            </a:extLst>
          </p:cNvPr>
          <p:cNvSpPr/>
          <p:nvPr/>
        </p:nvSpPr>
        <p:spPr>
          <a:xfrm>
            <a:off x="2553371" y="5746391"/>
            <a:ext cx="219455" cy="374497"/>
          </a:xfrm>
          <a:prstGeom prst="rect">
            <a:avLst/>
          </a:prstGeom>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70" name="rc827">
            <a:extLst>
              <a:ext uri="{FF2B5EF4-FFF2-40B4-BE49-F238E27FC236}">
                <a16:creationId xmlns:a16="http://schemas.microsoft.com/office/drawing/2014/main" id="{9EF0C492-2745-31AB-A138-BE8865078C56}"/>
              </a:ext>
            </a:extLst>
          </p:cNvPr>
          <p:cNvSpPr/>
          <p:nvPr/>
        </p:nvSpPr>
        <p:spPr>
          <a:xfrm>
            <a:off x="2553371" y="5751785"/>
            <a:ext cx="219455" cy="219456"/>
          </a:xfrm>
          <a:prstGeom prst="rect">
            <a:avLst/>
          </a:prstGeom>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71" name="pt828">
            <a:extLst>
              <a:ext uri="{FF2B5EF4-FFF2-40B4-BE49-F238E27FC236}">
                <a16:creationId xmlns:a16="http://schemas.microsoft.com/office/drawing/2014/main" id="{1BC37C0C-A5F0-4F9D-24FB-B84F2D1BA698}"/>
              </a:ext>
            </a:extLst>
          </p:cNvPr>
          <p:cNvSpPr/>
          <p:nvPr/>
        </p:nvSpPr>
        <p:spPr>
          <a:xfrm>
            <a:off x="2645048" y="5843462"/>
            <a:ext cx="36101" cy="36101"/>
          </a:xfrm>
          <a:prstGeom prst="ellipse">
            <a:avLst/>
          </a:prstGeom>
          <a:solidFill>
            <a:srgbClr val="0C89C7">
              <a:alpha val="100000"/>
            </a:srgbClr>
          </a:solidFill>
          <a:ln w="9000" cap="rnd">
            <a:solidFill>
              <a:srgbClr val="0C89C7">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72" name="pl829">
            <a:extLst>
              <a:ext uri="{FF2B5EF4-FFF2-40B4-BE49-F238E27FC236}">
                <a16:creationId xmlns:a16="http://schemas.microsoft.com/office/drawing/2014/main" id="{92BBF9CE-2E9F-8559-5D84-F0B4251DF994}"/>
              </a:ext>
            </a:extLst>
          </p:cNvPr>
          <p:cNvSpPr/>
          <p:nvPr/>
        </p:nvSpPr>
        <p:spPr>
          <a:xfrm>
            <a:off x="2575316" y="5861513"/>
            <a:ext cx="175564" cy="0"/>
          </a:xfrm>
          <a:custGeom>
            <a:avLst/>
            <a:gdLst/>
            <a:ahLst/>
            <a:cxnLst/>
            <a:rect l="0" t="0" r="0" b="0"/>
            <a:pathLst>
              <a:path w="175564">
                <a:moveTo>
                  <a:pt x="0" y="0"/>
                </a:moveTo>
                <a:lnTo>
                  <a:pt x="175564" y="0"/>
                </a:lnTo>
              </a:path>
            </a:pathLst>
          </a:custGeom>
          <a:ln w="5420" cap="flat">
            <a:solidFill>
              <a:srgbClr val="0C89C7">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80" name="tx837">
            <a:extLst>
              <a:ext uri="{FF2B5EF4-FFF2-40B4-BE49-F238E27FC236}">
                <a16:creationId xmlns:a16="http://schemas.microsoft.com/office/drawing/2014/main" id="{633ACD2F-0D57-E99B-717E-E4F79939E4DD}"/>
              </a:ext>
            </a:extLst>
          </p:cNvPr>
          <p:cNvSpPr/>
          <p:nvPr/>
        </p:nvSpPr>
        <p:spPr>
          <a:xfrm>
            <a:off x="2567800" y="5775916"/>
            <a:ext cx="2141771" cy="193728"/>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10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GUB-UCN2 + Semaglutide</a:t>
            </a:r>
          </a:p>
        </p:txBody>
      </p:sp>
      <p:sp>
        <p:nvSpPr>
          <p:cNvPr id="10853" name="tx837">
            <a:extLst>
              <a:ext uri="{FF2B5EF4-FFF2-40B4-BE49-F238E27FC236}">
                <a16:creationId xmlns:a16="http://schemas.microsoft.com/office/drawing/2014/main" id="{8365BF68-B022-FF40-9F19-CD37AB8A6EBD}"/>
              </a:ext>
            </a:extLst>
          </p:cNvPr>
          <p:cNvSpPr/>
          <p:nvPr/>
        </p:nvSpPr>
        <p:spPr>
          <a:xfrm>
            <a:off x="2589922" y="5771664"/>
            <a:ext cx="2141771" cy="193728"/>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1965">
                  <a:alpha val="100000"/>
                </a:srgbClr>
              </a:solidFill>
              <a:effectLst/>
              <a:uLnTx/>
              <a:uFillTx/>
              <a:latin typeface="Avenir Next LT Pro"/>
              <a:ea typeface="+mn-ea"/>
              <a:cs typeface="Avenir Next LT Pro"/>
            </a:endParaRPr>
          </a:p>
        </p:txBody>
      </p:sp>
      <p:sp>
        <p:nvSpPr>
          <p:cNvPr id="11" name="Title 2">
            <a:extLst>
              <a:ext uri="{FF2B5EF4-FFF2-40B4-BE49-F238E27FC236}">
                <a16:creationId xmlns:a16="http://schemas.microsoft.com/office/drawing/2014/main" id="{4D914936-4D52-29A6-A654-43CEB532E8A9}"/>
              </a:ext>
            </a:extLst>
          </p:cNvPr>
          <p:cNvSpPr txBox="1">
            <a:spLocks/>
          </p:cNvSpPr>
          <p:nvPr/>
        </p:nvSpPr>
        <p:spPr>
          <a:xfrm>
            <a:off x="565459" y="552715"/>
            <a:ext cx="10098869" cy="720197"/>
          </a:xfrm>
          <a:prstGeom prst="rect">
            <a:avLst/>
          </a:prstGeom>
        </p:spPr>
        <p:txBody>
          <a:bodyPr vert="horz" lIns="0" tIns="0" rIns="0" bIns="0" rtlCol="0" anchor="t" anchorCtr="0">
            <a:spAutoFit/>
          </a:bodyPr>
          <a:lstStyle>
            <a:lvl1pPr algn="l" defTabSz="914377" rtl="0" eaLnBrk="1" latinLnBrk="0" hangingPunct="1">
              <a:lnSpc>
                <a:spcPct val="90000"/>
              </a:lnSpc>
              <a:spcBef>
                <a:spcPct val="0"/>
              </a:spcBef>
              <a:buNone/>
              <a:defRPr sz="3000" b="1" i="0" kern="1200">
                <a:solidFill>
                  <a:schemeClr val="tx2"/>
                </a:solidFill>
                <a:latin typeface="Avenir Next LT Pro" panose="020B0504020202020204" pitchFamily="34" charset="77"/>
                <a:ea typeface="Avenir Next LT Pro" panose="020B0504020202020204" pitchFamily="34" charset="77"/>
                <a:cs typeface="Avenir Next LT Pro" panose="020B0504020202020204" pitchFamily="34" charset="77"/>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600" b="1" i="0" u="none" strike="noStrike" kern="1200" cap="none" spc="0" normalizeH="0" baseline="0" noProof="0">
                <a:ln>
                  <a:noFill/>
                </a:ln>
                <a:solidFill>
                  <a:srgbClr val="001965"/>
                </a:solidFill>
                <a:effectLst/>
                <a:uLnTx/>
                <a:uFillTx/>
                <a:latin typeface="Avenir Next LT Pro" panose="020B0504020202020204" pitchFamily="34" charset="77"/>
              </a:rPr>
              <a:t>GUB-UCN2 selectively decreases fat mass an</a:t>
            </a:r>
            <a:r>
              <a:rPr kumimoji="0" lang="en-DK" sz="2600" b="1" i="0" u="none" strike="noStrike" kern="1200" cap="none" spc="0" normalizeH="0" baseline="0" noProof="0">
                <a:ln>
                  <a:noFill/>
                </a:ln>
                <a:solidFill>
                  <a:srgbClr val="001965"/>
                </a:solidFill>
                <a:effectLst/>
                <a:uLnTx/>
                <a:uFillTx/>
                <a:latin typeface="Avenir Next LT Pro" panose="020B0504020202020204" pitchFamily="34" charset="77"/>
              </a:rPr>
              <a:t>d restores </a:t>
            </a:r>
            <a:r>
              <a:rPr kumimoji="0" lang="en-US" sz="2600" b="1" i="0" u="none" strike="noStrike" kern="1200" cap="none" spc="0" normalizeH="0" baseline="0" noProof="0">
                <a:ln>
                  <a:noFill/>
                </a:ln>
                <a:solidFill>
                  <a:srgbClr val="001965"/>
                </a:solidFill>
                <a:effectLst/>
                <a:uLnTx/>
                <a:uFillTx/>
                <a:latin typeface="Avenir Next LT Pro" panose="020B0504020202020204" pitchFamily="34" charset="77"/>
              </a:rPr>
              <a:t>semaglutide-induced lean mass loss</a:t>
            </a:r>
            <a:endParaRPr kumimoji="0" lang="en-US" sz="2600" b="1" i="0" u="none" strike="noStrike" kern="1200" cap="none" spc="0" normalizeH="0" baseline="0" noProof="0">
              <a:ln>
                <a:noFill/>
              </a:ln>
              <a:solidFill>
                <a:srgbClr val="2878FF"/>
              </a:solidFill>
              <a:effectLst/>
              <a:uLnTx/>
              <a:uFillTx/>
              <a:latin typeface="Avenir Next LT Pro" panose="020B0504020202020204" pitchFamily="34" charset="77"/>
            </a:endParaRPr>
          </a:p>
        </p:txBody>
      </p:sp>
      <p:sp>
        <p:nvSpPr>
          <p:cNvPr id="56" name="Rounded Rectangle 55">
            <a:extLst>
              <a:ext uri="{FF2B5EF4-FFF2-40B4-BE49-F238E27FC236}">
                <a16:creationId xmlns:a16="http://schemas.microsoft.com/office/drawing/2014/main" id="{99B90F4D-5086-DACA-92A3-7CE234EDB45C}"/>
              </a:ext>
            </a:extLst>
          </p:cNvPr>
          <p:cNvSpPr/>
          <p:nvPr/>
        </p:nvSpPr>
        <p:spPr>
          <a:xfrm>
            <a:off x="565459" y="1714904"/>
            <a:ext cx="11137386" cy="468000"/>
          </a:xfrm>
          <a:prstGeom prst="roundRect">
            <a:avLst>
              <a:gd name="adj" fmla="val 5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432000"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GUB-UCN2 increases fat mass loss while rescuing loss in lean mass in diet-induced obese rats co-treated with </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semaglutide</a:t>
            </a:r>
            <a:endPar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pic>
        <p:nvPicPr>
          <p:cNvPr id="8" name="Graphic 7" descr="Lights On with solid fill">
            <a:extLst>
              <a:ext uri="{FF2B5EF4-FFF2-40B4-BE49-F238E27FC236}">
                <a16:creationId xmlns:a16="http://schemas.microsoft.com/office/drawing/2014/main" id="{7D7149E7-0BD8-9726-BE4E-E9883A6BC8F4}"/>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34863" y="1759198"/>
            <a:ext cx="365124" cy="365124"/>
          </a:xfrm>
          <a:prstGeom prst="rect">
            <a:avLst/>
          </a:prstGeom>
          <a:extLst>
            <a:ext uri="{91240B29-F687-4F45-9708-019B960494DF}">
              <a14:hiddenLine xmlns:a14="http://schemas.microsoft.com/office/drawing/2010/main" w="13758" cap="flat">
                <a:solidFill>
                  <a:srgbClr val="FFFFFF"/>
                </a:solidFill>
                <a:prstDash val="solid"/>
                <a:miter/>
              </a14:hiddenLine>
            </a:ext>
          </a:extLst>
        </p:spPr>
      </p:pic>
      <p:sp>
        <p:nvSpPr>
          <p:cNvPr id="47" name="rc4">
            <a:extLst>
              <a:ext uri="{FF2B5EF4-FFF2-40B4-BE49-F238E27FC236}">
                <a16:creationId xmlns:a16="http://schemas.microsoft.com/office/drawing/2014/main" id="{4FDC305F-2BC0-E3FD-4377-68158017A487}"/>
              </a:ext>
            </a:extLst>
          </p:cNvPr>
          <p:cNvSpPr/>
          <p:nvPr/>
        </p:nvSpPr>
        <p:spPr>
          <a:xfrm>
            <a:off x="843526" y="3115822"/>
            <a:ext cx="2495168" cy="3455020"/>
          </a:xfrm>
          <a:prstGeom prst="rect">
            <a:avLst/>
          </a:prstGeom>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4" name="TextBox 53">
            <a:extLst>
              <a:ext uri="{FF2B5EF4-FFF2-40B4-BE49-F238E27FC236}">
                <a16:creationId xmlns:a16="http://schemas.microsoft.com/office/drawing/2014/main" id="{019873DD-2145-B9F8-6F71-166112D090EE}"/>
              </a:ext>
            </a:extLst>
          </p:cNvPr>
          <p:cNvSpPr txBox="1">
            <a:spLocks/>
          </p:cNvSpPr>
          <p:nvPr/>
        </p:nvSpPr>
        <p:spPr>
          <a:xfrm>
            <a:off x="4595100" y="2663303"/>
            <a:ext cx="3049029" cy="442035"/>
          </a:xfrm>
          <a:prstGeom prst="rect">
            <a:avLst/>
          </a:prstGeom>
          <a:noFill/>
        </p:spPr>
        <p:txBody>
          <a:bodyPr wrap="square" lIns="0" tIns="36000" rIns="0" bIns="36000">
            <a:spAutoFit/>
          </a:bodyPr>
          <a:lstStyle/>
          <a:p>
            <a:pPr marL="0" marR="0" lvl="0" indent="0" algn="ctr" defTabSz="889000" rtl="0" eaLnBrk="1" fontAlgn="auto" latinLnBrk="0" hangingPunct="1">
              <a:lnSpc>
                <a:spcPct val="100000"/>
              </a:lnSpc>
              <a:spcBef>
                <a:spcPts val="0"/>
              </a:spcBef>
              <a:spcAft>
                <a:spcPts val="1200"/>
              </a:spcAft>
              <a:buClrTx/>
              <a:buSzTx/>
              <a:buFontTx/>
              <a:buNone/>
              <a:tabLst/>
              <a:defRPr/>
            </a:pPr>
            <a:r>
              <a:rPr kumimoji="0" lang="en-DK" sz="12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rPr>
              <a:t>...while preserving lean mass and restoring semaglutide-induced lean mass loss</a:t>
            </a:r>
            <a:endParaRPr kumimoji="0" lang="en-US" sz="12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endParaRPr>
          </a:p>
        </p:txBody>
      </p:sp>
      <p:sp>
        <p:nvSpPr>
          <p:cNvPr id="21" name="TextBox 20">
            <a:extLst>
              <a:ext uri="{FF2B5EF4-FFF2-40B4-BE49-F238E27FC236}">
                <a16:creationId xmlns:a16="http://schemas.microsoft.com/office/drawing/2014/main" id="{A8C68FBF-6222-F8A7-F843-ABB8C0F01847}"/>
              </a:ext>
            </a:extLst>
          </p:cNvPr>
          <p:cNvSpPr txBox="1">
            <a:spLocks/>
          </p:cNvSpPr>
          <p:nvPr/>
        </p:nvSpPr>
        <p:spPr>
          <a:xfrm>
            <a:off x="1071422" y="2679663"/>
            <a:ext cx="2983723" cy="428045"/>
          </a:xfrm>
          <a:prstGeom prst="rect">
            <a:avLst/>
          </a:prstGeom>
          <a:noFill/>
        </p:spPr>
        <p:txBody>
          <a:bodyPr wrap="square" lIns="0" tIns="36000" rIns="0" bIns="3600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rPr>
              <a:t>GUB-UCN2 reduces fat mass, alone and in combination with semaglutide...</a:t>
            </a:r>
            <a:endParaRPr kumimoji="0" lang="en-US" sz="12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endParaRPr>
          </a:p>
        </p:txBody>
      </p:sp>
      <p:sp>
        <p:nvSpPr>
          <p:cNvPr id="8106" name="Footer Placeholder 438">
            <a:extLst>
              <a:ext uri="{FF2B5EF4-FFF2-40B4-BE49-F238E27FC236}">
                <a16:creationId xmlns:a16="http://schemas.microsoft.com/office/drawing/2014/main" id="{377CD3A3-915D-2C7C-3EFD-A6951BB58A67}"/>
              </a:ext>
            </a:extLst>
          </p:cNvPr>
          <p:cNvSpPr txBox="1">
            <a:spLocks/>
          </p:cNvSpPr>
          <p:nvPr/>
        </p:nvSpPr>
        <p:spPr>
          <a:xfrm>
            <a:off x="565459" y="6432208"/>
            <a:ext cx="10933112" cy="153888"/>
          </a:xfrm>
          <a:prstGeom prst="rect">
            <a:avLst/>
          </a:prstGeom>
        </p:spPr>
        <p:txBody>
          <a:bodyPr vert="horz" lIns="0" tIns="0" rIns="0" bIns="0" rtlCol="0" anchor="t">
            <a:spAutoFit/>
          </a:bodyPr>
          <a:lstStyle>
            <a:defPPr>
              <a:defRPr lang="sv-SE"/>
            </a:defPPr>
            <a:lvl1pPr marL="0" algn="l" defTabSz="914400" rtl="0" eaLnBrk="1" latinLnBrk="0" hangingPunct="1">
              <a:defRPr sz="1000" kern="1200">
                <a:solidFill>
                  <a:schemeClr val="tx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000" b="0" i="0" u="none" strike="noStrike" kern="1200" cap="none" spc="0" normalizeH="0" baseline="0" noProof="0">
                <a:ln>
                  <a:noFill/>
                </a:ln>
                <a:solidFill>
                  <a:srgbClr val="7AAAF3"/>
                </a:solidFill>
                <a:effectLst/>
                <a:uLnTx/>
                <a:uFillTx/>
                <a:latin typeface="Avenir Next LT Pro"/>
                <a:ea typeface="+mn-ea"/>
                <a:cs typeface="+mn-cs"/>
              </a:rPr>
              <a:t>Note: </a:t>
            </a:r>
            <a:r>
              <a:rPr kumimoji="0" lang="en-US" sz="1000" b="0" i="0" u="none" strike="noStrike" kern="1200" cap="none" spc="0" normalizeH="0" baseline="0" noProof="0">
                <a:ln>
                  <a:noFill/>
                </a:ln>
                <a:solidFill>
                  <a:srgbClr val="7AAAF3"/>
                </a:solidFill>
                <a:effectLst/>
                <a:uLnTx/>
                <a:uFillTx/>
                <a:latin typeface="Avenir Next LT Pro"/>
                <a:ea typeface="+mn-ea"/>
                <a:cs typeface="+mn-cs"/>
              </a:rPr>
              <a:t>Values expressed as mean of n = 9-10 + SEM. Dunnett’s test one-factor linear model. *: P &lt; 0.05, ***: P &lt; 0.001 compared to Vehicle + Vehicle</a:t>
            </a:r>
          </a:p>
        </p:txBody>
      </p:sp>
      <p:sp>
        <p:nvSpPr>
          <p:cNvPr id="4" name="rc4">
            <a:extLst>
              <a:ext uri="{FF2B5EF4-FFF2-40B4-BE49-F238E27FC236}">
                <a16:creationId xmlns:a16="http://schemas.microsoft.com/office/drawing/2014/main" id="{885FC7D5-9D8D-63D8-F077-4D9A396C2C40}"/>
              </a:ext>
            </a:extLst>
          </p:cNvPr>
          <p:cNvSpPr/>
          <p:nvPr/>
        </p:nvSpPr>
        <p:spPr>
          <a:xfrm>
            <a:off x="1090556" y="2933044"/>
            <a:ext cx="2514535" cy="2858464"/>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9776" name="tx63">
            <a:extLst>
              <a:ext uri="{FF2B5EF4-FFF2-40B4-BE49-F238E27FC236}">
                <a16:creationId xmlns:a16="http://schemas.microsoft.com/office/drawing/2014/main" id="{E5740AED-70C6-1E05-238F-1B5D8BAAFFCD}"/>
              </a:ext>
            </a:extLst>
          </p:cNvPr>
          <p:cNvSpPr/>
          <p:nvPr/>
        </p:nvSpPr>
        <p:spPr>
          <a:xfrm>
            <a:off x="1995267" y="5406377"/>
            <a:ext cx="1240631" cy="208661"/>
          </a:xfrm>
          <a:prstGeom prst="rect">
            <a:avLst/>
          </a:prstGeom>
          <a:noFill/>
        </p:spPr>
        <p:txBody>
          <a:bodyPr wrap="none" lIns="0" tIns="0" rIns="0" bIns="0" anchor="ctr" anchorCtr="1"/>
          <a:lstStyle/>
          <a:p>
            <a:pPr marL="0" marR="0" lvl="0" indent="0" algn="ctr" defTabSz="914446" rtl="0" eaLnBrk="1" fontAlgn="auto" latinLnBrk="0" hangingPunct="1">
              <a:lnSpc>
                <a:spcPts val="900"/>
              </a:lnSpc>
              <a:spcBef>
                <a:spcPts val="0"/>
              </a:spcBef>
              <a:spcAft>
                <a:spcPts val="0"/>
              </a:spcAft>
              <a:buClrTx/>
              <a:buSzTx/>
              <a:buFontTx/>
              <a:buNone/>
              <a:tabLst/>
              <a:defRPr/>
            </a:pPr>
            <a:r>
              <a:rPr kumimoji="0" sz="10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Week 12</a:t>
            </a:r>
          </a:p>
        </p:txBody>
      </p:sp>
      <p:sp>
        <p:nvSpPr>
          <p:cNvPr id="9777" name="tx63">
            <a:extLst>
              <a:ext uri="{FF2B5EF4-FFF2-40B4-BE49-F238E27FC236}">
                <a16:creationId xmlns:a16="http://schemas.microsoft.com/office/drawing/2014/main" id="{E55936C4-BAB7-DF42-C445-AC49FE4EF0E0}"/>
              </a:ext>
            </a:extLst>
          </p:cNvPr>
          <p:cNvSpPr/>
          <p:nvPr/>
        </p:nvSpPr>
        <p:spPr>
          <a:xfrm>
            <a:off x="5594835" y="5406377"/>
            <a:ext cx="1240631" cy="208661"/>
          </a:xfrm>
          <a:prstGeom prst="rect">
            <a:avLst/>
          </a:prstGeom>
          <a:noFill/>
        </p:spPr>
        <p:txBody>
          <a:bodyPr wrap="none" lIns="0" tIns="0" rIns="0" bIns="0" anchor="ctr" anchorCtr="1"/>
          <a:lstStyle/>
          <a:p>
            <a:pPr marL="0" marR="0" lvl="0" indent="0" algn="ctr" defTabSz="914446" rtl="0" eaLnBrk="1" fontAlgn="auto" latinLnBrk="0" hangingPunct="1">
              <a:lnSpc>
                <a:spcPts val="900"/>
              </a:lnSpc>
              <a:spcBef>
                <a:spcPts val="0"/>
              </a:spcBef>
              <a:spcAft>
                <a:spcPts val="0"/>
              </a:spcAft>
              <a:buClrTx/>
              <a:buSzTx/>
              <a:buFontTx/>
              <a:buNone/>
              <a:tabLst/>
              <a:defRPr/>
            </a:pPr>
            <a:r>
              <a:rPr kumimoji="0" lang="en-US" sz="10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Week 12</a:t>
            </a:r>
            <a:endParaRPr kumimoji="0" lang="en-US" sz="1000" b="1" i="0" u="none" strike="noStrike" kern="1200" cap="none" spc="0" normalizeH="0" baseline="0" noProof="0">
              <a:ln>
                <a:noFill/>
              </a:ln>
              <a:solidFill>
                <a:srgbClr val="001965">
                  <a:alpha val="100000"/>
                </a:srgbClr>
              </a:solidFill>
              <a:effectLst/>
              <a:uLnTx/>
              <a:uFillTx/>
              <a:latin typeface="Avenir Next LT Pro"/>
              <a:ea typeface="+mn-ea"/>
              <a:cs typeface="Avenir Next LT Pro"/>
            </a:endParaRPr>
          </a:p>
        </p:txBody>
      </p:sp>
      <p:sp>
        <p:nvSpPr>
          <p:cNvPr id="8066" name="tx56">
            <a:extLst>
              <a:ext uri="{FF2B5EF4-FFF2-40B4-BE49-F238E27FC236}">
                <a16:creationId xmlns:a16="http://schemas.microsoft.com/office/drawing/2014/main" id="{26859256-077E-67BE-57C2-07869D7B64B6}"/>
              </a:ext>
            </a:extLst>
          </p:cNvPr>
          <p:cNvSpPr/>
          <p:nvPr/>
        </p:nvSpPr>
        <p:spPr>
          <a:xfrm>
            <a:off x="9115496" y="5406377"/>
            <a:ext cx="1240631" cy="208661"/>
          </a:xfrm>
          <a:prstGeom prst="rect">
            <a:avLst/>
          </a:prstGeom>
          <a:noFill/>
        </p:spPr>
        <p:txBody>
          <a:bodyPr wrap="none" lIns="0" tIns="0" rIns="0" bIns="0" anchor="ctr" anchorCtr="1"/>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GB" sz="10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Week 12</a:t>
            </a:r>
            <a:endParaRPr kumimoji="0" lang="en-DK" sz="1000" b="0" i="0" u="none" strike="noStrike" kern="1200" cap="none" spc="0" normalizeH="0" baseline="0" noProof="0">
              <a:ln>
                <a:noFill/>
              </a:ln>
              <a:solidFill>
                <a:srgbClr val="001965">
                  <a:alpha val="100000"/>
                </a:srgbClr>
              </a:solidFill>
              <a:effectLst/>
              <a:uLnTx/>
              <a:uFillTx/>
              <a:latin typeface="Avenir Next LT Pro"/>
              <a:ea typeface="+mn-ea"/>
              <a:cs typeface="Avenir Next LT Pro"/>
            </a:endParaRPr>
          </a:p>
        </p:txBody>
      </p:sp>
      <p:sp>
        <p:nvSpPr>
          <p:cNvPr id="8068" name="TextBox 8067">
            <a:extLst>
              <a:ext uri="{FF2B5EF4-FFF2-40B4-BE49-F238E27FC236}">
                <a16:creationId xmlns:a16="http://schemas.microsoft.com/office/drawing/2014/main" id="{96D79A62-1AA1-9CF7-B455-695B3767F686}"/>
              </a:ext>
            </a:extLst>
          </p:cNvPr>
          <p:cNvSpPr txBox="1">
            <a:spLocks/>
          </p:cNvSpPr>
          <p:nvPr/>
        </p:nvSpPr>
        <p:spPr>
          <a:xfrm>
            <a:off x="8158886" y="2663303"/>
            <a:ext cx="2983723" cy="442035"/>
          </a:xfrm>
          <a:prstGeom prst="rect">
            <a:avLst/>
          </a:prstGeom>
          <a:noFill/>
        </p:spPr>
        <p:txBody>
          <a:bodyPr wrap="square" lIns="0" tIns="36000" rIns="0" bIns="36000">
            <a:spAutoFit/>
          </a:bodyPr>
          <a:lstStyle/>
          <a:p>
            <a:pPr marL="0" marR="0" lvl="0" indent="0" algn="ctr" defTabSz="889000" rtl="0" eaLnBrk="1" fontAlgn="auto" latinLnBrk="0" hangingPunct="1">
              <a:lnSpc>
                <a:spcPct val="100000"/>
              </a:lnSpc>
              <a:spcBef>
                <a:spcPts val="0"/>
              </a:spcBef>
              <a:spcAft>
                <a:spcPts val="1200"/>
              </a:spcAft>
              <a:buClrTx/>
              <a:buSzTx/>
              <a:buFontTx/>
              <a:buNone/>
              <a:tabLst/>
              <a:defRPr/>
            </a:pPr>
            <a:r>
              <a:rPr kumimoji="0" lang="en-DK" sz="12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rPr>
              <a:t>...resulting in</a:t>
            </a:r>
            <a:r>
              <a:rPr kumimoji="0" lang="en-US" sz="12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rPr>
              <a:t> improve</a:t>
            </a:r>
            <a:r>
              <a:rPr kumimoji="0" lang="en-DK" sz="12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rPr>
              <a:t>d</a:t>
            </a:r>
            <a:r>
              <a:rPr kumimoji="0" lang="en-US" sz="12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rPr>
              <a:t> body composition</a:t>
            </a:r>
            <a:r>
              <a:rPr kumimoji="0" lang="en-DK" sz="12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rPr>
              <a:t> and maintained body weight reduction</a:t>
            </a:r>
            <a:r>
              <a:rPr kumimoji="0" lang="en-US" sz="12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rPr>
              <a:t> </a:t>
            </a:r>
          </a:p>
        </p:txBody>
      </p:sp>
      <p:grpSp>
        <p:nvGrpSpPr>
          <p:cNvPr id="8127" name="Group 8126">
            <a:extLst>
              <a:ext uri="{FF2B5EF4-FFF2-40B4-BE49-F238E27FC236}">
                <a16:creationId xmlns:a16="http://schemas.microsoft.com/office/drawing/2014/main" id="{3271FA81-2C8A-7379-EF86-96140CFD4A0B}"/>
              </a:ext>
            </a:extLst>
          </p:cNvPr>
          <p:cNvGrpSpPr/>
          <p:nvPr/>
        </p:nvGrpSpPr>
        <p:grpSpPr>
          <a:xfrm>
            <a:off x="1000771" y="3232261"/>
            <a:ext cx="2909090" cy="2168489"/>
            <a:chOff x="3205611" y="2948734"/>
            <a:chExt cx="2525052" cy="1508031"/>
          </a:xfrm>
        </p:grpSpPr>
        <p:sp>
          <p:nvSpPr>
            <p:cNvPr id="8081" name="rc5">
              <a:extLst>
                <a:ext uri="{FF2B5EF4-FFF2-40B4-BE49-F238E27FC236}">
                  <a16:creationId xmlns:a16="http://schemas.microsoft.com/office/drawing/2014/main" id="{AA418989-9C87-39E3-DA9F-A7C5863A6CAD}"/>
                </a:ext>
              </a:extLst>
            </p:cNvPr>
            <p:cNvSpPr/>
            <p:nvPr/>
          </p:nvSpPr>
          <p:spPr>
            <a:xfrm>
              <a:off x="3570663" y="2984395"/>
              <a:ext cx="2160000" cy="14400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082" name="rc6">
              <a:extLst>
                <a:ext uri="{FF2B5EF4-FFF2-40B4-BE49-F238E27FC236}">
                  <a16:creationId xmlns:a16="http://schemas.microsoft.com/office/drawing/2014/main" id="{B45518AA-4A5C-18B5-0AA9-5361CCB1C8A6}"/>
                </a:ext>
              </a:extLst>
            </p:cNvPr>
            <p:cNvSpPr/>
            <p:nvPr/>
          </p:nvSpPr>
          <p:spPr>
            <a:xfrm>
              <a:off x="3699235" y="3248482"/>
              <a:ext cx="359999" cy="215913"/>
            </a:xfrm>
            <a:prstGeom prst="rect">
              <a:avLst/>
            </a:prstGeom>
            <a:solidFill>
              <a:srgbClr val="2E2E2E">
                <a:alpha val="100000"/>
              </a:srgbClr>
            </a:solidFill>
            <a:ln w="13550" cap="flat">
              <a:solidFill>
                <a:srgbClr val="2E2E2E">
                  <a:alpha val="100000"/>
                </a:srgbClr>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083" name="rc7">
              <a:extLst>
                <a:ext uri="{FF2B5EF4-FFF2-40B4-BE49-F238E27FC236}">
                  <a16:creationId xmlns:a16="http://schemas.microsoft.com/office/drawing/2014/main" id="{C22C51C4-92DF-7174-D366-EA2AD3EEB970}"/>
                </a:ext>
              </a:extLst>
            </p:cNvPr>
            <p:cNvSpPr/>
            <p:nvPr/>
          </p:nvSpPr>
          <p:spPr>
            <a:xfrm>
              <a:off x="4213520" y="3464395"/>
              <a:ext cx="359999" cy="316365"/>
            </a:xfrm>
            <a:prstGeom prst="rect">
              <a:avLst/>
            </a:prstGeom>
            <a:solidFill>
              <a:srgbClr val="00DF86">
                <a:alpha val="100000"/>
              </a:srgbClr>
            </a:solidFill>
            <a:ln w="13550" cap="flat">
              <a:solidFill>
                <a:srgbClr val="00DF86">
                  <a:alpha val="100000"/>
                </a:srgbClr>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084" name="rc8">
              <a:extLst>
                <a:ext uri="{FF2B5EF4-FFF2-40B4-BE49-F238E27FC236}">
                  <a16:creationId xmlns:a16="http://schemas.microsoft.com/office/drawing/2014/main" id="{447B35C1-B608-FC52-E36C-B571420E3E4B}"/>
                </a:ext>
              </a:extLst>
            </p:cNvPr>
            <p:cNvSpPr/>
            <p:nvPr/>
          </p:nvSpPr>
          <p:spPr>
            <a:xfrm>
              <a:off x="4727806" y="3464395"/>
              <a:ext cx="360000" cy="97254"/>
            </a:xfrm>
            <a:prstGeom prst="rect">
              <a:avLst/>
            </a:prstGeom>
            <a:solidFill>
              <a:srgbClr val="745DAD">
                <a:alpha val="100000"/>
              </a:srgbClr>
            </a:solidFill>
            <a:ln w="13550" cap="flat">
              <a:solidFill>
                <a:srgbClr val="745DAD">
                  <a:alpha val="100000"/>
                </a:srgbClr>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085" name="rc9">
              <a:extLst>
                <a:ext uri="{FF2B5EF4-FFF2-40B4-BE49-F238E27FC236}">
                  <a16:creationId xmlns:a16="http://schemas.microsoft.com/office/drawing/2014/main" id="{26F8D457-E5D0-E41C-FD87-464D50E0F2BA}"/>
                </a:ext>
              </a:extLst>
            </p:cNvPr>
            <p:cNvSpPr/>
            <p:nvPr/>
          </p:nvSpPr>
          <p:spPr>
            <a:xfrm>
              <a:off x="5242092" y="3464395"/>
              <a:ext cx="359999" cy="605854"/>
            </a:xfrm>
            <a:prstGeom prst="rect">
              <a:avLst/>
            </a:prstGeom>
            <a:solidFill>
              <a:srgbClr val="2878FF">
                <a:alpha val="100000"/>
              </a:srgbClr>
            </a:solidFill>
            <a:ln w="13550" cap="flat">
              <a:solidFill>
                <a:srgbClr val="2878FF">
                  <a:alpha val="100000"/>
                </a:srgbClr>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086" name="pl10">
              <a:extLst>
                <a:ext uri="{FF2B5EF4-FFF2-40B4-BE49-F238E27FC236}">
                  <a16:creationId xmlns:a16="http://schemas.microsoft.com/office/drawing/2014/main" id="{670D86D1-8B04-3F07-06A3-299FEDC9A92C}"/>
                </a:ext>
              </a:extLst>
            </p:cNvPr>
            <p:cNvSpPr/>
            <p:nvPr/>
          </p:nvSpPr>
          <p:spPr>
            <a:xfrm>
              <a:off x="3750663" y="3162520"/>
              <a:ext cx="257142" cy="0"/>
            </a:xfrm>
            <a:custGeom>
              <a:avLst/>
              <a:gdLst/>
              <a:ahLst/>
              <a:cxnLst/>
              <a:rect l="0" t="0" r="0" b="0"/>
              <a:pathLst>
                <a:path w="257142">
                  <a:moveTo>
                    <a:pt x="0" y="0"/>
                  </a:moveTo>
                  <a:lnTo>
                    <a:pt x="257142" y="0"/>
                  </a:lnTo>
                </a:path>
              </a:pathLst>
            </a:custGeom>
            <a:ln w="5962" cap="flat">
              <a:solidFill>
                <a:srgbClr val="2E2E2E">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087" name="pl11">
              <a:extLst>
                <a:ext uri="{FF2B5EF4-FFF2-40B4-BE49-F238E27FC236}">
                  <a16:creationId xmlns:a16="http://schemas.microsoft.com/office/drawing/2014/main" id="{FC895F8B-EE0D-98FF-A2FB-555621CD7F7F}"/>
                </a:ext>
              </a:extLst>
            </p:cNvPr>
            <p:cNvSpPr/>
            <p:nvPr/>
          </p:nvSpPr>
          <p:spPr>
            <a:xfrm>
              <a:off x="3879235" y="3162520"/>
              <a:ext cx="0" cy="171924"/>
            </a:xfrm>
            <a:custGeom>
              <a:avLst/>
              <a:gdLst/>
              <a:ahLst/>
              <a:cxnLst/>
              <a:rect l="0" t="0" r="0" b="0"/>
              <a:pathLst>
                <a:path h="171924">
                  <a:moveTo>
                    <a:pt x="0" y="0"/>
                  </a:moveTo>
                  <a:lnTo>
                    <a:pt x="0" y="171924"/>
                  </a:lnTo>
                </a:path>
              </a:pathLst>
            </a:custGeom>
            <a:ln w="5962" cap="flat">
              <a:solidFill>
                <a:srgbClr val="2E2E2E">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088" name="pl12">
              <a:extLst>
                <a:ext uri="{FF2B5EF4-FFF2-40B4-BE49-F238E27FC236}">
                  <a16:creationId xmlns:a16="http://schemas.microsoft.com/office/drawing/2014/main" id="{4DD94399-221D-D15F-16C8-8F73FE7991CE}"/>
                </a:ext>
              </a:extLst>
            </p:cNvPr>
            <p:cNvSpPr/>
            <p:nvPr/>
          </p:nvSpPr>
          <p:spPr>
            <a:xfrm>
              <a:off x="3750663" y="3334444"/>
              <a:ext cx="257142" cy="0"/>
            </a:xfrm>
            <a:custGeom>
              <a:avLst/>
              <a:gdLst/>
              <a:ahLst/>
              <a:cxnLst/>
              <a:rect l="0" t="0" r="0" b="0"/>
              <a:pathLst>
                <a:path w="257142">
                  <a:moveTo>
                    <a:pt x="0" y="0"/>
                  </a:moveTo>
                  <a:lnTo>
                    <a:pt x="257142" y="0"/>
                  </a:lnTo>
                </a:path>
              </a:pathLst>
            </a:custGeom>
            <a:ln w="5962" cap="flat">
              <a:solidFill>
                <a:srgbClr val="2E2E2E">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089" name="pl13">
              <a:extLst>
                <a:ext uri="{FF2B5EF4-FFF2-40B4-BE49-F238E27FC236}">
                  <a16:creationId xmlns:a16="http://schemas.microsoft.com/office/drawing/2014/main" id="{C55B8BD6-964F-A1BC-945D-FA1CF177C966}"/>
                </a:ext>
              </a:extLst>
            </p:cNvPr>
            <p:cNvSpPr/>
            <p:nvPr/>
          </p:nvSpPr>
          <p:spPr>
            <a:xfrm>
              <a:off x="4264949" y="3713841"/>
              <a:ext cx="257142" cy="0"/>
            </a:xfrm>
            <a:custGeom>
              <a:avLst/>
              <a:gdLst/>
              <a:ahLst/>
              <a:cxnLst/>
              <a:rect l="0" t="0" r="0" b="0"/>
              <a:pathLst>
                <a:path w="257142">
                  <a:moveTo>
                    <a:pt x="0" y="0"/>
                  </a:moveTo>
                  <a:lnTo>
                    <a:pt x="257142" y="0"/>
                  </a:lnTo>
                </a:path>
              </a:pathLst>
            </a:custGeom>
            <a:ln w="5962" cap="flat">
              <a:solidFill>
                <a:srgbClr val="00DF86">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090" name="pl14">
              <a:extLst>
                <a:ext uri="{FF2B5EF4-FFF2-40B4-BE49-F238E27FC236}">
                  <a16:creationId xmlns:a16="http://schemas.microsoft.com/office/drawing/2014/main" id="{AD0D4C1F-4958-609C-D45A-F496D3AC139A}"/>
                </a:ext>
              </a:extLst>
            </p:cNvPr>
            <p:cNvSpPr/>
            <p:nvPr/>
          </p:nvSpPr>
          <p:spPr>
            <a:xfrm>
              <a:off x="4393520" y="3713841"/>
              <a:ext cx="0" cy="133839"/>
            </a:xfrm>
            <a:custGeom>
              <a:avLst/>
              <a:gdLst/>
              <a:ahLst/>
              <a:cxnLst/>
              <a:rect l="0" t="0" r="0" b="0"/>
              <a:pathLst>
                <a:path h="133839">
                  <a:moveTo>
                    <a:pt x="0" y="0"/>
                  </a:moveTo>
                  <a:lnTo>
                    <a:pt x="0" y="133839"/>
                  </a:lnTo>
                </a:path>
              </a:pathLst>
            </a:custGeom>
            <a:ln w="5962" cap="flat">
              <a:solidFill>
                <a:srgbClr val="00DF86">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091" name="pl15">
              <a:extLst>
                <a:ext uri="{FF2B5EF4-FFF2-40B4-BE49-F238E27FC236}">
                  <a16:creationId xmlns:a16="http://schemas.microsoft.com/office/drawing/2014/main" id="{52CE0C48-BCAE-E549-C6FC-A62B51E5E80B}"/>
                </a:ext>
              </a:extLst>
            </p:cNvPr>
            <p:cNvSpPr/>
            <p:nvPr/>
          </p:nvSpPr>
          <p:spPr>
            <a:xfrm>
              <a:off x="4264949" y="3847680"/>
              <a:ext cx="257142" cy="0"/>
            </a:xfrm>
            <a:custGeom>
              <a:avLst/>
              <a:gdLst/>
              <a:ahLst/>
              <a:cxnLst/>
              <a:rect l="0" t="0" r="0" b="0"/>
              <a:pathLst>
                <a:path w="257142">
                  <a:moveTo>
                    <a:pt x="0" y="0"/>
                  </a:moveTo>
                  <a:lnTo>
                    <a:pt x="257142" y="0"/>
                  </a:lnTo>
                </a:path>
              </a:pathLst>
            </a:custGeom>
            <a:ln w="5962" cap="flat">
              <a:solidFill>
                <a:srgbClr val="00DF86">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092" name="pl16">
              <a:extLst>
                <a:ext uri="{FF2B5EF4-FFF2-40B4-BE49-F238E27FC236}">
                  <a16:creationId xmlns:a16="http://schemas.microsoft.com/office/drawing/2014/main" id="{33C13BF9-2EF8-CB6F-3001-1DC87654C449}"/>
                </a:ext>
              </a:extLst>
            </p:cNvPr>
            <p:cNvSpPr/>
            <p:nvPr/>
          </p:nvSpPr>
          <p:spPr>
            <a:xfrm>
              <a:off x="4779235" y="3487350"/>
              <a:ext cx="257142" cy="0"/>
            </a:xfrm>
            <a:custGeom>
              <a:avLst/>
              <a:gdLst/>
              <a:ahLst/>
              <a:cxnLst/>
              <a:rect l="0" t="0" r="0" b="0"/>
              <a:pathLst>
                <a:path w="257142">
                  <a:moveTo>
                    <a:pt x="0" y="0"/>
                  </a:moveTo>
                  <a:lnTo>
                    <a:pt x="257142" y="0"/>
                  </a:lnTo>
                </a:path>
              </a:pathLst>
            </a:custGeom>
            <a:ln w="5962" cap="flat">
              <a:solidFill>
                <a:srgbClr val="745DAD">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093" name="pl17">
              <a:extLst>
                <a:ext uri="{FF2B5EF4-FFF2-40B4-BE49-F238E27FC236}">
                  <a16:creationId xmlns:a16="http://schemas.microsoft.com/office/drawing/2014/main" id="{816D0B8F-79E3-0701-F047-44E878F7733E}"/>
                </a:ext>
              </a:extLst>
            </p:cNvPr>
            <p:cNvSpPr/>
            <p:nvPr/>
          </p:nvSpPr>
          <p:spPr>
            <a:xfrm>
              <a:off x="4907806" y="3487350"/>
              <a:ext cx="0" cy="148599"/>
            </a:xfrm>
            <a:custGeom>
              <a:avLst/>
              <a:gdLst/>
              <a:ahLst/>
              <a:cxnLst/>
              <a:rect l="0" t="0" r="0" b="0"/>
              <a:pathLst>
                <a:path h="148599">
                  <a:moveTo>
                    <a:pt x="0" y="0"/>
                  </a:moveTo>
                  <a:lnTo>
                    <a:pt x="0" y="148599"/>
                  </a:lnTo>
                </a:path>
              </a:pathLst>
            </a:custGeom>
            <a:ln w="5962" cap="flat">
              <a:solidFill>
                <a:srgbClr val="745DAD">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094" name="pl18">
              <a:extLst>
                <a:ext uri="{FF2B5EF4-FFF2-40B4-BE49-F238E27FC236}">
                  <a16:creationId xmlns:a16="http://schemas.microsoft.com/office/drawing/2014/main" id="{37159D0E-E680-8172-46CB-8833D0591F06}"/>
                </a:ext>
              </a:extLst>
            </p:cNvPr>
            <p:cNvSpPr/>
            <p:nvPr/>
          </p:nvSpPr>
          <p:spPr>
            <a:xfrm>
              <a:off x="4779235" y="3635949"/>
              <a:ext cx="257142" cy="0"/>
            </a:xfrm>
            <a:custGeom>
              <a:avLst/>
              <a:gdLst/>
              <a:ahLst/>
              <a:cxnLst/>
              <a:rect l="0" t="0" r="0" b="0"/>
              <a:pathLst>
                <a:path w="257142">
                  <a:moveTo>
                    <a:pt x="0" y="0"/>
                  </a:moveTo>
                  <a:lnTo>
                    <a:pt x="257142" y="0"/>
                  </a:lnTo>
                </a:path>
              </a:pathLst>
            </a:custGeom>
            <a:ln w="5962" cap="flat">
              <a:solidFill>
                <a:srgbClr val="745DAD">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095" name="pl19">
              <a:extLst>
                <a:ext uri="{FF2B5EF4-FFF2-40B4-BE49-F238E27FC236}">
                  <a16:creationId xmlns:a16="http://schemas.microsoft.com/office/drawing/2014/main" id="{7A33573E-1412-F6D9-883A-939E1C227A55}"/>
                </a:ext>
              </a:extLst>
            </p:cNvPr>
            <p:cNvSpPr/>
            <p:nvPr/>
          </p:nvSpPr>
          <p:spPr>
            <a:xfrm>
              <a:off x="5293520" y="3991115"/>
              <a:ext cx="257142" cy="0"/>
            </a:xfrm>
            <a:custGeom>
              <a:avLst/>
              <a:gdLst/>
              <a:ahLst/>
              <a:cxnLst/>
              <a:rect l="0" t="0" r="0" b="0"/>
              <a:pathLst>
                <a:path w="257142">
                  <a:moveTo>
                    <a:pt x="0" y="0"/>
                  </a:moveTo>
                  <a:lnTo>
                    <a:pt x="257142" y="0"/>
                  </a:lnTo>
                </a:path>
              </a:pathLst>
            </a:custGeom>
            <a:ln w="5962" cap="flat">
              <a:solidFill>
                <a:srgbClr val="2878FF">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096" name="pl20">
              <a:extLst>
                <a:ext uri="{FF2B5EF4-FFF2-40B4-BE49-F238E27FC236}">
                  <a16:creationId xmlns:a16="http://schemas.microsoft.com/office/drawing/2014/main" id="{04DC1387-17B2-7297-5A91-4AAACAE70359}"/>
                </a:ext>
              </a:extLst>
            </p:cNvPr>
            <p:cNvSpPr/>
            <p:nvPr/>
          </p:nvSpPr>
          <p:spPr>
            <a:xfrm>
              <a:off x="5422092" y="3991115"/>
              <a:ext cx="0" cy="158269"/>
            </a:xfrm>
            <a:custGeom>
              <a:avLst/>
              <a:gdLst/>
              <a:ahLst/>
              <a:cxnLst/>
              <a:rect l="0" t="0" r="0" b="0"/>
              <a:pathLst>
                <a:path h="158269">
                  <a:moveTo>
                    <a:pt x="0" y="0"/>
                  </a:moveTo>
                  <a:lnTo>
                    <a:pt x="0" y="158269"/>
                  </a:lnTo>
                </a:path>
              </a:pathLst>
            </a:custGeom>
            <a:ln w="5962" cap="flat">
              <a:solidFill>
                <a:srgbClr val="2878FF">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097" name="pl21">
              <a:extLst>
                <a:ext uri="{FF2B5EF4-FFF2-40B4-BE49-F238E27FC236}">
                  <a16:creationId xmlns:a16="http://schemas.microsoft.com/office/drawing/2014/main" id="{D38A89E6-C2D2-EDE3-C786-CBB5A2D556E8}"/>
                </a:ext>
              </a:extLst>
            </p:cNvPr>
            <p:cNvSpPr/>
            <p:nvPr/>
          </p:nvSpPr>
          <p:spPr>
            <a:xfrm>
              <a:off x="5293520" y="4149384"/>
              <a:ext cx="257142" cy="0"/>
            </a:xfrm>
            <a:custGeom>
              <a:avLst/>
              <a:gdLst/>
              <a:ahLst/>
              <a:cxnLst/>
              <a:rect l="0" t="0" r="0" b="0"/>
              <a:pathLst>
                <a:path w="257142">
                  <a:moveTo>
                    <a:pt x="0" y="0"/>
                  </a:moveTo>
                  <a:lnTo>
                    <a:pt x="257142" y="0"/>
                  </a:lnTo>
                </a:path>
              </a:pathLst>
            </a:custGeom>
            <a:ln w="5962" cap="flat">
              <a:solidFill>
                <a:srgbClr val="2878FF">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098" name="tx22">
              <a:extLst>
                <a:ext uri="{FF2B5EF4-FFF2-40B4-BE49-F238E27FC236}">
                  <a16:creationId xmlns:a16="http://schemas.microsoft.com/office/drawing/2014/main" id="{1CD8E849-6AA5-78D8-B5D3-F6EAB34C0AD3}"/>
                </a:ext>
              </a:extLst>
            </p:cNvPr>
            <p:cNvSpPr/>
            <p:nvPr/>
          </p:nvSpPr>
          <p:spPr>
            <a:xfrm>
              <a:off x="4316166" y="3897210"/>
              <a:ext cx="154709" cy="41348"/>
            </a:xfrm>
            <a:prstGeom prst="rect">
              <a:avLst/>
            </a:prstGeom>
            <a:noFill/>
          </p:spPr>
          <p:txBody>
            <a:bodyPr wrap="none" lIns="0" tIns="0" rIns="0" bIns="0" anchor="ctr" anchorCtr="1"/>
            <a:lstStyle/>
            <a:p>
              <a:pPr marL="0" marR="0" lvl="0" indent="0" algn="l" defTabSz="914400" rtl="0" eaLnBrk="1" fontAlgn="auto" latinLnBrk="0" hangingPunct="1">
                <a:lnSpc>
                  <a:spcPts val="914"/>
                </a:lnSpc>
                <a:spcBef>
                  <a:spcPts val="0"/>
                </a:spcBef>
                <a:spcAft>
                  <a:spcPts val="0"/>
                </a:spcAft>
                <a:buClrTx/>
                <a:buSzTx/>
                <a:buFontTx/>
                <a:buNone/>
                <a:tabLst/>
                <a:defRPr/>
              </a:pPr>
              <a:r>
                <a:rPr kumimoji="0" sz="914" b="0" i="0" u="none" strike="noStrike" kern="1200" cap="none" spc="0" normalizeH="0" baseline="0" noProof="0">
                  <a:ln>
                    <a:noFill/>
                  </a:ln>
                  <a:solidFill>
                    <a:srgbClr val="00DF86">
                      <a:alpha val="100000"/>
                    </a:srgbClr>
                  </a:solidFill>
                  <a:effectLst/>
                  <a:uLnTx/>
                  <a:uFillTx/>
                  <a:latin typeface="Avenir Next LT Pro"/>
                  <a:ea typeface="+mn-ea"/>
                  <a:cs typeface="Avenir Next LT Pro"/>
                </a:rPr>
                <a:t>***</a:t>
              </a:r>
            </a:p>
          </p:txBody>
        </p:sp>
        <p:sp>
          <p:nvSpPr>
            <p:cNvPr id="8099" name="tx23">
              <a:extLst>
                <a:ext uri="{FF2B5EF4-FFF2-40B4-BE49-F238E27FC236}">
                  <a16:creationId xmlns:a16="http://schemas.microsoft.com/office/drawing/2014/main" id="{64376E2C-F93A-B784-0C80-1E215AA674B1}"/>
                </a:ext>
              </a:extLst>
            </p:cNvPr>
            <p:cNvSpPr/>
            <p:nvPr/>
          </p:nvSpPr>
          <p:spPr>
            <a:xfrm>
              <a:off x="4882021" y="3685479"/>
              <a:ext cx="51569" cy="41348"/>
            </a:xfrm>
            <a:prstGeom prst="rect">
              <a:avLst/>
            </a:prstGeom>
            <a:noFill/>
          </p:spPr>
          <p:txBody>
            <a:bodyPr wrap="none" lIns="0" tIns="0" rIns="0" bIns="0" anchor="ctr" anchorCtr="1"/>
            <a:lstStyle/>
            <a:p>
              <a:pPr marL="0" marR="0" lvl="0" indent="0" algn="l" defTabSz="914400" rtl="0" eaLnBrk="1" fontAlgn="auto" latinLnBrk="0" hangingPunct="1">
                <a:lnSpc>
                  <a:spcPts val="914"/>
                </a:lnSpc>
                <a:spcBef>
                  <a:spcPts val="0"/>
                </a:spcBef>
                <a:spcAft>
                  <a:spcPts val="0"/>
                </a:spcAft>
                <a:buClrTx/>
                <a:buSzTx/>
                <a:buFontTx/>
                <a:buNone/>
                <a:tabLst/>
                <a:defRPr/>
              </a:pPr>
              <a:r>
                <a:rPr kumimoji="0" sz="914" b="0" i="0" u="none" strike="noStrike" kern="1200" cap="none" spc="0" normalizeH="0" baseline="0" noProof="0">
                  <a:ln>
                    <a:noFill/>
                  </a:ln>
                  <a:solidFill>
                    <a:srgbClr val="745DAD">
                      <a:alpha val="100000"/>
                    </a:srgbClr>
                  </a:solidFill>
                  <a:effectLst/>
                  <a:uLnTx/>
                  <a:uFillTx/>
                  <a:latin typeface="Avenir Next LT Pro"/>
                  <a:ea typeface="+mn-ea"/>
                  <a:cs typeface="Avenir Next LT Pro"/>
                </a:rPr>
                <a:t>*</a:t>
              </a:r>
            </a:p>
          </p:txBody>
        </p:sp>
        <p:sp>
          <p:nvSpPr>
            <p:cNvPr id="8100" name="tx24">
              <a:extLst>
                <a:ext uri="{FF2B5EF4-FFF2-40B4-BE49-F238E27FC236}">
                  <a16:creationId xmlns:a16="http://schemas.microsoft.com/office/drawing/2014/main" id="{E87F44E2-5574-F76F-93F4-7FE4BE2CF4EB}"/>
                </a:ext>
              </a:extLst>
            </p:cNvPr>
            <p:cNvSpPr/>
            <p:nvPr/>
          </p:nvSpPr>
          <p:spPr>
            <a:xfrm>
              <a:off x="5344737" y="4198914"/>
              <a:ext cx="154709" cy="41348"/>
            </a:xfrm>
            <a:prstGeom prst="rect">
              <a:avLst/>
            </a:prstGeom>
            <a:noFill/>
          </p:spPr>
          <p:txBody>
            <a:bodyPr wrap="none" lIns="0" tIns="0" rIns="0" bIns="0" anchor="ctr" anchorCtr="1"/>
            <a:lstStyle/>
            <a:p>
              <a:pPr marL="0" marR="0" lvl="0" indent="0" algn="l" defTabSz="914400" rtl="0" eaLnBrk="1" fontAlgn="auto" latinLnBrk="0" hangingPunct="1">
                <a:lnSpc>
                  <a:spcPts val="914"/>
                </a:lnSpc>
                <a:spcBef>
                  <a:spcPts val="0"/>
                </a:spcBef>
                <a:spcAft>
                  <a:spcPts val="0"/>
                </a:spcAft>
                <a:buClrTx/>
                <a:buSzTx/>
                <a:buFontTx/>
                <a:buNone/>
                <a:tabLst/>
                <a:defRPr/>
              </a:pPr>
              <a:r>
                <a:rPr kumimoji="0" sz="914" b="0" i="0" u="none" strike="noStrike" kern="1200" cap="none" spc="0" normalizeH="0" baseline="0" noProof="0">
                  <a:ln>
                    <a:noFill/>
                  </a:ln>
                  <a:solidFill>
                    <a:srgbClr val="2878FF">
                      <a:alpha val="100000"/>
                    </a:srgbClr>
                  </a:solidFill>
                  <a:effectLst/>
                  <a:uLnTx/>
                  <a:uFillTx/>
                  <a:latin typeface="Avenir Next LT Pro"/>
                  <a:ea typeface="+mn-ea"/>
                  <a:cs typeface="Avenir Next LT Pro"/>
                </a:rPr>
                <a:t>***</a:t>
              </a:r>
            </a:p>
          </p:txBody>
        </p:sp>
        <p:sp>
          <p:nvSpPr>
            <p:cNvPr id="8101" name="pl25">
              <a:extLst>
                <a:ext uri="{FF2B5EF4-FFF2-40B4-BE49-F238E27FC236}">
                  <a16:creationId xmlns:a16="http://schemas.microsoft.com/office/drawing/2014/main" id="{70928EAF-E825-686E-D99A-D6B933833497}"/>
                </a:ext>
              </a:extLst>
            </p:cNvPr>
            <p:cNvSpPr/>
            <p:nvPr/>
          </p:nvSpPr>
          <p:spPr>
            <a:xfrm>
              <a:off x="3570663" y="2984395"/>
              <a:ext cx="0" cy="1440000"/>
            </a:xfrm>
            <a:custGeom>
              <a:avLst/>
              <a:gdLst/>
              <a:ahLst/>
              <a:cxnLst/>
              <a:rect l="0" t="0" r="0" b="0"/>
              <a:pathLst>
                <a:path h="1440000">
                  <a:moveTo>
                    <a:pt x="0" y="1440000"/>
                  </a:moveTo>
                  <a:lnTo>
                    <a:pt x="0" y="0"/>
                  </a:lnTo>
                </a:path>
              </a:pathLst>
            </a:custGeom>
            <a:ln w="11086" cap="flat">
              <a:solidFill>
                <a:srgbClr val="001965">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102" name="tx26">
              <a:extLst>
                <a:ext uri="{FF2B5EF4-FFF2-40B4-BE49-F238E27FC236}">
                  <a16:creationId xmlns:a16="http://schemas.microsoft.com/office/drawing/2014/main" id="{22362F9A-1D69-6894-267D-D9B08936FB9E}"/>
                </a:ext>
              </a:extLst>
            </p:cNvPr>
            <p:cNvSpPr/>
            <p:nvPr/>
          </p:nvSpPr>
          <p:spPr>
            <a:xfrm>
              <a:off x="3349295" y="4388734"/>
              <a:ext cx="135331" cy="68031"/>
            </a:xfrm>
            <a:prstGeom prst="rect">
              <a:avLst/>
            </a:prstGeom>
            <a:noFill/>
          </p:spPr>
          <p:txBody>
            <a:bodyPr wrap="none" lIns="0" tIns="0" rIns="0" bIns="0" anchor="ctr" anchorCtr="1"/>
            <a:lstStyle/>
            <a:p>
              <a:pPr marL="0" marR="0" lvl="0" indent="0" algn="l" defTabSz="914400"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60</a:t>
              </a:r>
            </a:p>
          </p:txBody>
        </p:sp>
        <p:sp>
          <p:nvSpPr>
            <p:cNvPr id="8105" name="tx27">
              <a:extLst>
                <a:ext uri="{FF2B5EF4-FFF2-40B4-BE49-F238E27FC236}">
                  <a16:creationId xmlns:a16="http://schemas.microsoft.com/office/drawing/2014/main" id="{424064E1-E19B-5FB4-F05D-1D14A483B8B6}"/>
                </a:ext>
              </a:extLst>
            </p:cNvPr>
            <p:cNvSpPr/>
            <p:nvPr/>
          </p:nvSpPr>
          <p:spPr>
            <a:xfrm>
              <a:off x="3349295" y="4228734"/>
              <a:ext cx="135331" cy="68031"/>
            </a:xfrm>
            <a:prstGeom prst="rect">
              <a:avLst/>
            </a:prstGeom>
            <a:noFill/>
          </p:spPr>
          <p:txBody>
            <a:bodyPr wrap="none" lIns="0" tIns="0" rIns="0" bIns="0" anchor="ctr" anchorCtr="1"/>
            <a:lstStyle/>
            <a:p>
              <a:pPr marL="0" marR="0" lvl="0" indent="0" algn="l" defTabSz="914400"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50</a:t>
              </a:r>
            </a:p>
          </p:txBody>
        </p:sp>
        <p:sp>
          <p:nvSpPr>
            <p:cNvPr id="8107" name="tx28">
              <a:extLst>
                <a:ext uri="{FF2B5EF4-FFF2-40B4-BE49-F238E27FC236}">
                  <a16:creationId xmlns:a16="http://schemas.microsoft.com/office/drawing/2014/main" id="{F142B2F2-634E-5AB9-629E-D0D30A986EC3}"/>
                </a:ext>
              </a:extLst>
            </p:cNvPr>
            <p:cNvSpPr/>
            <p:nvPr/>
          </p:nvSpPr>
          <p:spPr>
            <a:xfrm>
              <a:off x="3349295" y="4068734"/>
              <a:ext cx="135331" cy="68031"/>
            </a:xfrm>
            <a:prstGeom prst="rect">
              <a:avLst/>
            </a:prstGeom>
            <a:noFill/>
          </p:spPr>
          <p:txBody>
            <a:bodyPr wrap="none" lIns="0" tIns="0" rIns="0" bIns="0" anchor="ctr" anchorCtr="1"/>
            <a:lstStyle/>
            <a:p>
              <a:pPr marL="0" marR="0" lvl="0" indent="0" algn="l" defTabSz="914400"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40</a:t>
              </a:r>
            </a:p>
          </p:txBody>
        </p:sp>
        <p:sp>
          <p:nvSpPr>
            <p:cNvPr id="8108" name="tx29">
              <a:extLst>
                <a:ext uri="{FF2B5EF4-FFF2-40B4-BE49-F238E27FC236}">
                  <a16:creationId xmlns:a16="http://schemas.microsoft.com/office/drawing/2014/main" id="{DA9FB19C-4600-DBF5-093D-D1956AEEA76D}"/>
                </a:ext>
              </a:extLst>
            </p:cNvPr>
            <p:cNvSpPr/>
            <p:nvPr/>
          </p:nvSpPr>
          <p:spPr>
            <a:xfrm>
              <a:off x="3349295" y="3908734"/>
              <a:ext cx="135331" cy="68031"/>
            </a:xfrm>
            <a:prstGeom prst="rect">
              <a:avLst/>
            </a:prstGeom>
            <a:noFill/>
          </p:spPr>
          <p:txBody>
            <a:bodyPr wrap="none" lIns="0" tIns="0" rIns="0" bIns="0" anchor="ctr" anchorCtr="1"/>
            <a:lstStyle/>
            <a:p>
              <a:pPr marL="0" marR="0" lvl="0" indent="0" algn="l" defTabSz="914400"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30</a:t>
              </a:r>
            </a:p>
          </p:txBody>
        </p:sp>
        <p:sp>
          <p:nvSpPr>
            <p:cNvPr id="8109" name="tx30">
              <a:extLst>
                <a:ext uri="{FF2B5EF4-FFF2-40B4-BE49-F238E27FC236}">
                  <a16:creationId xmlns:a16="http://schemas.microsoft.com/office/drawing/2014/main" id="{20FEF833-155A-F1FE-5B88-AFCEBA54201D}"/>
                </a:ext>
              </a:extLst>
            </p:cNvPr>
            <p:cNvSpPr/>
            <p:nvPr/>
          </p:nvSpPr>
          <p:spPr>
            <a:xfrm>
              <a:off x="3349295" y="3748734"/>
              <a:ext cx="135331" cy="68031"/>
            </a:xfrm>
            <a:prstGeom prst="rect">
              <a:avLst/>
            </a:prstGeom>
            <a:noFill/>
          </p:spPr>
          <p:txBody>
            <a:bodyPr wrap="none" lIns="0" tIns="0" rIns="0" bIns="0" anchor="ctr" anchorCtr="1"/>
            <a:lstStyle/>
            <a:p>
              <a:pPr marL="0" marR="0" lvl="0" indent="0" algn="l" defTabSz="914400"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20</a:t>
              </a:r>
            </a:p>
          </p:txBody>
        </p:sp>
        <p:sp>
          <p:nvSpPr>
            <p:cNvPr id="8110" name="tx31">
              <a:extLst>
                <a:ext uri="{FF2B5EF4-FFF2-40B4-BE49-F238E27FC236}">
                  <a16:creationId xmlns:a16="http://schemas.microsoft.com/office/drawing/2014/main" id="{9140975E-E651-4573-0BE0-4553EE88217A}"/>
                </a:ext>
              </a:extLst>
            </p:cNvPr>
            <p:cNvSpPr/>
            <p:nvPr/>
          </p:nvSpPr>
          <p:spPr>
            <a:xfrm>
              <a:off x="3349295" y="3588734"/>
              <a:ext cx="135331" cy="68031"/>
            </a:xfrm>
            <a:prstGeom prst="rect">
              <a:avLst/>
            </a:prstGeom>
            <a:noFill/>
          </p:spPr>
          <p:txBody>
            <a:bodyPr wrap="none" lIns="0" tIns="0" rIns="0" bIns="0" anchor="ctr" anchorCtr="1"/>
            <a:lstStyle/>
            <a:p>
              <a:pPr marL="0" marR="0" lvl="0" indent="0" algn="l" defTabSz="914400"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0</a:t>
              </a:r>
            </a:p>
          </p:txBody>
        </p:sp>
        <p:sp>
          <p:nvSpPr>
            <p:cNvPr id="8111" name="tx32">
              <a:extLst>
                <a:ext uri="{FF2B5EF4-FFF2-40B4-BE49-F238E27FC236}">
                  <a16:creationId xmlns:a16="http://schemas.microsoft.com/office/drawing/2014/main" id="{84430311-3882-35B1-7A36-CE29B0BF5514}"/>
                </a:ext>
              </a:extLst>
            </p:cNvPr>
            <p:cNvSpPr/>
            <p:nvPr/>
          </p:nvSpPr>
          <p:spPr>
            <a:xfrm>
              <a:off x="3431591" y="3428734"/>
              <a:ext cx="53035" cy="68031"/>
            </a:xfrm>
            <a:prstGeom prst="rect">
              <a:avLst/>
            </a:prstGeom>
            <a:noFill/>
          </p:spPr>
          <p:txBody>
            <a:bodyPr wrap="none" lIns="0" tIns="0" rIns="0" bIns="0" anchor="ctr" anchorCtr="1"/>
            <a:lstStyle/>
            <a:p>
              <a:pPr marL="0" marR="0" lvl="0" indent="0" algn="l" defTabSz="914400"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0</a:t>
              </a:r>
            </a:p>
          </p:txBody>
        </p:sp>
        <p:sp>
          <p:nvSpPr>
            <p:cNvPr id="8112" name="tx33">
              <a:extLst>
                <a:ext uri="{FF2B5EF4-FFF2-40B4-BE49-F238E27FC236}">
                  <a16:creationId xmlns:a16="http://schemas.microsoft.com/office/drawing/2014/main" id="{EFD61BC6-B642-CB88-4729-3E02344FB38B}"/>
                </a:ext>
              </a:extLst>
            </p:cNvPr>
            <p:cNvSpPr/>
            <p:nvPr/>
          </p:nvSpPr>
          <p:spPr>
            <a:xfrm>
              <a:off x="3378555" y="3268734"/>
              <a:ext cx="106070" cy="68031"/>
            </a:xfrm>
            <a:prstGeom prst="rect">
              <a:avLst/>
            </a:prstGeom>
            <a:noFill/>
          </p:spPr>
          <p:txBody>
            <a:bodyPr wrap="none" lIns="0" tIns="0" rIns="0" bIns="0" anchor="ctr" anchorCtr="1"/>
            <a:lstStyle/>
            <a:p>
              <a:pPr marL="0" marR="0" lvl="0" indent="0" algn="l" defTabSz="914400"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0</a:t>
              </a:r>
            </a:p>
          </p:txBody>
        </p:sp>
        <p:sp>
          <p:nvSpPr>
            <p:cNvPr id="8113" name="tx34">
              <a:extLst>
                <a:ext uri="{FF2B5EF4-FFF2-40B4-BE49-F238E27FC236}">
                  <a16:creationId xmlns:a16="http://schemas.microsoft.com/office/drawing/2014/main" id="{1BBA0DA6-C6C4-E30D-EFFC-064F9967B0E2}"/>
                </a:ext>
              </a:extLst>
            </p:cNvPr>
            <p:cNvSpPr/>
            <p:nvPr/>
          </p:nvSpPr>
          <p:spPr>
            <a:xfrm>
              <a:off x="3378555" y="3108734"/>
              <a:ext cx="106070" cy="68031"/>
            </a:xfrm>
            <a:prstGeom prst="rect">
              <a:avLst/>
            </a:prstGeom>
            <a:noFill/>
          </p:spPr>
          <p:txBody>
            <a:bodyPr wrap="none" lIns="0" tIns="0" rIns="0" bIns="0" anchor="ctr" anchorCtr="1"/>
            <a:lstStyle/>
            <a:p>
              <a:pPr marL="0" marR="0" lvl="0" indent="0" algn="l" defTabSz="914400"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20</a:t>
              </a:r>
            </a:p>
          </p:txBody>
        </p:sp>
        <p:sp>
          <p:nvSpPr>
            <p:cNvPr id="8114" name="tx35">
              <a:extLst>
                <a:ext uri="{FF2B5EF4-FFF2-40B4-BE49-F238E27FC236}">
                  <a16:creationId xmlns:a16="http://schemas.microsoft.com/office/drawing/2014/main" id="{BC232BC5-14D9-FC3E-9E17-70A8A8C04F7A}"/>
                </a:ext>
              </a:extLst>
            </p:cNvPr>
            <p:cNvSpPr/>
            <p:nvPr/>
          </p:nvSpPr>
          <p:spPr>
            <a:xfrm>
              <a:off x="3378555" y="2948734"/>
              <a:ext cx="106070" cy="68031"/>
            </a:xfrm>
            <a:prstGeom prst="rect">
              <a:avLst/>
            </a:prstGeom>
            <a:noFill/>
          </p:spPr>
          <p:txBody>
            <a:bodyPr wrap="none" lIns="0" tIns="0" rIns="0" bIns="0" anchor="ctr" anchorCtr="1"/>
            <a:lstStyle/>
            <a:p>
              <a:pPr marL="0" marR="0" lvl="0" indent="0" algn="l" defTabSz="914400"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30</a:t>
              </a:r>
            </a:p>
          </p:txBody>
        </p:sp>
        <p:sp>
          <p:nvSpPr>
            <p:cNvPr id="8115" name="pl36">
              <a:extLst>
                <a:ext uri="{FF2B5EF4-FFF2-40B4-BE49-F238E27FC236}">
                  <a16:creationId xmlns:a16="http://schemas.microsoft.com/office/drawing/2014/main" id="{B1D77D6D-F6D6-69BE-E247-7D42F9FC9431}"/>
                </a:ext>
              </a:extLst>
            </p:cNvPr>
            <p:cNvSpPr/>
            <p:nvPr/>
          </p:nvSpPr>
          <p:spPr>
            <a:xfrm>
              <a:off x="3507400" y="4424395"/>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116" name="pl37">
              <a:extLst>
                <a:ext uri="{FF2B5EF4-FFF2-40B4-BE49-F238E27FC236}">
                  <a16:creationId xmlns:a16="http://schemas.microsoft.com/office/drawing/2014/main" id="{624F6F31-8B56-A486-95D3-4E3EB35EECC0}"/>
                </a:ext>
              </a:extLst>
            </p:cNvPr>
            <p:cNvSpPr/>
            <p:nvPr/>
          </p:nvSpPr>
          <p:spPr>
            <a:xfrm>
              <a:off x="3507400" y="4264395"/>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117" name="pl38">
              <a:extLst>
                <a:ext uri="{FF2B5EF4-FFF2-40B4-BE49-F238E27FC236}">
                  <a16:creationId xmlns:a16="http://schemas.microsoft.com/office/drawing/2014/main" id="{F1719DE8-E4D1-53CB-8662-027A6BE9F429}"/>
                </a:ext>
              </a:extLst>
            </p:cNvPr>
            <p:cNvSpPr/>
            <p:nvPr/>
          </p:nvSpPr>
          <p:spPr>
            <a:xfrm>
              <a:off x="3507400" y="4104395"/>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118" name="pl39">
              <a:extLst>
                <a:ext uri="{FF2B5EF4-FFF2-40B4-BE49-F238E27FC236}">
                  <a16:creationId xmlns:a16="http://schemas.microsoft.com/office/drawing/2014/main" id="{6DC72D85-0AE2-C467-3C4E-AE97D77C0051}"/>
                </a:ext>
              </a:extLst>
            </p:cNvPr>
            <p:cNvSpPr/>
            <p:nvPr/>
          </p:nvSpPr>
          <p:spPr>
            <a:xfrm>
              <a:off x="3507400" y="3944395"/>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119" name="pl40">
              <a:extLst>
                <a:ext uri="{FF2B5EF4-FFF2-40B4-BE49-F238E27FC236}">
                  <a16:creationId xmlns:a16="http://schemas.microsoft.com/office/drawing/2014/main" id="{C6BC09A3-6166-8608-FDDD-25D6EB95E68B}"/>
                </a:ext>
              </a:extLst>
            </p:cNvPr>
            <p:cNvSpPr/>
            <p:nvPr/>
          </p:nvSpPr>
          <p:spPr>
            <a:xfrm>
              <a:off x="3507400" y="3784395"/>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120" name="pl41">
              <a:extLst>
                <a:ext uri="{FF2B5EF4-FFF2-40B4-BE49-F238E27FC236}">
                  <a16:creationId xmlns:a16="http://schemas.microsoft.com/office/drawing/2014/main" id="{2DB5E783-D3E5-A2D8-571E-7BA1DDFA4E21}"/>
                </a:ext>
              </a:extLst>
            </p:cNvPr>
            <p:cNvSpPr/>
            <p:nvPr/>
          </p:nvSpPr>
          <p:spPr>
            <a:xfrm>
              <a:off x="3507400" y="3624395"/>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121" name="pl42">
              <a:extLst>
                <a:ext uri="{FF2B5EF4-FFF2-40B4-BE49-F238E27FC236}">
                  <a16:creationId xmlns:a16="http://schemas.microsoft.com/office/drawing/2014/main" id="{52356802-2609-0568-83CA-B1E57A086599}"/>
                </a:ext>
              </a:extLst>
            </p:cNvPr>
            <p:cNvSpPr/>
            <p:nvPr/>
          </p:nvSpPr>
          <p:spPr>
            <a:xfrm>
              <a:off x="3507400" y="3464395"/>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122" name="pl43">
              <a:extLst>
                <a:ext uri="{FF2B5EF4-FFF2-40B4-BE49-F238E27FC236}">
                  <a16:creationId xmlns:a16="http://schemas.microsoft.com/office/drawing/2014/main" id="{A666E3B4-751E-3685-7C31-50BBADB579CB}"/>
                </a:ext>
              </a:extLst>
            </p:cNvPr>
            <p:cNvSpPr/>
            <p:nvPr/>
          </p:nvSpPr>
          <p:spPr>
            <a:xfrm>
              <a:off x="3507400" y="3304395"/>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123" name="pl44">
              <a:extLst>
                <a:ext uri="{FF2B5EF4-FFF2-40B4-BE49-F238E27FC236}">
                  <a16:creationId xmlns:a16="http://schemas.microsoft.com/office/drawing/2014/main" id="{319DD9AE-0738-F408-9A1B-F3F0D329C1FD}"/>
                </a:ext>
              </a:extLst>
            </p:cNvPr>
            <p:cNvSpPr/>
            <p:nvPr/>
          </p:nvSpPr>
          <p:spPr>
            <a:xfrm>
              <a:off x="3507400" y="3144395"/>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124" name="pl45">
              <a:extLst>
                <a:ext uri="{FF2B5EF4-FFF2-40B4-BE49-F238E27FC236}">
                  <a16:creationId xmlns:a16="http://schemas.microsoft.com/office/drawing/2014/main" id="{270CE43B-F715-A90C-3A75-5B3E92B3AFB7}"/>
                </a:ext>
              </a:extLst>
            </p:cNvPr>
            <p:cNvSpPr/>
            <p:nvPr/>
          </p:nvSpPr>
          <p:spPr>
            <a:xfrm>
              <a:off x="3507400" y="2984395"/>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125" name="pl46">
              <a:extLst>
                <a:ext uri="{FF2B5EF4-FFF2-40B4-BE49-F238E27FC236}">
                  <a16:creationId xmlns:a16="http://schemas.microsoft.com/office/drawing/2014/main" id="{AA4249FB-6557-794C-26F6-971C27D4FB7A}"/>
                </a:ext>
              </a:extLst>
            </p:cNvPr>
            <p:cNvSpPr/>
            <p:nvPr/>
          </p:nvSpPr>
          <p:spPr>
            <a:xfrm>
              <a:off x="3570663" y="4424395"/>
              <a:ext cx="2160000" cy="0"/>
            </a:xfrm>
            <a:custGeom>
              <a:avLst/>
              <a:gdLst/>
              <a:ahLst/>
              <a:cxnLst/>
              <a:rect l="0" t="0" r="0" b="0"/>
              <a:pathLst>
                <a:path w="2160000">
                  <a:moveTo>
                    <a:pt x="0" y="0"/>
                  </a:moveTo>
                  <a:lnTo>
                    <a:pt x="2160000" y="0"/>
                  </a:lnTo>
                </a:path>
              </a:pathLst>
            </a:custGeom>
            <a:ln w="11086" cap="flat">
              <a:solidFill>
                <a:srgbClr val="001965">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8126" name="tx53">
              <a:extLst>
                <a:ext uri="{FF2B5EF4-FFF2-40B4-BE49-F238E27FC236}">
                  <a16:creationId xmlns:a16="http://schemas.microsoft.com/office/drawing/2014/main" id="{AE6D12E6-6964-2D8F-A0AC-DA2426830AEF}"/>
                </a:ext>
              </a:extLst>
            </p:cNvPr>
            <p:cNvSpPr/>
            <p:nvPr/>
          </p:nvSpPr>
          <p:spPr>
            <a:xfrm rot="16200000">
              <a:off x="2520553" y="3646788"/>
              <a:ext cx="1485330" cy="115214"/>
            </a:xfrm>
            <a:prstGeom prst="rect">
              <a:avLst/>
            </a:prstGeom>
            <a:noFill/>
          </p:spPr>
          <p:txBody>
            <a:bodyPr wrap="none" lIns="0" tIns="0" rIns="0" bIns="0" anchor="ctr" anchorCtr="1"/>
            <a:lstStyle/>
            <a:p>
              <a:pPr marL="0" marR="0" lvl="0" indent="0" algn="l" defTabSz="914400" rtl="0" eaLnBrk="1" fontAlgn="auto" latinLnBrk="0" hangingPunct="1">
                <a:lnSpc>
                  <a:spcPts val="900"/>
                </a:lnSpc>
                <a:spcBef>
                  <a:spcPts val="0"/>
                </a:spcBef>
                <a:spcAft>
                  <a:spcPts val="0"/>
                </a:spcAft>
                <a:buClrTx/>
                <a:buSzTx/>
                <a:buFontTx/>
                <a:buNone/>
                <a:tabLst/>
                <a:defRPr/>
              </a:pPr>
              <a:r>
                <a:rPr kumimoji="0" sz="1000" b="1" i="0" u="none" strike="noStrike" kern="1200" cap="none" spc="0" normalizeH="0" baseline="0" noProof="0">
                  <a:ln>
                    <a:noFill/>
                  </a:ln>
                  <a:solidFill>
                    <a:srgbClr val="001965">
                      <a:alpha val="100000"/>
                    </a:srgbClr>
                  </a:solidFill>
                  <a:effectLst/>
                  <a:uLnTx/>
                  <a:uFillTx/>
                  <a:latin typeface="Avenir Next LT Pro"/>
                  <a:ea typeface="+mn-ea"/>
                  <a:cs typeface="Avenir Next LT Pro"/>
                </a:rPr>
                <a:t>Fat  mass change (%)</a:t>
              </a:r>
            </a:p>
          </p:txBody>
        </p:sp>
      </p:grpSp>
      <p:grpSp>
        <p:nvGrpSpPr>
          <p:cNvPr id="10816" name="Group 10815">
            <a:extLst>
              <a:ext uri="{FF2B5EF4-FFF2-40B4-BE49-F238E27FC236}">
                <a16:creationId xmlns:a16="http://schemas.microsoft.com/office/drawing/2014/main" id="{EFB79592-FF4D-8C8B-A3A0-748DE42CD35E}"/>
              </a:ext>
            </a:extLst>
          </p:cNvPr>
          <p:cNvGrpSpPr/>
          <p:nvPr/>
        </p:nvGrpSpPr>
        <p:grpSpPr>
          <a:xfrm>
            <a:off x="4658247" y="3232261"/>
            <a:ext cx="2915915" cy="2168489"/>
            <a:chOff x="8295087" y="2262128"/>
            <a:chExt cx="2501646" cy="1508031"/>
          </a:xfrm>
        </p:grpSpPr>
        <p:sp>
          <p:nvSpPr>
            <p:cNvPr id="10817" name="rc5">
              <a:extLst>
                <a:ext uri="{FF2B5EF4-FFF2-40B4-BE49-F238E27FC236}">
                  <a16:creationId xmlns:a16="http://schemas.microsoft.com/office/drawing/2014/main" id="{43F5E84C-8E36-246F-F73B-CA1E369391A3}"/>
                </a:ext>
              </a:extLst>
            </p:cNvPr>
            <p:cNvSpPr/>
            <p:nvPr/>
          </p:nvSpPr>
          <p:spPr>
            <a:xfrm>
              <a:off x="8636733" y="2297789"/>
              <a:ext cx="2160000" cy="14400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18" name="rc6">
              <a:extLst>
                <a:ext uri="{FF2B5EF4-FFF2-40B4-BE49-F238E27FC236}">
                  <a16:creationId xmlns:a16="http://schemas.microsoft.com/office/drawing/2014/main" id="{809A3C04-F62D-240D-CCCD-25AF7AA6BA78}"/>
                </a:ext>
              </a:extLst>
            </p:cNvPr>
            <p:cNvSpPr/>
            <p:nvPr/>
          </p:nvSpPr>
          <p:spPr>
            <a:xfrm>
              <a:off x="8765304" y="3538413"/>
              <a:ext cx="360000" cy="199375"/>
            </a:xfrm>
            <a:prstGeom prst="rect">
              <a:avLst/>
            </a:prstGeom>
            <a:solidFill>
              <a:srgbClr val="2E2E2E">
                <a:alpha val="100000"/>
              </a:srgbClr>
            </a:solidFill>
            <a:ln w="13550" cap="flat">
              <a:solidFill>
                <a:srgbClr val="2E2E2E">
                  <a:alpha val="100000"/>
                </a:srgbClr>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19" name="rc7">
              <a:extLst>
                <a:ext uri="{FF2B5EF4-FFF2-40B4-BE49-F238E27FC236}">
                  <a16:creationId xmlns:a16="http://schemas.microsoft.com/office/drawing/2014/main" id="{8B4A1E25-2504-32EE-5EA3-8739D21D643F}"/>
                </a:ext>
              </a:extLst>
            </p:cNvPr>
            <p:cNvSpPr/>
            <p:nvPr/>
          </p:nvSpPr>
          <p:spPr>
            <a:xfrm>
              <a:off x="9279590" y="2862451"/>
              <a:ext cx="360000" cy="875338"/>
            </a:xfrm>
            <a:prstGeom prst="rect">
              <a:avLst/>
            </a:prstGeom>
            <a:solidFill>
              <a:srgbClr val="00DF86">
                <a:alpha val="100000"/>
              </a:srgbClr>
            </a:solidFill>
            <a:ln w="13550" cap="flat">
              <a:solidFill>
                <a:srgbClr val="00DF86">
                  <a:alpha val="100000"/>
                </a:srgbClr>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20" name="rc8">
              <a:extLst>
                <a:ext uri="{FF2B5EF4-FFF2-40B4-BE49-F238E27FC236}">
                  <a16:creationId xmlns:a16="http://schemas.microsoft.com/office/drawing/2014/main" id="{09181BF4-FEE3-4D0A-C7EE-32CB7768BB30}"/>
                </a:ext>
              </a:extLst>
            </p:cNvPr>
            <p:cNvSpPr/>
            <p:nvPr/>
          </p:nvSpPr>
          <p:spPr>
            <a:xfrm>
              <a:off x="9793876" y="3697990"/>
              <a:ext cx="360000" cy="39799"/>
            </a:xfrm>
            <a:prstGeom prst="rect">
              <a:avLst/>
            </a:prstGeom>
            <a:solidFill>
              <a:srgbClr val="745DAD">
                <a:alpha val="100000"/>
              </a:srgbClr>
            </a:solidFill>
            <a:ln w="13550" cap="flat">
              <a:solidFill>
                <a:srgbClr val="745DAD">
                  <a:alpha val="100000"/>
                </a:srgbClr>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21" name="rc9">
              <a:extLst>
                <a:ext uri="{FF2B5EF4-FFF2-40B4-BE49-F238E27FC236}">
                  <a16:creationId xmlns:a16="http://schemas.microsoft.com/office/drawing/2014/main" id="{B33B8E94-2DF2-3FE6-2F97-E737A1881B46}"/>
                </a:ext>
              </a:extLst>
            </p:cNvPr>
            <p:cNvSpPr/>
            <p:nvPr/>
          </p:nvSpPr>
          <p:spPr>
            <a:xfrm>
              <a:off x="10308161" y="3183507"/>
              <a:ext cx="360000" cy="554282"/>
            </a:xfrm>
            <a:prstGeom prst="rect">
              <a:avLst/>
            </a:prstGeom>
            <a:solidFill>
              <a:srgbClr val="2878FF">
                <a:alpha val="100000"/>
              </a:srgbClr>
            </a:solidFill>
            <a:ln w="13550" cap="flat">
              <a:solidFill>
                <a:srgbClr val="2878FF">
                  <a:alpha val="100000"/>
                </a:srgbClr>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22" name="pl10">
              <a:extLst>
                <a:ext uri="{FF2B5EF4-FFF2-40B4-BE49-F238E27FC236}">
                  <a16:creationId xmlns:a16="http://schemas.microsoft.com/office/drawing/2014/main" id="{EB1D4B10-ABC3-1026-20ED-1F8E61AF9123}"/>
                </a:ext>
              </a:extLst>
            </p:cNvPr>
            <p:cNvSpPr/>
            <p:nvPr/>
          </p:nvSpPr>
          <p:spPr>
            <a:xfrm>
              <a:off x="8816733" y="3462033"/>
              <a:ext cx="257142" cy="0"/>
            </a:xfrm>
            <a:custGeom>
              <a:avLst/>
              <a:gdLst/>
              <a:ahLst/>
              <a:cxnLst/>
              <a:rect l="0" t="0" r="0" b="0"/>
              <a:pathLst>
                <a:path w="257142">
                  <a:moveTo>
                    <a:pt x="0" y="0"/>
                  </a:moveTo>
                  <a:lnTo>
                    <a:pt x="257142" y="0"/>
                  </a:lnTo>
                </a:path>
              </a:pathLst>
            </a:custGeom>
            <a:ln w="5962" cap="flat">
              <a:solidFill>
                <a:srgbClr val="2E2E2E">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23" name="pl11">
              <a:extLst>
                <a:ext uri="{FF2B5EF4-FFF2-40B4-BE49-F238E27FC236}">
                  <a16:creationId xmlns:a16="http://schemas.microsoft.com/office/drawing/2014/main" id="{BD8A726F-CD7A-9048-4DA8-D02C6AB4FEF3}"/>
                </a:ext>
              </a:extLst>
            </p:cNvPr>
            <p:cNvSpPr/>
            <p:nvPr/>
          </p:nvSpPr>
          <p:spPr>
            <a:xfrm>
              <a:off x="8945304" y="3462033"/>
              <a:ext cx="0" cy="152760"/>
            </a:xfrm>
            <a:custGeom>
              <a:avLst/>
              <a:gdLst/>
              <a:ahLst/>
              <a:cxnLst/>
              <a:rect l="0" t="0" r="0" b="0"/>
              <a:pathLst>
                <a:path h="152760">
                  <a:moveTo>
                    <a:pt x="0" y="0"/>
                  </a:moveTo>
                  <a:lnTo>
                    <a:pt x="0" y="152760"/>
                  </a:lnTo>
                </a:path>
              </a:pathLst>
            </a:custGeom>
            <a:ln w="5962" cap="flat">
              <a:solidFill>
                <a:srgbClr val="2E2E2E">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24" name="pl12">
              <a:extLst>
                <a:ext uri="{FF2B5EF4-FFF2-40B4-BE49-F238E27FC236}">
                  <a16:creationId xmlns:a16="http://schemas.microsoft.com/office/drawing/2014/main" id="{4E3F54BD-F095-9C8F-45D1-ED3DF0CB8C58}"/>
                </a:ext>
              </a:extLst>
            </p:cNvPr>
            <p:cNvSpPr/>
            <p:nvPr/>
          </p:nvSpPr>
          <p:spPr>
            <a:xfrm>
              <a:off x="8816733" y="3614794"/>
              <a:ext cx="257142" cy="0"/>
            </a:xfrm>
            <a:custGeom>
              <a:avLst/>
              <a:gdLst/>
              <a:ahLst/>
              <a:cxnLst/>
              <a:rect l="0" t="0" r="0" b="0"/>
              <a:pathLst>
                <a:path w="257142">
                  <a:moveTo>
                    <a:pt x="0" y="0"/>
                  </a:moveTo>
                  <a:lnTo>
                    <a:pt x="257142" y="0"/>
                  </a:lnTo>
                </a:path>
              </a:pathLst>
            </a:custGeom>
            <a:ln w="5962" cap="flat">
              <a:solidFill>
                <a:srgbClr val="2E2E2E">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25" name="pl13">
              <a:extLst>
                <a:ext uri="{FF2B5EF4-FFF2-40B4-BE49-F238E27FC236}">
                  <a16:creationId xmlns:a16="http://schemas.microsoft.com/office/drawing/2014/main" id="{9B031C94-BEC6-54EE-92F9-E2772950757C}"/>
                </a:ext>
              </a:extLst>
            </p:cNvPr>
            <p:cNvSpPr/>
            <p:nvPr/>
          </p:nvSpPr>
          <p:spPr>
            <a:xfrm>
              <a:off x="9331018" y="2791072"/>
              <a:ext cx="257142" cy="0"/>
            </a:xfrm>
            <a:custGeom>
              <a:avLst/>
              <a:gdLst/>
              <a:ahLst/>
              <a:cxnLst/>
              <a:rect l="0" t="0" r="0" b="0"/>
              <a:pathLst>
                <a:path w="257142">
                  <a:moveTo>
                    <a:pt x="0" y="0"/>
                  </a:moveTo>
                  <a:lnTo>
                    <a:pt x="257142" y="0"/>
                  </a:lnTo>
                </a:path>
              </a:pathLst>
            </a:custGeom>
            <a:ln w="5962" cap="flat">
              <a:solidFill>
                <a:srgbClr val="00DF86">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26" name="pl14">
              <a:extLst>
                <a:ext uri="{FF2B5EF4-FFF2-40B4-BE49-F238E27FC236}">
                  <a16:creationId xmlns:a16="http://schemas.microsoft.com/office/drawing/2014/main" id="{EA666E11-2920-D890-7861-467DF9BEE3D8}"/>
                </a:ext>
              </a:extLst>
            </p:cNvPr>
            <p:cNvSpPr/>
            <p:nvPr/>
          </p:nvSpPr>
          <p:spPr>
            <a:xfrm>
              <a:off x="9459590" y="2791072"/>
              <a:ext cx="0" cy="142757"/>
            </a:xfrm>
            <a:custGeom>
              <a:avLst/>
              <a:gdLst/>
              <a:ahLst/>
              <a:cxnLst/>
              <a:rect l="0" t="0" r="0" b="0"/>
              <a:pathLst>
                <a:path h="142757">
                  <a:moveTo>
                    <a:pt x="0" y="0"/>
                  </a:moveTo>
                  <a:lnTo>
                    <a:pt x="0" y="142757"/>
                  </a:lnTo>
                </a:path>
              </a:pathLst>
            </a:custGeom>
            <a:ln w="5962" cap="flat">
              <a:solidFill>
                <a:srgbClr val="00DF86">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27" name="pl15">
              <a:extLst>
                <a:ext uri="{FF2B5EF4-FFF2-40B4-BE49-F238E27FC236}">
                  <a16:creationId xmlns:a16="http://schemas.microsoft.com/office/drawing/2014/main" id="{DC81523C-87C7-4E4B-9444-EF2A867BDEA5}"/>
                </a:ext>
              </a:extLst>
            </p:cNvPr>
            <p:cNvSpPr/>
            <p:nvPr/>
          </p:nvSpPr>
          <p:spPr>
            <a:xfrm>
              <a:off x="9331018" y="2933830"/>
              <a:ext cx="257142" cy="0"/>
            </a:xfrm>
            <a:custGeom>
              <a:avLst/>
              <a:gdLst/>
              <a:ahLst/>
              <a:cxnLst/>
              <a:rect l="0" t="0" r="0" b="0"/>
              <a:pathLst>
                <a:path w="257142">
                  <a:moveTo>
                    <a:pt x="0" y="0"/>
                  </a:moveTo>
                  <a:lnTo>
                    <a:pt x="257142" y="0"/>
                  </a:lnTo>
                </a:path>
              </a:pathLst>
            </a:custGeom>
            <a:ln w="5962" cap="flat">
              <a:solidFill>
                <a:srgbClr val="00DF86">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28" name="pl16">
              <a:extLst>
                <a:ext uri="{FF2B5EF4-FFF2-40B4-BE49-F238E27FC236}">
                  <a16:creationId xmlns:a16="http://schemas.microsoft.com/office/drawing/2014/main" id="{A98333DB-9A23-F1C4-25F0-0F6401885F0E}"/>
                </a:ext>
              </a:extLst>
            </p:cNvPr>
            <p:cNvSpPr/>
            <p:nvPr/>
          </p:nvSpPr>
          <p:spPr>
            <a:xfrm>
              <a:off x="9845304" y="3664211"/>
              <a:ext cx="257142" cy="0"/>
            </a:xfrm>
            <a:custGeom>
              <a:avLst/>
              <a:gdLst/>
              <a:ahLst/>
              <a:cxnLst/>
              <a:rect l="0" t="0" r="0" b="0"/>
              <a:pathLst>
                <a:path w="257142">
                  <a:moveTo>
                    <a:pt x="0" y="0"/>
                  </a:moveTo>
                  <a:lnTo>
                    <a:pt x="257142" y="0"/>
                  </a:lnTo>
                </a:path>
              </a:pathLst>
            </a:custGeom>
            <a:ln w="5962" cap="flat">
              <a:solidFill>
                <a:srgbClr val="745DAD">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29" name="pl17">
              <a:extLst>
                <a:ext uri="{FF2B5EF4-FFF2-40B4-BE49-F238E27FC236}">
                  <a16:creationId xmlns:a16="http://schemas.microsoft.com/office/drawing/2014/main" id="{035F1305-7747-DCAD-F57F-075B0F85342F}"/>
                </a:ext>
              </a:extLst>
            </p:cNvPr>
            <p:cNvSpPr/>
            <p:nvPr/>
          </p:nvSpPr>
          <p:spPr>
            <a:xfrm>
              <a:off x="9973876" y="3664211"/>
              <a:ext cx="0" cy="67557"/>
            </a:xfrm>
            <a:custGeom>
              <a:avLst/>
              <a:gdLst/>
              <a:ahLst/>
              <a:cxnLst/>
              <a:rect l="0" t="0" r="0" b="0"/>
              <a:pathLst>
                <a:path h="67557">
                  <a:moveTo>
                    <a:pt x="0" y="0"/>
                  </a:moveTo>
                  <a:lnTo>
                    <a:pt x="0" y="67557"/>
                  </a:lnTo>
                </a:path>
              </a:pathLst>
            </a:custGeom>
            <a:ln w="5962" cap="flat">
              <a:solidFill>
                <a:srgbClr val="745DAD">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30" name="pl18">
              <a:extLst>
                <a:ext uri="{FF2B5EF4-FFF2-40B4-BE49-F238E27FC236}">
                  <a16:creationId xmlns:a16="http://schemas.microsoft.com/office/drawing/2014/main" id="{359F4E4C-0C3B-8E99-DDCD-B9DFE93B6DB2}"/>
                </a:ext>
              </a:extLst>
            </p:cNvPr>
            <p:cNvSpPr/>
            <p:nvPr/>
          </p:nvSpPr>
          <p:spPr>
            <a:xfrm>
              <a:off x="9845304" y="3731768"/>
              <a:ext cx="257142" cy="0"/>
            </a:xfrm>
            <a:custGeom>
              <a:avLst/>
              <a:gdLst/>
              <a:ahLst/>
              <a:cxnLst/>
              <a:rect l="0" t="0" r="0" b="0"/>
              <a:pathLst>
                <a:path w="257142">
                  <a:moveTo>
                    <a:pt x="0" y="0"/>
                  </a:moveTo>
                  <a:lnTo>
                    <a:pt x="257142" y="0"/>
                  </a:lnTo>
                </a:path>
              </a:pathLst>
            </a:custGeom>
            <a:ln w="5962" cap="flat">
              <a:solidFill>
                <a:srgbClr val="745DAD">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31" name="pl19">
              <a:extLst>
                <a:ext uri="{FF2B5EF4-FFF2-40B4-BE49-F238E27FC236}">
                  <a16:creationId xmlns:a16="http://schemas.microsoft.com/office/drawing/2014/main" id="{DDF4DBF9-FB78-23B6-C5F3-C5C3EDD4EFF1}"/>
                </a:ext>
              </a:extLst>
            </p:cNvPr>
            <p:cNvSpPr/>
            <p:nvPr/>
          </p:nvSpPr>
          <p:spPr>
            <a:xfrm>
              <a:off x="10359590" y="3121671"/>
              <a:ext cx="257142" cy="0"/>
            </a:xfrm>
            <a:custGeom>
              <a:avLst/>
              <a:gdLst/>
              <a:ahLst/>
              <a:cxnLst/>
              <a:rect l="0" t="0" r="0" b="0"/>
              <a:pathLst>
                <a:path w="257142">
                  <a:moveTo>
                    <a:pt x="0" y="0"/>
                  </a:moveTo>
                  <a:lnTo>
                    <a:pt x="257142" y="0"/>
                  </a:lnTo>
                </a:path>
              </a:pathLst>
            </a:custGeom>
            <a:ln w="5962" cap="flat">
              <a:solidFill>
                <a:srgbClr val="2878FF">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32" name="pl20">
              <a:extLst>
                <a:ext uri="{FF2B5EF4-FFF2-40B4-BE49-F238E27FC236}">
                  <a16:creationId xmlns:a16="http://schemas.microsoft.com/office/drawing/2014/main" id="{E14EEBA1-078B-306C-0140-B02CD1656017}"/>
                </a:ext>
              </a:extLst>
            </p:cNvPr>
            <p:cNvSpPr/>
            <p:nvPr/>
          </p:nvSpPr>
          <p:spPr>
            <a:xfrm>
              <a:off x="10488161" y="3121671"/>
              <a:ext cx="0" cy="123670"/>
            </a:xfrm>
            <a:custGeom>
              <a:avLst/>
              <a:gdLst/>
              <a:ahLst/>
              <a:cxnLst/>
              <a:rect l="0" t="0" r="0" b="0"/>
              <a:pathLst>
                <a:path h="123670">
                  <a:moveTo>
                    <a:pt x="0" y="0"/>
                  </a:moveTo>
                  <a:lnTo>
                    <a:pt x="0" y="123670"/>
                  </a:lnTo>
                </a:path>
              </a:pathLst>
            </a:custGeom>
            <a:ln w="5962" cap="flat">
              <a:solidFill>
                <a:srgbClr val="2878FF">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33" name="pl21">
              <a:extLst>
                <a:ext uri="{FF2B5EF4-FFF2-40B4-BE49-F238E27FC236}">
                  <a16:creationId xmlns:a16="http://schemas.microsoft.com/office/drawing/2014/main" id="{2B9B7480-E651-1AC6-D6AE-A0ABB6006329}"/>
                </a:ext>
              </a:extLst>
            </p:cNvPr>
            <p:cNvSpPr/>
            <p:nvPr/>
          </p:nvSpPr>
          <p:spPr>
            <a:xfrm>
              <a:off x="10359590" y="3245342"/>
              <a:ext cx="257142" cy="0"/>
            </a:xfrm>
            <a:custGeom>
              <a:avLst/>
              <a:gdLst/>
              <a:ahLst/>
              <a:cxnLst/>
              <a:rect l="0" t="0" r="0" b="0"/>
              <a:pathLst>
                <a:path w="257142">
                  <a:moveTo>
                    <a:pt x="0" y="0"/>
                  </a:moveTo>
                  <a:lnTo>
                    <a:pt x="257142" y="0"/>
                  </a:lnTo>
                </a:path>
              </a:pathLst>
            </a:custGeom>
            <a:ln w="5962" cap="flat">
              <a:solidFill>
                <a:srgbClr val="2878FF">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34" name="tx22">
              <a:extLst>
                <a:ext uri="{FF2B5EF4-FFF2-40B4-BE49-F238E27FC236}">
                  <a16:creationId xmlns:a16="http://schemas.microsoft.com/office/drawing/2014/main" id="{EEC7E59D-E3F6-B93C-58AD-691B6D654412}"/>
                </a:ext>
              </a:extLst>
            </p:cNvPr>
            <p:cNvSpPr/>
            <p:nvPr/>
          </p:nvSpPr>
          <p:spPr>
            <a:xfrm>
              <a:off x="9382235" y="2702388"/>
              <a:ext cx="154709" cy="41348"/>
            </a:xfrm>
            <a:prstGeom prst="rect">
              <a:avLst/>
            </a:prstGeom>
            <a:noFill/>
          </p:spPr>
          <p:txBody>
            <a:bodyPr wrap="none" lIns="0" tIns="0" rIns="0" bIns="0" anchor="ctr" anchorCtr="1"/>
            <a:lstStyle/>
            <a:p>
              <a:pPr marL="0" marR="0" lvl="0" indent="0" algn="l" defTabSz="914400" rtl="0" eaLnBrk="1" fontAlgn="auto" latinLnBrk="0" hangingPunct="1">
                <a:lnSpc>
                  <a:spcPts val="914"/>
                </a:lnSpc>
                <a:spcBef>
                  <a:spcPts val="0"/>
                </a:spcBef>
                <a:spcAft>
                  <a:spcPts val="0"/>
                </a:spcAft>
                <a:buClrTx/>
                <a:buSzTx/>
                <a:buFontTx/>
                <a:buNone/>
                <a:tabLst/>
                <a:defRPr/>
              </a:pPr>
              <a:r>
                <a:rPr kumimoji="0" sz="914" b="0" i="0" u="none" strike="noStrike" kern="1200" cap="none" spc="0" normalizeH="0" baseline="0" noProof="0">
                  <a:ln>
                    <a:noFill/>
                  </a:ln>
                  <a:solidFill>
                    <a:srgbClr val="00DF86">
                      <a:alpha val="100000"/>
                    </a:srgbClr>
                  </a:solidFill>
                  <a:effectLst/>
                  <a:uLnTx/>
                  <a:uFillTx/>
                  <a:latin typeface="Avenir Next LT Pro"/>
                  <a:ea typeface="+mn-ea"/>
                  <a:cs typeface="Avenir Next LT Pro"/>
                </a:rPr>
                <a:t>***</a:t>
              </a:r>
            </a:p>
          </p:txBody>
        </p:sp>
        <p:sp>
          <p:nvSpPr>
            <p:cNvPr id="10835" name="tx23">
              <a:extLst>
                <a:ext uri="{FF2B5EF4-FFF2-40B4-BE49-F238E27FC236}">
                  <a16:creationId xmlns:a16="http://schemas.microsoft.com/office/drawing/2014/main" id="{622E2C31-5EBF-E8DE-F3C0-B0B35AC2AB1F}"/>
                </a:ext>
              </a:extLst>
            </p:cNvPr>
            <p:cNvSpPr/>
            <p:nvPr/>
          </p:nvSpPr>
          <p:spPr>
            <a:xfrm>
              <a:off x="10410807" y="3049517"/>
              <a:ext cx="154709" cy="41348"/>
            </a:xfrm>
            <a:prstGeom prst="rect">
              <a:avLst/>
            </a:prstGeom>
            <a:noFill/>
          </p:spPr>
          <p:txBody>
            <a:bodyPr wrap="none" lIns="0" tIns="0" rIns="0" bIns="0" anchor="ctr" anchorCtr="1"/>
            <a:lstStyle/>
            <a:p>
              <a:pPr marL="0" marR="0" lvl="0" indent="0" algn="l" defTabSz="914400" rtl="0" eaLnBrk="1" fontAlgn="auto" latinLnBrk="0" hangingPunct="1">
                <a:lnSpc>
                  <a:spcPts val="914"/>
                </a:lnSpc>
                <a:spcBef>
                  <a:spcPts val="0"/>
                </a:spcBef>
                <a:spcAft>
                  <a:spcPts val="0"/>
                </a:spcAft>
                <a:buClrTx/>
                <a:buSzTx/>
                <a:buFontTx/>
                <a:buNone/>
                <a:tabLst/>
                <a:defRPr/>
              </a:pPr>
              <a:r>
                <a:rPr kumimoji="0" sz="914" b="0" i="0" u="none" strike="noStrike" kern="1200" cap="none" spc="0" normalizeH="0" baseline="0" noProof="0">
                  <a:ln>
                    <a:noFill/>
                  </a:ln>
                  <a:solidFill>
                    <a:srgbClr val="2878FF">
                      <a:alpha val="100000"/>
                    </a:srgbClr>
                  </a:solidFill>
                  <a:effectLst/>
                  <a:uLnTx/>
                  <a:uFillTx/>
                  <a:latin typeface="Avenir Next LT Pro"/>
                  <a:ea typeface="+mn-ea"/>
                  <a:cs typeface="Avenir Next LT Pro"/>
                </a:rPr>
                <a:t>***</a:t>
              </a:r>
            </a:p>
          </p:txBody>
        </p:sp>
        <p:sp>
          <p:nvSpPr>
            <p:cNvPr id="10836" name="pl24">
              <a:extLst>
                <a:ext uri="{FF2B5EF4-FFF2-40B4-BE49-F238E27FC236}">
                  <a16:creationId xmlns:a16="http://schemas.microsoft.com/office/drawing/2014/main" id="{CE1AD9AF-273D-1D0E-5CED-55417D09E6B7}"/>
                </a:ext>
              </a:extLst>
            </p:cNvPr>
            <p:cNvSpPr/>
            <p:nvPr/>
          </p:nvSpPr>
          <p:spPr>
            <a:xfrm>
              <a:off x="8636733" y="2297789"/>
              <a:ext cx="0" cy="1440000"/>
            </a:xfrm>
            <a:custGeom>
              <a:avLst/>
              <a:gdLst/>
              <a:ahLst/>
              <a:cxnLst/>
              <a:rect l="0" t="0" r="0" b="0"/>
              <a:pathLst>
                <a:path h="1440000">
                  <a:moveTo>
                    <a:pt x="0" y="1440000"/>
                  </a:moveTo>
                  <a:lnTo>
                    <a:pt x="0" y="0"/>
                  </a:lnTo>
                </a:path>
              </a:pathLst>
            </a:custGeom>
            <a:ln w="11086" cap="flat">
              <a:solidFill>
                <a:srgbClr val="001965">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37" name="tx25">
              <a:extLst>
                <a:ext uri="{FF2B5EF4-FFF2-40B4-BE49-F238E27FC236}">
                  <a16:creationId xmlns:a16="http://schemas.microsoft.com/office/drawing/2014/main" id="{CAD3AF7B-1BC2-6CF8-16A4-A24CFDFEA675}"/>
                </a:ext>
              </a:extLst>
            </p:cNvPr>
            <p:cNvSpPr/>
            <p:nvPr/>
          </p:nvSpPr>
          <p:spPr>
            <a:xfrm>
              <a:off x="8497660" y="3702128"/>
              <a:ext cx="53035" cy="68031"/>
            </a:xfrm>
            <a:prstGeom prst="rect">
              <a:avLst/>
            </a:prstGeom>
            <a:noFill/>
          </p:spPr>
          <p:txBody>
            <a:bodyPr wrap="none" lIns="0" tIns="0" rIns="0" bIns="0" anchor="ctr" anchorCtr="1"/>
            <a:lstStyle/>
            <a:p>
              <a:pPr marL="0" marR="0" lvl="0" indent="0" algn="l" defTabSz="914400"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0</a:t>
              </a:r>
            </a:p>
          </p:txBody>
        </p:sp>
        <p:sp>
          <p:nvSpPr>
            <p:cNvPr id="10838" name="tx26">
              <a:extLst>
                <a:ext uri="{FF2B5EF4-FFF2-40B4-BE49-F238E27FC236}">
                  <a16:creationId xmlns:a16="http://schemas.microsoft.com/office/drawing/2014/main" id="{4309D3EB-5C2B-3398-7088-04D9B3278C6D}"/>
                </a:ext>
              </a:extLst>
            </p:cNvPr>
            <p:cNvSpPr/>
            <p:nvPr/>
          </p:nvSpPr>
          <p:spPr>
            <a:xfrm>
              <a:off x="8444625" y="3222128"/>
              <a:ext cx="106070" cy="68031"/>
            </a:xfrm>
            <a:prstGeom prst="rect">
              <a:avLst/>
            </a:prstGeom>
            <a:noFill/>
          </p:spPr>
          <p:txBody>
            <a:bodyPr wrap="none" lIns="0" tIns="0" rIns="0" bIns="0" anchor="ctr" anchorCtr="1"/>
            <a:lstStyle/>
            <a:p>
              <a:pPr marL="0" marR="0" lvl="0" indent="0" algn="l" defTabSz="914400"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0</a:t>
              </a:r>
            </a:p>
          </p:txBody>
        </p:sp>
        <p:sp>
          <p:nvSpPr>
            <p:cNvPr id="10839" name="tx27">
              <a:extLst>
                <a:ext uri="{FF2B5EF4-FFF2-40B4-BE49-F238E27FC236}">
                  <a16:creationId xmlns:a16="http://schemas.microsoft.com/office/drawing/2014/main" id="{F79FCD18-6E3C-DF7F-23E7-16057C2C6C32}"/>
                </a:ext>
              </a:extLst>
            </p:cNvPr>
            <p:cNvSpPr/>
            <p:nvPr/>
          </p:nvSpPr>
          <p:spPr>
            <a:xfrm>
              <a:off x="8444625" y="2742128"/>
              <a:ext cx="106070" cy="68031"/>
            </a:xfrm>
            <a:prstGeom prst="rect">
              <a:avLst/>
            </a:prstGeom>
            <a:noFill/>
          </p:spPr>
          <p:txBody>
            <a:bodyPr wrap="none" lIns="0" tIns="0" rIns="0" bIns="0" anchor="ctr" anchorCtr="1"/>
            <a:lstStyle/>
            <a:p>
              <a:pPr marL="0" marR="0" lvl="0" indent="0" algn="l" defTabSz="914400"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20</a:t>
              </a:r>
            </a:p>
          </p:txBody>
        </p:sp>
        <p:sp>
          <p:nvSpPr>
            <p:cNvPr id="10840" name="tx28">
              <a:extLst>
                <a:ext uri="{FF2B5EF4-FFF2-40B4-BE49-F238E27FC236}">
                  <a16:creationId xmlns:a16="http://schemas.microsoft.com/office/drawing/2014/main" id="{31D3126F-36A9-0B7A-ACF7-5D5B6EA417DC}"/>
                </a:ext>
              </a:extLst>
            </p:cNvPr>
            <p:cNvSpPr/>
            <p:nvPr/>
          </p:nvSpPr>
          <p:spPr>
            <a:xfrm>
              <a:off x="8444625" y="2262128"/>
              <a:ext cx="106070" cy="68031"/>
            </a:xfrm>
            <a:prstGeom prst="rect">
              <a:avLst/>
            </a:prstGeom>
            <a:noFill/>
          </p:spPr>
          <p:txBody>
            <a:bodyPr wrap="none" lIns="0" tIns="0" rIns="0" bIns="0" anchor="ctr" anchorCtr="1"/>
            <a:lstStyle/>
            <a:p>
              <a:pPr marL="0" marR="0" lvl="0" indent="0" algn="l" defTabSz="914400"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30</a:t>
              </a:r>
            </a:p>
          </p:txBody>
        </p:sp>
        <p:sp>
          <p:nvSpPr>
            <p:cNvPr id="10841" name="pl29">
              <a:extLst>
                <a:ext uri="{FF2B5EF4-FFF2-40B4-BE49-F238E27FC236}">
                  <a16:creationId xmlns:a16="http://schemas.microsoft.com/office/drawing/2014/main" id="{3E86D511-3879-34D9-9BA4-1F8D1FC37EDD}"/>
                </a:ext>
              </a:extLst>
            </p:cNvPr>
            <p:cNvSpPr/>
            <p:nvPr/>
          </p:nvSpPr>
          <p:spPr>
            <a:xfrm>
              <a:off x="8573470" y="3737789"/>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42" name="pl30">
              <a:extLst>
                <a:ext uri="{FF2B5EF4-FFF2-40B4-BE49-F238E27FC236}">
                  <a16:creationId xmlns:a16="http://schemas.microsoft.com/office/drawing/2014/main" id="{10FEE17A-7991-8A3C-A4C9-E07BE959EBFF}"/>
                </a:ext>
              </a:extLst>
            </p:cNvPr>
            <p:cNvSpPr/>
            <p:nvPr/>
          </p:nvSpPr>
          <p:spPr>
            <a:xfrm>
              <a:off x="8573470" y="3257789"/>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43" name="pl31">
              <a:extLst>
                <a:ext uri="{FF2B5EF4-FFF2-40B4-BE49-F238E27FC236}">
                  <a16:creationId xmlns:a16="http://schemas.microsoft.com/office/drawing/2014/main" id="{4DF7A24A-31CF-EE97-5FE5-F829386C52F0}"/>
                </a:ext>
              </a:extLst>
            </p:cNvPr>
            <p:cNvSpPr/>
            <p:nvPr/>
          </p:nvSpPr>
          <p:spPr>
            <a:xfrm>
              <a:off x="8573470" y="2777789"/>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44" name="pl32">
              <a:extLst>
                <a:ext uri="{FF2B5EF4-FFF2-40B4-BE49-F238E27FC236}">
                  <a16:creationId xmlns:a16="http://schemas.microsoft.com/office/drawing/2014/main" id="{AEA65220-2739-48AD-B1F0-64A7A4AF36D3}"/>
                </a:ext>
              </a:extLst>
            </p:cNvPr>
            <p:cNvSpPr/>
            <p:nvPr/>
          </p:nvSpPr>
          <p:spPr>
            <a:xfrm>
              <a:off x="8573470" y="2297789"/>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45" name="pl33">
              <a:extLst>
                <a:ext uri="{FF2B5EF4-FFF2-40B4-BE49-F238E27FC236}">
                  <a16:creationId xmlns:a16="http://schemas.microsoft.com/office/drawing/2014/main" id="{2C7245B7-55F2-C8A0-8049-A5FE0006DB7E}"/>
                </a:ext>
              </a:extLst>
            </p:cNvPr>
            <p:cNvSpPr/>
            <p:nvPr/>
          </p:nvSpPr>
          <p:spPr>
            <a:xfrm>
              <a:off x="8636733" y="3737789"/>
              <a:ext cx="2160000" cy="0"/>
            </a:xfrm>
            <a:custGeom>
              <a:avLst/>
              <a:gdLst/>
              <a:ahLst/>
              <a:cxnLst/>
              <a:rect l="0" t="0" r="0" b="0"/>
              <a:pathLst>
                <a:path w="2160000">
                  <a:moveTo>
                    <a:pt x="0" y="0"/>
                  </a:moveTo>
                  <a:lnTo>
                    <a:pt x="2160000" y="0"/>
                  </a:lnTo>
                </a:path>
              </a:pathLst>
            </a:custGeom>
            <a:ln w="11086" cap="flat">
              <a:solidFill>
                <a:srgbClr val="001965">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0846" name="tx40">
              <a:extLst>
                <a:ext uri="{FF2B5EF4-FFF2-40B4-BE49-F238E27FC236}">
                  <a16:creationId xmlns:a16="http://schemas.microsoft.com/office/drawing/2014/main" id="{B6C4F5EA-75F3-EE8E-0D98-57C81F31EB78}"/>
                </a:ext>
              </a:extLst>
            </p:cNvPr>
            <p:cNvSpPr/>
            <p:nvPr/>
          </p:nvSpPr>
          <p:spPr>
            <a:xfrm rot="16200000">
              <a:off x="7650787" y="2960182"/>
              <a:ext cx="1403814" cy="115214"/>
            </a:xfrm>
            <a:prstGeom prst="rect">
              <a:avLst/>
            </a:prstGeom>
            <a:noFill/>
          </p:spPr>
          <p:txBody>
            <a:bodyPr wrap="none" lIns="0" tIns="0" rIns="0" bIns="0" anchor="ctr" anchorCtr="1"/>
            <a:lstStyle/>
            <a:p>
              <a:pPr marL="0" marR="0" lvl="0" indent="0" algn="l" defTabSz="914400" rtl="0" eaLnBrk="1" fontAlgn="auto" latinLnBrk="0" hangingPunct="1">
                <a:lnSpc>
                  <a:spcPts val="900"/>
                </a:lnSpc>
                <a:spcBef>
                  <a:spcPts val="0"/>
                </a:spcBef>
                <a:spcAft>
                  <a:spcPts val="0"/>
                </a:spcAft>
                <a:buClrTx/>
                <a:buSzTx/>
                <a:buFontTx/>
                <a:buNone/>
                <a:tabLst/>
                <a:defRPr/>
              </a:pPr>
              <a:r>
                <a:rPr kumimoji="0" sz="1000" b="1" i="0" u="none" strike="noStrike" kern="1200" cap="none" spc="0" normalizeH="0" baseline="0" noProof="0">
                  <a:ln>
                    <a:noFill/>
                  </a:ln>
                  <a:solidFill>
                    <a:srgbClr val="001965">
                      <a:alpha val="100000"/>
                    </a:srgbClr>
                  </a:solidFill>
                  <a:effectLst/>
                  <a:uLnTx/>
                  <a:uFillTx/>
                  <a:latin typeface="Avenir Next LT Pro"/>
                  <a:ea typeface="+mn-ea"/>
                  <a:cs typeface="Avenir Next LT Pro"/>
                </a:rPr>
                <a:t>Lean mass change (%)</a:t>
              </a:r>
            </a:p>
          </p:txBody>
        </p:sp>
      </p:grpSp>
      <p:graphicFrame>
        <p:nvGraphicFramePr>
          <p:cNvPr id="10847" name="Object 10846">
            <a:extLst>
              <a:ext uri="{FF2B5EF4-FFF2-40B4-BE49-F238E27FC236}">
                <a16:creationId xmlns:a16="http://schemas.microsoft.com/office/drawing/2014/main" id="{8B22461F-C43D-B366-D1C7-D59555880288}"/>
              </a:ext>
            </a:extLst>
          </p:cNvPr>
          <p:cNvGraphicFramePr>
            <a:graphicFrameLocks noChangeAspect="1"/>
          </p:cNvGraphicFramePr>
          <p:nvPr>
            <p:extLst>
              <p:ext uri="{D42A27DB-BD31-4B8C-83A1-F6EECF244321}">
                <p14:modId xmlns:p14="http://schemas.microsoft.com/office/powerpoint/2010/main" val="179628955"/>
              </p:ext>
            </p:extLst>
          </p:nvPr>
        </p:nvGraphicFramePr>
        <p:xfrm>
          <a:off x="8224890" y="3073363"/>
          <a:ext cx="3025775" cy="2581275"/>
        </p:xfrm>
        <a:graphic>
          <a:graphicData uri="http://schemas.openxmlformats.org/presentationml/2006/ole">
            <mc:AlternateContent xmlns:mc="http://schemas.openxmlformats.org/markup-compatibility/2006">
              <mc:Choice xmlns:v="urn:schemas-microsoft-com:vml" Requires="v">
                <p:oleObj name="Prism 10" r:id="rId7" imgW="3503400" imgH="2992880" progId="Prism10.Document">
                  <p:embed/>
                </p:oleObj>
              </mc:Choice>
              <mc:Fallback>
                <p:oleObj name="Prism 10" r:id="rId7" imgW="3503400" imgH="2992880" progId="Prism10.Document">
                  <p:embed/>
                  <p:pic>
                    <p:nvPicPr>
                      <p:cNvPr id="10847" name="Object 10846">
                        <a:extLst>
                          <a:ext uri="{FF2B5EF4-FFF2-40B4-BE49-F238E27FC236}">
                            <a16:creationId xmlns:a16="http://schemas.microsoft.com/office/drawing/2014/main" id="{8B22461F-C43D-B366-D1C7-D59555880288}"/>
                          </a:ext>
                        </a:extLst>
                      </p:cNvPr>
                      <p:cNvPicPr/>
                      <p:nvPr/>
                    </p:nvPicPr>
                    <p:blipFill>
                      <a:blip r:embed="rId8"/>
                      <a:stretch>
                        <a:fillRect/>
                      </a:stretch>
                    </p:blipFill>
                    <p:spPr>
                      <a:xfrm>
                        <a:off x="8224890" y="3073363"/>
                        <a:ext cx="3025775" cy="2581275"/>
                      </a:xfrm>
                      <a:prstGeom prst="rect">
                        <a:avLst/>
                      </a:prstGeom>
                    </p:spPr>
                  </p:pic>
                </p:oleObj>
              </mc:Fallback>
            </mc:AlternateContent>
          </a:graphicData>
        </a:graphic>
      </p:graphicFrame>
      <p:sp>
        <p:nvSpPr>
          <p:cNvPr id="10848" name="Rounded Rectangle 44">
            <a:extLst>
              <a:ext uri="{FF2B5EF4-FFF2-40B4-BE49-F238E27FC236}">
                <a16:creationId xmlns:a16="http://schemas.microsoft.com/office/drawing/2014/main" id="{D918327F-47AF-80A9-DBC6-484FF7A829BA}"/>
              </a:ext>
            </a:extLst>
          </p:cNvPr>
          <p:cNvSpPr/>
          <p:nvPr/>
        </p:nvSpPr>
        <p:spPr>
          <a:xfrm>
            <a:off x="566180" y="142571"/>
            <a:ext cx="912669" cy="288000"/>
          </a:xfrm>
          <a:prstGeom prst="roundRect">
            <a:avLst>
              <a:gd name="adj" fmla="val 50000"/>
            </a:avLst>
          </a:prstGeom>
          <a:solidFill>
            <a:schemeClr val="tx2">
              <a:alpha val="49757"/>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1965"/>
                </a:solidFill>
                <a:effectLst/>
                <a:uLnTx/>
                <a:uFillTx/>
                <a:latin typeface="Avenir Next LT Pro Demi" panose="020B0504020202020204" pitchFamily="34" charset="77"/>
                <a:ea typeface="+mn-ea"/>
                <a:cs typeface="+mn-cs"/>
              </a:rPr>
              <a:t>UCN2</a:t>
            </a:r>
          </a:p>
        </p:txBody>
      </p:sp>
      <p:sp>
        <p:nvSpPr>
          <p:cNvPr id="10849" name="tx40">
            <a:extLst>
              <a:ext uri="{FF2B5EF4-FFF2-40B4-BE49-F238E27FC236}">
                <a16:creationId xmlns:a16="http://schemas.microsoft.com/office/drawing/2014/main" id="{2E6D0AF7-FEE1-120E-8BF5-302AE873B229}"/>
              </a:ext>
            </a:extLst>
          </p:cNvPr>
          <p:cNvSpPr/>
          <p:nvPr/>
        </p:nvSpPr>
        <p:spPr>
          <a:xfrm rot="16200000">
            <a:off x="7206479" y="4235258"/>
            <a:ext cx="2018629" cy="162494"/>
          </a:xfrm>
          <a:prstGeom prst="rect">
            <a:avLst/>
          </a:prstGeom>
          <a:solidFill>
            <a:schemeClr val="bg1"/>
          </a:solidFill>
        </p:spPr>
        <p:txBody>
          <a:bodyPr wrap="none" lIns="0" tIns="0" rIns="0" bIns="0" anchor="ctr" anchorCtr="1"/>
          <a:lstStyle/>
          <a:p>
            <a:pPr marL="0" marR="0" lvl="0" indent="0" algn="l" defTabSz="914400" rtl="0" eaLnBrk="1" fontAlgn="auto" latinLnBrk="0" hangingPunct="1">
              <a:lnSpc>
                <a:spcPts val="900"/>
              </a:lnSpc>
              <a:spcBef>
                <a:spcPts val="0"/>
              </a:spcBef>
              <a:spcAft>
                <a:spcPts val="0"/>
              </a:spcAft>
              <a:buClrTx/>
              <a:buSzTx/>
              <a:buFontTx/>
              <a:buNone/>
              <a:tabLst/>
              <a:defRPr/>
            </a:pPr>
            <a:r>
              <a:rPr kumimoji="0" sz="1000" b="1" i="0" u="none" strike="noStrike" kern="1200" cap="none" spc="0" normalizeH="0" baseline="0" noProof="0">
                <a:ln>
                  <a:noFill/>
                </a:ln>
                <a:solidFill>
                  <a:srgbClr val="001965">
                    <a:alpha val="100000"/>
                  </a:srgbClr>
                </a:solidFill>
                <a:effectLst/>
                <a:uLnTx/>
                <a:uFillTx/>
                <a:latin typeface="Avenir Next LT Pro"/>
                <a:ea typeface="+mn-ea"/>
                <a:cs typeface="Avenir Next LT Pro"/>
              </a:rPr>
              <a:t>Body weight change (%)</a:t>
            </a:r>
          </a:p>
        </p:txBody>
      </p:sp>
      <p:sp>
        <p:nvSpPr>
          <p:cNvPr id="2" name="Text Placeholder 25">
            <a:extLst>
              <a:ext uri="{FF2B5EF4-FFF2-40B4-BE49-F238E27FC236}">
                <a16:creationId xmlns:a16="http://schemas.microsoft.com/office/drawing/2014/main" id="{8BA42E7C-E637-B4B0-35AC-B59429B846CF}"/>
              </a:ext>
            </a:extLst>
          </p:cNvPr>
          <p:cNvSpPr txBox="1">
            <a:spLocks/>
          </p:cNvSpPr>
          <p:nvPr/>
        </p:nvSpPr>
        <p:spPr>
          <a:xfrm>
            <a:off x="1614608" y="2338812"/>
            <a:ext cx="1897352" cy="288000"/>
          </a:xfrm>
          <a:prstGeom prst="roundRect">
            <a:avLst>
              <a:gd name="adj" fmla="val 50000"/>
            </a:avLst>
          </a:prstGeom>
          <a:solidFill>
            <a:schemeClr val="tx2">
              <a:alpha val="49880"/>
            </a:schemeClr>
          </a:solidFill>
          <a:ln w="12700">
            <a:solidFill>
              <a:schemeClr val="tx2"/>
            </a:solidFill>
          </a:ln>
        </p:spPr>
        <p:txBody>
          <a:bodyPr wrap="none" lIns="0" tIns="0" rIns="0" bIns="0" anchor="ctr" anchorCtr="0">
            <a:noAutofit/>
          </a:bodyPr>
          <a:lstStyle>
            <a:defPPr>
              <a:defRPr lang="sv-SE"/>
            </a:defPPr>
            <a:lvl1pPr marL="0" indent="0" algn="ctr" defTabSz="914400" rtl="0" eaLnBrk="1" latinLnBrk="0" hangingPunct="1">
              <a:lnSpc>
                <a:spcPct val="90000"/>
              </a:lnSpc>
              <a:spcBef>
                <a:spcPts val="1000"/>
              </a:spcBef>
              <a:buClr>
                <a:srgbClr val="2878FF"/>
              </a:buClr>
              <a:buSzPct val="110000"/>
              <a:buFont typeface="Avenir Next LT Pro" panose="020B0504020202020204" pitchFamily="34" charset="0"/>
              <a:buNone/>
              <a:defRPr sz="1200" kern="1200">
                <a:solidFill>
                  <a:srgbClr val="001965"/>
                </a:solidFill>
                <a:latin typeface="Avenir Next LT Pro Demi" panose="020B0704020202020204" pitchFamily="34" charset="0"/>
              </a:defRPr>
            </a:lvl1pPr>
            <a:lvl2pPr marL="447675" indent="-180975" algn="l" defTabSz="914400" rtl="0" eaLnBrk="1" latinLnBrk="0" hangingPunct="1">
              <a:lnSpc>
                <a:spcPct val="90000"/>
              </a:lnSpc>
              <a:spcBef>
                <a:spcPts val="500"/>
              </a:spcBef>
              <a:buClr>
                <a:srgbClr val="2878FF"/>
              </a:buClr>
              <a:buFont typeface="Arial" panose="020B0604020202020204" pitchFamily="34" charset="0"/>
              <a:buChar char="•"/>
              <a:defRPr sz="1800" kern="1200">
                <a:solidFill>
                  <a:srgbClr val="001965"/>
                </a:solidFill>
                <a:latin typeface="Avenir Next LT Pro"/>
              </a:defRPr>
            </a:lvl2pPr>
            <a:lvl3pPr marL="628650" indent="-180975" algn="l" defTabSz="914400" rtl="0" eaLnBrk="1" latinLnBrk="0" hangingPunct="1">
              <a:lnSpc>
                <a:spcPct val="90000"/>
              </a:lnSpc>
              <a:spcBef>
                <a:spcPts val="500"/>
              </a:spcBef>
              <a:buClr>
                <a:srgbClr val="2878FF"/>
              </a:buClr>
              <a:buFont typeface="Arial" panose="020B0604020202020204" pitchFamily="34" charset="0"/>
              <a:buChar char="•"/>
              <a:defRPr sz="1600" kern="1200">
                <a:solidFill>
                  <a:srgbClr val="001965"/>
                </a:solidFill>
                <a:latin typeface="Avenir Next LT Pro"/>
              </a:defRPr>
            </a:lvl3pPr>
            <a:lvl4pPr marL="809625" indent="-180975" algn="l" defTabSz="914400" rtl="0" eaLnBrk="1" latinLnBrk="0" hangingPunct="1">
              <a:lnSpc>
                <a:spcPct val="90000"/>
              </a:lnSpc>
              <a:spcBef>
                <a:spcPts val="500"/>
              </a:spcBef>
              <a:buClr>
                <a:srgbClr val="2878FF"/>
              </a:buClr>
              <a:buFont typeface="Arial" panose="020B0604020202020204" pitchFamily="34" charset="0"/>
              <a:buChar char="•"/>
              <a:defRPr sz="1400" kern="1200">
                <a:solidFill>
                  <a:srgbClr val="001965"/>
                </a:solidFill>
                <a:latin typeface="Avenir Next LT Pro"/>
              </a:defRPr>
            </a:lvl4pPr>
            <a:lvl5pPr marL="99060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9pPr>
          </a:lstStyle>
          <a:p>
            <a:r>
              <a:rPr lang="en-DK"/>
              <a:t>Fat mass</a:t>
            </a:r>
            <a:endParaRPr lang="sv-SE"/>
          </a:p>
        </p:txBody>
      </p:sp>
      <p:sp>
        <p:nvSpPr>
          <p:cNvPr id="3" name="Text Placeholder 25">
            <a:extLst>
              <a:ext uri="{FF2B5EF4-FFF2-40B4-BE49-F238E27FC236}">
                <a16:creationId xmlns:a16="http://schemas.microsoft.com/office/drawing/2014/main" id="{BD2B4C48-EEFF-BB43-3331-D75F78936829}"/>
              </a:ext>
            </a:extLst>
          </p:cNvPr>
          <p:cNvSpPr txBox="1">
            <a:spLocks/>
          </p:cNvSpPr>
          <p:nvPr/>
        </p:nvSpPr>
        <p:spPr>
          <a:xfrm>
            <a:off x="5170939" y="2338812"/>
            <a:ext cx="1897352" cy="288000"/>
          </a:xfrm>
          <a:prstGeom prst="roundRect">
            <a:avLst>
              <a:gd name="adj" fmla="val 50000"/>
            </a:avLst>
          </a:prstGeom>
          <a:solidFill>
            <a:schemeClr val="tx2">
              <a:alpha val="49880"/>
            </a:schemeClr>
          </a:solidFill>
          <a:ln w="12700">
            <a:solidFill>
              <a:schemeClr val="tx2"/>
            </a:solidFill>
          </a:ln>
        </p:spPr>
        <p:txBody>
          <a:bodyPr wrap="none" lIns="0" tIns="0" rIns="0" bIns="0" anchor="ctr" anchorCtr="0">
            <a:noAutofit/>
          </a:bodyPr>
          <a:lstStyle>
            <a:defPPr>
              <a:defRPr lang="sv-SE"/>
            </a:defPPr>
            <a:lvl1pPr marL="0" indent="0" algn="ctr" defTabSz="914400" rtl="0" eaLnBrk="1" latinLnBrk="0" hangingPunct="1">
              <a:lnSpc>
                <a:spcPct val="90000"/>
              </a:lnSpc>
              <a:spcBef>
                <a:spcPts val="1000"/>
              </a:spcBef>
              <a:buClr>
                <a:srgbClr val="2878FF"/>
              </a:buClr>
              <a:buSzPct val="110000"/>
              <a:buFont typeface="Avenir Next LT Pro" panose="020B0504020202020204" pitchFamily="34" charset="0"/>
              <a:buNone/>
              <a:defRPr sz="1200" kern="1200">
                <a:solidFill>
                  <a:srgbClr val="001965"/>
                </a:solidFill>
                <a:latin typeface="Avenir Next LT Pro Demi" panose="020B0704020202020204" pitchFamily="34" charset="0"/>
              </a:defRPr>
            </a:lvl1pPr>
            <a:lvl2pPr marL="447675" indent="-180975" algn="l" defTabSz="914400" rtl="0" eaLnBrk="1" latinLnBrk="0" hangingPunct="1">
              <a:lnSpc>
                <a:spcPct val="90000"/>
              </a:lnSpc>
              <a:spcBef>
                <a:spcPts val="500"/>
              </a:spcBef>
              <a:buClr>
                <a:srgbClr val="2878FF"/>
              </a:buClr>
              <a:buFont typeface="Arial" panose="020B0604020202020204" pitchFamily="34" charset="0"/>
              <a:buChar char="•"/>
              <a:defRPr sz="1800" kern="1200">
                <a:solidFill>
                  <a:srgbClr val="001965"/>
                </a:solidFill>
                <a:latin typeface="Avenir Next LT Pro"/>
              </a:defRPr>
            </a:lvl2pPr>
            <a:lvl3pPr marL="628650" indent="-180975" algn="l" defTabSz="914400" rtl="0" eaLnBrk="1" latinLnBrk="0" hangingPunct="1">
              <a:lnSpc>
                <a:spcPct val="90000"/>
              </a:lnSpc>
              <a:spcBef>
                <a:spcPts val="500"/>
              </a:spcBef>
              <a:buClr>
                <a:srgbClr val="2878FF"/>
              </a:buClr>
              <a:buFont typeface="Arial" panose="020B0604020202020204" pitchFamily="34" charset="0"/>
              <a:buChar char="•"/>
              <a:defRPr sz="1600" kern="1200">
                <a:solidFill>
                  <a:srgbClr val="001965"/>
                </a:solidFill>
                <a:latin typeface="Avenir Next LT Pro"/>
              </a:defRPr>
            </a:lvl3pPr>
            <a:lvl4pPr marL="809625" indent="-180975" algn="l" defTabSz="914400" rtl="0" eaLnBrk="1" latinLnBrk="0" hangingPunct="1">
              <a:lnSpc>
                <a:spcPct val="90000"/>
              </a:lnSpc>
              <a:spcBef>
                <a:spcPts val="500"/>
              </a:spcBef>
              <a:buClr>
                <a:srgbClr val="2878FF"/>
              </a:buClr>
              <a:buFont typeface="Arial" panose="020B0604020202020204" pitchFamily="34" charset="0"/>
              <a:buChar char="•"/>
              <a:defRPr sz="1400" kern="1200">
                <a:solidFill>
                  <a:srgbClr val="001965"/>
                </a:solidFill>
                <a:latin typeface="Avenir Next LT Pro"/>
              </a:defRPr>
            </a:lvl4pPr>
            <a:lvl5pPr marL="99060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9pPr>
          </a:lstStyle>
          <a:p>
            <a:r>
              <a:rPr lang="en-DK"/>
              <a:t>Lean mass</a:t>
            </a:r>
            <a:endParaRPr lang="sv-SE"/>
          </a:p>
        </p:txBody>
      </p:sp>
      <p:sp>
        <p:nvSpPr>
          <p:cNvPr id="5" name="Text Placeholder 25">
            <a:extLst>
              <a:ext uri="{FF2B5EF4-FFF2-40B4-BE49-F238E27FC236}">
                <a16:creationId xmlns:a16="http://schemas.microsoft.com/office/drawing/2014/main" id="{69D73688-D037-3D9E-C2FD-3B50F65B000E}"/>
              </a:ext>
            </a:extLst>
          </p:cNvPr>
          <p:cNvSpPr txBox="1">
            <a:spLocks/>
          </p:cNvSpPr>
          <p:nvPr/>
        </p:nvSpPr>
        <p:spPr>
          <a:xfrm>
            <a:off x="8702071" y="2338812"/>
            <a:ext cx="1897352" cy="288000"/>
          </a:xfrm>
          <a:prstGeom prst="roundRect">
            <a:avLst>
              <a:gd name="adj" fmla="val 50000"/>
            </a:avLst>
          </a:prstGeom>
          <a:solidFill>
            <a:schemeClr val="tx2">
              <a:alpha val="49880"/>
            </a:schemeClr>
          </a:solidFill>
          <a:ln w="12700">
            <a:solidFill>
              <a:schemeClr val="tx2"/>
            </a:solidFill>
          </a:ln>
        </p:spPr>
        <p:txBody>
          <a:bodyPr wrap="none" lIns="0" tIns="0" rIns="0" bIns="0" anchor="ctr" anchorCtr="0">
            <a:noAutofit/>
          </a:bodyPr>
          <a:lstStyle>
            <a:defPPr>
              <a:defRPr lang="sv-SE"/>
            </a:defPPr>
            <a:lvl1pPr marL="0" indent="0" algn="ctr" defTabSz="914400" rtl="0" eaLnBrk="1" latinLnBrk="0" hangingPunct="1">
              <a:lnSpc>
                <a:spcPct val="90000"/>
              </a:lnSpc>
              <a:spcBef>
                <a:spcPts val="1000"/>
              </a:spcBef>
              <a:buClr>
                <a:srgbClr val="2878FF"/>
              </a:buClr>
              <a:buSzPct val="110000"/>
              <a:buFont typeface="Avenir Next LT Pro" panose="020B0504020202020204" pitchFamily="34" charset="0"/>
              <a:buNone/>
              <a:defRPr sz="1200" kern="1200">
                <a:solidFill>
                  <a:srgbClr val="001965"/>
                </a:solidFill>
                <a:latin typeface="Avenir Next LT Pro Demi" panose="020B0704020202020204" pitchFamily="34" charset="0"/>
              </a:defRPr>
            </a:lvl1pPr>
            <a:lvl2pPr marL="447675" indent="-180975" algn="l" defTabSz="914400" rtl="0" eaLnBrk="1" latinLnBrk="0" hangingPunct="1">
              <a:lnSpc>
                <a:spcPct val="90000"/>
              </a:lnSpc>
              <a:spcBef>
                <a:spcPts val="500"/>
              </a:spcBef>
              <a:buClr>
                <a:srgbClr val="2878FF"/>
              </a:buClr>
              <a:buFont typeface="Arial" panose="020B0604020202020204" pitchFamily="34" charset="0"/>
              <a:buChar char="•"/>
              <a:defRPr sz="1800" kern="1200">
                <a:solidFill>
                  <a:srgbClr val="001965"/>
                </a:solidFill>
                <a:latin typeface="Avenir Next LT Pro"/>
              </a:defRPr>
            </a:lvl2pPr>
            <a:lvl3pPr marL="628650" indent="-180975" algn="l" defTabSz="914400" rtl="0" eaLnBrk="1" latinLnBrk="0" hangingPunct="1">
              <a:lnSpc>
                <a:spcPct val="90000"/>
              </a:lnSpc>
              <a:spcBef>
                <a:spcPts val="500"/>
              </a:spcBef>
              <a:buClr>
                <a:srgbClr val="2878FF"/>
              </a:buClr>
              <a:buFont typeface="Arial" panose="020B0604020202020204" pitchFamily="34" charset="0"/>
              <a:buChar char="•"/>
              <a:defRPr sz="1600" kern="1200">
                <a:solidFill>
                  <a:srgbClr val="001965"/>
                </a:solidFill>
                <a:latin typeface="Avenir Next LT Pro"/>
              </a:defRPr>
            </a:lvl3pPr>
            <a:lvl4pPr marL="809625" indent="-180975" algn="l" defTabSz="914400" rtl="0" eaLnBrk="1" latinLnBrk="0" hangingPunct="1">
              <a:lnSpc>
                <a:spcPct val="90000"/>
              </a:lnSpc>
              <a:spcBef>
                <a:spcPts val="500"/>
              </a:spcBef>
              <a:buClr>
                <a:srgbClr val="2878FF"/>
              </a:buClr>
              <a:buFont typeface="Arial" panose="020B0604020202020204" pitchFamily="34" charset="0"/>
              <a:buChar char="•"/>
              <a:defRPr sz="1400" kern="1200">
                <a:solidFill>
                  <a:srgbClr val="001965"/>
                </a:solidFill>
                <a:latin typeface="Avenir Next LT Pro"/>
              </a:defRPr>
            </a:lvl4pPr>
            <a:lvl5pPr marL="99060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9pPr>
          </a:lstStyle>
          <a:p>
            <a:r>
              <a:rPr lang="en-DK"/>
              <a:t>Body weight</a:t>
            </a:r>
            <a:endParaRPr lang="sv-SE"/>
          </a:p>
        </p:txBody>
      </p:sp>
    </p:spTree>
    <p:extLst>
      <p:ext uri="{BB962C8B-B14F-4D97-AF65-F5344CB8AC3E}">
        <p14:creationId xmlns:p14="http://schemas.microsoft.com/office/powerpoint/2010/main" val="4131079704"/>
      </p:ext>
    </p:extLst>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46DB03-E993-75B7-FFC0-6132AEF4F1B2}"/>
            </a:ext>
          </a:extLst>
        </p:cNvPr>
        <p:cNvGrpSpPr/>
        <p:nvPr/>
      </p:nvGrpSpPr>
      <p:grpSpPr>
        <a:xfrm>
          <a:off x="0" y="0"/>
          <a:ext cx="0" cy="0"/>
          <a:chOff x="0" y="0"/>
          <a:chExt cx="0" cy="0"/>
        </a:xfrm>
      </p:grpSpPr>
      <p:sp>
        <p:nvSpPr>
          <p:cNvPr id="48" name="Rectangle 47">
            <a:extLst>
              <a:ext uri="{FF2B5EF4-FFF2-40B4-BE49-F238E27FC236}">
                <a16:creationId xmlns:a16="http://schemas.microsoft.com/office/drawing/2014/main" id="{496C4639-CB0D-3775-9F69-F3C809633309}"/>
              </a:ext>
            </a:extLst>
          </p:cNvPr>
          <p:cNvSpPr/>
          <p:nvPr/>
        </p:nvSpPr>
        <p:spPr>
          <a:xfrm>
            <a:off x="8043134" y="2362907"/>
            <a:ext cx="3636000" cy="349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B5D81586-85F5-26C8-52CA-CA983B5F8F58}"/>
              </a:ext>
            </a:extLst>
          </p:cNvPr>
          <p:cNvSpPr/>
          <p:nvPr/>
        </p:nvSpPr>
        <p:spPr>
          <a:xfrm>
            <a:off x="8043134" y="2362904"/>
            <a:ext cx="3636000" cy="540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0" name="TextBox 49">
            <a:extLst>
              <a:ext uri="{FF2B5EF4-FFF2-40B4-BE49-F238E27FC236}">
                <a16:creationId xmlns:a16="http://schemas.microsoft.com/office/drawing/2014/main" id="{EF2712C8-88F5-F229-547E-BA2D3222BE1A}"/>
              </a:ext>
            </a:extLst>
          </p:cNvPr>
          <p:cNvSpPr txBox="1">
            <a:spLocks/>
          </p:cNvSpPr>
          <p:nvPr/>
        </p:nvSpPr>
        <p:spPr>
          <a:xfrm>
            <a:off x="8202526" y="2407757"/>
            <a:ext cx="3274400" cy="442035"/>
          </a:xfrm>
          <a:prstGeom prst="rect">
            <a:avLst/>
          </a:prstGeom>
          <a:noFill/>
        </p:spPr>
        <p:txBody>
          <a:bodyPr wrap="square" lIns="0" tIns="36000" rIns="0" bIns="3600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GUB-UCN2 </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reduces fat mass, alone and in combination anti-obesity agenda</a:t>
            </a:r>
            <a:endPar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sp>
        <p:nvSpPr>
          <p:cNvPr id="52" name="Rectangle 51">
            <a:extLst>
              <a:ext uri="{FF2B5EF4-FFF2-40B4-BE49-F238E27FC236}">
                <a16:creationId xmlns:a16="http://schemas.microsoft.com/office/drawing/2014/main" id="{DB62E539-2A42-F3D9-21E1-742D40836C43}"/>
              </a:ext>
            </a:extLst>
          </p:cNvPr>
          <p:cNvSpPr/>
          <p:nvPr/>
        </p:nvSpPr>
        <p:spPr>
          <a:xfrm>
            <a:off x="4314794" y="2362907"/>
            <a:ext cx="3636000" cy="349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3" name="Rectangle 52">
            <a:extLst>
              <a:ext uri="{FF2B5EF4-FFF2-40B4-BE49-F238E27FC236}">
                <a16:creationId xmlns:a16="http://schemas.microsoft.com/office/drawing/2014/main" id="{14658723-21F2-9EC5-007E-9C06C58FC176}"/>
              </a:ext>
            </a:extLst>
          </p:cNvPr>
          <p:cNvSpPr/>
          <p:nvPr/>
        </p:nvSpPr>
        <p:spPr>
          <a:xfrm>
            <a:off x="4314794" y="2362904"/>
            <a:ext cx="3636000" cy="540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4" name="TextBox 53">
            <a:extLst>
              <a:ext uri="{FF2B5EF4-FFF2-40B4-BE49-F238E27FC236}">
                <a16:creationId xmlns:a16="http://schemas.microsoft.com/office/drawing/2014/main" id="{95DCA317-B033-0C92-F332-642F8C3816E1}"/>
              </a:ext>
            </a:extLst>
          </p:cNvPr>
          <p:cNvSpPr txBox="1">
            <a:spLocks/>
          </p:cNvSpPr>
          <p:nvPr/>
        </p:nvSpPr>
        <p:spPr>
          <a:xfrm>
            <a:off x="4474186" y="2407757"/>
            <a:ext cx="3274399" cy="442035"/>
          </a:xfrm>
          <a:prstGeom prst="rect">
            <a:avLst/>
          </a:prstGeom>
          <a:noFill/>
        </p:spPr>
        <p:txBody>
          <a:bodyPr wrap="square" lIns="0" tIns="36000" rIns="0" bIns="36000">
            <a:spAutoFit/>
          </a:bodyPr>
          <a:lstStyle/>
          <a:p>
            <a:pPr marL="0" marR="0" lvl="0" indent="0" algn="ctr" defTabSz="8890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GUB-UCN2 </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prevents</a:t>
            </a:r>
            <a:r>
              <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lean mass</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loss caused by</a:t>
            </a:r>
            <a:r>
              <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anti-obesity agents</a:t>
            </a:r>
            <a:endPar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sp>
        <p:nvSpPr>
          <p:cNvPr id="10" name="Rectangle 9">
            <a:extLst>
              <a:ext uri="{FF2B5EF4-FFF2-40B4-BE49-F238E27FC236}">
                <a16:creationId xmlns:a16="http://schemas.microsoft.com/office/drawing/2014/main" id="{92374324-2B42-BF5D-859F-9D5DA4501EE3}"/>
              </a:ext>
            </a:extLst>
          </p:cNvPr>
          <p:cNvSpPr/>
          <p:nvPr/>
        </p:nvSpPr>
        <p:spPr>
          <a:xfrm>
            <a:off x="563178" y="2362907"/>
            <a:ext cx="3636000" cy="34971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19C1F759-84DA-2F7D-6A1D-2A9AB679F392}"/>
              </a:ext>
            </a:extLst>
          </p:cNvPr>
          <p:cNvSpPr/>
          <p:nvPr/>
        </p:nvSpPr>
        <p:spPr>
          <a:xfrm>
            <a:off x="563178" y="2362904"/>
            <a:ext cx="3636000" cy="540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799C9716-AC4B-D8EF-3EBF-9DB29C7FC84D}"/>
              </a:ext>
            </a:extLst>
          </p:cNvPr>
          <p:cNvSpPr txBox="1">
            <a:spLocks/>
          </p:cNvSpPr>
          <p:nvPr/>
        </p:nvSpPr>
        <p:spPr>
          <a:xfrm>
            <a:off x="722570" y="2407757"/>
            <a:ext cx="3274400" cy="442035"/>
          </a:xfrm>
          <a:prstGeom prst="rect">
            <a:avLst/>
          </a:prstGeom>
          <a:noFill/>
        </p:spPr>
        <p:txBody>
          <a:bodyPr wrap="square" lIns="0" tIns="36000" rIns="0" bIns="3600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GUB-UCN2 </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maintains weight loss </a:t>
            </a:r>
            <a:b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b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with anti-</a:t>
            </a:r>
            <a:r>
              <a:rPr kumimoji="0" lang="en-DK" sz="1200" b="1" i="0" u="none" strike="noStrike" kern="1200" cap="none" spc="0" normalizeH="0" baseline="0" noProof="0" err="1">
                <a:ln>
                  <a:noFill/>
                </a:ln>
                <a:solidFill>
                  <a:srgbClr val="FFFFFF"/>
                </a:solidFill>
                <a:effectLst/>
                <a:uLnTx/>
                <a:uFillTx/>
                <a:latin typeface="Avenir Next LT Pro Demi" panose="020B0504020202020204" pitchFamily="34" charset="77"/>
                <a:ea typeface="+mn-ea"/>
                <a:cs typeface="+mn-cs"/>
              </a:rPr>
              <a:t>obe</a:t>
            </a:r>
            <a:r>
              <a:rPr kumimoji="0" lang="en-US" sz="1200" b="1" i="0" u="none" strike="noStrike" kern="1200" cap="none" spc="0" normalizeH="0" baseline="0" noProof="0" err="1">
                <a:ln>
                  <a:noFill/>
                </a:ln>
                <a:solidFill>
                  <a:srgbClr val="FFFFFF"/>
                </a:solidFill>
                <a:effectLst/>
                <a:uLnTx/>
                <a:uFillTx/>
                <a:latin typeface="Avenir Next LT Pro Demi" panose="020B0504020202020204" pitchFamily="34" charset="77"/>
                <a:ea typeface="+mn-ea"/>
                <a:cs typeface="+mn-cs"/>
              </a:rPr>
              <a:t>si</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ty agents</a:t>
            </a:r>
            <a:r>
              <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a:t>
            </a:r>
          </a:p>
        </p:txBody>
      </p:sp>
      <p:graphicFrame>
        <p:nvGraphicFramePr>
          <p:cNvPr id="6" name="Object 5" hidden="1">
            <a:extLst>
              <a:ext uri="{FF2B5EF4-FFF2-40B4-BE49-F238E27FC236}">
                <a16:creationId xmlns:a16="http://schemas.microsoft.com/office/drawing/2014/main" id="{9A94E018-6C03-2E5A-0D09-9FB56885BCE9}"/>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9A94E018-6C03-2E5A-0D09-9FB56885BC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2">
            <a:extLst>
              <a:ext uri="{FF2B5EF4-FFF2-40B4-BE49-F238E27FC236}">
                <a16:creationId xmlns:a16="http://schemas.microsoft.com/office/drawing/2014/main" id="{C85A184A-E4AE-E8E0-D249-B017B8CE6F65}"/>
              </a:ext>
            </a:extLst>
          </p:cNvPr>
          <p:cNvSpPr txBox="1">
            <a:spLocks/>
          </p:cNvSpPr>
          <p:nvPr/>
        </p:nvSpPr>
        <p:spPr>
          <a:xfrm>
            <a:off x="565459" y="552715"/>
            <a:ext cx="10098869" cy="720197"/>
          </a:xfrm>
          <a:prstGeom prst="rect">
            <a:avLst/>
          </a:prstGeom>
        </p:spPr>
        <p:txBody>
          <a:bodyPr vert="horz" lIns="0" tIns="0" rIns="0" bIns="0" rtlCol="0" anchor="t" anchorCtr="0">
            <a:spAutoFit/>
          </a:bodyPr>
          <a:lstStyle>
            <a:lvl1pPr algn="l" defTabSz="914377" rtl="0" eaLnBrk="1" latinLnBrk="0" hangingPunct="1">
              <a:lnSpc>
                <a:spcPct val="90000"/>
              </a:lnSpc>
              <a:spcBef>
                <a:spcPct val="0"/>
              </a:spcBef>
              <a:buNone/>
              <a:defRPr sz="3000" b="1" i="0" kern="1200">
                <a:solidFill>
                  <a:schemeClr val="tx2"/>
                </a:solidFill>
                <a:latin typeface="Avenir Next LT Pro" panose="020B0504020202020204" pitchFamily="34" charset="77"/>
                <a:ea typeface="Avenir Next LT Pro" panose="020B0504020202020204" pitchFamily="34" charset="77"/>
                <a:cs typeface="Avenir Next LT Pro" panose="020B0504020202020204" pitchFamily="34" charset="77"/>
              </a:defRPr>
            </a:lvl1pPr>
          </a:lstStyle>
          <a:p>
            <a:pPr lvl="0">
              <a:defRPr/>
            </a:pPr>
            <a:r>
              <a:rPr lang="en-US" sz="2600">
                <a:solidFill>
                  <a:schemeClr val="tx1"/>
                </a:solidFill>
              </a:rPr>
              <a:t>GUB-UCN2 eliminates lean mass loss and enhances fat mass loss induced by anti-obesity agents in DIO rats</a:t>
            </a:r>
            <a:endParaRPr kumimoji="0" lang="en-US" sz="2600" b="1" i="0" u="none" strike="noStrike" kern="1200" cap="none" spc="0" normalizeH="0" baseline="0" noProof="0">
              <a:ln>
                <a:noFill/>
              </a:ln>
              <a:solidFill>
                <a:srgbClr val="2878FF"/>
              </a:solidFill>
              <a:effectLst/>
              <a:uLnTx/>
              <a:uFillTx/>
              <a:latin typeface="Avenir Next LT Pro" panose="020B0504020202020204" pitchFamily="34" charset="77"/>
            </a:endParaRPr>
          </a:p>
        </p:txBody>
      </p:sp>
      <p:sp>
        <p:nvSpPr>
          <p:cNvPr id="56" name="Rounded Rectangle 55">
            <a:extLst>
              <a:ext uri="{FF2B5EF4-FFF2-40B4-BE49-F238E27FC236}">
                <a16:creationId xmlns:a16="http://schemas.microsoft.com/office/drawing/2014/main" id="{1E695BFB-FE44-237A-77AD-E494791A7129}"/>
              </a:ext>
            </a:extLst>
          </p:cNvPr>
          <p:cNvSpPr/>
          <p:nvPr/>
        </p:nvSpPr>
        <p:spPr>
          <a:xfrm>
            <a:off x="565458" y="1714904"/>
            <a:ext cx="11064567" cy="468000"/>
          </a:xfrm>
          <a:prstGeom prst="roundRect">
            <a:avLst>
              <a:gd name="adj" fmla="val 5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432000"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GUB-UCN2 rescues lean mass loss and </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increases</a:t>
            </a:r>
            <a:r>
              <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fat mass loss in obese rats in combination with an </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a</a:t>
            </a:r>
            <a:r>
              <a:rPr kumimoji="0" lang="en-US" sz="1200" b="1" i="0" u="none" strike="noStrike" kern="1200" cap="none" spc="0" normalizeH="0" baseline="0" noProof="0" err="1">
                <a:ln>
                  <a:noFill/>
                </a:ln>
                <a:solidFill>
                  <a:srgbClr val="FFFFFF"/>
                </a:solidFill>
                <a:effectLst/>
                <a:uLnTx/>
                <a:uFillTx/>
                <a:latin typeface="Avenir Next LT Pro Demi" panose="020B0504020202020204" pitchFamily="34" charset="77"/>
                <a:ea typeface="+mn-ea"/>
                <a:cs typeface="+mn-cs"/>
              </a:rPr>
              <a:t>mylin</a:t>
            </a:r>
            <a:r>
              <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a:t>
            </a:r>
            <a:r>
              <a:rPr kumimoji="0" lang="en-US" sz="1200" b="1" i="0" u="none" strike="noStrike" kern="1200" cap="none" spc="0" normalizeH="0" baseline="0" noProof="0" err="1">
                <a:ln>
                  <a:noFill/>
                </a:ln>
                <a:solidFill>
                  <a:srgbClr val="FFFFFF"/>
                </a:solidFill>
                <a:effectLst/>
                <a:uLnTx/>
                <a:uFillTx/>
                <a:latin typeface="Avenir Next LT Pro Demi" panose="020B0504020202020204" pitchFamily="34" charset="77"/>
                <a:ea typeface="+mn-ea"/>
                <a:cs typeface="+mn-cs"/>
              </a:rPr>
              <a:t>Cagrilintide</a:t>
            </a:r>
            <a:r>
              <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a GLP-1R agonist (Semaglutide) or a dual glucagon/GLP-1R agonist (</a:t>
            </a:r>
            <a:r>
              <a:rPr kumimoji="0" lang="en-US" sz="1200" b="1" i="0" u="none" strike="noStrike" kern="1200" cap="none" spc="0" normalizeH="0" baseline="0" noProof="0" err="1">
                <a:ln>
                  <a:noFill/>
                </a:ln>
                <a:solidFill>
                  <a:srgbClr val="FFFFFF"/>
                </a:solidFill>
                <a:effectLst/>
                <a:uLnTx/>
                <a:uFillTx/>
                <a:latin typeface="Avenir Next LT Pro Demi" panose="020B0504020202020204" pitchFamily="34" charset="77"/>
                <a:ea typeface="+mn-ea"/>
                <a:cs typeface="+mn-cs"/>
              </a:rPr>
              <a:t>Survodutide</a:t>
            </a:r>
            <a:r>
              <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a:t>
            </a:r>
          </a:p>
        </p:txBody>
      </p:sp>
      <p:pic>
        <p:nvPicPr>
          <p:cNvPr id="8" name="Graphic 7" descr="Lights On with solid fill">
            <a:extLst>
              <a:ext uri="{FF2B5EF4-FFF2-40B4-BE49-F238E27FC236}">
                <a16:creationId xmlns:a16="http://schemas.microsoft.com/office/drawing/2014/main" id="{45633162-43A9-AE49-A6BD-9E6C880B8211}"/>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34863" y="1759198"/>
            <a:ext cx="365124" cy="365124"/>
          </a:xfrm>
          <a:prstGeom prst="rect">
            <a:avLst/>
          </a:prstGeom>
          <a:extLst>
            <a:ext uri="{91240B29-F687-4F45-9708-019B960494DF}">
              <a14:hiddenLine xmlns:a14="http://schemas.microsoft.com/office/drawing/2010/main" w="13758" cap="flat">
                <a:solidFill>
                  <a:srgbClr val="FFFFFF"/>
                </a:solidFill>
                <a:prstDash val="solid"/>
                <a:miter/>
              </a14:hiddenLine>
            </a:ext>
          </a:extLst>
        </p:spPr>
      </p:pic>
      <p:grpSp>
        <p:nvGrpSpPr>
          <p:cNvPr id="11631" name="Group 11630">
            <a:extLst>
              <a:ext uri="{FF2B5EF4-FFF2-40B4-BE49-F238E27FC236}">
                <a16:creationId xmlns:a16="http://schemas.microsoft.com/office/drawing/2014/main" id="{CA4115C2-29CC-6702-C8E4-2600ECECAAB1}"/>
              </a:ext>
            </a:extLst>
          </p:cNvPr>
          <p:cNvGrpSpPr/>
          <p:nvPr/>
        </p:nvGrpSpPr>
        <p:grpSpPr>
          <a:xfrm>
            <a:off x="563178" y="6142970"/>
            <a:ext cx="4010076" cy="513998"/>
            <a:chOff x="654830" y="6141824"/>
            <a:chExt cx="4010076" cy="513998"/>
          </a:xfrm>
        </p:grpSpPr>
        <p:sp>
          <p:nvSpPr>
            <p:cNvPr id="28" name="pt555">
              <a:extLst>
                <a:ext uri="{FF2B5EF4-FFF2-40B4-BE49-F238E27FC236}">
                  <a16:creationId xmlns:a16="http://schemas.microsoft.com/office/drawing/2014/main" id="{E10C260D-CF93-8FA0-951F-207FBD1AD76D}"/>
                </a:ext>
              </a:extLst>
            </p:cNvPr>
            <p:cNvSpPr/>
            <p:nvPr/>
          </p:nvSpPr>
          <p:spPr>
            <a:xfrm>
              <a:off x="738591" y="6141824"/>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47" name="pl556">
              <a:extLst>
                <a:ext uri="{FF2B5EF4-FFF2-40B4-BE49-F238E27FC236}">
                  <a16:creationId xmlns:a16="http://schemas.microsoft.com/office/drawing/2014/main" id="{603BF848-B959-18A3-9288-9DA48AE629FD}"/>
                </a:ext>
              </a:extLst>
            </p:cNvPr>
            <p:cNvSpPr/>
            <p:nvPr/>
          </p:nvSpPr>
          <p:spPr>
            <a:xfrm>
              <a:off x="654830" y="6160948"/>
              <a:ext cx="190717" cy="0"/>
            </a:xfrm>
            <a:custGeom>
              <a:avLst/>
              <a:gdLst/>
              <a:ahLst/>
              <a:cxnLst/>
              <a:rect l="0" t="0" r="0" b="0"/>
              <a:pathLst>
                <a:path w="175564">
                  <a:moveTo>
                    <a:pt x="0" y="0"/>
                  </a:moveTo>
                  <a:lnTo>
                    <a:pt x="175564"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51" name="pt558">
              <a:extLst>
                <a:ext uri="{FF2B5EF4-FFF2-40B4-BE49-F238E27FC236}">
                  <a16:creationId xmlns:a16="http://schemas.microsoft.com/office/drawing/2014/main" id="{9284B3C1-F7A5-140C-9E4D-A3EF0BC180EB}"/>
                </a:ext>
              </a:extLst>
            </p:cNvPr>
            <p:cNvSpPr/>
            <p:nvPr/>
          </p:nvSpPr>
          <p:spPr>
            <a:xfrm>
              <a:off x="746603" y="6366517"/>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55" name="pl559">
              <a:extLst>
                <a:ext uri="{FF2B5EF4-FFF2-40B4-BE49-F238E27FC236}">
                  <a16:creationId xmlns:a16="http://schemas.microsoft.com/office/drawing/2014/main" id="{786CB1EF-BFC4-B267-04AE-B66CFCEA0FAD}"/>
                </a:ext>
              </a:extLst>
            </p:cNvPr>
            <p:cNvSpPr/>
            <p:nvPr/>
          </p:nvSpPr>
          <p:spPr>
            <a:xfrm>
              <a:off x="662841" y="6385641"/>
              <a:ext cx="190717" cy="0"/>
            </a:xfrm>
            <a:custGeom>
              <a:avLst/>
              <a:gdLst/>
              <a:ahLst/>
              <a:cxnLst/>
              <a:rect l="0" t="0" r="0" b="0"/>
              <a:pathLst>
                <a:path w="175564">
                  <a:moveTo>
                    <a:pt x="0" y="0"/>
                  </a:moveTo>
                  <a:lnTo>
                    <a:pt x="175564"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57" name="pt561">
              <a:extLst>
                <a:ext uri="{FF2B5EF4-FFF2-40B4-BE49-F238E27FC236}">
                  <a16:creationId xmlns:a16="http://schemas.microsoft.com/office/drawing/2014/main" id="{965793BE-9FD9-3B3A-1AE0-648E8C68277C}"/>
                </a:ext>
              </a:extLst>
            </p:cNvPr>
            <p:cNvSpPr/>
            <p:nvPr/>
          </p:nvSpPr>
          <p:spPr>
            <a:xfrm>
              <a:off x="1792533" y="6141824"/>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60" name="pl562">
              <a:extLst>
                <a:ext uri="{FF2B5EF4-FFF2-40B4-BE49-F238E27FC236}">
                  <a16:creationId xmlns:a16="http://schemas.microsoft.com/office/drawing/2014/main" id="{DBE5A9B8-33E8-3B84-3683-64F3B64EDEB8}"/>
                </a:ext>
              </a:extLst>
            </p:cNvPr>
            <p:cNvSpPr/>
            <p:nvPr/>
          </p:nvSpPr>
          <p:spPr>
            <a:xfrm>
              <a:off x="1708772" y="6160948"/>
              <a:ext cx="190717" cy="0"/>
            </a:xfrm>
            <a:custGeom>
              <a:avLst/>
              <a:gdLst/>
              <a:ahLst/>
              <a:cxnLst/>
              <a:rect l="0" t="0" r="0" b="0"/>
              <a:pathLst>
                <a:path w="175564">
                  <a:moveTo>
                    <a:pt x="0" y="0"/>
                  </a:moveTo>
                  <a:lnTo>
                    <a:pt x="175564"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9600" name="pt564">
              <a:extLst>
                <a:ext uri="{FF2B5EF4-FFF2-40B4-BE49-F238E27FC236}">
                  <a16:creationId xmlns:a16="http://schemas.microsoft.com/office/drawing/2014/main" id="{2B85F3AB-B152-2A29-7B2E-0AB672CB42B9}"/>
                </a:ext>
              </a:extLst>
            </p:cNvPr>
            <p:cNvSpPr/>
            <p:nvPr/>
          </p:nvSpPr>
          <p:spPr>
            <a:xfrm>
              <a:off x="1800543" y="6366517"/>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9601" name="pl565">
              <a:extLst>
                <a:ext uri="{FF2B5EF4-FFF2-40B4-BE49-F238E27FC236}">
                  <a16:creationId xmlns:a16="http://schemas.microsoft.com/office/drawing/2014/main" id="{D45E7C2D-855F-DE2C-5E67-FA30DDACDE2F}"/>
                </a:ext>
              </a:extLst>
            </p:cNvPr>
            <p:cNvSpPr/>
            <p:nvPr/>
          </p:nvSpPr>
          <p:spPr>
            <a:xfrm>
              <a:off x="1724794" y="6385641"/>
              <a:ext cx="190717" cy="0"/>
            </a:xfrm>
            <a:custGeom>
              <a:avLst/>
              <a:gdLst/>
              <a:ahLst/>
              <a:cxnLst/>
              <a:rect l="0" t="0" r="0" b="0"/>
              <a:pathLst>
                <a:path w="175564">
                  <a:moveTo>
                    <a:pt x="0" y="0"/>
                  </a:moveTo>
                  <a:lnTo>
                    <a:pt x="175564"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9602" name="pt567">
              <a:extLst>
                <a:ext uri="{FF2B5EF4-FFF2-40B4-BE49-F238E27FC236}">
                  <a16:creationId xmlns:a16="http://schemas.microsoft.com/office/drawing/2014/main" id="{4A83C8A6-2A93-A847-B1BE-C3BE7F1DAFFF}"/>
                </a:ext>
              </a:extLst>
            </p:cNvPr>
            <p:cNvSpPr/>
            <p:nvPr/>
          </p:nvSpPr>
          <p:spPr>
            <a:xfrm>
              <a:off x="1799582" y="6568761"/>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9603" name="pl568">
              <a:extLst>
                <a:ext uri="{FF2B5EF4-FFF2-40B4-BE49-F238E27FC236}">
                  <a16:creationId xmlns:a16="http://schemas.microsoft.com/office/drawing/2014/main" id="{94FAD779-5D05-A30C-9589-717F4C22F974}"/>
                </a:ext>
              </a:extLst>
            </p:cNvPr>
            <p:cNvSpPr/>
            <p:nvPr/>
          </p:nvSpPr>
          <p:spPr>
            <a:xfrm>
              <a:off x="1723832" y="6587885"/>
              <a:ext cx="190717" cy="0"/>
            </a:xfrm>
            <a:custGeom>
              <a:avLst/>
              <a:gdLst/>
              <a:ahLst/>
              <a:cxnLst/>
              <a:rect l="0" t="0" r="0" b="0"/>
              <a:pathLst>
                <a:path w="175564">
                  <a:moveTo>
                    <a:pt x="0" y="0"/>
                  </a:moveTo>
                  <a:lnTo>
                    <a:pt x="175564"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9604" name="pt570">
              <a:extLst>
                <a:ext uri="{FF2B5EF4-FFF2-40B4-BE49-F238E27FC236}">
                  <a16:creationId xmlns:a16="http://schemas.microsoft.com/office/drawing/2014/main" id="{51BC42F9-27A5-6781-4195-103193EAEB32}"/>
                </a:ext>
              </a:extLst>
            </p:cNvPr>
            <p:cNvSpPr/>
            <p:nvPr/>
          </p:nvSpPr>
          <p:spPr>
            <a:xfrm>
              <a:off x="2934124" y="6141824"/>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9605" name="pl571">
              <a:extLst>
                <a:ext uri="{FF2B5EF4-FFF2-40B4-BE49-F238E27FC236}">
                  <a16:creationId xmlns:a16="http://schemas.microsoft.com/office/drawing/2014/main" id="{17D8CCF9-EA25-C098-FEA9-3EF4CB1A8E5D}"/>
                </a:ext>
              </a:extLst>
            </p:cNvPr>
            <p:cNvSpPr/>
            <p:nvPr/>
          </p:nvSpPr>
          <p:spPr>
            <a:xfrm>
              <a:off x="2850364" y="6160948"/>
              <a:ext cx="190717" cy="0"/>
            </a:xfrm>
            <a:custGeom>
              <a:avLst/>
              <a:gdLst/>
              <a:ahLst/>
              <a:cxnLst/>
              <a:rect l="0" t="0" r="0" b="0"/>
              <a:pathLst>
                <a:path w="175564">
                  <a:moveTo>
                    <a:pt x="0" y="0"/>
                  </a:moveTo>
                  <a:lnTo>
                    <a:pt x="175564"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9606" name="pt573">
              <a:extLst>
                <a:ext uri="{FF2B5EF4-FFF2-40B4-BE49-F238E27FC236}">
                  <a16:creationId xmlns:a16="http://schemas.microsoft.com/office/drawing/2014/main" id="{0308B2FE-AA66-05A7-EABB-9BCC941A519F}"/>
                </a:ext>
              </a:extLst>
            </p:cNvPr>
            <p:cNvSpPr/>
            <p:nvPr/>
          </p:nvSpPr>
          <p:spPr>
            <a:xfrm>
              <a:off x="2942135" y="6366517"/>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9624" name="pl574">
              <a:extLst>
                <a:ext uri="{FF2B5EF4-FFF2-40B4-BE49-F238E27FC236}">
                  <a16:creationId xmlns:a16="http://schemas.microsoft.com/office/drawing/2014/main" id="{3BD5E453-FC06-566D-7717-1861C43E4153}"/>
                </a:ext>
              </a:extLst>
            </p:cNvPr>
            <p:cNvSpPr/>
            <p:nvPr/>
          </p:nvSpPr>
          <p:spPr>
            <a:xfrm>
              <a:off x="2858374" y="6385641"/>
              <a:ext cx="190717" cy="0"/>
            </a:xfrm>
            <a:custGeom>
              <a:avLst/>
              <a:gdLst/>
              <a:ahLst/>
              <a:cxnLst/>
              <a:rect l="0" t="0" r="0" b="0"/>
              <a:pathLst>
                <a:path w="175564">
                  <a:moveTo>
                    <a:pt x="0" y="0"/>
                  </a:moveTo>
                  <a:lnTo>
                    <a:pt x="175564"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9625" name="pt576">
              <a:extLst>
                <a:ext uri="{FF2B5EF4-FFF2-40B4-BE49-F238E27FC236}">
                  <a16:creationId xmlns:a16="http://schemas.microsoft.com/office/drawing/2014/main" id="{37524880-9601-9569-FDB6-59D8D44FA445}"/>
                </a:ext>
              </a:extLst>
            </p:cNvPr>
            <p:cNvSpPr/>
            <p:nvPr/>
          </p:nvSpPr>
          <p:spPr>
            <a:xfrm>
              <a:off x="2934124" y="6568761"/>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9626" name="pl577">
              <a:extLst>
                <a:ext uri="{FF2B5EF4-FFF2-40B4-BE49-F238E27FC236}">
                  <a16:creationId xmlns:a16="http://schemas.microsoft.com/office/drawing/2014/main" id="{11065BA9-7304-814D-76F8-A905CBE49606}"/>
                </a:ext>
              </a:extLst>
            </p:cNvPr>
            <p:cNvSpPr/>
            <p:nvPr/>
          </p:nvSpPr>
          <p:spPr>
            <a:xfrm>
              <a:off x="2850364" y="6587885"/>
              <a:ext cx="190717" cy="0"/>
            </a:xfrm>
            <a:custGeom>
              <a:avLst/>
              <a:gdLst/>
              <a:ahLst/>
              <a:cxnLst/>
              <a:rect l="0" t="0" r="0" b="0"/>
              <a:pathLst>
                <a:path w="175564">
                  <a:moveTo>
                    <a:pt x="0" y="0"/>
                  </a:moveTo>
                  <a:lnTo>
                    <a:pt x="175564"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9627" name="tx578">
              <a:extLst>
                <a:ext uri="{FF2B5EF4-FFF2-40B4-BE49-F238E27FC236}">
                  <a16:creationId xmlns:a16="http://schemas.microsoft.com/office/drawing/2014/main" id="{7623B537-6CB9-F6E4-51A1-5F5534B8CC22}"/>
                </a:ext>
              </a:extLst>
            </p:cNvPr>
            <p:cNvSpPr/>
            <p:nvPr/>
          </p:nvSpPr>
          <p:spPr>
            <a:xfrm>
              <a:off x="859145" y="6155356"/>
              <a:ext cx="599868" cy="74982"/>
            </a:xfrm>
            <a:prstGeom prst="rect">
              <a:avLst/>
            </a:prstGeom>
            <a:noFill/>
          </p:spPr>
          <p:txBody>
            <a:bodyPr wrap="none" lIns="0" tIns="0" rIns="0" bIns="0" anchor="ctr" anchorCtr="1"/>
            <a:lstStyle/>
            <a:p>
              <a:pPr defTabSz="914400">
                <a:lnSpc>
                  <a:spcPts val="720"/>
                </a:lnSpc>
              </a:pPr>
              <a:r>
                <a:rPr sz="1000">
                  <a:solidFill>
                    <a:srgbClr val="001965">
                      <a:alpha val="100000"/>
                    </a:srgbClr>
                  </a:solidFill>
                  <a:latin typeface="Avenir Next LT Pro"/>
                  <a:cs typeface="Avenir Next LT Pro"/>
                </a:rPr>
                <a:t>Vehicle</a:t>
              </a:r>
            </a:p>
          </p:txBody>
        </p:sp>
        <p:sp>
          <p:nvSpPr>
            <p:cNvPr id="9628" name="tx579">
              <a:extLst>
                <a:ext uri="{FF2B5EF4-FFF2-40B4-BE49-F238E27FC236}">
                  <a16:creationId xmlns:a16="http://schemas.microsoft.com/office/drawing/2014/main" id="{5EE23697-A884-ED65-91B6-D1639B3E76A6}"/>
                </a:ext>
              </a:extLst>
            </p:cNvPr>
            <p:cNvSpPr/>
            <p:nvPr/>
          </p:nvSpPr>
          <p:spPr>
            <a:xfrm>
              <a:off x="779038" y="6381502"/>
              <a:ext cx="963722" cy="72076"/>
            </a:xfrm>
            <a:prstGeom prst="rect">
              <a:avLst/>
            </a:prstGeom>
            <a:noFill/>
          </p:spPr>
          <p:txBody>
            <a:bodyPr wrap="none" lIns="0" tIns="0" rIns="0" bIns="0" anchor="ctr" anchorCtr="1"/>
            <a:lstStyle/>
            <a:p>
              <a:pPr defTabSz="914400">
                <a:lnSpc>
                  <a:spcPts val="720"/>
                </a:lnSpc>
              </a:pPr>
              <a:r>
                <a:rPr lang="en-GB" sz="1000">
                  <a:solidFill>
                    <a:srgbClr val="001965">
                      <a:alpha val="100000"/>
                    </a:srgbClr>
                  </a:solidFill>
                  <a:latin typeface="Avenir Next LT Pro"/>
                  <a:cs typeface="Avenir Next LT Pro"/>
                </a:rPr>
                <a:t>GUB-UCN2</a:t>
              </a:r>
              <a:endParaRPr sz="1000">
                <a:solidFill>
                  <a:srgbClr val="001965">
                    <a:alpha val="100000"/>
                  </a:srgbClr>
                </a:solidFill>
                <a:latin typeface="Avenir Next LT Pro"/>
                <a:cs typeface="Avenir Next LT Pro"/>
              </a:endParaRPr>
            </a:p>
          </p:txBody>
        </p:sp>
        <p:sp>
          <p:nvSpPr>
            <p:cNvPr id="9629" name="tx581">
              <a:extLst>
                <a:ext uri="{FF2B5EF4-FFF2-40B4-BE49-F238E27FC236}">
                  <a16:creationId xmlns:a16="http://schemas.microsoft.com/office/drawing/2014/main" id="{E2820597-DFB7-03EC-2E6F-C86104B83E1A}"/>
                </a:ext>
              </a:extLst>
            </p:cNvPr>
            <p:cNvSpPr/>
            <p:nvPr/>
          </p:nvSpPr>
          <p:spPr>
            <a:xfrm>
              <a:off x="1922901" y="6144602"/>
              <a:ext cx="866476" cy="72076"/>
            </a:xfrm>
            <a:prstGeom prst="rect">
              <a:avLst/>
            </a:prstGeom>
            <a:noFill/>
          </p:spPr>
          <p:txBody>
            <a:bodyPr wrap="none" lIns="0" tIns="0" rIns="0" bIns="0" anchor="ctr" anchorCtr="1"/>
            <a:lstStyle/>
            <a:p>
              <a:pPr defTabSz="914400">
                <a:lnSpc>
                  <a:spcPts val="720"/>
                </a:lnSpc>
              </a:pPr>
              <a:r>
                <a:rPr sz="1000" err="1">
                  <a:solidFill>
                    <a:srgbClr val="001965">
                      <a:alpha val="100000"/>
                    </a:srgbClr>
                  </a:solidFill>
                  <a:latin typeface="Avenir Next LT Pro"/>
                  <a:cs typeface="Avenir Next LT Pro"/>
                </a:rPr>
                <a:t>Cagrilintide</a:t>
              </a:r>
              <a:endParaRPr sz="1000">
                <a:solidFill>
                  <a:srgbClr val="001965">
                    <a:alpha val="100000"/>
                  </a:srgbClr>
                </a:solidFill>
                <a:latin typeface="Avenir Next LT Pro"/>
                <a:cs typeface="Avenir Next LT Pro"/>
              </a:endParaRPr>
            </a:p>
          </p:txBody>
        </p:sp>
        <p:sp>
          <p:nvSpPr>
            <p:cNvPr id="9630" name="tx583">
              <a:extLst>
                <a:ext uri="{FF2B5EF4-FFF2-40B4-BE49-F238E27FC236}">
                  <a16:creationId xmlns:a16="http://schemas.microsoft.com/office/drawing/2014/main" id="{3F61AD7F-D408-67E1-D7D6-E97858B6F2B6}"/>
                </a:ext>
              </a:extLst>
            </p:cNvPr>
            <p:cNvSpPr/>
            <p:nvPr/>
          </p:nvSpPr>
          <p:spPr>
            <a:xfrm>
              <a:off x="1944167" y="6369295"/>
              <a:ext cx="866476" cy="72076"/>
            </a:xfrm>
            <a:prstGeom prst="rect">
              <a:avLst/>
            </a:prstGeom>
            <a:noFill/>
          </p:spPr>
          <p:txBody>
            <a:bodyPr wrap="none" lIns="0" tIns="0" rIns="0" bIns="0" anchor="ctr" anchorCtr="1"/>
            <a:lstStyle/>
            <a:p>
              <a:pPr defTabSz="914400">
                <a:lnSpc>
                  <a:spcPts val="720"/>
                </a:lnSpc>
              </a:pPr>
              <a:r>
                <a:rPr sz="1000">
                  <a:solidFill>
                    <a:srgbClr val="001965">
                      <a:alpha val="100000"/>
                    </a:srgbClr>
                  </a:solidFill>
                  <a:latin typeface="Avenir Next LT Pro"/>
                  <a:cs typeface="Avenir Next LT Pro"/>
                </a:rPr>
                <a:t>Semaglutide</a:t>
              </a:r>
            </a:p>
          </p:txBody>
        </p:sp>
        <p:sp>
          <p:nvSpPr>
            <p:cNvPr id="9631" name="tx585">
              <a:extLst>
                <a:ext uri="{FF2B5EF4-FFF2-40B4-BE49-F238E27FC236}">
                  <a16:creationId xmlns:a16="http://schemas.microsoft.com/office/drawing/2014/main" id="{FA4EFCB1-6C7E-DEA9-8CB0-81108D70845D}"/>
                </a:ext>
              </a:extLst>
            </p:cNvPr>
            <p:cNvSpPr/>
            <p:nvPr/>
          </p:nvSpPr>
          <p:spPr>
            <a:xfrm>
              <a:off x="1944167" y="6583746"/>
              <a:ext cx="866476" cy="72076"/>
            </a:xfrm>
            <a:prstGeom prst="rect">
              <a:avLst/>
            </a:prstGeom>
            <a:noFill/>
          </p:spPr>
          <p:txBody>
            <a:bodyPr wrap="none" lIns="0" tIns="0" rIns="0" bIns="0" anchor="ctr" anchorCtr="1"/>
            <a:lstStyle/>
            <a:p>
              <a:pPr defTabSz="914400">
                <a:lnSpc>
                  <a:spcPts val="720"/>
                </a:lnSpc>
              </a:pPr>
              <a:r>
                <a:rPr lang="en-GB" sz="1000" err="1">
                  <a:solidFill>
                    <a:srgbClr val="001965">
                      <a:alpha val="100000"/>
                    </a:srgbClr>
                  </a:solidFill>
                  <a:latin typeface="Avenir Next LT Pro"/>
                  <a:cs typeface="Avenir Next LT Pro"/>
                </a:rPr>
                <a:t>Survodutide</a:t>
              </a:r>
              <a:endParaRPr sz="1000">
                <a:solidFill>
                  <a:srgbClr val="001965">
                    <a:alpha val="100000"/>
                  </a:srgbClr>
                </a:solidFill>
                <a:latin typeface="Avenir Next LT Pro"/>
                <a:cs typeface="Avenir Next LT Pro"/>
              </a:endParaRPr>
            </a:p>
          </p:txBody>
        </p:sp>
        <p:sp>
          <p:nvSpPr>
            <p:cNvPr id="9632" name="tx587">
              <a:extLst>
                <a:ext uri="{FF2B5EF4-FFF2-40B4-BE49-F238E27FC236}">
                  <a16:creationId xmlns:a16="http://schemas.microsoft.com/office/drawing/2014/main" id="{5135F54A-CE1E-5B9F-58D2-BB1084A5D029}"/>
                </a:ext>
              </a:extLst>
            </p:cNvPr>
            <p:cNvSpPr/>
            <p:nvPr/>
          </p:nvSpPr>
          <p:spPr>
            <a:xfrm>
              <a:off x="3088791" y="6156809"/>
              <a:ext cx="1552082" cy="72076"/>
            </a:xfrm>
            <a:prstGeom prst="rect">
              <a:avLst/>
            </a:prstGeom>
            <a:noFill/>
          </p:spPr>
          <p:txBody>
            <a:bodyPr wrap="none" lIns="0" tIns="0" rIns="0" bIns="0" anchor="ctr" anchorCtr="1"/>
            <a:lstStyle/>
            <a:p>
              <a:pPr defTabSz="914400">
                <a:lnSpc>
                  <a:spcPts val="720"/>
                </a:lnSpc>
              </a:pPr>
              <a:r>
                <a:rPr lang="en-GB" sz="1000">
                  <a:solidFill>
                    <a:srgbClr val="001965">
                      <a:alpha val="100000"/>
                    </a:srgbClr>
                  </a:solidFill>
                  <a:latin typeface="Avenir Next LT Pro"/>
                  <a:cs typeface="Avenir Next LT Pro"/>
                </a:rPr>
                <a:t>GUB-UCN2 + </a:t>
              </a:r>
              <a:r>
                <a:rPr lang="en-GB" sz="1000" err="1">
                  <a:solidFill>
                    <a:srgbClr val="001965">
                      <a:alpha val="100000"/>
                    </a:srgbClr>
                  </a:solidFill>
                  <a:latin typeface="Avenir Next LT Pro"/>
                  <a:cs typeface="Avenir Next LT Pro"/>
                </a:rPr>
                <a:t>Cagrilintide</a:t>
              </a:r>
              <a:endParaRPr sz="1000">
                <a:solidFill>
                  <a:srgbClr val="001965">
                    <a:alpha val="100000"/>
                  </a:srgbClr>
                </a:solidFill>
                <a:latin typeface="Avenir Next LT Pro"/>
                <a:cs typeface="Avenir Next LT Pro"/>
              </a:endParaRPr>
            </a:p>
          </p:txBody>
        </p:sp>
        <p:sp>
          <p:nvSpPr>
            <p:cNvPr id="9633" name="tx590">
              <a:extLst>
                <a:ext uri="{FF2B5EF4-FFF2-40B4-BE49-F238E27FC236}">
                  <a16:creationId xmlns:a16="http://schemas.microsoft.com/office/drawing/2014/main" id="{6E453D31-A534-89E8-E882-F0F87A2E9701}"/>
                </a:ext>
              </a:extLst>
            </p:cNvPr>
            <p:cNvSpPr/>
            <p:nvPr/>
          </p:nvSpPr>
          <p:spPr>
            <a:xfrm>
              <a:off x="3112824" y="6381502"/>
              <a:ext cx="1552082" cy="72076"/>
            </a:xfrm>
            <a:prstGeom prst="rect">
              <a:avLst/>
            </a:prstGeom>
            <a:noFill/>
          </p:spPr>
          <p:txBody>
            <a:bodyPr wrap="none" lIns="0" tIns="0" rIns="0" bIns="0" anchor="ctr" anchorCtr="1"/>
            <a:lstStyle/>
            <a:p>
              <a:pPr defTabSz="914400">
                <a:lnSpc>
                  <a:spcPts val="720"/>
                </a:lnSpc>
              </a:pPr>
              <a:r>
                <a:rPr lang="en-GB" sz="1000">
                  <a:solidFill>
                    <a:srgbClr val="001965">
                      <a:alpha val="100000"/>
                    </a:srgbClr>
                  </a:solidFill>
                  <a:latin typeface="Avenir Next LT Pro"/>
                  <a:cs typeface="Avenir Next LT Pro"/>
                </a:rPr>
                <a:t>GUB-UCN2 + Semaglutide</a:t>
              </a:r>
              <a:endParaRPr sz="1000">
                <a:solidFill>
                  <a:srgbClr val="001965">
                    <a:alpha val="100000"/>
                  </a:srgbClr>
                </a:solidFill>
                <a:latin typeface="Avenir Next LT Pro"/>
                <a:cs typeface="Avenir Next LT Pro"/>
              </a:endParaRPr>
            </a:p>
          </p:txBody>
        </p:sp>
        <p:sp>
          <p:nvSpPr>
            <p:cNvPr id="9634" name="tx593">
              <a:extLst>
                <a:ext uri="{FF2B5EF4-FFF2-40B4-BE49-F238E27FC236}">
                  <a16:creationId xmlns:a16="http://schemas.microsoft.com/office/drawing/2014/main" id="{FA518338-4F54-76E2-E8DC-4D97F7651483}"/>
                </a:ext>
              </a:extLst>
            </p:cNvPr>
            <p:cNvSpPr/>
            <p:nvPr/>
          </p:nvSpPr>
          <p:spPr>
            <a:xfrm>
              <a:off x="3088791" y="6583746"/>
              <a:ext cx="1552082" cy="72076"/>
            </a:xfrm>
            <a:prstGeom prst="rect">
              <a:avLst/>
            </a:prstGeom>
            <a:noFill/>
          </p:spPr>
          <p:txBody>
            <a:bodyPr wrap="none" lIns="0" tIns="0" rIns="0" bIns="0" anchor="ctr" anchorCtr="1"/>
            <a:lstStyle/>
            <a:p>
              <a:pPr defTabSz="914400">
                <a:lnSpc>
                  <a:spcPts val="720"/>
                </a:lnSpc>
              </a:pPr>
              <a:r>
                <a:rPr lang="en-GB" sz="1000">
                  <a:solidFill>
                    <a:srgbClr val="001965">
                      <a:alpha val="100000"/>
                    </a:srgbClr>
                  </a:solidFill>
                  <a:latin typeface="Avenir Next LT Pro"/>
                  <a:cs typeface="Avenir Next LT Pro"/>
                </a:rPr>
                <a:t>GUB-UCN2 + </a:t>
              </a:r>
              <a:r>
                <a:rPr lang="en-GB" sz="1000" err="1">
                  <a:solidFill>
                    <a:srgbClr val="001965">
                      <a:alpha val="100000"/>
                    </a:srgbClr>
                  </a:solidFill>
                  <a:latin typeface="Avenir Next LT Pro"/>
                  <a:cs typeface="Avenir Next LT Pro"/>
                </a:rPr>
                <a:t>Survodutide</a:t>
              </a:r>
              <a:endParaRPr sz="1000">
                <a:solidFill>
                  <a:srgbClr val="001965">
                    <a:alpha val="100000"/>
                  </a:srgbClr>
                </a:solidFill>
                <a:latin typeface="Avenir Next LT Pro"/>
                <a:cs typeface="Avenir Next LT Pro"/>
              </a:endParaRPr>
            </a:p>
          </p:txBody>
        </p:sp>
      </p:grpSp>
      <p:grpSp>
        <p:nvGrpSpPr>
          <p:cNvPr id="11635" name="Group 11634">
            <a:extLst>
              <a:ext uri="{FF2B5EF4-FFF2-40B4-BE49-F238E27FC236}">
                <a16:creationId xmlns:a16="http://schemas.microsoft.com/office/drawing/2014/main" id="{9D23DE17-C697-F549-D680-EA7FAB2ECFF1}"/>
              </a:ext>
            </a:extLst>
          </p:cNvPr>
          <p:cNvGrpSpPr/>
          <p:nvPr/>
        </p:nvGrpSpPr>
        <p:grpSpPr>
          <a:xfrm>
            <a:off x="4563054" y="3296945"/>
            <a:ext cx="3203277" cy="3142396"/>
            <a:chOff x="4653287" y="3207541"/>
            <a:chExt cx="3203277" cy="3142396"/>
          </a:xfrm>
        </p:grpSpPr>
        <p:sp>
          <p:nvSpPr>
            <p:cNvPr id="9660" name="rc4">
              <a:extLst>
                <a:ext uri="{FF2B5EF4-FFF2-40B4-BE49-F238E27FC236}">
                  <a16:creationId xmlns:a16="http://schemas.microsoft.com/office/drawing/2014/main" id="{4FDC7F83-FD56-B409-A596-BBCFA14F2972}"/>
                </a:ext>
              </a:extLst>
            </p:cNvPr>
            <p:cNvSpPr/>
            <p:nvPr/>
          </p:nvSpPr>
          <p:spPr>
            <a:xfrm>
              <a:off x="4680237" y="3310834"/>
              <a:ext cx="3176327" cy="3039103"/>
            </a:xfrm>
            <a:prstGeom prst="rect">
              <a:avLst/>
            </a:prstGeom>
          </p:spPr>
          <p:txBody>
            <a:bodyPr/>
            <a:lstStyle/>
            <a:p>
              <a:pPr defTabSz="914400"/>
              <a:endParaRPr>
                <a:solidFill>
                  <a:srgbClr val="001965"/>
                </a:solidFill>
                <a:latin typeface="Avenir Next LT Pro"/>
              </a:endParaRPr>
            </a:p>
          </p:txBody>
        </p:sp>
        <p:sp>
          <p:nvSpPr>
            <p:cNvPr id="9661" name="rc5">
              <a:extLst>
                <a:ext uri="{FF2B5EF4-FFF2-40B4-BE49-F238E27FC236}">
                  <a16:creationId xmlns:a16="http://schemas.microsoft.com/office/drawing/2014/main" id="{B90FD5F8-CBEF-F3F1-BB62-F75D711D0505}"/>
                </a:ext>
              </a:extLst>
            </p:cNvPr>
            <p:cNvSpPr/>
            <p:nvPr/>
          </p:nvSpPr>
          <p:spPr>
            <a:xfrm>
              <a:off x="5102038" y="3469612"/>
              <a:ext cx="2754526" cy="1658480"/>
            </a:xfrm>
            <a:prstGeom prst="rect">
              <a:avLst/>
            </a:prstGeom>
          </p:spPr>
          <p:txBody>
            <a:bodyPr/>
            <a:lstStyle/>
            <a:p>
              <a:pPr defTabSz="914400"/>
              <a:endParaRPr>
                <a:solidFill>
                  <a:srgbClr val="001965"/>
                </a:solidFill>
                <a:latin typeface="Avenir Next LT Pro"/>
              </a:endParaRPr>
            </a:p>
          </p:txBody>
        </p:sp>
        <p:sp>
          <p:nvSpPr>
            <p:cNvPr id="9662" name="rc6">
              <a:extLst>
                <a:ext uri="{FF2B5EF4-FFF2-40B4-BE49-F238E27FC236}">
                  <a16:creationId xmlns:a16="http://schemas.microsoft.com/office/drawing/2014/main" id="{0955BCE4-1270-B687-141B-5292547C564C}"/>
                </a:ext>
              </a:extLst>
            </p:cNvPr>
            <p:cNvSpPr/>
            <p:nvPr/>
          </p:nvSpPr>
          <p:spPr>
            <a:xfrm>
              <a:off x="5186017" y="3957257"/>
              <a:ext cx="235142" cy="341595"/>
            </a:xfrm>
            <a:prstGeom prst="rect">
              <a:avLst/>
            </a:prstGeom>
            <a:solidFill>
              <a:srgbClr val="2E2E2E">
                <a:alpha val="100000"/>
              </a:srgbClr>
            </a:solidFill>
            <a:ln w="13550" cap="flat">
              <a:solidFill>
                <a:srgbClr val="2E2E2E">
                  <a:alpha val="100000"/>
                </a:srgbClr>
              </a:solidFill>
              <a:prstDash val="solid"/>
              <a:miter/>
            </a:ln>
          </p:spPr>
          <p:txBody>
            <a:bodyPr/>
            <a:lstStyle/>
            <a:p>
              <a:pPr defTabSz="914400"/>
              <a:endParaRPr>
                <a:solidFill>
                  <a:srgbClr val="001965"/>
                </a:solidFill>
                <a:latin typeface="Avenir Next LT Pro"/>
              </a:endParaRPr>
            </a:p>
          </p:txBody>
        </p:sp>
        <p:sp>
          <p:nvSpPr>
            <p:cNvPr id="9663" name="rc7">
              <a:extLst>
                <a:ext uri="{FF2B5EF4-FFF2-40B4-BE49-F238E27FC236}">
                  <a16:creationId xmlns:a16="http://schemas.microsoft.com/office/drawing/2014/main" id="{E8509F02-AC79-9439-5779-0F50EEC486C8}"/>
                </a:ext>
              </a:extLst>
            </p:cNvPr>
            <p:cNvSpPr/>
            <p:nvPr/>
          </p:nvSpPr>
          <p:spPr>
            <a:xfrm>
              <a:off x="5521934" y="3589257"/>
              <a:ext cx="235142" cy="709596"/>
            </a:xfrm>
            <a:prstGeom prst="rect">
              <a:avLst/>
            </a:prstGeom>
            <a:solidFill>
              <a:srgbClr val="00DF86">
                <a:alpha val="100000"/>
              </a:srgbClr>
            </a:solidFill>
            <a:ln w="13550" cap="flat">
              <a:solidFill>
                <a:srgbClr val="00DF86">
                  <a:alpha val="100000"/>
                </a:srgbClr>
              </a:solidFill>
              <a:prstDash val="solid"/>
              <a:miter/>
            </a:ln>
          </p:spPr>
          <p:txBody>
            <a:bodyPr/>
            <a:lstStyle/>
            <a:p>
              <a:pPr defTabSz="914400"/>
              <a:endParaRPr>
                <a:solidFill>
                  <a:srgbClr val="001965"/>
                </a:solidFill>
                <a:latin typeface="Avenir Next LT Pro"/>
              </a:endParaRPr>
            </a:p>
          </p:txBody>
        </p:sp>
        <p:sp>
          <p:nvSpPr>
            <p:cNvPr id="9728" name="rc8">
              <a:extLst>
                <a:ext uri="{FF2B5EF4-FFF2-40B4-BE49-F238E27FC236}">
                  <a16:creationId xmlns:a16="http://schemas.microsoft.com/office/drawing/2014/main" id="{0F163352-568D-BA34-6206-0526641500AD}"/>
                </a:ext>
              </a:extLst>
            </p:cNvPr>
            <p:cNvSpPr/>
            <p:nvPr/>
          </p:nvSpPr>
          <p:spPr>
            <a:xfrm>
              <a:off x="5857853" y="4298853"/>
              <a:ext cx="235142" cy="63786"/>
            </a:xfrm>
            <a:prstGeom prst="rect">
              <a:avLst/>
            </a:prstGeom>
            <a:solidFill>
              <a:srgbClr val="48D9E8">
                <a:alpha val="100000"/>
              </a:srgbClr>
            </a:solidFill>
            <a:ln w="13550" cap="flat">
              <a:solidFill>
                <a:srgbClr val="48D9E8">
                  <a:alpha val="100000"/>
                </a:srgbClr>
              </a:solidFill>
              <a:prstDash val="solid"/>
              <a:miter/>
            </a:ln>
          </p:spPr>
          <p:txBody>
            <a:bodyPr/>
            <a:lstStyle/>
            <a:p>
              <a:pPr defTabSz="914400"/>
              <a:endParaRPr>
                <a:solidFill>
                  <a:srgbClr val="001965"/>
                </a:solidFill>
                <a:latin typeface="Avenir Next LT Pro"/>
              </a:endParaRPr>
            </a:p>
          </p:txBody>
        </p:sp>
        <p:sp>
          <p:nvSpPr>
            <p:cNvPr id="9729" name="rc9">
              <a:extLst>
                <a:ext uri="{FF2B5EF4-FFF2-40B4-BE49-F238E27FC236}">
                  <a16:creationId xmlns:a16="http://schemas.microsoft.com/office/drawing/2014/main" id="{9DA6CF05-75B2-2116-B238-FE60F1A0528E}"/>
                </a:ext>
              </a:extLst>
            </p:cNvPr>
            <p:cNvSpPr/>
            <p:nvPr/>
          </p:nvSpPr>
          <p:spPr>
            <a:xfrm>
              <a:off x="6193771" y="4298853"/>
              <a:ext cx="235142" cy="83260"/>
            </a:xfrm>
            <a:prstGeom prst="rect">
              <a:avLst/>
            </a:prstGeom>
            <a:solidFill>
              <a:srgbClr val="745DAD">
                <a:alpha val="100000"/>
              </a:srgbClr>
            </a:solidFill>
            <a:ln w="13550" cap="flat">
              <a:solidFill>
                <a:srgbClr val="745DAD">
                  <a:alpha val="100000"/>
                </a:srgbClr>
              </a:solidFill>
              <a:prstDash val="solid"/>
              <a:miter/>
            </a:ln>
          </p:spPr>
          <p:txBody>
            <a:bodyPr/>
            <a:lstStyle/>
            <a:p>
              <a:pPr defTabSz="914400"/>
              <a:endParaRPr>
                <a:solidFill>
                  <a:srgbClr val="001965"/>
                </a:solidFill>
                <a:latin typeface="Avenir Next LT Pro"/>
              </a:endParaRPr>
            </a:p>
          </p:txBody>
        </p:sp>
        <p:sp>
          <p:nvSpPr>
            <p:cNvPr id="9730" name="rc10">
              <a:extLst>
                <a:ext uri="{FF2B5EF4-FFF2-40B4-BE49-F238E27FC236}">
                  <a16:creationId xmlns:a16="http://schemas.microsoft.com/office/drawing/2014/main" id="{6E14130E-1643-2169-7E16-6098CAA9F81E}"/>
                </a:ext>
              </a:extLst>
            </p:cNvPr>
            <p:cNvSpPr/>
            <p:nvPr/>
          </p:nvSpPr>
          <p:spPr>
            <a:xfrm>
              <a:off x="6529688" y="4298853"/>
              <a:ext cx="235142" cy="494435"/>
            </a:xfrm>
            <a:prstGeom prst="rect">
              <a:avLst/>
            </a:prstGeom>
            <a:solidFill>
              <a:srgbClr val="F3F44D">
                <a:alpha val="100000"/>
              </a:srgbClr>
            </a:solidFill>
            <a:ln w="13550" cap="flat">
              <a:solidFill>
                <a:srgbClr val="F3F44D">
                  <a:alpha val="100000"/>
                </a:srgbClr>
              </a:solidFill>
              <a:prstDash val="solid"/>
              <a:miter/>
            </a:ln>
          </p:spPr>
          <p:txBody>
            <a:bodyPr/>
            <a:lstStyle/>
            <a:p>
              <a:pPr defTabSz="914400"/>
              <a:endParaRPr>
                <a:solidFill>
                  <a:srgbClr val="001965"/>
                </a:solidFill>
                <a:latin typeface="Avenir Next LT Pro"/>
              </a:endParaRPr>
            </a:p>
          </p:txBody>
        </p:sp>
        <p:sp>
          <p:nvSpPr>
            <p:cNvPr id="9731" name="rc11">
              <a:extLst>
                <a:ext uri="{FF2B5EF4-FFF2-40B4-BE49-F238E27FC236}">
                  <a16:creationId xmlns:a16="http://schemas.microsoft.com/office/drawing/2014/main" id="{EE059119-E1F1-500D-3A29-E5AEAE7D2C46}"/>
                </a:ext>
              </a:extLst>
            </p:cNvPr>
            <p:cNvSpPr/>
            <p:nvPr/>
          </p:nvSpPr>
          <p:spPr>
            <a:xfrm>
              <a:off x="6865607" y="4025670"/>
              <a:ext cx="235142" cy="273182"/>
            </a:xfrm>
            <a:prstGeom prst="rect">
              <a:avLst/>
            </a:prstGeom>
            <a:solidFill>
              <a:srgbClr val="48B0D8">
                <a:alpha val="100000"/>
              </a:srgbClr>
            </a:solidFill>
            <a:ln w="13550" cap="flat">
              <a:solidFill>
                <a:srgbClr val="48B0D8">
                  <a:alpha val="100000"/>
                </a:srgbClr>
              </a:solidFill>
              <a:prstDash val="solid"/>
              <a:miter/>
            </a:ln>
          </p:spPr>
          <p:txBody>
            <a:bodyPr/>
            <a:lstStyle/>
            <a:p>
              <a:pPr defTabSz="914400"/>
              <a:endParaRPr>
                <a:solidFill>
                  <a:srgbClr val="001965"/>
                </a:solidFill>
                <a:latin typeface="Avenir Next LT Pro"/>
              </a:endParaRPr>
            </a:p>
          </p:txBody>
        </p:sp>
        <p:sp>
          <p:nvSpPr>
            <p:cNvPr id="9732" name="rc12">
              <a:extLst>
                <a:ext uri="{FF2B5EF4-FFF2-40B4-BE49-F238E27FC236}">
                  <a16:creationId xmlns:a16="http://schemas.microsoft.com/office/drawing/2014/main" id="{979251C8-C8AF-2E66-71C4-2F24815EFAE4}"/>
                </a:ext>
              </a:extLst>
            </p:cNvPr>
            <p:cNvSpPr/>
            <p:nvPr/>
          </p:nvSpPr>
          <p:spPr>
            <a:xfrm>
              <a:off x="7201525" y="3973830"/>
              <a:ext cx="235142" cy="325023"/>
            </a:xfrm>
            <a:prstGeom prst="rect">
              <a:avLst/>
            </a:prstGeom>
            <a:solidFill>
              <a:srgbClr val="2878FF">
                <a:alpha val="100000"/>
              </a:srgbClr>
            </a:solidFill>
            <a:ln w="13550" cap="flat">
              <a:solidFill>
                <a:srgbClr val="2878FF">
                  <a:alpha val="100000"/>
                </a:srgbClr>
              </a:solidFill>
              <a:prstDash val="solid"/>
              <a:miter/>
            </a:ln>
          </p:spPr>
          <p:txBody>
            <a:bodyPr/>
            <a:lstStyle/>
            <a:p>
              <a:pPr defTabSz="914400"/>
              <a:endParaRPr>
                <a:solidFill>
                  <a:srgbClr val="001965"/>
                </a:solidFill>
                <a:latin typeface="Avenir Next LT Pro"/>
              </a:endParaRPr>
            </a:p>
          </p:txBody>
        </p:sp>
        <p:sp>
          <p:nvSpPr>
            <p:cNvPr id="9733" name="rc13">
              <a:extLst>
                <a:ext uri="{FF2B5EF4-FFF2-40B4-BE49-F238E27FC236}">
                  <a16:creationId xmlns:a16="http://schemas.microsoft.com/office/drawing/2014/main" id="{A557D4EA-1D5A-2EFD-FC4C-CA3B36C33CC1}"/>
                </a:ext>
              </a:extLst>
            </p:cNvPr>
            <p:cNvSpPr/>
            <p:nvPr/>
          </p:nvSpPr>
          <p:spPr>
            <a:xfrm>
              <a:off x="7537442" y="4298853"/>
              <a:ext cx="235142" cy="78531"/>
            </a:xfrm>
            <a:prstGeom prst="rect">
              <a:avLst/>
            </a:prstGeom>
            <a:solidFill>
              <a:srgbClr val="E2B22C">
                <a:alpha val="100000"/>
              </a:srgbClr>
            </a:solidFill>
            <a:ln w="13550" cap="flat">
              <a:solidFill>
                <a:srgbClr val="E2B22C">
                  <a:alpha val="100000"/>
                </a:srgbClr>
              </a:solidFill>
              <a:prstDash val="solid"/>
              <a:miter/>
            </a:ln>
          </p:spPr>
          <p:txBody>
            <a:bodyPr/>
            <a:lstStyle/>
            <a:p>
              <a:pPr defTabSz="914400"/>
              <a:endParaRPr>
                <a:solidFill>
                  <a:srgbClr val="001965"/>
                </a:solidFill>
                <a:latin typeface="Avenir Next LT Pro"/>
              </a:endParaRPr>
            </a:p>
          </p:txBody>
        </p:sp>
        <p:sp>
          <p:nvSpPr>
            <p:cNvPr id="9734" name="pl14">
              <a:extLst>
                <a:ext uri="{FF2B5EF4-FFF2-40B4-BE49-F238E27FC236}">
                  <a16:creationId xmlns:a16="http://schemas.microsoft.com/office/drawing/2014/main" id="{67BEE6B3-37C0-FF22-A2F1-78231133CE48}"/>
                </a:ext>
              </a:extLst>
            </p:cNvPr>
            <p:cNvSpPr/>
            <p:nvPr/>
          </p:nvSpPr>
          <p:spPr>
            <a:xfrm>
              <a:off x="5219609" y="3860689"/>
              <a:ext cx="167959" cy="0"/>
            </a:xfrm>
            <a:custGeom>
              <a:avLst/>
              <a:gdLst/>
              <a:ahLst/>
              <a:cxnLst/>
              <a:rect l="0" t="0" r="0" b="0"/>
              <a:pathLst>
                <a:path w="131707">
                  <a:moveTo>
                    <a:pt x="0" y="0"/>
                  </a:moveTo>
                  <a:lnTo>
                    <a:pt x="131707" y="0"/>
                  </a:lnTo>
                </a:path>
              </a:pathLst>
            </a:custGeom>
            <a:ln w="5962"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9735" name="pl15">
              <a:extLst>
                <a:ext uri="{FF2B5EF4-FFF2-40B4-BE49-F238E27FC236}">
                  <a16:creationId xmlns:a16="http://schemas.microsoft.com/office/drawing/2014/main" id="{860D85BB-C821-3B5F-EADB-B144C82054DF}"/>
                </a:ext>
              </a:extLst>
            </p:cNvPr>
            <p:cNvSpPr/>
            <p:nvPr/>
          </p:nvSpPr>
          <p:spPr>
            <a:xfrm>
              <a:off x="5303589" y="3860689"/>
              <a:ext cx="0" cy="193136"/>
            </a:xfrm>
            <a:custGeom>
              <a:avLst/>
              <a:gdLst/>
              <a:ahLst/>
              <a:cxnLst/>
              <a:rect l="0" t="0" r="0" b="0"/>
              <a:pathLst>
                <a:path h="167693">
                  <a:moveTo>
                    <a:pt x="0" y="0"/>
                  </a:moveTo>
                  <a:lnTo>
                    <a:pt x="0" y="167693"/>
                  </a:lnTo>
                </a:path>
              </a:pathLst>
            </a:custGeom>
            <a:ln w="5962"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9736" name="pl16">
              <a:extLst>
                <a:ext uri="{FF2B5EF4-FFF2-40B4-BE49-F238E27FC236}">
                  <a16:creationId xmlns:a16="http://schemas.microsoft.com/office/drawing/2014/main" id="{810147E6-F609-F4EC-AFDA-FC06D0F1396D}"/>
                </a:ext>
              </a:extLst>
            </p:cNvPr>
            <p:cNvSpPr/>
            <p:nvPr/>
          </p:nvSpPr>
          <p:spPr>
            <a:xfrm>
              <a:off x="5219609" y="4053826"/>
              <a:ext cx="167959" cy="0"/>
            </a:xfrm>
            <a:custGeom>
              <a:avLst/>
              <a:gdLst/>
              <a:ahLst/>
              <a:cxnLst/>
              <a:rect l="0" t="0" r="0" b="0"/>
              <a:pathLst>
                <a:path w="131707">
                  <a:moveTo>
                    <a:pt x="0" y="0"/>
                  </a:moveTo>
                  <a:lnTo>
                    <a:pt x="131707" y="0"/>
                  </a:lnTo>
                </a:path>
              </a:pathLst>
            </a:custGeom>
            <a:ln w="5962"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9737" name="pl17">
              <a:extLst>
                <a:ext uri="{FF2B5EF4-FFF2-40B4-BE49-F238E27FC236}">
                  <a16:creationId xmlns:a16="http://schemas.microsoft.com/office/drawing/2014/main" id="{7E2FBF96-E8AF-F708-DB54-6A9727357084}"/>
                </a:ext>
              </a:extLst>
            </p:cNvPr>
            <p:cNvSpPr/>
            <p:nvPr/>
          </p:nvSpPr>
          <p:spPr>
            <a:xfrm>
              <a:off x="5555527" y="3548802"/>
              <a:ext cx="167959" cy="0"/>
            </a:xfrm>
            <a:custGeom>
              <a:avLst/>
              <a:gdLst/>
              <a:ahLst/>
              <a:cxnLst/>
              <a:rect l="0" t="0" r="0" b="0"/>
              <a:pathLst>
                <a:path w="131707">
                  <a:moveTo>
                    <a:pt x="0" y="0"/>
                  </a:moveTo>
                  <a:lnTo>
                    <a:pt x="131707" y="0"/>
                  </a:lnTo>
                </a:path>
              </a:pathLst>
            </a:custGeom>
            <a:ln w="5962"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9738" name="pl18">
              <a:extLst>
                <a:ext uri="{FF2B5EF4-FFF2-40B4-BE49-F238E27FC236}">
                  <a16:creationId xmlns:a16="http://schemas.microsoft.com/office/drawing/2014/main" id="{EE3F0C75-A170-463E-EAB8-7A413D553825}"/>
                </a:ext>
              </a:extLst>
            </p:cNvPr>
            <p:cNvSpPr/>
            <p:nvPr/>
          </p:nvSpPr>
          <p:spPr>
            <a:xfrm>
              <a:off x="5639507" y="3548802"/>
              <a:ext cx="0" cy="80906"/>
            </a:xfrm>
            <a:custGeom>
              <a:avLst/>
              <a:gdLst/>
              <a:ahLst/>
              <a:cxnLst/>
              <a:rect l="0" t="0" r="0" b="0"/>
              <a:pathLst>
                <a:path h="70248">
                  <a:moveTo>
                    <a:pt x="0" y="0"/>
                  </a:moveTo>
                  <a:lnTo>
                    <a:pt x="0" y="70248"/>
                  </a:lnTo>
                </a:path>
              </a:pathLst>
            </a:custGeom>
            <a:ln w="5962"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9739" name="pl19">
              <a:extLst>
                <a:ext uri="{FF2B5EF4-FFF2-40B4-BE49-F238E27FC236}">
                  <a16:creationId xmlns:a16="http://schemas.microsoft.com/office/drawing/2014/main" id="{5DCE3A99-1869-55B9-33B5-82CBB2537145}"/>
                </a:ext>
              </a:extLst>
            </p:cNvPr>
            <p:cNvSpPr/>
            <p:nvPr/>
          </p:nvSpPr>
          <p:spPr>
            <a:xfrm>
              <a:off x="5555527" y="3629710"/>
              <a:ext cx="167959" cy="0"/>
            </a:xfrm>
            <a:custGeom>
              <a:avLst/>
              <a:gdLst/>
              <a:ahLst/>
              <a:cxnLst/>
              <a:rect l="0" t="0" r="0" b="0"/>
              <a:pathLst>
                <a:path w="131707">
                  <a:moveTo>
                    <a:pt x="0" y="0"/>
                  </a:moveTo>
                  <a:lnTo>
                    <a:pt x="131707" y="0"/>
                  </a:lnTo>
                </a:path>
              </a:pathLst>
            </a:custGeom>
            <a:ln w="5962"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9740" name="pl20">
              <a:extLst>
                <a:ext uri="{FF2B5EF4-FFF2-40B4-BE49-F238E27FC236}">
                  <a16:creationId xmlns:a16="http://schemas.microsoft.com/office/drawing/2014/main" id="{0BAB9F38-3CFF-3D84-DC16-A6D8A8E2BFF8}"/>
                </a:ext>
              </a:extLst>
            </p:cNvPr>
            <p:cNvSpPr/>
            <p:nvPr/>
          </p:nvSpPr>
          <p:spPr>
            <a:xfrm>
              <a:off x="5891444" y="4293690"/>
              <a:ext cx="167959" cy="0"/>
            </a:xfrm>
            <a:custGeom>
              <a:avLst/>
              <a:gdLst/>
              <a:ahLst/>
              <a:cxnLst/>
              <a:rect l="0" t="0" r="0" b="0"/>
              <a:pathLst>
                <a:path w="131707">
                  <a:moveTo>
                    <a:pt x="0" y="0"/>
                  </a:moveTo>
                  <a:lnTo>
                    <a:pt x="131707" y="0"/>
                  </a:lnTo>
                </a:path>
              </a:pathLst>
            </a:custGeom>
            <a:ln w="5962"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9741" name="pl21">
              <a:extLst>
                <a:ext uri="{FF2B5EF4-FFF2-40B4-BE49-F238E27FC236}">
                  <a16:creationId xmlns:a16="http://schemas.microsoft.com/office/drawing/2014/main" id="{6A2570B2-A1AC-8CB6-E632-E2E0B3CBA4F0}"/>
                </a:ext>
              </a:extLst>
            </p:cNvPr>
            <p:cNvSpPr/>
            <p:nvPr/>
          </p:nvSpPr>
          <p:spPr>
            <a:xfrm>
              <a:off x="5975424" y="4293690"/>
              <a:ext cx="0" cy="137900"/>
            </a:xfrm>
            <a:custGeom>
              <a:avLst/>
              <a:gdLst/>
              <a:ahLst/>
              <a:cxnLst/>
              <a:rect l="0" t="0" r="0" b="0"/>
              <a:pathLst>
                <a:path h="119734">
                  <a:moveTo>
                    <a:pt x="0" y="0"/>
                  </a:moveTo>
                  <a:lnTo>
                    <a:pt x="0" y="119734"/>
                  </a:lnTo>
                </a:path>
              </a:pathLst>
            </a:custGeom>
            <a:ln w="5962"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9742" name="pl22">
              <a:extLst>
                <a:ext uri="{FF2B5EF4-FFF2-40B4-BE49-F238E27FC236}">
                  <a16:creationId xmlns:a16="http://schemas.microsoft.com/office/drawing/2014/main" id="{951EB6A7-9165-328F-EF40-3FF4FB4C05A8}"/>
                </a:ext>
              </a:extLst>
            </p:cNvPr>
            <p:cNvSpPr/>
            <p:nvPr/>
          </p:nvSpPr>
          <p:spPr>
            <a:xfrm>
              <a:off x="5891444" y="4431590"/>
              <a:ext cx="167959" cy="0"/>
            </a:xfrm>
            <a:custGeom>
              <a:avLst/>
              <a:gdLst/>
              <a:ahLst/>
              <a:cxnLst/>
              <a:rect l="0" t="0" r="0" b="0"/>
              <a:pathLst>
                <a:path w="131707">
                  <a:moveTo>
                    <a:pt x="0" y="0"/>
                  </a:moveTo>
                  <a:lnTo>
                    <a:pt x="131707" y="0"/>
                  </a:lnTo>
                </a:path>
              </a:pathLst>
            </a:custGeom>
            <a:ln w="5962"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9743" name="pl23">
              <a:extLst>
                <a:ext uri="{FF2B5EF4-FFF2-40B4-BE49-F238E27FC236}">
                  <a16:creationId xmlns:a16="http://schemas.microsoft.com/office/drawing/2014/main" id="{36E04D78-5180-D0F4-6B7B-AB32136B8F01}"/>
                </a:ext>
              </a:extLst>
            </p:cNvPr>
            <p:cNvSpPr/>
            <p:nvPr/>
          </p:nvSpPr>
          <p:spPr>
            <a:xfrm>
              <a:off x="6227362" y="4324685"/>
              <a:ext cx="167959" cy="0"/>
            </a:xfrm>
            <a:custGeom>
              <a:avLst/>
              <a:gdLst/>
              <a:ahLst/>
              <a:cxnLst/>
              <a:rect l="0" t="0" r="0" b="0"/>
              <a:pathLst>
                <a:path w="131707">
                  <a:moveTo>
                    <a:pt x="0" y="0"/>
                  </a:moveTo>
                  <a:lnTo>
                    <a:pt x="131707" y="0"/>
                  </a:lnTo>
                </a:path>
              </a:pathLst>
            </a:custGeom>
            <a:ln w="5962"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9744" name="pl24">
              <a:extLst>
                <a:ext uri="{FF2B5EF4-FFF2-40B4-BE49-F238E27FC236}">
                  <a16:creationId xmlns:a16="http://schemas.microsoft.com/office/drawing/2014/main" id="{27B4B813-977D-5EE6-3615-603F6E3EF066}"/>
                </a:ext>
              </a:extLst>
            </p:cNvPr>
            <p:cNvSpPr/>
            <p:nvPr/>
          </p:nvSpPr>
          <p:spPr>
            <a:xfrm>
              <a:off x="6311342" y="4324685"/>
              <a:ext cx="0" cy="114857"/>
            </a:xfrm>
            <a:custGeom>
              <a:avLst/>
              <a:gdLst/>
              <a:ahLst/>
              <a:cxnLst/>
              <a:rect l="0" t="0" r="0" b="0"/>
              <a:pathLst>
                <a:path h="99726">
                  <a:moveTo>
                    <a:pt x="0" y="0"/>
                  </a:moveTo>
                  <a:lnTo>
                    <a:pt x="0" y="99726"/>
                  </a:lnTo>
                </a:path>
              </a:pathLst>
            </a:custGeom>
            <a:ln w="5962"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9745" name="pl25">
              <a:extLst>
                <a:ext uri="{FF2B5EF4-FFF2-40B4-BE49-F238E27FC236}">
                  <a16:creationId xmlns:a16="http://schemas.microsoft.com/office/drawing/2014/main" id="{9F75B881-E7C7-7DB2-A4B6-AD72B1276F78}"/>
                </a:ext>
              </a:extLst>
            </p:cNvPr>
            <p:cNvSpPr/>
            <p:nvPr/>
          </p:nvSpPr>
          <p:spPr>
            <a:xfrm>
              <a:off x="6227362" y="4439543"/>
              <a:ext cx="167959" cy="0"/>
            </a:xfrm>
            <a:custGeom>
              <a:avLst/>
              <a:gdLst/>
              <a:ahLst/>
              <a:cxnLst/>
              <a:rect l="0" t="0" r="0" b="0"/>
              <a:pathLst>
                <a:path w="131707">
                  <a:moveTo>
                    <a:pt x="0" y="0"/>
                  </a:moveTo>
                  <a:lnTo>
                    <a:pt x="131707" y="0"/>
                  </a:lnTo>
                </a:path>
              </a:pathLst>
            </a:custGeom>
            <a:ln w="5962"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9746" name="pl26">
              <a:extLst>
                <a:ext uri="{FF2B5EF4-FFF2-40B4-BE49-F238E27FC236}">
                  <a16:creationId xmlns:a16="http://schemas.microsoft.com/office/drawing/2014/main" id="{3E6DFE6F-5749-4025-2893-A0CACC3A2A1A}"/>
                </a:ext>
              </a:extLst>
            </p:cNvPr>
            <p:cNvSpPr/>
            <p:nvPr/>
          </p:nvSpPr>
          <p:spPr>
            <a:xfrm>
              <a:off x="6563281" y="4748150"/>
              <a:ext cx="167959" cy="0"/>
            </a:xfrm>
            <a:custGeom>
              <a:avLst/>
              <a:gdLst/>
              <a:ahLst/>
              <a:cxnLst/>
              <a:rect l="0" t="0" r="0" b="0"/>
              <a:pathLst>
                <a:path w="131707">
                  <a:moveTo>
                    <a:pt x="0" y="0"/>
                  </a:moveTo>
                  <a:lnTo>
                    <a:pt x="131707" y="0"/>
                  </a:lnTo>
                </a:path>
              </a:pathLst>
            </a:custGeom>
            <a:ln w="5962"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9747" name="pl27">
              <a:extLst>
                <a:ext uri="{FF2B5EF4-FFF2-40B4-BE49-F238E27FC236}">
                  <a16:creationId xmlns:a16="http://schemas.microsoft.com/office/drawing/2014/main" id="{582A8E34-C5FB-87CC-5EA4-A943FBA19A17}"/>
                </a:ext>
              </a:extLst>
            </p:cNvPr>
            <p:cNvSpPr/>
            <p:nvPr/>
          </p:nvSpPr>
          <p:spPr>
            <a:xfrm>
              <a:off x="6647259" y="4748150"/>
              <a:ext cx="0" cy="90273"/>
            </a:xfrm>
            <a:custGeom>
              <a:avLst/>
              <a:gdLst/>
              <a:ahLst/>
              <a:cxnLst/>
              <a:rect l="0" t="0" r="0" b="0"/>
              <a:pathLst>
                <a:path h="78381">
                  <a:moveTo>
                    <a:pt x="0" y="0"/>
                  </a:moveTo>
                  <a:lnTo>
                    <a:pt x="0" y="78381"/>
                  </a:lnTo>
                </a:path>
              </a:pathLst>
            </a:custGeom>
            <a:ln w="5962"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9748" name="pl28">
              <a:extLst>
                <a:ext uri="{FF2B5EF4-FFF2-40B4-BE49-F238E27FC236}">
                  <a16:creationId xmlns:a16="http://schemas.microsoft.com/office/drawing/2014/main" id="{7D992AAC-2CAF-4BDA-4E58-BECB863C6753}"/>
                </a:ext>
              </a:extLst>
            </p:cNvPr>
            <p:cNvSpPr/>
            <p:nvPr/>
          </p:nvSpPr>
          <p:spPr>
            <a:xfrm>
              <a:off x="6563281" y="4838425"/>
              <a:ext cx="167959" cy="0"/>
            </a:xfrm>
            <a:custGeom>
              <a:avLst/>
              <a:gdLst/>
              <a:ahLst/>
              <a:cxnLst/>
              <a:rect l="0" t="0" r="0" b="0"/>
              <a:pathLst>
                <a:path w="131707">
                  <a:moveTo>
                    <a:pt x="0" y="0"/>
                  </a:moveTo>
                  <a:lnTo>
                    <a:pt x="131707" y="0"/>
                  </a:lnTo>
                </a:path>
              </a:pathLst>
            </a:custGeom>
            <a:ln w="5962"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9749" name="pl29">
              <a:extLst>
                <a:ext uri="{FF2B5EF4-FFF2-40B4-BE49-F238E27FC236}">
                  <a16:creationId xmlns:a16="http://schemas.microsoft.com/office/drawing/2014/main" id="{6459A2BC-E3A1-B92B-CA1C-F9960101335D}"/>
                </a:ext>
              </a:extLst>
            </p:cNvPr>
            <p:cNvSpPr/>
            <p:nvPr/>
          </p:nvSpPr>
          <p:spPr>
            <a:xfrm>
              <a:off x="6899198" y="3990919"/>
              <a:ext cx="167959" cy="0"/>
            </a:xfrm>
            <a:custGeom>
              <a:avLst/>
              <a:gdLst/>
              <a:ahLst/>
              <a:cxnLst/>
              <a:rect l="0" t="0" r="0" b="0"/>
              <a:pathLst>
                <a:path w="131707">
                  <a:moveTo>
                    <a:pt x="0" y="0"/>
                  </a:moveTo>
                  <a:lnTo>
                    <a:pt x="131707" y="0"/>
                  </a:lnTo>
                </a:path>
              </a:pathLst>
            </a:custGeom>
            <a:ln w="5962"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9750" name="pl30">
              <a:extLst>
                <a:ext uri="{FF2B5EF4-FFF2-40B4-BE49-F238E27FC236}">
                  <a16:creationId xmlns:a16="http://schemas.microsoft.com/office/drawing/2014/main" id="{E090FE16-E639-EA34-1FF8-75905A230549}"/>
                </a:ext>
              </a:extLst>
            </p:cNvPr>
            <p:cNvSpPr/>
            <p:nvPr/>
          </p:nvSpPr>
          <p:spPr>
            <a:xfrm>
              <a:off x="6983178" y="3990919"/>
              <a:ext cx="0" cy="69502"/>
            </a:xfrm>
            <a:custGeom>
              <a:avLst/>
              <a:gdLst/>
              <a:ahLst/>
              <a:cxnLst/>
              <a:rect l="0" t="0" r="0" b="0"/>
              <a:pathLst>
                <a:path h="60346">
                  <a:moveTo>
                    <a:pt x="0" y="0"/>
                  </a:moveTo>
                  <a:lnTo>
                    <a:pt x="0" y="60346"/>
                  </a:lnTo>
                </a:path>
              </a:pathLst>
            </a:custGeom>
            <a:ln w="5962"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9751" name="pl31">
              <a:extLst>
                <a:ext uri="{FF2B5EF4-FFF2-40B4-BE49-F238E27FC236}">
                  <a16:creationId xmlns:a16="http://schemas.microsoft.com/office/drawing/2014/main" id="{9B918758-8C46-D082-9839-EE9519D06CA7}"/>
                </a:ext>
              </a:extLst>
            </p:cNvPr>
            <p:cNvSpPr/>
            <p:nvPr/>
          </p:nvSpPr>
          <p:spPr>
            <a:xfrm>
              <a:off x="6899198" y="4060422"/>
              <a:ext cx="167959" cy="0"/>
            </a:xfrm>
            <a:custGeom>
              <a:avLst/>
              <a:gdLst/>
              <a:ahLst/>
              <a:cxnLst/>
              <a:rect l="0" t="0" r="0" b="0"/>
              <a:pathLst>
                <a:path w="131707">
                  <a:moveTo>
                    <a:pt x="0" y="0"/>
                  </a:moveTo>
                  <a:lnTo>
                    <a:pt x="131707" y="0"/>
                  </a:lnTo>
                </a:path>
              </a:pathLst>
            </a:custGeom>
            <a:ln w="5962"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9752" name="pl32">
              <a:extLst>
                <a:ext uri="{FF2B5EF4-FFF2-40B4-BE49-F238E27FC236}">
                  <a16:creationId xmlns:a16="http://schemas.microsoft.com/office/drawing/2014/main" id="{CE106EEA-DF97-6C1C-6D24-631A939A8FDD}"/>
                </a:ext>
              </a:extLst>
            </p:cNvPr>
            <p:cNvSpPr/>
            <p:nvPr/>
          </p:nvSpPr>
          <p:spPr>
            <a:xfrm>
              <a:off x="7235116" y="3895514"/>
              <a:ext cx="167959" cy="0"/>
            </a:xfrm>
            <a:custGeom>
              <a:avLst/>
              <a:gdLst/>
              <a:ahLst/>
              <a:cxnLst/>
              <a:rect l="0" t="0" r="0" b="0"/>
              <a:pathLst>
                <a:path w="131707">
                  <a:moveTo>
                    <a:pt x="0" y="0"/>
                  </a:moveTo>
                  <a:lnTo>
                    <a:pt x="131707" y="0"/>
                  </a:lnTo>
                </a:path>
              </a:pathLst>
            </a:custGeom>
            <a:ln w="5962"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9753" name="pl33">
              <a:extLst>
                <a:ext uri="{FF2B5EF4-FFF2-40B4-BE49-F238E27FC236}">
                  <a16:creationId xmlns:a16="http://schemas.microsoft.com/office/drawing/2014/main" id="{C5EE08E6-78DF-4BD7-FBB3-1BF27D51AAFD}"/>
                </a:ext>
              </a:extLst>
            </p:cNvPr>
            <p:cNvSpPr/>
            <p:nvPr/>
          </p:nvSpPr>
          <p:spPr>
            <a:xfrm>
              <a:off x="7319096" y="3895514"/>
              <a:ext cx="0" cy="156631"/>
            </a:xfrm>
            <a:custGeom>
              <a:avLst/>
              <a:gdLst/>
              <a:ahLst/>
              <a:cxnLst/>
              <a:rect l="0" t="0" r="0" b="0"/>
              <a:pathLst>
                <a:path h="135997">
                  <a:moveTo>
                    <a:pt x="0" y="0"/>
                  </a:moveTo>
                  <a:lnTo>
                    <a:pt x="0" y="135997"/>
                  </a:lnTo>
                </a:path>
              </a:pathLst>
            </a:custGeom>
            <a:ln w="5962"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9754" name="pl34">
              <a:extLst>
                <a:ext uri="{FF2B5EF4-FFF2-40B4-BE49-F238E27FC236}">
                  <a16:creationId xmlns:a16="http://schemas.microsoft.com/office/drawing/2014/main" id="{EEE66066-7C85-8213-D4DB-86189DCA68DF}"/>
                </a:ext>
              </a:extLst>
            </p:cNvPr>
            <p:cNvSpPr/>
            <p:nvPr/>
          </p:nvSpPr>
          <p:spPr>
            <a:xfrm>
              <a:off x="7235116" y="4052146"/>
              <a:ext cx="167959" cy="0"/>
            </a:xfrm>
            <a:custGeom>
              <a:avLst/>
              <a:gdLst/>
              <a:ahLst/>
              <a:cxnLst/>
              <a:rect l="0" t="0" r="0" b="0"/>
              <a:pathLst>
                <a:path w="131707">
                  <a:moveTo>
                    <a:pt x="0" y="0"/>
                  </a:moveTo>
                  <a:lnTo>
                    <a:pt x="131707" y="0"/>
                  </a:lnTo>
                </a:path>
              </a:pathLst>
            </a:custGeom>
            <a:ln w="5962"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9755" name="pl35">
              <a:extLst>
                <a:ext uri="{FF2B5EF4-FFF2-40B4-BE49-F238E27FC236}">
                  <a16:creationId xmlns:a16="http://schemas.microsoft.com/office/drawing/2014/main" id="{E87436DE-CCA1-84B6-73C1-FE733DFAF964}"/>
                </a:ext>
              </a:extLst>
            </p:cNvPr>
            <p:cNvSpPr/>
            <p:nvPr/>
          </p:nvSpPr>
          <p:spPr>
            <a:xfrm>
              <a:off x="7571034" y="4314768"/>
              <a:ext cx="167959" cy="0"/>
            </a:xfrm>
            <a:custGeom>
              <a:avLst/>
              <a:gdLst/>
              <a:ahLst/>
              <a:cxnLst/>
              <a:rect l="0" t="0" r="0" b="0"/>
              <a:pathLst>
                <a:path w="131707">
                  <a:moveTo>
                    <a:pt x="0" y="0"/>
                  </a:moveTo>
                  <a:lnTo>
                    <a:pt x="131707" y="0"/>
                  </a:lnTo>
                </a:path>
              </a:pathLst>
            </a:custGeom>
            <a:ln w="5962"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9756" name="pl36">
              <a:extLst>
                <a:ext uri="{FF2B5EF4-FFF2-40B4-BE49-F238E27FC236}">
                  <a16:creationId xmlns:a16="http://schemas.microsoft.com/office/drawing/2014/main" id="{0D9DD244-9CC2-0F67-2713-E741D189687C}"/>
                </a:ext>
              </a:extLst>
            </p:cNvPr>
            <p:cNvSpPr/>
            <p:nvPr/>
          </p:nvSpPr>
          <p:spPr>
            <a:xfrm>
              <a:off x="7655013" y="4314768"/>
              <a:ext cx="0" cy="125231"/>
            </a:xfrm>
            <a:custGeom>
              <a:avLst/>
              <a:gdLst/>
              <a:ahLst/>
              <a:cxnLst/>
              <a:rect l="0" t="0" r="0" b="0"/>
              <a:pathLst>
                <a:path h="108734">
                  <a:moveTo>
                    <a:pt x="0" y="0"/>
                  </a:moveTo>
                  <a:lnTo>
                    <a:pt x="0" y="108734"/>
                  </a:lnTo>
                </a:path>
              </a:pathLst>
            </a:custGeom>
            <a:ln w="5962"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9757" name="pl37">
              <a:extLst>
                <a:ext uri="{FF2B5EF4-FFF2-40B4-BE49-F238E27FC236}">
                  <a16:creationId xmlns:a16="http://schemas.microsoft.com/office/drawing/2014/main" id="{F3BAF7C3-B4C2-2B82-1A6C-1B309AEC8F60}"/>
                </a:ext>
              </a:extLst>
            </p:cNvPr>
            <p:cNvSpPr/>
            <p:nvPr/>
          </p:nvSpPr>
          <p:spPr>
            <a:xfrm>
              <a:off x="7571034" y="4440001"/>
              <a:ext cx="167959" cy="0"/>
            </a:xfrm>
            <a:custGeom>
              <a:avLst/>
              <a:gdLst/>
              <a:ahLst/>
              <a:cxnLst/>
              <a:rect l="0" t="0" r="0" b="0"/>
              <a:pathLst>
                <a:path w="131707">
                  <a:moveTo>
                    <a:pt x="0" y="0"/>
                  </a:moveTo>
                  <a:lnTo>
                    <a:pt x="131707" y="0"/>
                  </a:lnTo>
                </a:path>
              </a:pathLst>
            </a:custGeom>
            <a:ln w="5962"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9758" name="tx38">
              <a:extLst>
                <a:ext uri="{FF2B5EF4-FFF2-40B4-BE49-F238E27FC236}">
                  <a16:creationId xmlns:a16="http://schemas.microsoft.com/office/drawing/2014/main" id="{BE745A41-0F78-C408-1635-F15D70F28BA7}"/>
                </a:ext>
              </a:extLst>
            </p:cNvPr>
            <p:cNvSpPr/>
            <p:nvPr/>
          </p:nvSpPr>
          <p:spPr>
            <a:xfrm>
              <a:off x="5540860" y="3463677"/>
              <a:ext cx="197292" cy="47621"/>
            </a:xfrm>
            <a:prstGeom prst="rect">
              <a:avLst/>
            </a:prstGeom>
            <a:noFill/>
          </p:spPr>
          <p:txBody>
            <a:bodyPr wrap="none" lIns="0" tIns="0" rIns="0" bIns="0" anchor="ctr" anchorCtr="1"/>
            <a:lstStyle/>
            <a:p>
              <a:pPr defTabSz="914400">
                <a:lnSpc>
                  <a:spcPts val="914"/>
                </a:lnSpc>
              </a:pPr>
              <a:r>
                <a:rPr sz="914">
                  <a:solidFill>
                    <a:srgbClr val="00DF86">
                      <a:alpha val="100000"/>
                    </a:srgbClr>
                  </a:solidFill>
                  <a:latin typeface="Avenir Next LT Pro"/>
                  <a:cs typeface="Avenir Next LT Pro"/>
                </a:rPr>
                <a:t>***</a:t>
              </a:r>
            </a:p>
          </p:txBody>
        </p:sp>
        <p:sp>
          <p:nvSpPr>
            <p:cNvPr id="9759" name="tx39">
              <a:extLst>
                <a:ext uri="{FF2B5EF4-FFF2-40B4-BE49-F238E27FC236}">
                  <a16:creationId xmlns:a16="http://schemas.microsoft.com/office/drawing/2014/main" id="{6240FE41-4354-D3DE-33B8-63F494C98CCC}"/>
                </a:ext>
              </a:extLst>
            </p:cNvPr>
            <p:cNvSpPr/>
            <p:nvPr/>
          </p:nvSpPr>
          <p:spPr>
            <a:xfrm>
              <a:off x="5876777" y="4524390"/>
              <a:ext cx="197292" cy="47621"/>
            </a:xfrm>
            <a:prstGeom prst="rect">
              <a:avLst/>
            </a:prstGeom>
            <a:noFill/>
          </p:spPr>
          <p:txBody>
            <a:bodyPr wrap="none" lIns="0" tIns="0" rIns="0" bIns="0" anchor="ctr" anchorCtr="1"/>
            <a:lstStyle/>
            <a:p>
              <a:pPr defTabSz="914400">
                <a:lnSpc>
                  <a:spcPts val="914"/>
                </a:lnSpc>
              </a:pPr>
              <a:r>
                <a:rPr sz="914">
                  <a:solidFill>
                    <a:srgbClr val="48D9E8">
                      <a:alpha val="100000"/>
                    </a:srgbClr>
                  </a:solidFill>
                  <a:latin typeface="Avenir Next LT Pro"/>
                  <a:cs typeface="Avenir Next LT Pro"/>
                </a:rPr>
                <a:t>***</a:t>
              </a:r>
            </a:p>
          </p:txBody>
        </p:sp>
        <p:sp>
          <p:nvSpPr>
            <p:cNvPr id="9760" name="tx40">
              <a:extLst>
                <a:ext uri="{FF2B5EF4-FFF2-40B4-BE49-F238E27FC236}">
                  <a16:creationId xmlns:a16="http://schemas.microsoft.com/office/drawing/2014/main" id="{1D71D161-144E-8E46-5684-36921EDADCFB}"/>
                </a:ext>
              </a:extLst>
            </p:cNvPr>
            <p:cNvSpPr/>
            <p:nvPr/>
          </p:nvSpPr>
          <p:spPr>
            <a:xfrm>
              <a:off x="6212696" y="4527922"/>
              <a:ext cx="197292" cy="47621"/>
            </a:xfrm>
            <a:prstGeom prst="rect">
              <a:avLst/>
            </a:prstGeom>
            <a:noFill/>
          </p:spPr>
          <p:txBody>
            <a:bodyPr wrap="none" lIns="0" tIns="0" rIns="0" bIns="0" anchor="ctr" anchorCtr="1"/>
            <a:lstStyle/>
            <a:p>
              <a:pPr defTabSz="914400">
                <a:lnSpc>
                  <a:spcPts val="914"/>
                </a:lnSpc>
              </a:pPr>
              <a:r>
                <a:rPr sz="914">
                  <a:solidFill>
                    <a:srgbClr val="745DAD">
                      <a:alpha val="100000"/>
                    </a:srgbClr>
                  </a:solidFill>
                  <a:latin typeface="Avenir Next LT Pro"/>
                  <a:cs typeface="Avenir Next LT Pro"/>
                </a:rPr>
                <a:t>***</a:t>
              </a:r>
            </a:p>
          </p:txBody>
        </p:sp>
        <p:sp>
          <p:nvSpPr>
            <p:cNvPr id="9761" name="tx41">
              <a:extLst>
                <a:ext uri="{FF2B5EF4-FFF2-40B4-BE49-F238E27FC236}">
                  <a16:creationId xmlns:a16="http://schemas.microsoft.com/office/drawing/2014/main" id="{D844181E-F197-733D-AFF6-D4A5F6F5BC08}"/>
                </a:ext>
              </a:extLst>
            </p:cNvPr>
            <p:cNvSpPr/>
            <p:nvPr/>
          </p:nvSpPr>
          <p:spPr>
            <a:xfrm>
              <a:off x="6548614" y="4922393"/>
              <a:ext cx="197292" cy="47621"/>
            </a:xfrm>
            <a:prstGeom prst="rect">
              <a:avLst/>
            </a:prstGeom>
            <a:noFill/>
          </p:spPr>
          <p:txBody>
            <a:bodyPr wrap="none" lIns="0" tIns="0" rIns="0" bIns="0" anchor="ctr" anchorCtr="1"/>
            <a:lstStyle/>
            <a:p>
              <a:pPr defTabSz="914400">
                <a:lnSpc>
                  <a:spcPts val="914"/>
                </a:lnSpc>
              </a:pPr>
              <a:r>
                <a:rPr sz="914">
                  <a:solidFill>
                    <a:srgbClr val="F3F44D">
                      <a:alpha val="100000"/>
                    </a:srgbClr>
                  </a:solidFill>
                  <a:latin typeface="Avenir Next LT Pro"/>
                  <a:cs typeface="Avenir Next LT Pro"/>
                </a:rPr>
                <a:t>***</a:t>
              </a:r>
            </a:p>
          </p:txBody>
        </p:sp>
        <p:sp>
          <p:nvSpPr>
            <p:cNvPr id="9762" name="tx42">
              <a:extLst>
                <a:ext uri="{FF2B5EF4-FFF2-40B4-BE49-F238E27FC236}">
                  <a16:creationId xmlns:a16="http://schemas.microsoft.com/office/drawing/2014/main" id="{D1E2E5EC-D98C-63E7-B0F6-8E2CD77EE0CE}"/>
                </a:ext>
              </a:extLst>
            </p:cNvPr>
            <p:cNvSpPr/>
            <p:nvPr/>
          </p:nvSpPr>
          <p:spPr>
            <a:xfrm>
              <a:off x="7556368" y="4541634"/>
              <a:ext cx="197292" cy="47621"/>
            </a:xfrm>
            <a:prstGeom prst="rect">
              <a:avLst/>
            </a:prstGeom>
            <a:noFill/>
          </p:spPr>
          <p:txBody>
            <a:bodyPr wrap="none" lIns="0" tIns="0" rIns="0" bIns="0" anchor="ctr" anchorCtr="1"/>
            <a:lstStyle/>
            <a:p>
              <a:pPr defTabSz="914400">
                <a:lnSpc>
                  <a:spcPts val="914"/>
                </a:lnSpc>
              </a:pPr>
              <a:r>
                <a:rPr sz="914">
                  <a:solidFill>
                    <a:srgbClr val="E2B22C">
                      <a:alpha val="100000"/>
                    </a:srgbClr>
                  </a:solidFill>
                  <a:latin typeface="Avenir Next LT Pro"/>
                  <a:cs typeface="Avenir Next LT Pro"/>
                </a:rPr>
                <a:t>***</a:t>
              </a:r>
            </a:p>
          </p:txBody>
        </p:sp>
        <p:sp>
          <p:nvSpPr>
            <p:cNvPr id="9763" name="pl43">
              <a:extLst>
                <a:ext uri="{FF2B5EF4-FFF2-40B4-BE49-F238E27FC236}">
                  <a16:creationId xmlns:a16="http://schemas.microsoft.com/office/drawing/2014/main" id="{C43A75BD-AB15-5B15-5286-CA234F3307E6}"/>
                </a:ext>
              </a:extLst>
            </p:cNvPr>
            <p:cNvSpPr/>
            <p:nvPr/>
          </p:nvSpPr>
          <p:spPr>
            <a:xfrm>
              <a:off x="5102038" y="3469612"/>
              <a:ext cx="0" cy="1658480"/>
            </a:xfrm>
            <a:custGeom>
              <a:avLst/>
              <a:gdLst/>
              <a:ahLst/>
              <a:cxnLst/>
              <a:rect l="0" t="0" r="0" b="0"/>
              <a:pathLst>
                <a:path h="1439999">
                  <a:moveTo>
                    <a:pt x="0" y="1439999"/>
                  </a:moveTo>
                  <a:lnTo>
                    <a:pt x="0"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9764" name="tx44">
              <a:extLst>
                <a:ext uri="{FF2B5EF4-FFF2-40B4-BE49-F238E27FC236}">
                  <a16:creationId xmlns:a16="http://schemas.microsoft.com/office/drawing/2014/main" id="{6ABE035C-D64B-7A21-1F41-ABDE3A8B22FF}"/>
                </a:ext>
              </a:extLst>
            </p:cNvPr>
            <p:cNvSpPr/>
            <p:nvPr/>
          </p:nvSpPr>
          <p:spPr>
            <a:xfrm>
              <a:off x="4819739" y="5087022"/>
              <a:ext cx="172580" cy="78353"/>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80</a:t>
              </a:r>
            </a:p>
          </p:txBody>
        </p:sp>
        <p:sp>
          <p:nvSpPr>
            <p:cNvPr id="9765" name="tx45">
              <a:extLst>
                <a:ext uri="{FF2B5EF4-FFF2-40B4-BE49-F238E27FC236}">
                  <a16:creationId xmlns:a16="http://schemas.microsoft.com/office/drawing/2014/main" id="{689F9A78-5257-2C19-B3A4-AB13478878D3}"/>
                </a:ext>
              </a:extLst>
            </p:cNvPr>
            <p:cNvSpPr/>
            <p:nvPr/>
          </p:nvSpPr>
          <p:spPr>
            <a:xfrm>
              <a:off x="4819739" y="4879712"/>
              <a:ext cx="172580" cy="78353"/>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60</a:t>
              </a:r>
            </a:p>
          </p:txBody>
        </p:sp>
        <p:sp>
          <p:nvSpPr>
            <p:cNvPr id="9766" name="tx46">
              <a:extLst>
                <a:ext uri="{FF2B5EF4-FFF2-40B4-BE49-F238E27FC236}">
                  <a16:creationId xmlns:a16="http://schemas.microsoft.com/office/drawing/2014/main" id="{46761D3C-184E-E45B-A07F-CC041F1D3297}"/>
                </a:ext>
              </a:extLst>
            </p:cNvPr>
            <p:cNvSpPr/>
            <p:nvPr/>
          </p:nvSpPr>
          <p:spPr>
            <a:xfrm>
              <a:off x="4819739" y="4672402"/>
              <a:ext cx="172580" cy="78353"/>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40</a:t>
              </a:r>
            </a:p>
          </p:txBody>
        </p:sp>
        <p:sp>
          <p:nvSpPr>
            <p:cNvPr id="9767" name="tx47">
              <a:extLst>
                <a:ext uri="{FF2B5EF4-FFF2-40B4-BE49-F238E27FC236}">
                  <a16:creationId xmlns:a16="http://schemas.microsoft.com/office/drawing/2014/main" id="{10EECF03-E911-3FE3-821D-1531BA763143}"/>
                </a:ext>
              </a:extLst>
            </p:cNvPr>
            <p:cNvSpPr/>
            <p:nvPr/>
          </p:nvSpPr>
          <p:spPr>
            <a:xfrm>
              <a:off x="4819739" y="4465091"/>
              <a:ext cx="172580" cy="78353"/>
            </a:xfrm>
            <a:prstGeom prst="rect">
              <a:avLst/>
            </a:prstGeom>
            <a:noFill/>
          </p:spPr>
          <p:txBody>
            <a:bodyPr wrap="none" lIns="0" tIns="0" rIns="0" bIns="0" anchor="ctr" anchorCtr="1"/>
            <a:lstStyle/>
            <a:p>
              <a:pPr defTabSz="914400">
                <a:lnSpc>
                  <a:spcPts val="720"/>
                </a:lnSpc>
              </a:pPr>
              <a:r>
                <a:rPr sz="720">
                  <a:solidFill>
                    <a:srgbClr val="001965">
                      <a:alpha val="100000"/>
                    </a:srgbClr>
                  </a:solidFill>
                  <a:latin typeface="Avenir Next LT Pro"/>
                  <a:cs typeface="Avenir Next LT Pro"/>
                </a:rPr>
                <a:t>-</a:t>
              </a:r>
              <a:r>
                <a:rPr sz="900">
                  <a:solidFill>
                    <a:srgbClr val="001965">
                      <a:alpha val="100000"/>
                    </a:srgbClr>
                  </a:solidFill>
                  <a:latin typeface="Avenir Next LT Pro"/>
                  <a:cs typeface="Avenir Next LT Pro"/>
                </a:rPr>
                <a:t>20</a:t>
              </a:r>
            </a:p>
          </p:txBody>
        </p:sp>
        <p:sp>
          <p:nvSpPr>
            <p:cNvPr id="9768" name="tx48">
              <a:extLst>
                <a:ext uri="{FF2B5EF4-FFF2-40B4-BE49-F238E27FC236}">
                  <a16:creationId xmlns:a16="http://schemas.microsoft.com/office/drawing/2014/main" id="{9D2A0A62-748F-D633-2E5A-D0309FC56AFF}"/>
                </a:ext>
              </a:extLst>
            </p:cNvPr>
            <p:cNvSpPr/>
            <p:nvPr/>
          </p:nvSpPr>
          <p:spPr>
            <a:xfrm>
              <a:off x="4924687" y="4257781"/>
              <a:ext cx="67633" cy="78353"/>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0</a:t>
              </a:r>
            </a:p>
          </p:txBody>
        </p:sp>
        <p:sp>
          <p:nvSpPr>
            <p:cNvPr id="9769" name="tx49">
              <a:extLst>
                <a:ext uri="{FF2B5EF4-FFF2-40B4-BE49-F238E27FC236}">
                  <a16:creationId xmlns:a16="http://schemas.microsoft.com/office/drawing/2014/main" id="{07571FB1-7008-57E0-897D-32859ACF15DC}"/>
                </a:ext>
              </a:extLst>
            </p:cNvPr>
            <p:cNvSpPr/>
            <p:nvPr/>
          </p:nvSpPr>
          <p:spPr>
            <a:xfrm>
              <a:off x="4857053" y="4050471"/>
              <a:ext cx="135265" cy="78353"/>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20</a:t>
              </a:r>
            </a:p>
          </p:txBody>
        </p:sp>
        <p:sp>
          <p:nvSpPr>
            <p:cNvPr id="9770" name="tx50">
              <a:extLst>
                <a:ext uri="{FF2B5EF4-FFF2-40B4-BE49-F238E27FC236}">
                  <a16:creationId xmlns:a16="http://schemas.microsoft.com/office/drawing/2014/main" id="{4F704215-AF99-998A-64E8-CDEFC649A47F}"/>
                </a:ext>
              </a:extLst>
            </p:cNvPr>
            <p:cNvSpPr/>
            <p:nvPr/>
          </p:nvSpPr>
          <p:spPr>
            <a:xfrm>
              <a:off x="4857053" y="3843161"/>
              <a:ext cx="135265" cy="78353"/>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40</a:t>
              </a:r>
            </a:p>
          </p:txBody>
        </p:sp>
        <p:sp>
          <p:nvSpPr>
            <p:cNvPr id="9771" name="tx51">
              <a:extLst>
                <a:ext uri="{FF2B5EF4-FFF2-40B4-BE49-F238E27FC236}">
                  <a16:creationId xmlns:a16="http://schemas.microsoft.com/office/drawing/2014/main" id="{33205A13-120F-1234-01EA-9512115C8781}"/>
                </a:ext>
              </a:extLst>
            </p:cNvPr>
            <p:cNvSpPr/>
            <p:nvPr/>
          </p:nvSpPr>
          <p:spPr>
            <a:xfrm>
              <a:off x="4857053" y="3635851"/>
              <a:ext cx="135265" cy="78353"/>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60</a:t>
              </a:r>
            </a:p>
          </p:txBody>
        </p:sp>
        <p:sp>
          <p:nvSpPr>
            <p:cNvPr id="9772" name="tx52">
              <a:extLst>
                <a:ext uri="{FF2B5EF4-FFF2-40B4-BE49-F238E27FC236}">
                  <a16:creationId xmlns:a16="http://schemas.microsoft.com/office/drawing/2014/main" id="{ED937BC0-94CF-68A6-2F59-792B776C3F00}"/>
                </a:ext>
              </a:extLst>
            </p:cNvPr>
            <p:cNvSpPr/>
            <p:nvPr/>
          </p:nvSpPr>
          <p:spPr>
            <a:xfrm>
              <a:off x="4857053" y="3428541"/>
              <a:ext cx="135265" cy="78353"/>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80</a:t>
              </a:r>
            </a:p>
          </p:txBody>
        </p:sp>
        <p:sp>
          <p:nvSpPr>
            <p:cNvPr id="9773" name="pl53">
              <a:extLst>
                <a:ext uri="{FF2B5EF4-FFF2-40B4-BE49-F238E27FC236}">
                  <a16:creationId xmlns:a16="http://schemas.microsoft.com/office/drawing/2014/main" id="{A5B2D6D3-019D-1428-7D73-C658BE156D59}"/>
                </a:ext>
              </a:extLst>
            </p:cNvPr>
            <p:cNvSpPr/>
            <p:nvPr/>
          </p:nvSpPr>
          <p:spPr>
            <a:xfrm>
              <a:off x="5021362" y="5128093"/>
              <a:ext cx="80674"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9774" name="pl54">
              <a:extLst>
                <a:ext uri="{FF2B5EF4-FFF2-40B4-BE49-F238E27FC236}">
                  <a16:creationId xmlns:a16="http://schemas.microsoft.com/office/drawing/2014/main" id="{3BA21542-F71C-C009-9263-AF04DCA49ECF}"/>
                </a:ext>
              </a:extLst>
            </p:cNvPr>
            <p:cNvSpPr/>
            <p:nvPr/>
          </p:nvSpPr>
          <p:spPr>
            <a:xfrm>
              <a:off x="5021362" y="4920783"/>
              <a:ext cx="80674"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9775" name="pl55">
              <a:extLst>
                <a:ext uri="{FF2B5EF4-FFF2-40B4-BE49-F238E27FC236}">
                  <a16:creationId xmlns:a16="http://schemas.microsoft.com/office/drawing/2014/main" id="{98EF3A29-50BA-ECFF-265D-66E1EDA6B8DB}"/>
                </a:ext>
              </a:extLst>
            </p:cNvPr>
            <p:cNvSpPr/>
            <p:nvPr/>
          </p:nvSpPr>
          <p:spPr>
            <a:xfrm>
              <a:off x="5021362" y="4713473"/>
              <a:ext cx="80674"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9776" name="pl56">
              <a:extLst>
                <a:ext uri="{FF2B5EF4-FFF2-40B4-BE49-F238E27FC236}">
                  <a16:creationId xmlns:a16="http://schemas.microsoft.com/office/drawing/2014/main" id="{3A07BFC6-AC85-90CD-7D1F-604F80556BEE}"/>
                </a:ext>
              </a:extLst>
            </p:cNvPr>
            <p:cNvSpPr/>
            <p:nvPr/>
          </p:nvSpPr>
          <p:spPr>
            <a:xfrm>
              <a:off x="5021362" y="4506163"/>
              <a:ext cx="80674"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9777" name="pl57">
              <a:extLst>
                <a:ext uri="{FF2B5EF4-FFF2-40B4-BE49-F238E27FC236}">
                  <a16:creationId xmlns:a16="http://schemas.microsoft.com/office/drawing/2014/main" id="{DE77F316-7A7D-41E7-C9A0-CA78E70F04E8}"/>
                </a:ext>
              </a:extLst>
            </p:cNvPr>
            <p:cNvSpPr/>
            <p:nvPr/>
          </p:nvSpPr>
          <p:spPr>
            <a:xfrm>
              <a:off x="5021362" y="4298853"/>
              <a:ext cx="80674"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8103" name="pl58">
              <a:extLst>
                <a:ext uri="{FF2B5EF4-FFF2-40B4-BE49-F238E27FC236}">
                  <a16:creationId xmlns:a16="http://schemas.microsoft.com/office/drawing/2014/main" id="{81D4B8D0-45C1-6F56-B244-809AEA59374F}"/>
                </a:ext>
              </a:extLst>
            </p:cNvPr>
            <p:cNvSpPr/>
            <p:nvPr/>
          </p:nvSpPr>
          <p:spPr>
            <a:xfrm>
              <a:off x="5021362" y="4091543"/>
              <a:ext cx="80674"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8104" name="pl59">
              <a:extLst>
                <a:ext uri="{FF2B5EF4-FFF2-40B4-BE49-F238E27FC236}">
                  <a16:creationId xmlns:a16="http://schemas.microsoft.com/office/drawing/2014/main" id="{5223DB94-B8EB-C4A2-C6E0-ED89C24C9B19}"/>
                </a:ext>
              </a:extLst>
            </p:cNvPr>
            <p:cNvSpPr/>
            <p:nvPr/>
          </p:nvSpPr>
          <p:spPr>
            <a:xfrm>
              <a:off x="5021362" y="3884232"/>
              <a:ext cx="80674"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8105" name="pl60">
              <a:extLst>
                <a:ext uri="{FF2B5EF4-FFF2-40B4-BE49-F238E27FC236}">
                  <a16:creationId xmlns:a16="http://schemas.microsoft.com/office/drawing/2014/main" id="{77753D21-64EC-0F14-6372-323846BE241E}"/>
                </a:ext>
              </a:extLst>
            </p:cNvPr>
            <p:cNvSpPr/>
            <p:nvPr/>
          </p:nvSpPr>
          <p:spPr>
            <a:xfrm>
              <a:off x="5021362" y="3676922"/>
              <a:ext cx="80674"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8106" name="pl61">
              <a:extLst>
                <a:ext uri="{FF2B5EF4-FFF2-40B4-BE49-F238E27FC236}">
                  <a16:creationId xmlns:a16="http://schemas.microsoft.com/office/drawing/2014/main" id="{2D900453-8F11-EFC4-6BD5-FFDF63530EEA}"/>
                </a:ext>
              </a:extLst>
            </p:cNvPr>
            <p:cNvSpPr/>
            <p:nvPr/>
          </p:nvSpPr>
          <p:spPr>
            <a:xfrm>
              <a:off x="5021362" y="3469612"/>
              <a:ext cx="80674"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8107" name="pl62">
              <a:extLst>
                <a:ext uri="{FF2B5EF4-FFF2-40B4-BE49-F238E27FC236}">
                  <a16:creationId xmlns:a16="http://schemas.microsoft.com/office/drawing/2014/main" id="{EFB12E7A-9087-386D-9A96-BC3967C8B217}"/>
                </a:ext>
              </a:extLst>
            </p:cNvPr>
            <p:cNvSpPr/>
            <p:nvPr/>
          </p:nvSpPr>
          <p:spPr>
            <a:xfrm>
              <a:off x="5102038" y="5128093"/>
              <a:ext cx="2754526" cy="0"/>
            </a:xfrm>
            <a:custGeom>
              <a:avLst/>
              <a:gdLst/>
              <a:ahLst/>
              <a:cxnLst/>
              <a:rect l="0" t="0" r="0" b="0"/>
              <a:pathLst>
                <a:path w="2160000">
                  <a:moveTo>
                    <a:pt x="0" y="0"/>
                  </a:moveTo>
                  <a:lnTo>
                    <a:pt x="2160000"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8116" name="tx81">
              <a:extLst>
                <a:ext uri="{FF2B5EF4-FFF2-40B4-BE49-F238E27FC236}">
                  <a16:creationId xmlns:a16="http://schemas.microsoft.com/office/drawing/2014/main" id="{18D1E360-8BF9-1B3E-11A8-FF5FF0792CE8}"/>
                </a:ext>
              </a:extLst>
            </p:cNvPr>
            <p:cNvSpPr/>
            <p:nvPr/>
          </p:nvSpPr>
          <p:spPr>
            <a:xfrm rot="16200000">
              <a:off x="3635438" y="4225390"/>
              <a:ext cx="2182624" cy="146926"/>
            </a:xfrm>
            <a:prstGeom prst="rect">
              <a:avLst/>
            </a:prstGeom>
            <a:noFill/>
          </p:spPr>
          <p:txBody>
            <a:bodyPr wrap="none" lIns="0" tIns="0" rIns="0" bIns="0" anchor="ctr" anchorCtr="1"/>
            <a:lstStyle/>
            <a:p>
              <a:pPr defTabSz="914400">
                <a:lnSpc>
                  <a:spcPts val="900"/>
                </a:lnSpc>
              </a:pPr>
              <a:r>
                <a:rPr sz="1100" b="1">
                  <a:solidFill>
                    <a:srgbClr val="001965">
                      <a:alpha val="100000"/>
                    </a:srgbClr>
                  </a:solidFill>
                  <a:latin typeface="Avenir Next LT Pro"/>
                  <a:cs typeface="Avenir Next LT Pro"/>
                </a:rPr>
                <a:t>Lean mass change from baseline (g)</a:t>
              </a:r>
            </a:p>
          </p:txBody>
        </p:sp>
      </p:grpSp>
      <p:sp>
        <p:nvSpPr>
          <p:cNvPr id="8118" name="rc4">
            <a:extLst>
              <a:ext uri="{FF2B5EF4-FFF2-40B4-BE49-F238E27FC236}">
                <a16:creationId xmlns:a16="http://schemas.microsoft.com/office/drawing/2014/main" id="{74974006-16B4-FAAB-AD2B-B20D2EE8A89B}"/>
              </a:ext>
            </a:extLst>
          </p:cNvPr>
          <p:cNvSpPr/>
          <p:nvPr/>
        </p:nvSpPr>
        <p:spPr>
          <a:xfrm>
            <a:off x="8486828" y="3372394"/>
            <a:ext cx="3143197" cy="3027575"/>
          </a:xfrm>
          <a:prstGeom prst="rect">
            <a:avLst/>
          </a:prstGeom>
        </p:spPr>
        <p:txBody>
          <a:bodyPr/>
          <a:lstStyle/>
          <a:p>
            <a:pPr defTabSz="914400"/>
            <a:endParaRPr>
              <a:solidFill>
                <a:srgbClr val="001965"/>
              </a:solidFill>
              <a:latin typeface="Avenir Next LT Pro"/>
            </a:endParaRPr>
          </a:p>
        </p:txBody>
      </p:sp>
      <p:grpSp>
        <p:nvGrpSpPr>
          <p:cNvPr id="11633" name="Group 11632">
            <a:extLst>
              <a:ext uri="{FF2B5EF4-FFF2-40B4-BE49-F238E27FC236}">
                <a16:creationId xmlns:a16="http://schemas.microsoft.com/office/drawing/2014/main" id="{E911380C-FD08-DDA5-9553-51E128B8B48B}"/>
              </a:ext>
            </a:extLst>
          </p:cNvPr>
          <p:cNvGrpSpPr/>
          <p:nvPr/>
        </p:nvGrpSpPr>
        <p:grpSpPr>
          <a:xfrm>
            <a:off x="8194691" y="3319282"/>
            <a:ext cx="3202425" cy="2075462"/>
            <a:chOff x="8427599" y="3318934"/>
            <a:chExt cx="3202425" cy="2075462"/>
          </a:xfrm>
        </p:grpSpPr>
        <p:sp>
          <p:nvSpPr>
            <p:cNvPr id="8119" name="rc5">
              <a:extLst>
                <a:ext uri="{FF2B5EF4-FFF2-40B4-BE49-F238E27FC236}">
                  <a16:creationId xmlns:a16="http://schemas.microsoft.com/office/drawing/2014/main" id="{942B32ED-F785-8F9A-1D04-507448481990}"/>
                </a:ext>
              </a:extLst>
            </p:cNvPr>
            <p:cNvSpPr/>
            <p:nvPr/>
          </p:nvSpPr>
          <p:spPr>
            <a:xfrm>
              <a:off x="8904230" y="3530569"/>
              <a:ext cx="2725794" cy="1652189"/>
            </a:xfrm>
            <a:prstGeom prst="rect">
              <a:avLst/>
            </a:prstGeom>
          </p:spPr>
          <p:txBody>
            <a:bodyPr/>
            <a:lstStyle/>
            <a:p>
              <a:pPr defTabSz="914400"/>
              <a:endParaRPr>
                <a:solidFill>
                  <a:srgbClr val="001965"/>
                </a:solidFill>
                <a:latin typeface="Avenir Next LT Pro"/>
              </a:endParaRPr>
            </a:p>
          </p:txBody>
        </p:sp>
        <p:sp>
          <p:nvSpPr>
            <p:cNvPr id="8120" name="rc6">
              <a:extLst>
                <a:ext uri="{FF2B5EF4-FFF2-40B4-BE49-F238E27FC236}">
                  <a16:creationId xmlns:a16="http://schemas.microsoft.com/office/drawing/2014/main" id="{614D716D-946A-83C3-A160-159B57429088}"/>
                </a:ext>
              </a:extLst>
            </p:cNvPr>
            <p:cNvSpPr/>
            <p:nvPr/>
          </p:nvSpPr>
          <p:spPr>
            <a:xfrm>
              <a:off x="8987334" y="3714146"/>
              <a:ext cx="232690" cy="37473"/>
            </a:xfrm>
            <a:prstGeom prst="rect">
              <a:avLst/>
            </a:prstGeom>
            <a:solidFill>
              <a:srgbClr val="2E2E2E">
                <a:alpha val="100000"/>
              </a:srgbClr>
            </a:solidFill>
            <a:ln w="13550" cap="flat">
              <a:solidFill>
                <a:srgbClr val="2E2E2E">
                  <a:alpha val="100000"/>
                </a:srgbClr>
              </a:solidFill>
              <a:prstDash val="solid"/>
              <a:miter/>
            </a:ln>
          </p:spPr>
          <p:txBody>
            <a:bodyPr/>
            <a:lstStyle/>
            <a:p>
              <a:pPr defTabSz="914400"/>
              <a:endParaRPr>
                <a:solidFill>
                  <a:srgbClr val="001965"/>
                </a:solidFill>
                <a:latin typeface="Avenir Next LT Pro"/>
              </a:endParaRPr>
            </a:p>
          </p:txBody>
        </p:sp>
        <p:sp>
          <p:nvSpPr>
            <p:cNvPr id="8121" name="rc7">
              <a:extLst>
                <a:ext uri="{FF2B5EF4-FFF2-40B4-BE49-F238E27FC236}">
                  <a16:creationId xmlns:a16="http://schemas.microsoft.com/office/drawing/2014/main" id="{223EF330-CF15-340F-0F5D-E40186768852}"/>
                </a:ext>
              </a:extLst>
            </p:cNvPr>
            <p:cNvSpPr/>
            <p:nvPr/>
          </p:nvSpPr>
          <p:spPr>
            <a:xfrm>
              <a:off x="9319747" y="3714146"/>
              <a:ext cx="232690" cy="309073"/>
            </a:xfrm>
            <a:prstGeom prst="rect">
              <a:avLst/>
            </a:prstGeom>
            <a:solidFill>
              <a:srgbClr val="00DF86">
                <a:alpha val="100000"/>
              </a:srgbClr>
            </a:solidFill>
            <a:ln w="13550" cap="flat">
              <a:solidFill>
                <a:srgbClr val="00DF86">
                  <a:alpha val="100000"/>
                </a:srgbClr>
              </a:solidFill>
              <a:prstDash val="solid"/>
              <a:miter/>
            </a:ln>
          </p:spPr>
          <p:txBody>
            <a:bodyPr/>
            <a:lstStyle/>
            <a:p>
              <a:pPr defTabSz="914400"/>
              <a:endParaRPr>
                <a:solidFill>
                  <a:srgbClr val="001965"/>
                </a:solidFill>
                <a:latin typeface="Avenir Next LT Pro"/>
              </a:endParaRPr>
            </a:p>
          </p:txBody>
        </p:sp>
        <p:sp>
          <p:nvSpPr>
            <p:cNvPr id="8122" name="rc8">
              <a:extLst>
                <a:ext uri="{FF2B5EF4-FFF2-40B4-BE49-F238E27FC236}">
                  <a16:creationId xmlns:a16="http://schemas.microsoft.com/office/drawing/2014/main" id="{0E524594-EC29-DCF0-732B-F438888C410A}"/>
                </a:ext>
              </a:extLst>
            </p:cNvPr>
            <p:cNvSpPr/>
            <p:nvPr/>
          </p:nvSpPr>
          <p:spPr>
            <a:xfrm>
              <a:off x="9652161" y="3714146"/>
              <a:ext cx="232690" cy="466400"/>
            </a:xfrm>
            <a:prstGeom prst="rect">
              <a:avLst/>
            </a:prstGeom>
            <a:solidFill>
              <a:srgbClr val="48D9E8">
                <a:alpha val="100000"/>
              </a:srgbClr>
            </a:solidFill>
            <a:ln w="13550" cap="flat">
              <a:solidFill>
                <a:srgbClr val="48D9E8">
                  <a:alpha val="100000"/>
                </a:srgbClr>
              </a:solidFill>
              <a:prstDash val="solid"/>
              <a:miter/>
            </a:ln>
          </p:spPr>
          <p:txBody>
            <a:bodyPr/>
            <a:lstStyle/>
            <a:p>
              <a:pPr defTabSz="914400"/>
              <a:endParaRPr>
                <a:solidFill>
                  <a:srgbClr val="001965"/>
                </a:solidFill>
                <a:latin typeface="Avenir Next LT Pro"/>
              </a:endParaRPr>
            </a:p>
          </p:txBody>
        </p:sp>
        <p:sp>
          <p:nvSpPr>
            <p:cNvPr id="8123" name="rc9">
              <a:extLst>
                <a:ext uri="{FF2B5EF4-FFF2-40B4-BE49-F238E27FC236}">
                  <a16:creationId xmlns:a16="http://schemas.microsoft.com/office/drawing/2014/main" id="{16408820-1AF0-F58F-10E0-7867E72D8A2B}"/>
                </a:ext>
              </a:extLst>
            </p:cNvPr>
            <p:cNvSpPr/>
            <p:nvPr/>
          </p:nvSpPr>
          <p:spPr>
            <a:xfrm>
              <a:off x="9984576" y="3714146"/>
              <a:ext cx="232690" cy="570808"/>
            </a:xfrm>
            <a:prstGeom prst="rect">
              <a:avLst/>
            </a:prstGeom>
            <a:solidFill>
              <a:srgbClr val="745DAD">
                <a:alpha val="100000"/>
              </a:srgbClr>
            </a:solidFill>
            <a:ln w="13550" cap="flat">
              <a:solidFill>
                <a:srgbClr val="745DAD">
                  <a:alpha val="100000"/>
                </a:srgbClr>
              </a:solidFill>
              <a:prstDash val="solid"/>
              <a:miter/>
            </a:ln>
          </p:spPr>
          <p:txBody>
            <a:bodyPr/>
            <a:lstStyle/>
            <a:p>
              <a:pPr defTabSz="914400"/>
              <a:endParaRPr>
                <a:solidFill>
                  <a:srgbClr val="001965"/>
                </a:solidFill>
                <a:latin typeface="Avenir Next LT Pro"/>
              </a:endParaRPr>
            </a:p>
          </p:txBody>
        </p:sp>
        <p:sp>
          <p:nvSpPr>
            <p:cNvPr id="8124" name="rc10">
              <a:extLst>
                <a:ext uri="{FF2B5EF4-FFF2-40B4-BE49-F238E27FC236}">
                  <a16:creationId xmlns:a16="http://schemas.microsoft.com/office/drawing/2014/main" id="{2740B77F-2A39-B42F-CD59-E33C3E3836CA}"/>
                </a:ext>
              </a:extLst>
            </p:cNvPr>
            <p:cNvSpPr/>
            <p:nvPr/>
          </p:nvSpPr>
          <p:spPr>
            <a:xfrm>
              <a:off x="10316989" y="3714146"/>
              <a:ext cx="232690" cy="195852"/>
            </a:xfrm>
            <a:prstGeom prst="rect">
              <a:avLst/>
            </a:prstGeom>
            <a:solidFill>
              <a:srgbClr val="F3F44D">
                <a:alpha val="100000"/>
              </a:srgbClr>
            </a:solidFill>
            <a:ln w="13550" cap="flat">
              <a:solidFill>
                <a:srgbClr val="F3F44D">
                  <a:alpha val="100000"/>
                </a:srgbClr>
              </a:solidFill>
              <a:prstDash val="solid"/>
              <a:miter/>
            </a:ln>
          </p:spPr>
          <p:txBody>
            <a:bodyPr/>
            <a:lstStyle/>
            <a:p>
              <a:pPr defTabSz="914400"/>
              <a:endParaRPr>
                <a:solidFill>
                  <a:srgbClr val="001965"/>
                </a:solidFill>
                <a:latin typeface="Avenir Next LT Pro"/>
              </a:endParaRPr>
            </a:p>
          </p:txBody>
        </p:sp>
        <p:sp>
          <p:nvSpPr>
            <p:cNvPr id="8125" name="rc11">
              <a:extLst>
                <a:ext uri="{FF2B5EF4-FFF2-40B4-BE49-F238E27FC236}">
                  <a16:creationId xmlns:a16="http://schemas.microsoft.com/office/drawing/2014/main" id="{073617E9-6A15-6A9D-2EB6-43CD12687D3F}"/>
                </a:ext>
              </a:extLst>
            </p:cNvPr>
            <p:cNvSpPr/>
            <p:nvPr/>
          </p:nvSpPr>
          <p:spPr>
            <a:xfrm>
              <a:off x="10649404" y="3714146"/>
              <a:ext cx="232690" cy="1071330"/>
            </a:xfrm>
            <a:prstGeom prst="rect">
              <a:avLst/>
            </a:prstGeom>
            <a:solidFill>
              <a:srgbClr val="48B0D8">
                <a:alpha val="100000"/>
              </a:srgbClr>
            </a:solidFill>
            <a:ln w="13550" cap="flat">
              <a:solidFill>
                <a:srgbClr val="48B0D8">
                  <a:alpha val="100000"/>
                </a:srgbClr>
              </a:solidFill>
              <a:prstDash val="solid"/>
              <a:miter/>
            </a:ln>
          </p:spPr>
          <p:txBody>
            <a:bodyPr/>
            <a:lstStyle/>
            <a:p>
              <a:pPr defTabSz="914400"/>
              <a:endParaRPr>
                <a:solidFill>
                  <a:srgbClr val="001965"/>
                </a:solidFill>
                <a:latin typeface="Avenir Next LT Pro"/>
              </a:endParaRPr>
            </a:p>
          </p:txBody>
        </p:sp>
        <p:sp>
          <p:nvSpPr>
            <p:cNvPr id="8126" name="rc12">
              <a:extLst>
                <a:ext uri="{FF2B5EF4-FFF2-40B4-BE49-F238E27FC236}">
                  <a16:creationId xmlns:a16="http://schemas.microsoft.com/office/drawing/2014/main" id="{6A0B61F4-945A-5160-ADE1-2524C26A0A5D}"/>
                </a:ext>
              </a:extLst>
            </p:cNvPr>
            <p:cNvSpPr/>
            <p:nvPr/>
          </p:nvSpPr>
          <p:spPr>
            <a:xfrm>
              <a:off x="10981818" y="3714146"/>
              <a:ext cx="232690" cy="1043311"/>
            </a:xfrm>
            <a:prstGeom prst="rect">
              <a:avLst/>
            </a:prstGeom>
            <a:solidFill>
              <a:srgbClr val="2878FF">
                <a:alpha val="100000"/>
              </a:srgbClr>
            </a:solidFill>
            <a:ln w="13550" cap="flat">
              <a:solidFill>
                <a:srgbClr val="2878FF">
                  <a:alpha val="100000"/>
                </a:srgbClr>
              </a:solidFill>
              <a:prstDash val="solid"/>
              <a:miter/>
            </a:ln>
          </p:spPr>
          <p:txBody>
            <a:bodyPr/>
            <a:lstStyle/>
            <a:p>
              <a:pPr defTabSz="914400"/>
              <a:endParaRPr>
                <a:solidFill>
                  <a:srgbClr val="001965"/>
                </a:solidFill>
                <a:latin typeface="Avenir Next LT Pro"/>
              </a:endParaRPr>
            </a:p>
          </p:txBody>
        </p:sp>
        <p:sp>
          <p:nvSpPr>
            <p:cNvPr id="8127" name="rc13">
              <a:extLst>
                <a:ext uri="{FF2B5EF4-FFF2-40B4-BE49-F238E27FC236}">
                  <a16:creationId xmlns:a16="http://schemas.microsoft.com/office/drawing/2014/main" id="{77E55B02-3E0B-FB67-D4F2-02EFD58E2848}"/>
                </a:ext>
              </a:extLst>
            </p:cNvPr>
            <p:cNvSpPr/>
            <p:nvPr/>
          </p:nvSpPr>
          <p:spPr>
            <a:xfrm>
              <a:off x="11314232" y="3714146"/>
              <a:ext cx="232690" cy="793372"/>
            </a:xfrm>
            <a:prstGeom prst="rect">
              <a:avLst/>
            </a:prstGeom>
            <a:solidFill>
              <a:srgbClr val="E2B22C">
                <a:alpha val="100000"/>
              </a:srgbClr>
            </a:solidFill>
            <a:ln w="13550" cap="flat">
              <a:solidFill>
                <a:srgbClr val="E2B22C">
                  <a:alpha val="100000"/>
                </a:srgbClr>
              </a:solidFill>
              <a:prstDash val="solid"/>
              <a:miter/>
            </a:ln>
          </p:spPr>
          <p:txBody>
            <a:bodyPr/>
            <a:lstStyle/>
            <a:p>
              <a:pPr defTabSz="914400"/>
              <a:endParaRPr>
                <a:solidFill>
                  <a:srgbClr val="001965"/>
                </a:solidFill>
                <a:latin typeface="Avenir Next LT Pro"/>
              </a:endParaRPr>
            </a:p>
          </p:txBody>
        </p:sp>
        <p:sp>
          <p:nvSpPr>
            <p:cNvPr id="8384" name="pl14">
              <a:extLst>
                <a:ext uri="{FF2B5EF4-FFF2-40B4-BE49-F238E27FC236}">
                  <a16:creationId xmlns:a16="http://schemas.microsoft.com/office/drawing/2014/main" id="{6D1D8D2E-9236-7CB8-FA2A-3053327101A3}"/>
                </a:ext>
              </a:extLst>
            </p:cNvPr>
            <p:cNvSpPr/>
            <p:nvPr/>
          </p:nvSpPr>
          <p:spPr>
            <a:xfrm>
              <a:off x="9020574" y="3611075"/>
              <a:ext cx="166207" cy="0"/>
            </a:xfrm>
            <a:custGeom>
              <a:avLst/>
              <a:gdLst/>
              <a:ahLst/>
              <a:cxnLst/>
              <a:rect l="0" t="0" r="0" b="0"/>
              <a:pathLst>
                <a:path w="131707">
                  <a:moveTo>
                    <a:pt x="0" y="0"/>
                  </a:moveTo>
                  <a:lnTo>
                    <a:pt x="131707" y="0"/>
                  </a:lnTo>
                </a:path>
              </a:pathLst>
            </a:custGeom>
            <a:ln w="5962"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8385" name="pl15">
              <a:extLst>
                <a:ext uri="{FF2B5EF4-FFF2-40B4-BE49-F238E27FC236}">
                  <a16:creationId xmlns:a16="http://schemas.microsoft.com/office/drawing/2014/main" id="{F82D10D5-3D0E-9692-B597-3DE92DF624E4}"/>
                </a:ext>
              </a:extLst>
            </p:cNvPr>
            <p:cNvSpPr/>
            <p:nvPr/>
          </p:nvSpPr>
          <p:spPr>
            <a:xfrm>
              <a:off x="9103678" y="3611075"/>
              <a:ext cx="0" cy="281087"/>
            </a:xfrm>
            <a:custGeom>
              <a:avLst/>
              <a:gdLst/>
              <a:ahLst/>
              <a:cxnLst/>
              <a:rect l="0" t="0" r="0" b="0"/>
              <a:pathLst>
                <a:path h="244987">
                  <a:moveTo>
                    <a:pt x="0" y="0"/>
                  </a:moveTo>
                  <a:lnTo>
                    <a:pt x="0" y="244987"/>
                  </a:lnTo>
                </a:path>
              </a:pathLst>
            </a:custGeom>
            <a:ln w="5962"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8386" name="pl16">
              <a:extLst>
                <a:ext uri="{FF2B5EF4-FFF2-40B4-BE49-F238E27FC236}">
                  <a16:creationId xmlns:a16="http://schemas.microsoft.com/office/drawing/2014/main" id="{E9B27F24-4D4A-3FBF-67A5-F7F5256DE4EA}"/>
                </a:ext>
              </a:extLst>
            </p:cNvPr>
            <p:cNvSpPr/>
            <p:nvPr/>
          </p:nvSpPr>
          <p:spPr>
            <a:xfrm>
              <a:off x="9020574" y="3892163"/>
              <a:ext cx="166207" cy="0"/>
            </a:xfrm>
            <a:custGeom>
              <a:avLst/>
              <a:gdLst/>
              <a:ahLst/>
              <a:cxnLst/>
              <a:rect l="0" t="0" r="0" b="0"/>
              <a:pathLst>
                <a:path w="131707">
                  <a:moveTo>
                    <a:pt x="0" y="0"/>
                  </a:moveTo>
                  <a:lnTo>
                    <a:pt x="131707" y="0"/>
                  </a:lnTo>
                </a:path>
              </a:pathLst>
            </a:custGeom>
            <a:ln w="5962"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8387" name="pl17">
              <a:extLst>
                <a:ext uri="{FF2B5EF4-FFF2-40B4-BE49-F238E27FC236}">
                  <a16:creationId xmlns:a16="http://schemas.microsoft.com/office/drawing/2014/main" id="{27821796-5AD8-313B-E842-792DA90BA1C5}"/>
                </a:ext>
              </a:extLst>
            </p:cNvPr>
            <p:cNvSpPr/>
            <p:nvPr/>
          </p:nvSpPr>
          <p:spPr>
            <a:xfrm>
              <a:off x="9352989" y="3898018"/>
              <a:ext cx="166207" cy="0"/>
            </a:xfrm>
            <a:custGeom>
              <a:avLst/>
              <a:gdLst/>
              <a:ahLst/>
              <a:cxnLst/>
              <a:rect l="0" t="0" r="0" b="0"/>
              <a:pathLst>
                <a:path w="131707">
                  <a:moveTo>
                    <a:pt x="0" y="0"/>
                  </a:moveTo>
                  <a:lnTo>
                    <a:pt x="131707" y="0"/>
                  </a:lnTo>
                </a:path>
              </a:pathLst>
            </a:custGeom>
            <a:ln w="5962"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8388" name="pl18">
              <a:extLst>
                <a:ext uri="{FF2B5EF4-FFF2-40B4-BE49-F238E27FC236}">
                  <a16:creationId xmlns:a16="http://schemas.microsoft.com/office/drawing/2014/main" id="{7F0830F6-A2C7-BFE2-58F9-ADFCAEDB4BFE}"/>
                </a:ext>
              </a:extLst>
            </p:cNvPr>
            <p:cNvSpPr/>
            <p:nvPr/>
          </p:nvSpPr>
          <p:spPr>
            <a:xfrm>
              <a:off x="9436093" y="3898018"/>
              <a:ext cx="0" cy="250406"/>
            </a:xfrm>
            <a:custGeom>
              <a:avLst/>
              <a:gdLst/>
              <a:ahLst/>
              <a:cxnLst/>
              <a:rect l="0" t="0" r="0" b="0"/>
              <a:pathLst>
                <a:path h="218246">
                  <a:moveTo>
                    <a:pt x="0" y="0"/>
                  </a:moveTo>
                  <a:lnTo>
                    <a:pt x="0" y="218246"/>
                  </a:lnTo>
                </a:path>
              </a:pathLst>
            </a:custGeom>
            <a:ln w="5962"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8389" name="pl19">
              <a:extLst>
                <a:ext uri="{FF2B5EF4-FFF2-40B4-BE49-F238E27FC236}">
                  <a16:creationId xmlns:a16="http://schemas.microsoft.com/office/drawing/2014/main" id="{A1D908B1-C26A-AEAC-8F18-FD2D2CED86B1}"/>
                </a:ext>
              </a:extLst>
            </p:cNvPr>
            <p:cNvSpPr/>
            <p:nvPr/>
          </p:nvSpPr>
          <p:spPr>
            <a:xfrm>
              <a:off x="9352989" y="4148424"/>
              <a:ext cx="166207" cy="0"/>
            </a:xfrm>
            <a:custGeom>
              <a:avLst/>
              <a:gdLst/>
              <a:ahLst/>
              <a:cxnLst/>
              <a:rect l="0" t="0" r="0" b="0"/>
              <a:pathLst>
                <a:path w="131707">
                  <a:moveTo>
                    <a:pt x="0" y="0"/>
                  </a:moveTo>
                  <a:lnTo>
                    <a:pt x="131707" y="0"/>
                  </a:lnTo>
                </a:path>
              </a:pathLst>
            </a:custGeom>
            <a:ln w="5962"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8390" name="pl20">
              <a:extLst>
                <a:ext uri="{FF2B5EF4-FFF2-40B4-BE49-F238E27FC236}">
                  <a16:creationId xmlns:a16="http://schemas.microsoft.com/office/drawing/2014/main" id="{FDB9FDD3-E87D-2C17-D61D-BCDB47CBDE87}"/>
                </a:ext>
              </a:extLst>
            </p:cNvPr>
            <p:cNvSpPr/>
            <p:nvPr/>
          </p:nvSpPr>
          <p:spPr>
            <a:xfrm>
              <a:off x="9685402" y="4053325"/>
              <a:ext cx="166207" cy="0"/>
            </a:xfrm>
            <a:custGeom>
              <a:avLst/>
              <a:gdLst/>
              <a:ahLst/>
              <a:cxnLst/>
              <a:rect l="0" t="0" r="0" b="0"/>
              <a:pathLst>
                <a:path w="131707">
                  <a:moveTo>
                    <a:pt x="0" y="0"/>
                  </a:moveTo>
                  <a:lnTo>
                    <a:pt x="131707" y="0"/>
                  </a:lnTo>
                </a:path>
              </a:pathLst>
            </a:custGeom>
            <a:ln w="5962"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8391" name="pl21">
              <a:extLst>
                <a:ext uri="{FF2B5EF4-FFF2-40B4-BE49-F238E27FC236}">
                  <a16:creationId xmlns:a16="http://schemas.microsoft.com/office/drawing/2014/main" id="{73B826DE-DBDC-AAF0-F5E0-0DD31D4E4D03}"/>
                </a:ext>
              </a:extLst>
            </p:cNvPr>
            <p:cNvSpPr/>
            <p:nvPr/>
          </p:nvSpPr>
          <p:spPr>
            <a:xfrm>
              <a:off x="9768506" y="4053325"/>
              <a:ext cx="0" cy="254441"/>
            </a:xfrm>
            <a:custGeom>
              <a:avLst/>
              <a:gdLst/>
              <a:ahLst/>
              <a:cxnLst/>
              <a:rect l="0" t="0" r="0" b="0"/>
              <a:pathLst>
                <a:path h="221763">
                  <a:moveTo>
                    <a:pt x="0" y="0"/>
                  </a:moveTo>
                  <a:lnTo>
                    <a:pt x="0" y="221763"/>
                  </a:lnTo>
                </a:path>
              </a:pathLst>
            </a:custGeom>
            <a:ln w="5962"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8392" name="pl22">
              <a:extLst>
                <a:ext uri="{FF2B5EF4-FFF2-40B4-BE49-F238E27FC236}">
                  <a16:creationId xmlns:a16="http://schemas.microsoft.com/office/drawing/2014/main" id="{C4F6C798-C565-166B-3D3B-FBFE611DD73D}"/>
                </a:ext>
              </a:extLst>
            </p:cNvPr>
            <p:cNvSpPr/>
            <p:nvPr/>
          </p:nvSpPr>
          <p:spPr>
            <a:xfrm>
              <a:off x="9685402" y="4307767"/>
              <a:ext cx="166207" cy="0"/>
            </a:xfrm>
            <a:custGeom>
              <a:avLst/>
              <a:gdLst/>
              <a:ahLst/>
              <a:cxnLst/>
              <a:rect l="0" t="0" r="0" b="0"/>
              <a:pathLst>
                <a:path w="131707">
                  <a:moveTo>
                    <a:pt x="0" y="0"/>
                  </a:moveTo>
                  <a:lnTo>
                    <a:pt x="131707" y="0"/>
                  </a:lnTo>
                </a:path>
              </a:pathLst>
            </a:custGeom>
            <a:ln w="5962"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0656" name="pl23">
              <a:extLst>
                <a:ext uri="{FF2B5EF4-FFF2-40B4-BE49-F238E27FC236}">
                  <a16:creationId xmlns:a16="http://schemas.microsoft.com/office/drawing/2014/main" id="{EDD8C30A-5E48-7EE9-70F2-AE6234764187}"/>
                </a:ext>
              </a:extLst>
            </p:cNvPr>
            <p:cNvSpPr/>
            <p:nvPr/>
          </p:nvSpPr>
          <p:spPr>
            <a:xfrm>
              <a:off x="10017817" y="4169379"/>
              <a:ext cx="166207" cy="0"/>
            </a:xfrm>
            <a:custGeom>
              <a:avLst/>
              <a:gdLst/>
              <a:ahLst/>
              <a:cxnLst/>
              <a:rect l="0" t="0" r="0" b="0"/>
              <a:pathLst>
                <a:path w="131707">
                  <a:moveTo>
                    <a:pt x="0" y="0"/>
                  </a:moveTo>
                  <a:lnTo>
                    <a:pt x="131707" y="0"/>
                  </a:lnTo>
                </a:path>
              </a:pathLst>
            </a:custGeom>
            <a:ln w="5962"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0657" name="pl24">
              <a:extLst>
                <a:ext uri="{FF2B5EF4-FFF2-40B4-BE49-F238E27FC236}">
                  <a16:creationId xmlns:a16="http://schemas.microsoft.com/office/drawing/2014/main" id="{737850C9-1E67-E4FA-DD75-C72DBF0667FE}"/>
                </a:ext>
              </a:extLst>
            </p:cNvPr>
            <p:cNvSpPr/>
            <p:nvPr/>
          </p:nvSpPr>
          <p:spPr>
            <a:xfrm>
              <a:off x="10100921" y="4169379"/>
              <a:ext cx="0" cy="231153"/>
            </a:xfrm>
            <a:custGeom>
              <a:avLst/>
              <a:gdLst/>
              <a:ahLst/>
              <a:cxnLst/>
              <a:rect l="0" t="0" r="0" b="0"/>
              <a:pathLst>
                <a:path h="201466">
                  <a:moveTo>
                    <a:pt x="0" y="0"/>
                  </a:moveTo>
                  <a:lnTo>
                    <a:pt x="0" y="201466"/>
                  </a:lnTo>
                </a:path>
              </a:pathLst>
            </a:custGeom>
            <a:ln w="5962"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0658" name="pl25">
              <a:extLst>
                <a:ext uri="{FF2B5EF4-FFF2-40B4-BE49-F238E27FC236}">
                  <a16:creationId xmlns:a16="http://schemas.microsoft.com/office/drawing/2014/main" id="{EC21A9F6-033C-C405-A8DB-AC829938ECA7}"/>
                </a:ext>
              </a:extLst>
            </p:cNvPr>
            <p:cNvSpPr/>
            <p:nvPr/>
          </p:nvSpPr>
          <p:spPr>
            <a:xfrm>
              <a:off x="10017817" y="4400532"/>
              <a:ext cx="166207" cy="0"/>
            </a:xfrm>
            <a:custGeom>
              <a:avLst/>
              <a:gdLst/>
              <a:ahLst/>
              <a:cxnLst/>
              <a:rect l="0" t="0" r="0" b="0"/>
              <a:pathLst>
                <a:path w="131707">
                  <a:moveTo>
                    <a:pt x="0" y="0"/>
                  </a:moveTo>
                  <a:lnTo>
                    <a:pt x="131707" y="0"/>
                  </a:lnTo>
                </a:path>
              </a:pathLst>
            </a:custGeom>
            <a:ln w="5962"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0659" name="pl26">
              <a:extLst>
                <a:ext uri="{FF2B5EF4-FFF2-40B4-BE49-F238E27FC236}">
                  <a16:creationId xmlns:a16="http://schemas.microsoft.com/office/drawing/2014/main" id="{D1B77B6E-BEFA-B17D-4C00-01ADC74840A4}"/>
                </a:ext>
              </a:extLst>
            </p:cNvPr>
            <p:cNvSpPr/>
            <p:nvPr/>
          </p:nvSpPr>
          <p:spPr>
            <a:xfrm>
              <a:off x="10350231" y="3811621"/>
              <a:ext cx="166207" cy="0"/>
            </a:xfrm>
            <a:custGeom>
              <a:avLst/>
              <a:gdLst/>
              <a:ahLst/>
              <a:cxnLst/>
              <a:rect l="0" t="0" r="0" b="0"/>
              <a:pathLst>
                <a:path w="131707">
                  <a:moveTo>
                    <a:pt x="0" y="0"/>
                  </a:moveTo>
                  <a:lnTo>
                    <a:pt x="131707" y="0"/>
                  </a:lnTo>
                </a:path>
              </a:pathLst>
            </a:custGeom>
            <a:ln w="5962"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0660" name="pl27">
              <a:extLst>
                <a:ext uri="{FF2B5EF4-FFF2-40B4-BE49-F238E27FC236}">
                  <a16:creationId xmlns:a16="http://schemas.microsoft.com/office/drawing/2014/main" id="{4F73764F-4377-7609-0B56-F2374D786EC7}"/>
                </a:ext>
              </a:extLst>
            </p:cNvPr>
            <p:cNvSpPr/>
            <p:nvPr/>
          </p:nvSpPr>
          <p:spPr>
            <a:xfrm>
              <a:off x="10433334" y="3811621"/>
              <a:ext cx="0" cy="196759"/>
            </a:xfrm>
            <a:custGeom>
              <a:avLst/>
              <a:gdLst/>
              <a:ahLst/>
              <a:cxnLst/>
              <a:rect l="0" t="0" r="0" b="0"/>
              <a:pathLst>
                <a:path h="171489">
                  <a:moveTo>
                    <a:pt x="0" y="0"/>
                  </a:moveTo>
                  <a:lnTo>
                    <a:pt x="0" y="171489"/>
                  </a:lnTo>
                </a:path>
              </a:pathLst>
            </a:custGeom>
            <a:ln w="5962"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0661" name="pl28">
              <a:extLst>
                <a:ext uri="{FF2B5EF4-FFF2-40B4-BE49-F238E27FC236}">
                  <a16:creationId xmlns:a16="http://schemas.microsoft.com/office/drawing/2014/main" id="{9059400F-5CA7-4CDC-96C1-7AF8E3D9FF61}"/>
                </a:ext>
              </a:extLst>
            </p:cNvPr>
            <p:cNvSpPr/>
            <p:nvPr/>
          </p:nvSpPr>
          <p:spPr>
            <a:xfrm>
              <a:off x="10350231" y="4008380"/>
              <a:ext cx="166207" cy="0"/>
            </a:xfrm>
            <a:custGeom>
              <a:avLst/>
              <a:gdLst/>
              <a:ahLst/>
              <a:cxnLst/>
              <a:rect l="0" t="0" r="0" b="0"/>
              <a:pathLst>
                <a:path w="131707">
                  <a:moveTo>
                    <a:pt x="0" y="0"/>
                  </a:moveTo>
                  <a:lnTo>
                    <a:pt x="131707" y="0"/>
                  </a:lnTo>
                </a:path>
              </a:pathLst>
            </a:custGeom>
            <a:ln w="5962"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0662" name="pl29">
              <a:extLst>
                <a:ext uri="{FF2B5EF4-FFF2-40B4-BE49-F238E27FC236}">
                  <a16:creationId xmlns:a16="http://schemas.microsoft.com/office/drawing/2014/main" id="{0D0A8406-60BE-106B-24A7-F24D8329955F}"/>
                </a:ext>
              </a:extLst>
            </p:cNvPr>
            <p:cNvSpPr/>
            <p:nvPr/>
          </p:nvSpPr>
          <p:spPr>
            <a:xfrm>
              <a:off x="10682645" y="4738587"/>
              <a:ext cx="166207" cy="0"/>
            </a:xfrm>
            <a:custGeom>
              <a:avLst/>
              <a:gdLst/>
              <a:ahLst/>
              <a:cxnLst/>
              <a:rect l="0" t="0" r="0" b="0"/>
              <a:pathLst>
                <a:path w="131707">
                  <a:moveTo>
                    <a:pt x="0" y="0"/>
                  </a:moveTo>
                  <a:lnTo>
                    <a:pt x="131707" y="0"/>
                  </a:lnTo>
                </a:path>
              </a:pathLst>
            </a:custGeom>
            <a:ln w="5962"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0663" name="pl30">
              <a:extLst>
                <a:ext uri="{FF2B5EF4-FFF2-40B4-BE49-F238E27FC236}">
                  <a16:creationId xmlns:a16="http://schemas.microsoft.com/office/drawing/2014/main" id="{1E1D7371-7FFA-1995-9661-ABA24FA95CD1}"/>
                </a:ext>
              </a:extLst>
            </p:cNvPr>
            <p:cNvSpPr/>
            <p:nvPr/>
          </p:nvSpPr>
          <p:spPr>
            <a:xfrm>
              <a:off x="10765748" y="4738587"/>
              <a:ext cx="0" cy="93779"/>
            </a:xfrm>
            <a:custGeom>
              <a:avLst/>
              <a:gdLst/>
              <a:ahLst/>
              <a:cxnLst/>
              <a:rect l="0" t="0" r="0" b="0"/>
              <a:pathLst>
                <a:path h="81735">
                  <a:moveTo>
                    <a:pt x="0" y="0"/>
                  </a:moveTo>
                  <a:lnTo>
                    <a:pt x="0" y="81735"/>
                  </a:lnTo>
                </a:path>
              </a:pathLst>
            </a:custGeom>
            <a:ln w="5962"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0664" name="pl31">
              <a:extLst>
                <a:ext uri="{FF2B5EF4-FFF2-40B4-BE49-F238E27FC236}">
                  <a16:creationId xmlns:a16="http://schemas.microsoft.com/office/drawing/2014/main" id="{025B26B4-C0AD-565F-69D1-D2631D36291A}"/>
                </a:ext>
              </a:extLst>
            </p:cNvPr>
            <p:cNvSpPr/>
            <p:nvPr/>
          </p:nvSpPr>
          <p:spPr>
            <a:xfrm>
              <a:off x="10682645" y="4832367"/>
              <a:ext cx="166207" cy="0"/>
            </a:xfrm>
            <a:custGeom>
              <a:avLst/>
              <a:gdLst/>
              <a:ahLst/>
              <a:cxnLst/>
              <a:rect l="0" t="0" r="0" b="0"/>
              <a:pathLst>
                <a:path w="131707">
                  <a:moveTo>
                    <a:pt x="0" y="0"/>
                  </a:moveTo>
                  <a:lnTo>
                    <a:pt x="131707" y="0"/>
                  </a:lnTo>
                </a:path>
              </a:pathLst>
            </a:custGeom>
            <a:ln w="5962"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0665" name="pl32">
              <a:extLst>
                <a:ext uri="{FF2B5EF4-FFF2-40B4-BE49-F238E27FC236}">
                  <a16:creationId xmlns:a16="http://schemas.microsoft.com/office/drawing/2014/main" id="{04DCC545-8CA7-8F0E-17C3-9C72A914A14D}"/>
                </a:ext>
              </a:extLst>
            </p:cNvPr>
            <p:cNvSpPr/>
            <p:nvPr/>
          </p:nvSpPr>
          <p:spPr>
            <a:xfrm>
              <a:off x="11015059" y="4615023"/>
              <a:ext cx="166207" cy="0"/>
            </a:xfrm>
            <a:custGeom>
              <a:avLst/>
              <a:gdLst/>
              <a:ahLst/>
              <a:cxnLst/>
              <a:rect l="0" t="0" r="0" b="0"/>
              <a:pathLst>
                <a:path w="131707">
                  <a:moveTo>
                    <a:pt x="0" y="0"/>
                  </a:moveTo>
                  <a:lnTo>
                    <a:pt x="131707" y="0"/>
                  </a:lnTo>
                </a:path>
              </a:pathLst>
            </a:custGeom>
            <a:ln w="5962"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0666" name="pl33">
              <a:extLst>
                <a:ext uri="{FF2B5EF4-FFF2-40B4-BE49-F238E27FC236}">
                  <a16:creationId xmlns:a16="http://schemas.microsoft.com/office/drawing/2014/main" id="{DC4104EE-203A-CE5F-45B4-AD2FB49A13E2}"/>
                </a:ext>
              </a:extLst>
            </p:cNvPr>
            <p:cNvSpPr/>
            <p:nvPr/>
          </p:nvSpPr>
          <p:spPr>
            <a:xfrm>
              <a:off x="11098163" y="4615023"/>
              <a:ext cx="0" cy="284872"/>
            </a:xfrm>
            <a:custGeom>
              <a:avLst/>
              <a:gdLst/>
              <a:ahLst/>
              <a:cxnLst/>
              <a:rect l="0" t="0" r="0" b="0"/>
              <a:pathLst>
                <a:path h="248286">
                  <a:moveTo>
                    <a:pt x="0" y="0"/>
                  </a:moveTo>
                  <a:lnTo>
                    <a:pt x="0" y="248286"/>
                  </a:lnTo>
                </a:path>
              </a:pathLst>
            </a:custGeom>
            <a:ln w="5962"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0667" name="pl34">
              <a:extLst>
                <a:ext uri="{FF2B5EF4-FFF2-40B4-BE49-F238E27FC236}">
                  <a16:creationId xmlns:a16="http://schemas.microsoft.com/office/drawing/2014/main" id="{C10F8377-5A7E-A1C4-6C38-E66C5F3B3418}"/>
                </a:ext>
              </a:extLst>
            </p:cNvPr>
            <p:cNvSpPr/>
            <p:nvPr/>
          </p:nvSpPr>
          <p:spPr>
            <a:xfrm>
              <a:off x="11015059" y="4899895"/>
              <a:ext cx="166207" cy="0"/>
            </a:xfrm>
            <a:custGeom>
              <a:avLst/>
              <a:gdLst/>
              <a:ahLst/>
              <a:cxnLst/>
              <a:rect l="0" t="0" r="0" b="0"/>
              <a:pathLst>
                <a:path w="131707">
                  <a:moveTo>
                    <a:pt x="0" y="0"/>
                  </a:moveTo>
                  <a:lnTo>
                    <a:pt x="131707" y="0"/>
                  </a:lnTo>
                </a:path>
              </a:pathLst>
            </a:custGeom>
            <a:ln w="5962"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0668" name="pl35">
              <a:extLst>
                <a:ext uri="{FF2B5EF4-FFF2-40B4-BE49-F238E27FC236}">
                  <a16:creationId xmlns:a16="http://schemas.microsoft.com/office/drawing/2014/main" id="{B677A655-1EA2-ECCB-8073-9690D19C45D0}"/>
                </a:ext>
              </a:extLst>
            </p:cNvPr>
            <p:cNvSpPr/>
            <p:nvPr/>
          </p:nvSpPr>
          <p:spPr>
            <a:xfrm>
              <a:off x="11347474" y="4404875"/>
              <a:ext cx="166207" cy="0"/>
            </a:xfrm>
            <a:custGeom>
              <a:avLst/>
              <a:gdLst/>
              <a:ahLst/>
              <a:cxnLst/>
              <a:rect l="0" t="0" r="0" b="0"/>
              <a:pathLst>
                <a:path w="131707">
                  <a:moveTo>
                    <a:pt x="0" y="0"/>
                  </a:moveTo>
                  <a:lnTo>
                    <a:pt x="131707" y="0"/>
                  </a:lnTo>
                </a:path>
              </a:pathLst>
            </a:custGeom>
            <a:ln w="5962"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0669" name="pl36">
              <a:extLst>
                <a:ext uri="{FF2B5EF4-FFF2-40B4-BE49-F238E27FC236}">
                  <a16:creationId xmlns:a16="http://schemas.microsoft.com/office/drawing/2014/main" id="{EB6643FB-3478-4532-6367-0A55464BCD32}"/>
                </a:ext>
              </a:extLst>
            </p:cNvPr>
            <p:cNvSpPr/>
            <p:nvPr/>
          </p:nvSpPr>
          <p:spPr>
            <a:xfrm>
              <a:off x="11430576" y="4404875"/>
              <a:ext cx="0" cy="205287"/>
            </a:xfrm>
            <a:custGeom>
              <a:avLst/>
              <a:gdLst/>
              <a:ahLst/>
              <a:cxnLst/>
              <a:rect l="0" t="0" r="0" b="0"/>
              <a:pathLst>
                <a:path h="178922">
                  <a:moveTo>
                    <a:pt x="0" y="0"/>
                  </a:moveTo>
                  <a:lnTo>
                    <a:pt x="0" y="178922"/>
                  </a:lnTo>
                </a:path>
              </a:pathLst>
            </a:custGeom>
            <a:ln w="5962"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0670" name="pl37">
              <a:extLst>
                <a:ext uri="{FF2B5EF4-FFF2-40B4-BE49-F238E27FC236}">
                  <a16:creationId xmlns:a16="http://schemas.microsoft.com/office/drawing/2014/main" id="{B826A65A-D925-51B5-3540-C950AE7FD823}"/>
                </a:ext>
              </a:extLst>
            </p:cNvPr>
            <p:cNvSpPr/>
            <p:nvPr/>
          </p:nvSpPr>
          <p:spPr>
            <a:xfrm>
              <a:off x="11347474" y="4610162"/>
              <a:ext cx="166207" cy="0"/>
            </a:xfrm>
            <a:custGeom>
              <a:avLst/>
              <a:gdLst/>
              <a:ahLst/>
              <a:cxnLst/>
              <a:rect l="0" t="0" r="0" b="0"/>
              <a:pathLst>
                <a:path w="131707">
                  <a:moveTo>
                    <a:pt x="0" y="0"/>
                  </a:moveTo>
                  <a:lnTo>
                    <a:pt x="131707" y="0"/>
                  </a:lnTo>
                </a:path>
              </a:pathLst>
            </a:custGeom>
            <a:ln w="5962"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0671" name="tx38">
              <a:extLst>
                <a:ext uri="{FF2B5EF4-FFF2-40B4-BE49-F238E27FC236}">
                  <a16:creationId xmlns:a16="http://schemas.microsoft.com/office/drawing/2014/main" id="{C1579D5B-CBB1-1CCF-054B-B8AA61EA2A3D}"/>
                </a:ext>
              </a:extLst>
            </p:cNvPr>
            <p:cNvSpPr/>
            <p:nvPr/>
          </p:nvSpPr>
          <p:spPr>
            <a:xfrm>
              <a:off x="10068381" y="4513790"/>
              <a:ext cx="65077" cy="47441"/>
            </a:xfrm>
            <a:prstGeom prst="rect">
              <a:avLst/>
            </a:prstGeom>
            <a:noFill/>
          </p:spPr>
          <p:txBody>
            <a:bodyPr wrap="none" lIns="0" tIns="0" rIns="0" bIns="0" anchor="ctr" anchorCtr="1"/>
            <a:lstStyle/>
            <a:p>
              <a:pPr defTabSz="914400">
                <a:lnSpc>
                  <a:spcPts val="914"/>
                </a:lnSpc>
              </a:pPr>
              <a:r>
                <a:rPr sz="914">
                  <a:solidFill>
                    <a:srgbClr val="745DAD">
                      <a:alpha val="100000"/>
                    </a:srgbClr>
                  </a:solidFill>
                  <a:latin typeface="Avenir Next LT Pro"/>
                  <a:cs typeface="Avenir Next LT Pro"/>
                </a:rPr>
                <a:t>*</a:t>
              </a:r>
            </a:p>
          </p:txBody>
        </p:sp>
        <p:sp>
          <p:nvSpPr>
            <p:cNvPr id="10672" name="tx39">
              <a:extLst>
                <a:ext uri="{FF2B5EF4-FFF2-40B4-BE49-F238E27FC236}">
                  <a16:creationId xmlns:a16="http://schemas.microsoft.com/office/drawing/2014/main" id="{ABD1CE13-7564-C614-33DB-D0207C8461F6}"/>
                </a:ext>
              </a:extLst>
            </p:cNvPr>
            <p:cNvSpPr/>
            <p:nvPr/>
          </p:nvSpPr>
          <p:spPr>
            <a:xfrm>
              <a:off x="10668131" y="4945625"/>
              <a:ext cx="195234" cy="47441"/>
            </a:xfrm>
            <a:prstGeom prst="rect">
              <a:avLst/>
            </a:prstGeom>
            <a:noFill/>
          </p:spPr>
          <p:txBody>
            <a:bodyPr wrap="none" lIns="0" tIns="0" rIns="0" bIns="0" anchor="ctr" anchorCtr="1"/>
            <a:lstStyle/>
            <a:p>
              <a:pPr defTabSz="914400">
                <a:lnSpc>
                  <a:spcPts val="914"/>
                </a:lnSpc>
              </a:pPr>
              <a:r>
                <a:rPr sz="914">
                  <a:solidFill>
                    <a:srgbClr val="48B0D8">
                      <a:alpha val="100000"/>
                    </a:srgbClr>
                  </a:solidFill>
                  <a:latin typeface="Avenir Next LT Pro"/>
                  <a:cs typeface="Avenir Next LT Pro"/>
                </a:rPr>
                <a:t>***</a:t>
              </a:r>
            </a:p>
          </p:txBody>
        </p:sp>
        <p:sp>
          <p:nvSpPr>
            <p:cNvPr id="10673" name="tx40">
              <a:extLst>
                <a:ext uri="{FF2B5EF4-FFF2-40B4-BE49-F238E27FC236}">
                  <a16:creationId xmlns:a16="http://schemas.microsoft.com/office/drawing/2014/main" id="{2607A084-31CD-1D95-EC98-AF5A43FA662E}"/>
                </a:ext>
              </a:extLst>
            </p:cNvPr>
            <p:cNvSpPr/>
            <p:nvPr/>
          </p:nvSpPr>
          <p:spPr>
            <a:xfrm>
              <a:off x="11000545" y="5013152"/>
              <a:ext cx="195234" cy="47441"/>
            </a:xfrm>
            <a:prstGeom prst="rect">
              <a:avLst/>
            </a:prstGeom>
            <a:noFill/>
          </p:spPr>
          <p:txBody>
            <a:bodyPr wrap="none" lIns="0" tIns="0" rIns="0" bIns="0" anchor="ctr" anchorCtr="1"/>
            <a:lstStyle/>
            <a:p>
              <a:pPr defTabSz="914400">
                <a:lnSpc>
                  <a:spcPts val="914"/>
                </a:lnSpc>
              </a:pPr>
              <a:r>
                <a:rPr sz="914">
                  <a:solidFill>
                    <a:srgbClr val="2878FF">
                      <a:alpha val="100000"/>
                    </a:srgbClr>
                  </a:solidFill>
                  <a:latin typeface="Avenir Next LT Pro"/>
                  <a:cs typeface="Avenir Next LT Pro"/>
                </a:rPr>
                <a:t>***</a:t>
              </a:r>
            </a:p>
          </p:txBody>
        </p:sp>
        <p:sp>
          <p:nvSpPr>
            <p:cNvPr id="10674" name="tx41">
              <a:extLst>
                <a:ext uri="{FF2B5EF4-FFF2-40B4-BE49-F238E27FC236}">
                  <a16:creationId xmlns:a16="http://schemas.microsoft.com/office/drawing/2014/main" id="{D005341E-E107-74E3-657F-7882B9CA6320}"/>
                </a:ext>
              </a:extLst>
            </p:cNvPr>
            <p:cNvSpPr/>
            <p:nvPr/>
          </p:nvSpPr>
          <p:spPr>
            <a:xfrm>
              <a:off x="11332960" y="4723421"/>
              <a:ext cx="195234" cy="47441"/>
            </a:xfrm>
            <a:prstGeom prst="rect">
              <a:avLst/>
            </a:prstGeom>
            <a:noFill/>
          </p:spPr>
          <p:txBody>
            <a:bodyPr wrap="none" lIns="0" tIns="0" rIns="0" bIns="0" anchor="ctr" anchorCtr="1"/>
            <a:lstStyle/>
            <a:p>
              <a:pPr defTabSz="914400">
                <a:lnSpc>
                  <a:spcPts val="914"/>
                </a:lnSpc>
              </a:pPr>
              <a:r>
                <a:rPr sz="914">
                  <a:solidFill>
                    <a:srgbClr val="E2B22C">
                      <a:alpha val="100000"/>
                    </a:srgbClr>
                  </a:solidFill>
                  <a:latin typeface="Avenir Next LT Pro"/>
                  <a:cs typeface="Avenir Next LT Pro"/>
                </a:rPr>
                <a:t>***</a:t>
              </a:r>
            </a:p>
          </p:txBody>
        </p:sp>
        <p:sp>
          <p:nvSpPr>
            <p:cNvPr id="10675" name="pl42">
              <a:extLst>
                <a:ext uri="{FF2B5EF4-FFF2-40B4-BE49-F238E27FC236}">
                  <a16:creationId xmlns:a16="http://schemas.microsoft.com/office/drawing/2014/main" id="{6903EBEB-925B-0BD8-F89F-AB1F2BE6AB7A}"/>
                </a:ext>
              </a:extLst>
            </p:cNvPr>
            <p:cNvSpPr/>
            <p:nvPr/>
          </p:nvSpPr>
          <p:spPr>
            <a:xfrm>
              <a:off x="8904230" y="3530569"/>
              <a:ext cx="0" cy="1652189"/>
            </a:xfrm>
            <a:custGeom>
              <a:avLst/>
              <a:gdLst/>
              <a:ahLst/>
              <a:cxnLst/>
              <a:rect l="0" t="0" r="0" b="0"/>
              <a:pathLst>
                <a:path h="1439999">
                  <a:moveTo>
                    <a:pt x="0" y="1439999"/>
                  </a:moveTo>
                  <a:lnTo>
                    <a:pt x="0"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0676" name="tx43">
              <a:extLst>
                <a:ext uri="{FF2B5EF4-FFF2-40B4-BE49-F238E27FC236}">
                  <a16:creationId xmlns:a16="http://schemas.microsoft.com/office/drawing/2014/main" id="{9AFE27BF-A010-AA69-6598-3A1BE58A4EE0}"/>
                </a:ext>
              </a:extLst>
            </p:cNvPr>
            <p:cNvSpPr/>
            <p:nvPr/>
          </p:nvSpPr>
          <p:spPr>
            <a:xfrm>
              <a:off x="8624876" y="5141844"/>
              <a:ext cx="170780" cy="78056"/>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80</a:t>
              </a:r>
            </a:p>
          </p:txBody>
        </p:sp>
        <p:sp>
          <p:nvSpPr>
            <p:cNvPr id="10677" name="tx44">
              <a:extLst>
                <a:ext uri="{FF2B5EF4-FFF2-40B4-BE49-F238E27FC236}">
                  <a16:creationId xmlns:a16="http://schemas.microsoft.com/office/drawing/2014/main" id="{0403F921-D77A-E8A8-B54E-511AD6DBD2E2}"/>
                </a:ext>
              </a:extLst>
            </p:cNvPr>
            <p:cNvSpPr/>
            <p:nvPr/>
          </p:nvSpPr>
          <p:spPr>
            <a:xfrm>
              <a:off x="8624876" y="4958267"/>
              <a:ext cx="170780" cy="78056"/>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70</a:t>
              </a:r>
            </a:p>
          </p:txBody>
        </p:sp>
        <p:sp>
          <p:nvSpPr>
            <p:cNvPr id="10678" name="tx45">
              <a:extLst>
                <a:ext uri="{FF2B5EF4-FFF2-40B4-BE49-F238E27FC236}">
                  <a16:creationId xmlns:a16="http://schemas.microsoft.com/office/drawing/2014/main" id="{A0E8673D-85C5-6899-7CBA-A66A0EA16EF8}"/>
                </a:ext>
              </a:extLst>
            </p:cNvPr>
            <p:cNvSpPr/>
            <p:nvPr/>
          </p:nvSpPr>
          <p:spPr>
            <a:xfrm>
              <a:off x="8624876" y="4774691"/>
              <a:ext cx="170780" cy="78056"/>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60</a:t>
              </a:r>
            </a:p>
          </p:txBody>
        </p:sp>
        <p:sp>
          <p:nvSpPr>
            <p:cNvPr id="10679" name="tx46">
              <a:extLst>
                <a:ext uri="{FF2B5EF4-FFF2-40B4-BE49-F238E27FC236}">
                  <a16:creationId xmlns:a16="http://schemas.microsoft.com/office/drawing/2014/main" id="{5B43CDE2-8E00-7EA3-B154-8C454B8BBBC9}"/>
                </a:ext>
              </a:extLst>
            </p:cNvPr>
            <p:cNvSpPr/>
            <p:nvPr/>
          </p:nvSpPr>
          <p:spPr>
            <a:xfrm>
              <a:off x="8624876" y="4591114"/>
              <a:ext cx="170780" cy="78056"/>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50</a:t>
              </a:r>
            </a:p>
          </p:txBody>
        </p:sp>
        <p:sp>
          <p:nvSpPr>
            <p:cNvPr id="10680" name="tx47">
              <a:extLst>
                <a:ext uri="{FF2B5EF4-FFF2-40B4-BE49-F238E27FC236}">
                  <a16:creationId xmlns:a16="http://schemas.microsoft.com/office/drawing/2014/main" id="{36428EE1-C99D-E422-7BB5-223E52E3BFC5}"/>
                </a:ext>
              </a:extLst>
            </p:cNvPr>
            <p:cNvSpPr/>
            <p:nvPr/>
          </p:nvSpPr>
          <p:spPr>
            <a:xfrm>
              <a:off x="8624876" y="4407537"/>
              <a:ext cx="170780" cy="78056"/>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40</a:t>
              </a:r>
            </a:p>
          </p:txBody>
        </p:sp>
        <p:sp>
          <p:nvSpPr>
            <p:cNvPr id="10681" name="tx48">
              <a:extLst>
                <a:ext uri="{FF2B5EF4-FFF2-40B4-BE49-F238E27FC236}">
                  <a16:creationId xmlns:a16="http://schemas.microsoft.com/office/drawing/2014/main" id="{EFEE45C5-E3FB-56A6-B40F-2E43A7480290}"/>
                </a:ext>
              </a:extLst>
            </p:cNvPr>
            <p:cNvSpPr/>
            <p:nvPr/>
          </p:nvSpPr>
          <p:spPr>
            <a:xfrm>
              <a:off x="8624876" y="4223961"/>
              <a:ext cx="170780" cy="78056"/>
            </a:xfrm>
            <a:prstGeom prst="rect">
              <a:avLst/>
            </a:prstGeom>
            <a:noFill/>
          </p:spPr>
          <p:txBody>
            <a:bodyPr wrap="none" lIns="0" tIns="0" rIns="0" bIns="0" anchor="ctr" anchorCtr="1"/>
            <a:lstStyle/>
            <a:p>
              <a:pPr defTabSz="914400">
                <a:lnSpc>
                  <a:spcPts val="720"/>
                </a:lnSpc>
              </a:pPr>
              <a:r>
                <a:rPr sz="720">
                  <a:solidFill>
                    <a:srgbClr val="001965">
                      <a:alpha val="100000"/>
                    </a:srgbClr>
                  </a:solidFill>
                  <a:latin typeface="Avenir Next LT Pro"/>
                  <a:cs typeface="Avenir Next LT Pro"/>
                </a:rPr>
                <a:t>-</a:t>
              </a:r>
              <a:r>
                <a:rPr sz="900">
                  <a:solidFill>
                    <a:srgbClr val="001965">
                      <a:alpha val="100000"/>
                    </a:srgbClr>
                  </a:solidFill>
                  <a:latin typeface="Avenir Next LT Pro"/>
                  <a:cs typeface="Avenir Next LT Pro"/>
                </a:rPr>
                <a:t>30</a:t>
              </a:r>
            </a:p>
          </p:txBody>
        </p:sp>
        <p:sp>
          <p:nvSpPr>
            <p:cNvPr id="10682" name="tx49">
              <a:extLst>
                <a:ext uri="{FF2B5EF4-FFF2-40B4-BE49-F238E27FC236}">
                  <a16:creationId xmlns:a16="http://schemas.microsoft.com/office/drawing/2014/main" id="{07FF647F-FDDD-53EA-CE1D-0586793B0D04}"/>
                </a:ext>
              </a:extLst>
            </p:cNvPr>
            <p:cNvSpPr/>
            <p:nvPr/>
          </p:nvSpPr>
          <p:spPr>
            <a:xfrm>
              <a:off x="8624876" y="4040384"/>
              <a:ext cx="170780" cy="78056"/>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20</a:t>
              </a:r>
            </a:p>
          </p:txBody>
        </p:sp>
        <p:sp>
          <p:nvSpPr>
            <p:cNvPr id="10683" name="tx50">
              <a:extLst>
                <a:ext uri="{FF2B5EF4-FFF2-40B4-BE49-F238E27FC236}">
                  <a16:creationId xmlns:a16="http://schemas.microsoft.com/office/drawing/2014/main" id="{2A8BBA13-9494-8E0D-9C79-F344C2C0D099}"/>
                </a:ext>
              </a:extLst>
            </p:cNvPr>
            <p:cNvSpPr/>
            <p:nvPr/>
          </p:nvSpPr>
          <p:spPr>
            <a:xfrm>
              <a:off x="8624876" y="3856807"/>
              <a:ext cx="170780" cy="78056"/>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10</a:t>
              </a:r>
            </a:p>
          </p:txBody>
        </p:sp>
        <p:sp>
          <p:nvSpPr>
            <p:cNvPr id="10684" name="tx51">
              <a:extLst>
                <a:ext uri="{FF2B5EF4-FFF2-40B4-BE49-F238E27FC236}">
                  <a16:creationId xmlns:a16="http://schemas.microsoft.com/office/drawing/2014/main" id="{760EC73F-8B9E-59F5-032D-9E8AEC9E52C2}"/>
                </a:ext>
              </a:extLst>
            </p:cNvPr>
            <p:cNvSpPr/>
            <p:nvPr/>
          </p:nvSpPr>
          <p:spPr>
            <a:xfrm>
              <a:off x="8728729" y="3673230"/>
              <a:ext cx="66927" cy="78056"/>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0</a:t>
              </a:r>
            </a:p>
          </p:txBody>
        </p:sp>
        <p:sp>
          <p:nvSpPr>
            <p:cNvPr id="10685" name="tx52">
              <a:extLst>
                <a:ext uri="{FF2B5EF4-FFF2-40B4-BE49-F238E27FC236}">
                  <a16:creationId xmlns:a16="http://schemas.microsoft.com/office/drawing/2014/main" id="{4C9BE0F7-94B4-15BA-92E9-ECCDCD0AD590}"/>
                </a:ext>
              </a:extLst>
            </p:cNvPr>
            <p:cNvSpPr/>
            <p:nvPr/>
          </p:nvSpPr>
          <p:spPr>
            <a:xfrm>
              <a:off x="8661800" y="3489654"/>
              <a:ext cx="133854" cy="78056"/>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10</a:t>
              </a:r>
            </a:p>
          </p:txBody>
        </p:sp>
        <p:sp>
          <p:nvSpPr>
            <p:cNvPr id="10686" name="pl53">
              <a:extLst>
                <a:ext uri="{FF2B5EF4-FFF2-40B4-BE49-F238E27FC236}">
                  <a16:creationId xmlns:a16="http://schemas.microsoft.com/office/drawing/2014/main" id="{8CD9EA3B-FEEF-D137-CBB8-27B63097DE90}"/>
                </a:ext>
              </a:extLst>
            </p:cNvPr>
            <p:cNvSpPr/>
            <p:nvPr/>
          </p:nvSpPr>
          <p:spPr>
            <a:xfrm>
              <a:off x="8824395" y="5182760"/>
              <a:ext cx="79833"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0687" name="pl54">
              <a:extLst>
                <a:ext uri="{FF2B5EF4-FFF2-40B4-BE49-F238E27FC236}">
                  <a16:creationId xmlns:a16="http://schemas.microsoft.com/office/drawing/2014/main" id="{4CC5A6FE-10DE-38E9-EE2D-32A4A903FDDF}"/>
                </a:ext>
              </a:extLst>
            </p:cNvPr>
            <p:cNvSpPr/>
            <p:nvPr/>
          </p:nvSpPr>
          <p:spPr>
            <a:xfrm>
              <a:off x="8824395" y="4999183"/>
              <a:ext cx="79833"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0816" name="pl55">
              <a:extLst>
                <a:ext uri="{FF2B5EF4-FFF2-40B4-BE49-F238E27FC236}">
                  <a16:creationId xmlns:a16="http://schemas.microsoft.com/office/drawing/2014/main" id="{5719162A-E0CB-230C-7891-921496486DD7}"/>
                </a:ext>
              </a:extLst>
            </p:cNvPr>
            <p:cNvSpPr/>
            <p:nvPr/>
          </p:nvSpPr>
          <p:spPr>
            <a:xfrm>
              <a:off x="8824395" y="4815607"/>
              <a:ext cx="79833"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0817" name="pl56">
              <a:extLst>
                <a:ext uri="{FF2B5EF4-FFF2-40B4-BE49-F238E27FC236}">
                  <a16:creationId xmlns:a16="http://schemas.microsoft.com/office/drawing/2014/main" id="{337AE3CA-9039-B5AF-2DF0-DF1834398EE0}"/>
                </a:ext>
              </a:extLst>
            </p:cNvPr>
            <p:cNvSpPr/>
            <p:nvPr/>
          </p:nvSpPr>
          <p:spPr>
            <a:xfrm>
              <a:off x="8824395" y="4632030"/>
              <a:ext cx="79833"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0818" name="pl57">
              <a:extLst>
                <a:ext uri="{FF2B5EF4-FFF2-40B4-BE49-F238E27FC236}">
                  <a16:creationId xmlns:a16="http://schemas.microsoft.com/office/drawing/2014/main" id="{C2A0C4B3-96EF-FDD1-969C-E388E3F7268C}"/>
                </a:ext>
              </a:extLst>
            </p:cNvPr>
            <p:cNvSpPr/>
            <p:nvPr/>
          </p:nvSpPr>
          <p:spPr>
            <a:xfrm>
              <a:off x="8824395" y="4448453"/>
              <a:ext cx="79833"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0819" name="pl58">
              <a:extLst>
                <a:ext uri="{FF2B5EF4-FFF2-40B4-BE49-F238E27FC236}">
                  <a16:creationId xmlns:a16="http://schemas.microsoft.com/office/drawing/2014/main" id="{3609B669-F72A-AA8E-7142-5506090868C1}"/>
                </a:ext>
              </a:extLst>
            </p:cNvPr>
            <p:cNvSpPr/>
            <p:nvPr/>
          </p:nvSpPr>
          <p:spPr>
            <a:xfrm>
              <a:off x="8824395" y="4264876"/>
              <a:ext cx="79833"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0820" name="pl59">
              <a:extLst>
                <a:ext uri="{FF2B5EF4-FFF2-40B4-BE49-F238E27FC236}">
                  <a16:creationId xmlns:a16="http://schemas.microsoft.com/office/drawing/2014/main" id="{85FD579A-FB2B-8490-11FA-C5607225B565}"/>
                </a:ext>
              </a:extLst>
            </p:cNvPr>
            <p:cNvSpPr/>
            <p:nvPr/>
          </p:nvSpPr>
          <p:spPr>
            <a:xfrm>
              <a:off x="8824395" y="4081300"/>
              <a:ext cx="79833"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0821" name="pl60">
              <a:extLst>
                <a:ext uri="{FF2B5EF4-FFF2-40B4-BE49-F238E27FC236}">
                  <a16:creationId xmlns:a16="http://schemas.microsoft.com/office/drawing/2014/main" id="{E4230F4E-9F9F-42BD-DC5B-0BE4CCA5A254}"/>
                </a:ext>
              </a:extLst>
            </p:cNvPr>
            <p:cNvSpPr/>
            <p:nvPr/>
          </p:nvSpPr>
          <p:spPr>
            <a:xfrm>
              <a:off x="8824395" y="3897723"/>
              <a:ext cx="79833"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0822" name="pl61">
              <a:extLst>
                <a:ext uri="{FF2B5EF4-FFF2-40B4-BE49-F238E27FC236}">
                  <a16:creationId xmlns:a16="http://schemas.microsoft.com/office/drawing/2014/main" id="{EF4E8D64-92AA-BF4C-4B95-99267EB848AE}"/>
                </a:ext>
              </a:extLst>
            </p:cNvPr>
            <p:cNvSpPr/>
            <p:nvPr/>
          </p:nvSpPr>
          <p:spPr>
            <a:xfrm>
              <a:off x="8824395" y="3714146"/>
              <a:ext cx="79833"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0823" name="pl62">
              <a:extLst>
                <a:ext uri="{FF2B5EF4-FFF2-40B4-BE49-F238E27FC236}">
                  <a16:creationId xmlns:a16="http://schemas.microsoft.com/office/drawing/2014/main" id="{69A1B960-FC4C-177C-D1EF-EF7970EB80F7}"/>
                </a:ext>
              </a:extLst>
            </p:cNvPr>
            <p:cNvSpPr/>
            <p:nvPr/>
          </p:nvSpPr>
          <p:spPr>
            <a:xfrm>
              <a:off x="8824395" y="3530569"/>
              <a:ext cx="79833"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0824" name="pl63">
              <a:extLst>
                <a:ext uri="{FF2B5EF4-FFF2-40B4-BE49-F238E27FC236}">
                  <a16:creationId xmlns:a16="http://schemas.microsoft.com/office/drawing/2014/main" id="{E649E331-B6AF-3B24-239E-540FFBF0BF6F}"/>
                </a:ext>
              </a:extLst>
            </p:cNvPr>
            <p:cNvSpPr/>
            <p:nvPr/>
          </p:nvSpPr>
          <p:spPr>
            <a:xfrm>
              <a:off x="8904230" y="5182760"/>
              <a:ext cx="2725794" cy="0"/>
            </a:xfrm>
            <a:custGeom>
              <a:avLst/>
              <a:gdLst/>
              <a:ahLst/>
              <a:cxnLst/>
              <a:rect l="0" t="0" r="0" b="0"/>
              <a:pathLst>
                <a:path w="2159999">
                  <a:moveTo>
                    <a:pt x="0" y="0"/>
                  </a:moveTo>
                  <a:lnTo>
                    <a:pt x="2159999"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0833" name="tx82">
              <a:extLst>
                <a:ext uri="{FF2B5EF4-FFF2-40B4-BE49-F238E27FC236}">
                  <a16:creationId xmlns:a16="http://schemas.microsoft.com/office/drawing/2014/main" id="{282C38C4-365B-F66E-37C8-6FE92D5D7EB5}"/>
                </a:ext>
              </a:extLst>
            </p:cNvPr>
            <p:cNvSpPr/>
            <p:nvPr/>
          </p:nvSpPr>
          <p:spPr>
            <a:xfrm rot="16200000">
              <a:off x="7462565" y="4283968"/>
              <a:ext cx="2075462" cy="145393"/>
            </a:xfrm>
            <a:prstGeom prst="rect">
              <a:avLst/>
            </a:prstGeom>
            <a:noFill/>
          </p:spPr>
          <p:txBody>
            <a:bodyPr wrap="none" lIns="0" tIns="0" rIns="0" bIns="0" anchor="ctr" anchorCtr="1"/>
            <a:lstStyle/>
            <a:p>
              <a:pPr defTabSz="914400">
                <a:lnSpc>
                  <a:spcPts val="900"/>
                </a:lnSpc>
              </a:pPr>
              <a:r>
                <a:rPr sz="1100" b="1">
                  <a:solidFill>
                    <a:srgbClr val="001965">
                      <a:alpha val="100000"/>
                    </a:srgbClr>
                  </a:solidFill>
                  <a:latin typeface="Avenir Next LT Pro"/>
                  <a:cs typeface="Avenir Next LT Pro"/>
                </a:rPr>
                <a:t>Fat mass change from baseline (g)</a:t>
              </a:r>
            </a:p>
          </p:txBody>
        </p:sp>
      </p:grpSp>
      <p:sp>
        <p:nvSpPr>
          <p:cNvPr id="10835" name="rc4">
            <a:extLst>
              <a:ext uri="{FF2B5EF4-FFF2-40B4-BE49-F238E27FC236}">
                <a16:creationId xmlns:a16="http://schemas.microsoft.com/office/drawing/2014/main" id="{B776545E-5E60-9C1F-FDB9-E8C9265F1233}"/>
              </a:ext>
            </a:extLst>
          </p:cNvPr>
          <p:cNvSpPr/>
          <p:nvPr/>
        </p:nvSpPr>
        <p:spPr>
          <a:xfrm>
            <a:off x="880052" y="3246362"/>
            <a:ext cx="4438100" cy="1947326"/>
          </a:xfrm>
          <a:prstGeom prst="rect">
            <a:avLst/>
          </a:prstGeom>
        </p:spPr>
        <p:txBody>
          <a:bodyPr/>
          <a:lstStyle/>
          <a:p>
            <a:pPr defTabSz="914400"/>
            <a:endParaRPr>
              <a:solidFill>
                <a:srgbClr val="001965"/>
              </a:solidFill>
              <a:latin typeface="Avenir Next LT Pro"/>
            </a:endParaRPr>
          </a:p>
        </p:txBody>
      </p:sp>
      <p:grpSp>
        <p:nvGrpSpPr>
          <p:cNvPr id="11636" name="Group 11635">
            <a:extLst>
              <a:ext uri="{FF2B5EF4-FFF2-40B4-BE49-F238E27FC236}">
                <a16:creationId xmlns:a16="http://schemas.microsoft.com/office/drawing/2014/main" id="{6237B29B-282D-983A-6286-209328876E44}"/>
              </a:ext>
            </a:extLst>
          </p:cNvPr>
          <p:cNvGrpSpPr/>
          <p:nvPr/>
        </p:nvGrpSpPr>
        <p:grpSpPr>
          <a:xfrm>
            <a:off x="801312" y="3304266"/>
            <a:ext cx="3260618" cy="2304382"/>
            <a:chOff x="876781" y="3354639"/>
            <a:chExt cx="2734842" cy="1932800"/>
          </a:xfrm>
        </p:grpSpPr>
        <p:sp>
          <p:nvSpPr>
            <p:cNvPr id="10836" name="rc5">
              <a:extLst>
                <a:ext uri="{FF2B5EF4-FFF2-40B4-BE49-F238E27FC236}">
                  <a16:creationId xmlns:a16="http://schemas.microsoft.com/office/drawing/2014/main" id="{A16746E6-40DC-62AF-C0A7-16E287A5FDEA}"/>
                </a:ext>
              </a:extLst>
            </p:cNvPr>
            <p:cNvSpPr/>
            <p:nvPr/>
          </p:nvSpPr>
          <p:spPr>
            <a:xfrm>
              <a:off x="1265189" y="3392421"/>
              <a:ext cx="2346434" cy="1525626"/>
            </a:xfrm>
            <a:prstGeom prst="rect">
              <a:avLst/>
            </a:prstGeom>
          </p:spPr>
          <p:txBody>
            <a:bodyPr/>
            <a:lstStyle/>
            <a:p>
              <a:pPr defTabSz="914400"/>
              <a:endParaRPr>
                <a:solidFill>
                  <a:srgbClr val="001965"/>
                </a:solidFill>
                <a:latin typeface="Avenir Next LT Pro"/>
              </a:endParaRPr>
            </a:p>
          </p:txBody>
        </p:sp>
        <p:sp>
          <p:nvSpPr>
            <p:cNvPr id="10837" name="pt6">
              <a:extLst>
                <a:ext uri="{FF2B5EF4-FFF2-40B4-BE49-F238E27FC236}">
                  <a16:creationId xmlns:a16="http://schemas.microsoft.com/office/drawing/2014/main" id="{6D30ABE6-316A-6F61-A4C8-2FF8F83602A3}"/>
                </a:ext>
              </a:extLst>
            </p:cNvPr>
            <p:cNvSpPr/>
            <p:nvPr/>
          </p:nvSpPr>
          <p:spPr>
            <a:xfrm>
              <a:off x="2177962" y="3822086"/>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0838" name="pt7">
              <a:extLst>
                <a:ext uri="{FF2B5EF4-FFF2-40B4-BE49-F238E27FC236}">
                  <a16:creationId xmlns:a16="http://schemas.microsoft.com/office/drawing/2014/main" id="{D5C0DEF9-3D45-E2BF-AC2F-166C5D3D4DAE}"/>
                </a:ext>
              </a:extLst>
            </p:cNvPr>
            <p:cNvSpPr/>
            <p:nvPr/>
          </p:nvSpPr>
          <p:spPr>
            <a:xfrm>
              <a:off x="1765099" y="3865948"/>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0839" name="pt8">
              <a:extLst>
                <a:ext uri="{FF2B5EF4-FFF2-40B4-BE49-F238E27FC236}">
                  <a16:creationId xmlns:a16="http://schemas.microsoft.com/office/drawing/2014/main" id="{82506DE4-E4DE-35FE-5F47-681202C89546}"/>
                </a:ext>
              </a:extLst>
            </p:cNvPr>
            <p:cNvSpPr/>
            <p:nvPr/>
          </p:nvSpPr>
          <p:spPr>
            <a:xfrm>
              <a:off x="3416549" y="3632018"/>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0840" name="pt9">
              <a:extLst>
                <a:ext uri="{FF2B5EF4-FFF2-40B4-BE49-F238E27FC236}">
                  <a16:creationId xmlns:a16="http://schemas.microsoft.com/office/drawing/2014/main" id="{E275231D-1FBF-5EC1-67F3-226D7BD590C0}"/>
                </a:ext>
              </a:extLst>
            </p:cNvPr>
            <p:cNvSpPr/>
            <p:nvPr/>
          </p:nvSpPr>
          <p:spPr>
            <a:xfrm>
              <a:off x="2315582" y="3790938"/>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0841" name="pt10">
              <a:extLst>
                <a:ext uri="{FF2B5EF4-FFF2-40B4-BE49-F238E27FC236}">
                  <a16:creationId xmlns:a16="http://schemas.microsoft.com/office/drawing/2014/main" id="{BBB2932A-CE7F-990D-8A88-FAB62AB66BDA}"/>
                </a:ext>
              </a:extLst>
            </p:cNvPr>
            <p:cNvSpPr/>
            <p:nvPr/>
          </p:nvSpPr>
          <p:spPr>
            <a:xfrm>
              <a:off x="2934876" y="3677787"/>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0842" name="pt11">
              <a:extLst>
                <a:ext uri="{FF2B5EF4-FFF2-40B4-BE49-F238E27FC236}">
                  <a16:creationId xmlns:a16="http://schemas.microsoft.com/office/drawing/2014/main" id="{B73BA0DE-82E5-7BB7-29DC-817B6D237110}"/>
                </a:ext>
              </a:extLst>
            </p:cNvPr>
            <p:cNvSpPr/>
            <p:nvPr/>
          </p:nvSpPr>
          <p:spPr>
            <a:xfrm>
              <a:off x="3347737" y="3658717"/>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0843" name="pt12">
              <a:extLst>
                <a:ext uri="{FF2B5EF4-FFF2-40B4-BE49-F238E27FC236}">
                  <a16:creationId xmlns:a16="http://schemas.microsoft.com/office/drawing/2014/main" id="{4E1EFD04-B3F1-74C2-9961-B5E624722488}"/>
                </a:ext>
              </a:extLst>
            </p:cNvPr>
            <p:cNvSpPr/>
            <p:nvPr/>
          </p:nvSpPr>
          <p:spPr>
            <a:xfrm>
              <a:off x="1352236" y="3881840"/>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0844" name="pt13">
              <a:extLst>
                <a:ext uri="{FF2B5EF4-FFF2-40B4-BE49-F238E27FC236}">
                  <a16:creationId xmlns:a16="http://schemas.microsoft.com/office/drawing/2014/main" id="{A7E0AE24-E612-F59B-30CF-D78FBE6738E1}"/>
                </a:ext>
              </a:extLst>
            </p:cNvPr>
            <p:cNvSpPr/>
            <p:nvPr/>
          </p:nvSpPr>
          <p:spPr>
            <a:xfrm>
              <a:off x="2866066" y="3711478"/>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0845" name="pt14">
              <a:extLst>
                <a:ext uri="{FF2B5EF4-FFF2-40B4-BE49-F238E27FC236}">
                  <a16:creationId xmlns:a16="http://schemas.microsoft.com/office/drawing/2014/main" id="{92747E3B-C6E7-1E71-A1BC-34850F93D616}"/>
                </a:ext>
              </a:extLst>
            </p:cNvPr>
            <p:cNvSpPr/>
            <p:nvPr/>
          </p:nvSpPr>
          <p:spPr>
            <a:xfrm>
              <a:off x="1902720" y="3815094"/>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0846" name="pt15">
              <a:extLst>
                <a:ext uri="{FF2B5EF4-FFF2-40B4-BE49-F238E27FC236}">
                  <a16:creationId xmlns:a16="http://schemas.microsoft.com/office/drawing/2014/main" id="{5903EA22-E7B8-F24E-1A2F-BC2B73E6FDA2}"/>
                </a:ext>
              </a:extLst>
            </p:cNvPr>
            <p:cNvSpPr/>
            <p:nvPr/>
          </p:nvSpPr>
          <p:spPr>
            <a:xfrm>
              <a:off x="3278927" y="3644096"/>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0847" name="pt16">
              <a:extLst>
                <a:ext uri="{FF2B5EF4-FFF2-40B4-BE49-F238E27FC236}">
                  <a16:creationId xmlns:a16="http://schemas.microsoft.com/office/drawing/2014/main" id="{7F9645C0-1B80-800A-E641-C61C9CA7468F}"/>
                </a:ext>
              </a:extLst>
            </p:cNvPr>
            <p:cNvSpPr/>
            <p:nvPr/>
          </p:nvSpPr>
          <p:spPr>
            <a:xfrm>
              <a:off x="1558668" y="3862770"/>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062" name="pt17">
              <a:extLst>
                <a:ext uri="{FF2B5EF4-FFF2-40B4-BE49-F238E27FC236}">
                  <a16:creationId xmlns:a16="http://schemas.microsoft.com/office/drawing/2014/main" id="{6841348C-B0D7-154E-3BA0-2E2916A8B11D}"/>
                </a:ext>
              </a:extLst>
            </p:cNvPr>
            <p:cNvSpPr/>
            <p:nvPr/>
          </p:nvSpPr>
          <p:spPr>
            <a:xfrm>
              <a:off x="1971530" y="3787124"/>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063" name="pt18">
              <a:extLst>
                <a:ext uri="{FF2B5EF4-FFF2-40B4-BE49-F238E27FC236}">
                  <a16:creationId xmlns:a16="http://schemas.microsoft.com/office/drawing/2014/main" id="{24809210-2DF2-8194-0E39-0F06A5883EE6}"/>
                </a:ext>
              </a:extLst>
            </p:cNvPr>
            <p:cNvSpPr/>
            <p:nvPr/>
          </p:nvSpPr>
          <p:spPr>
            <a:xfrm>
              <a:off x="1421047" y="3869762"/>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064" name="pt19">
              <a:extLst>
                <a:ext uri="{FF2B5EF4-FFF2-40B4-BE49-F238E27FC236}">
                  <a16:creationId xmlns:a16="http://schemas.microsoft.com/office/drawing/2014/main" id="{9694F9A6-D6B8-7AF1-43A9-EF3A5A575B82}"/>
                </a:ext>
              </a:extLst>
            </p:cNvPr>
            <p:cNvSpPr/>
            <p:nvPr/>
          </p:nvSpPr>
          <p:spPr>
            <a:xfrm>
              <a:off x="1489857" y="3854506"/>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065" name="pt20">
              <a:extLst>
                <a:ext uri="{FF2B5EF4-FFF2-40B4-BE49-F238E27FC236}">
                  <a16:creationId xmlns:a16="http://schemas.microsoft.com/office/drawing/2014/main" id="{84FB4F7B-66F7-C2E4-AA3B-DDECDCD3ACA4}"/>
                </a:ext>
              </a:extLst>
            </p:cNvPr>
            <p:cNvSpPr/>
            <p:nvPr/>
          </p:nvSpPr>
          <p:spPr>
            <a:xfrm>
              <a:off x="2522013" y="3795388"/>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066" name="pt21">
              <a:extLst>
                <a:ext uri="{FF2B5EF4-FFF2-40B4-BE49-F238E27FC236}">
                  <a16:creationId xmlns:a16="http://schemas.microsoft.com/office/drawing/2014/main" id="{2FBF470B-6987-5AD6-D369-F146B46B99FB}"/>
                </a:ext>
              </a:extLst>
            </p:cNvPr>
            <p:cNvSpPr/>
            <p:nvPr/>
          </p:nvSpPr>
          <p:spPr>
            <a:xfrm>
              <a:off x="1696289" y="3844971"/>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067" name="pt22">
              <a:extLst>
                <a:ext uri="{FF2B5EF4-FFF2-40B4-BE49-F238E27FC236}">
                  <a16:creationId xmlns:a16="http://schemas.microsoft.com/office/drawing/2014/main" id="{43F2149B-633C-1B9D-378C-1FE766FB11CF}"/>
                </a:ext>
              </a:extLst>
            </p:cNvPr>
            <p:cNvSpPr/>
            <p:nvPr/>
          </p:nvSpPr>
          <p:spPr>
            <a:xfrm>
              <a:off x="3141307" y="3662531"/>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068" name="pt23">
              <a:extLst>
                <a:ext uri="{FF2B5EF4-FFF2-40B4-BE49-F238E27FC236}">
                  <a16:creationId xmlns:a16="http://schemas.microsoft.com/office/drawing/2014/main" id="{811A1848-82A2-9D89-9E35-A054415FA5E7}"/>
                </a:ext>
              </a:extLst>
            </p:cNvPr>
            <p:cNvSpPr/>
            <p:nvPr/>
          </p:nvSpPr>
          <p:spPr>
            <a:xfrm>
              <a:off x="2659634" y="3774410"/>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069" name="pt24">
              <a:extLst>
                <a:ext uri="{FF2B5EF4-FFF2-40B4-BE49-F238E27FC236}">
                  <a16:creationId xmlns:a16="http://schemas.microsoft.com/office/drawing/2014/main" id="{4101AF4E-FBB0-D61F-E1E7-57468A8540A9}"/>
                </a:ext>
              </a:extLst>
            </p:cNvPr>
            <p:cNvSpPr/>
            <p:nvPr/>
          </p:nvSpPr>
          <p:spPr>
            <a:xfrm>
              <a:off x="2246772" y="3810008"/>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070" name="pt25">
              <a:extLst>
                <a:ext uri="{FF2B5EF4-FFF2-40B4-BE49-F238E27FC236}">
                  <a16:creationId xmlns:a16="http://schemas.microsoft.com/office/drawing/2014/main" id="{5ED85BAC-F02E-8984-BA94-24B2350CDEAD}"/>
                </a:ext>
              </a:extLst>
            </p:cNvPr>
            <p:cNvSpPr/>
            <p:nvPr/>
          </p:nvSpPr>
          <p:spPr>
            <a:xfrm>
              <a:off x="2040340" y="3800473"/>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071" name="pt26">
              <a:extLst>
                <a:ext uri="{FF2B5EF4-FFF2-40B4-BE49-F238E27FC236}">
                  <a16:creationId xmlns:a16="http://schemas.microsoft.com/office/drawing/2014/main" id="{8D543339-74F3-458D-FC8B-B7C3487082A8}"/>
                </a:ext>
              </a:extLst>
            </p:cNvPr>
            <p:cNvSpPr/>
            <p:nvPr/>
          </p:nvSpPr>
          <p:spPr>
            <a:xfrm>
              <a:off x="3072496" y="3681601"/>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072" name="pt27">
              <a:extLst>
                <a:ext uri="{FF2B5EF4-FFF2-40B4-BE49-F238E27FC236}">
                  <a16:creationId xmlns:a16="http://schemas.microsoft.com/office/drawing/2014/main" id="{22457DB0-FA49-8908-FD0C-4FD0AFD9AEFD}"/>
                </a:ext>
              </a:extLst>
            </p:cNvPr>
            <p:cNvSpPr/>
            <p:nvPr/>
          </p:nvSpPr>
          <p:spPr>
            <a:xfrm>
              <a:off x="2384393" y="3803016"/>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073" name="pt28">
              <a:extLst>
                <a:ext uri="{FF2B5EF4-FFF2-40B4-BE49-F238E27FC236}">
                  <a16:creationId xmlns:a16="http://schemas.microsoft.com/office/drawing/2014/main" id="{8A578D02-EFCB-ACD4-72C6-A55EDDDE08C7}"/>
                </a:ext>
              </a:extLst>
            </p:cNvPr>
            <p:cNvSpPr/>
            <p:nvPr/>
          </p:nvSpPr>
          <p:spPr>
            <a:xfrm>
              <a:off x="1833909" y="3828443"/>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074" name="pt29">
              <a:extLst>
                <a:ext uri="{FF2B5EF4-FFF2-40B4-BE49-F238E27FC236}">
                  <a16:creationId xmlns:a16="http://schemas.microsoft.com/office/drawing/2014/main" id="{8E8495D3-0E3B-B9B1-07A0-F29C3A01E224}"/>
                </a:ext>
              </a:extLst>
            </p:cNvPr>
            <p:cNvSpPr/>
            <p:nvPr/>
          </p:nvSpPr>
          <p:spPr>
            <a:xfrm>
              <a:off x="3210117" y="3644096"/>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075" name="pt30">
              <a:extLst>
                <a:ext uri="{FF2B5EF4-FFF2-40B4-BE49-F238E27FC236}">
                  <a16:creationId xmlns:a16="http://schemas.microsoft.com/office/drawing/2014/main" id="{69B40CEB-737E-2D51-A250-FA86B3947228}"/>
                </a:ext>
              </a:extLst>
            </p:cNvPr>
            <p:cNvSpPr/>
            <p:nvPr/>
          </p:nvSpPr>
          <p:spPr>
            <a:xfrm>
              <a:off x="2109150" y="3828443"/>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076" name="pt31">
              <a:extLst>
                <a:ext uri="{FF2B5EF4-FFF2-40B4-BE49-F238E27FC236}">
                  <a16:creationId xmlns:a16="http://schemas.microsoft.com/office/drawing/2014/main" id="{B4B0BB5E-6EAB-7142-9037-E3A7ED564766}"/>
                </a:ext>
              </a:extLst>
            </p:cNvPr>
            <p:cNvSpPr/>
            <p:nvPr/>
          </p:nvSpPr>
          <p:spPr>
            <a:xfrm>
              <a:off x="2590823" y="3785217"/>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077" name="pt32">
              <a:extLst>
                <a:ext uri="{FF2B5EF4-FFF2-40B4-BE49-F238E27FC236}">
                  <a16:creationId xmlns:a16="http://schemas.microsoft.com/office/drawing/2014/main" id="{1AEF1EFE-BE77-0256-6E9F-C9282F30980B}"/>
                </a:ext>
              </a:extLst>
            </p:cNvPr>
            <p:cNvSpPr/>
            <p:nvPr/>
          </p:nvSpPr>
          <p:spPr>
            <a:xfrm>
              <a:off x="3485359" y="3603413"/>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078" name="pt33">
              <a:extLst>
                <a:ext uri="{FF2B5EF4-FFF2-40B4-BE49-F238E27FC236}">
                  <a16:creationId xmlns:a16="http://schemas.microsoft.com/office/drawing/2014/main" id="{F4992CE2-C13A-BD34-4A39-4D6B897ECBC2}"/>
                </a:ext>
              </a:extLst>
            </p:cNvPr>
            <p:cNvSpPr/>
            <p:nvPr/>
          </p:nvSpPr>
          <p:spPr>
            <a:xfrm>
              <a:off x="1627479" y="3877390"/>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079" name="pt34">
              <a:extLst>
                <a:ext uri="{FF2B5EF4-FFF2-40B4-BE49-F238E27FC236}">
                  <a16:creationId xmlns:a16="http://schemas.microsoft.com/office/drawing/2014/main" id="{CE812A11-7DF8-AA29-BFF6-E6B1CAB279BB}"/>
                </a:ext>
              </a:extLst>
            </p:cNvPr>
            <p:cNvSpPr/>
            <p:nvPr/>
          </p:nvSpPr>
          <p:spPr>
            <a:xfrm>
              <a:off x="2453203" y="3810644"/>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080" name="pt35">
              <a:extLst>
                <a:ext uri="{FF2B5EF4-FFF2-40B4-BE49-F238E27FC236}">
                  <a16:creationId xmlns:a16="http://schemas.microsoft.com/office/drawing/2014/main" id="{96F20E4F-D680-ABEF-B67E-DC2CD6B03409}"/>
                </a:ext>
              </a:extLst>
            </p:cNvPr>
            <p:cNvSpPr/>
            <p:nvPr/>
          </p:nvSpPr>
          <p:spPr>
            <a:xfrm>
              <a:off x="3003686" y="3694315"/>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081" name="pt36">
              <a:extLst>
                <a:ext uri="{FF2B5EF4-FFF2-40B4-BE49-F238E27FC236}">
                  <a16:creationId xmlns:a16="http://schemas.microsoft.com/office/drawing/2014/main" id="{E5A097C2-8B32-27C1-6AF6-BDB4228A61A4}"/>
                </a:ext>
              </a:extLst>
            </p:cNvPr>
            <p:cNvSpPr/>
            <p:nvPr/>
          </p:nvSpPr>
          <p:spPr>
            <a:xfrm>
              <a:off x="2797255" y="3733091"/>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082" name="pt37">
              <a:extLst>
                <a:ext uri="{FF2B5EF4-FFF2-40B4-BE49-F238E27FC236}">
                  <a16:creationId xmlns:a16="http://schemas.microsoft.com/office/drawing/2014/main" id="{2B33CD25-6916-0656-2C95-5C44CD5A204E}"/>
                </a:ext>
              </a:extLst>
            </p:cNvPr>
            <p:cNvSpPr/>
            <p:nvPr/>
          </p:nvSpPr>
          <p:spPr>
            <a:xfrm>
              <a:off x="2728444" y="3756611"/>
              <a:ext cx="39217" cy="38248"/>
            </a:xfrm>
            <a:prstGeom prst="ellipse">
              <a:avLst/>
            </a:prstGeom>
            <a:solidFill>
              <a:srgbClr val="2E2E2E">
                <a:alpha val="100000"/>
              </a:srgbClr>
            </a:solidFill>
            <a:ln w="9000" cap="rnd">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083" name="pt38">
              <a:extLst>
                <a:ext uri="{FF2B5EF4-FFF2-40B4-BE49-F238E27FC236}">
                  <a16:creationId xmlns:a16="http://schemas.microsoft.com/office/drawing/2014/main" id="{6A9AC48B-7E82-C339-7862-EDB7CF168711}"/>
                </a:ext>
              </a:extLst>
            </p:cNvPr>
            <p:cNvSpPr/>
            <p:nvPr/>
          </p:nvSpPr>
          <p:spPr>
            <a:xfrm>
              <a:off x="2177962" y="3756611"/>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084" name="pt39">
              <a:extLst>
                <a:ext uri="{FF2B5EF4-FFF2-40B4-BE49-F238E27FC236}">
                  <a16:creationId xmlns:a16="http://schemas.microsoft.com/office/drawing/2014/main" id="{1F1174D3-8653-593A-F43E-0A7AF446088A}"/>
                </a:ext>
              </a:extLst>
            </p:cNvPr>
            <p:cNvSpPr/>
            <p:nvPr/>
          </p:nvSpPr>
          <p:spPr>
            <a:xfrm>
              <a:off x="1765099" y="3890557"/>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085" name="pt40">
              <a:extLst>
                <a:ext uri="{FF2B5EF4-FFF2-40B4-BE49-F238E27FC236}">
                  <a16:creationId xmlns:a16="http://schemas.microsoft.com/office/drawing/2014/main" id="{CCD13C30-9B8D-147F-717F-C861434780AE}"/>
                </a:ext>
              </a:extLst>
            </p:cNvPr>
            <p:cNvSpPr/>
            <p:nvPr/>
          </p:nvSpPr>
          <p:spPr>
            <a:xfrm>
              <a:off x="3416549" y="3542388"/>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086" name="pt41">
              <a:extLst>
                <a:ext uri="{FF2B5EF4-FFF2-40B4-BE49-F238E27FC236}">
                  <a16:creationId xmlns:a16="http://schemas.microsoft.com/office/drawing/2014/main" id="{A28F2D7F-1702-5D3A-394B-2430C9E79CF7}"/>
                </a:ext>
              </a:extLst>
            </p:cNvPr>
            <p:cNvSpPr/>
            <p:nvPr/>
          </p:nvSpPr>
          <p:spPr>
            <a:xfrm>
              <a:off x="2315582" y="3709571"/>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087" name="pt42">
              <a:extLst>
                <a:ext uri="{FF2B5EF4-FFF2-40B4-BE49-F238E27FC236}">
                  <a16:creationId xmlns:a16="http://schemas.microsoft.com/office/drawing/2014/main" id="{098A2964-EE96-69FF-EB19-1B51BD6D6D1F}"/>
                </a:ext>
              </a:extLst>
            </p:cNvPr>
            <p:cNvSpPr/>
            <p:nvPr/>
          </p:nvSpPr>
          <p:spPr>
            <a:xfrm>
              <a:off x="2934876" y="3626297"/>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088" name="pt43">
              <a:extLst>
                <a:ext uri="{FF2B5EF4-FFF2-40B4-BE49-F238E27FC236}">
                  <a16:creationId xmlns:a16="http://schemas.microsoft.com/office/drawing/2014/main" id="{91B4BEA7-4891-FC39-162E-515CADA4D040}"/>
                </a:ext>
              </a:extLst>
            </p:cNvPr>
            <p:cNvSpPr/>
            <p:nvPr/>
          </p:nvSpPr>
          <p:spPr>
            <a:xfrm>
              <a:off x="3347737" y="3540481"/>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089" name="pt44">
              <a:extLst>
                <a:ext uri="{FF2B5EF4-FFF2-40B4-BE49-F238E27FC236}">
                  <a16:creationId xmlns:a16="http://schemas.microsoft.com/office/drawing/2014/main" id="{19212971-686C-D5BC-3D0D-6106F3ECD9C0}"/>
                </a:ext>
              </a:extLst>
            </p:cNvPr>
            <p:cNvSpPr/>
            <p:nvPr/>
          </p:nvSpPr>
          <p:spPr>
            <a:xfrm>
              <a:off x="1352236" y="3881840"/>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090" name="pt45">
              <a:extLst>
                <a:ext uri="{FF2B5EF4-FFF2-40B4-BE49-F238E27FC236}">
                  <a16:creationId xmlns:a16="http://schemas.microsoft.com/office/drawing/2014/main" id="{8DC6A4C0-5383-90AB-85DF-A59E629B8B06}"/>
                </a:ext>
              </a:extLst>
            </p:cNvPr>
            <p:cNvSpPr/>
            <p:nvPr/>
          </p:nvSpPr>
          <p:spPr>
            <a:xfrm>
              <a:off x="2866066" y="3630747"/>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091" name="pt46">
              <a:extLst>
                <a:ext uri="{FF2B5EF4-FFF2-40B4-BE49-F238E27FC236}">
                  <a16:creationId xmlns:a16="http://schemas.microsoft.com/office/drawing/2014/main" id="{EACF0172-2EA7-0D5A-913F-11B618BA3E00}"/>
                </a:ext>
              </a:extLst>
            </p:cNvPr>
            <p:cNvSpPr/>
            <p:nvPr/>
          </p:nvSpPr>
          <p:spPr>
            <a:xfrm>
              <a:off x="1902720" y="3868491"/>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092" name="pt47">
              <a:extLst>
                <a:ext uri="{FF2B5EF4-FFF2-40B4-BE49-F238E27FC236}">
                  <a16:creationId xmlns:a16="http://schemas.microsoft.com/office/drawing/2014/main" id="{AFA3AD32-E6F3-B1B8-4F54-93D12F91F2A2}"/>
                </a:ext>
              </a:extLst>
            </p:cNvPr>
            <p:cNvSpPr/>
            <p:nvPr/>
          </p:nvSpPr>
          <p:spPr>
            <a:xfrm>
              <a:off x="3278927" y="3541752"/>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093" name="pt48">
              <a:extLst>
                <a:ext uri="{FF2B5EF4-FFF2-40B4-BE49-F238E27FC236}">
                  <a16:creationId xmlns:a16="http://schemas.microsoft.com/office/drawing/2014/main" id="{1CA64FA1-BA79-7431-36CC-B42DD2D4BD3C}"/>
                </a:ext>
              </a:extLst>
            </p:cNvPr>
            <p:cNvSpPr/>
            <p:nvPr/>
          </p:nvSpPr>
          <p:spPr>
            <a:xfrm>
              <a:off x="1558668" y="3858955"/>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094" name="pt49">
              <a:extLst>
                <a:ext uri="{FF2B5EF4-FFF2-40B4-BE49-F238E27FC236}">
                  <a16:creationId xmlns:a16="http://schemas.microsoft.com/office/drawing/2014/main" id="{6E3AE77C-E05F-E575-DF18-519F31A35FAD}"/>
                </a:ext>
              </a:extLst>
            </p:cNvPr>
            <p:cNvSpPr/>
            <p:nvPr/>
          </p:nvSpPr>
          <p:spPr>
            <a:xfrm>
              <a:off x="1971530" y="3762332"/>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095" name="pt50">
              <a:extLst>
                <a:ext uri="{FF2B5EF4-FFF2-40B4-BE49-F238E27FC236}">
                  <a16:creationId xmlns:a16="http://schemas.microsoft.com/office/drawing/2014/main" id="{6D27A988-88B7-122B-CCB5-BB881AB69FCC}"/>
                </a:ext>
              </a:extLst>
            </p:cNvPr>
            <p:cNvSpPr/>
            <p:nvPr/>
          </p:nvSpPr>
          <p:spPr>
            <a:xfrm>
              <a:off x="1421047" y="3860863"/>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096" name="pt51">
              <a:extLst>
                <a:ext uri="{FF2B5EF4-FFF2-40B4-BE49-F238E27FC236}">
                  <a16:creationId xmlns:a16="http://schemas.microsoft.com/office/drawing/2014/main" id="{C6A1EFC3-4123-DD17-613A-2320B4C54168}"/>
                </a:ext>
              </a:extLst>
            </p:cNvPr>
            <p:cNvSpPr/>
            <p:nvPr/>
          </p:nvSpPr>
          <p:spPr>
            <a:xfrm>
              <a:off x="1489857" y="3837342"/>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097" name="pt52">
              <a:extLst>
                <a:ext uri="{FF2B5EF4-FFF2-40B4-BE49-F238E27FC236}">
                  <a16:creationId xmlns:a16="http://schemas.microsoft.com/office/drawing/2014/main" id="{B5802D84-F212-5C5E-A96F-1EB5C6415777}"/>
                </a:ext>
              </a:extLst>
            </p:cNvPr>
            <p:cNvSpPr/>
            <p:nvPr/>
          </p:nvSpPr>
          <p:spPr>
            <a:xfrm>
              <a:off x="2522013" y="3670159"/>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098" name="pt53">
              <a:extLst>
                <a:ext uri="{FF2B5EF4-FFF2-40B4-BE49-F238E27FC236}">
                  <a16:creationId xmlns:a16="http://schemas.microsoft.com/office/drawing/2014/main" id="{8C03395E-C225-DCD3-4D51-D6677F78656D}"/>
                </a:ext>
              </a:extLst>
            </p:cNvPr>
            <p:cNvSpPr/>
            <p:nvPr/>
          </p:nvSpPr>
          <p:spPr>
            <a:xfrm>
              <a:off x="1696289" y="3890104"/>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099" name="pt54">
              <a:extLst>
                <a:ext uri="{FF2B5EF4-FFF2-40B4-BE49-F238E27FC236}">
                  <a16:creationId xmlns:a16="http://schemas.microsoft.com/office/drawing/2014/main" id="{16BB06C0-9972-C5C0-E56F-1F61B0F2BCCC}"/>
                </a:ext>
              </a:extLst>
            </p:cNvPr>
            <p:cNvSpPr/>
            <p:nvPr/>
          </p:nvSpPr>
          <p:spPr>
            <a:xfrm>
              <a:off x="3141307" y="3565908"/>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100" name="pt55">
              <a:extLst>
                <a:ext uri="{FF2B5EF4-FFF2-40B4-BE49-F238E27FC236}">
                  <a16:creationId xmlns:a16="http://schemas.microsoft.com/office/drawing/2014/main" id="{55668455-1BC1-5FAF-B781-E50CFE16AABF}"/>
                </a:ext>
              </a:extLst>
            </p:cNvPr>
            <p:cNvSpPr/>
            <p:nvPr/>
          </p:nvSpPr>
          <p:spPr>
            <a:xfrm>
              <a:off x="2659634" y="3647275"/>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101" name="pt56">
              <a:extLst>
                <a:ext uri="{FF2B5EF4-FFF2-40B4-BE49-F238E27FC236}">
                  <a16:creationId xmlns:a16="http://schemas.microsoft.com/office/drawing/2014/main" id="{40F74EB6-B40F-1427-F99D-EFCB24470E7E}"/>
                </a:ext>
              </a:extLst>
            </p:cNvPr>
            <p:cNvSpPr/>
            <p:nvPr/>
          </p:nvSpPr>
          <p:spPr>
            <a:xfrm>
              <a:off x="2246772" y="3725463"/>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102" name="pt57">
              <a:extLst>
                <a:ext uri="{FF2B5EF4-FFF2-40B4-BE49-F238E27FC236}">
                  <a16:creationId xmlns:a16="http://schemas.microsoft.com/office/drawing/2014/main" id="{3CC67437-57CD-23F6-C908-7436AFF5A52D}"/>
                </a:ext>
              </a:extLst>
            </p:cNvPr>
            <p:cNvSpPr/>
            <p:nvPr/>
          </p:nvSpPr>
          <p:spPr>
            <a:xfrm>
              <a:off x="2040340" y="3772503"/>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103" name="pt58">
              <a:extLst>
                <a:ext uri="{FF2B5EF4-FFF2-40B4-BE49-F238E27FC236}">
                  <a16:creationId xmlns:a16="http://schemas.microsoft.com/office/drawing/2014/main" id="{CD0DAA7C-4200-C730-0B83-8B6A07E67A3F}"/>
                </a:ext>
              </a:extLst>
            </p:cNvPr>
            <p:cNvSpPr/>
            <p:nvPr/>
          </p:nvSpPr>
          <p:spPr>
            <a:xfrm>
              <a:off x="3072496" y="3600870"/>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104" name="pt59">
              <a:extLst>
                <a:ext uri="{FF2B5EF4-FFF2-40B4-BE49-F238E27FC236}">
                  <a16:creationId xmlns:a16="http://schemas.microsoft.com/office/drawing/2014/main" id="{62F8263F-E73D-D892-95F4-A21B7EF0DBF0}"/>
                </a:ext>
              </a:extLst>
            </p:cNvPr>
            <p:cNvSpPr/>
            <p:nvPr/>
          </p:nvSpPr>
          <p:spPr>
            <a:xfrm>
              <a:off x="2384393" y="3705757"/>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105" name="pt60">
              <a:extLst>
                <a:ext uri="{FF2B5EF4-FFF2-40B4-BE49-F238E27FC236}">
                  <a16:creationId xmlns:a16="http://schemas.microsoft.com/office/drawing/2014/main" id="{F1A669ED-8B75-AC17-8FDC-F18C4BE08C0B}"/>
                </a:ext>
              </a:extLst>
            </p:cNvPr>
            <p:cNvSpPr/>
            <p:nvPr/>
          </p:nvSpPr>
          <p:spPr>
            <a:xfrm>
              <a:off x="1833909" y="3849420"/>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106" name="pt61">
              <a:extLst>
                <a:ext uri="{FF2B5EF4-FFF2-40B4-BE49-F238E27FC236}">
                  <a16:creationId xmlns:a16="http://schemas.microsoft.com/office/drawing/2014/main" id="{37B3EC19-B550-57EA-8401-1127BC4129C9}"/>
                </a:ext>
              </a:extLst>
            </p:cNvPr>
            <p:cNvSpPr/>
            <p:nvPr/>
          </p:nvSpPr>
          <p:spPr>
            <a:xfrm>
              <a:off x="3210117" y="3546838"/>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107" name="pt62">
              <a:extLst>
                <a:ext uri="{FF2B5EF4-FFF2-40B4-BE49-F238E27FC236}">
                  <a16:creationId xmlns:a16="http://schemas.microsoft.com/office/drawing/2014/main" id="{EFABFF2D-3B69-C18F-F07C-6663B7734B04}"/>
                </a:ext>
              </a:extLst>
            </p:cNvPr>
            <p:cNvSpPr/>
            <p:nvPr/>
          </p:nvSpPr>
          <p:spPr>
            <a:xfrm>
              <a:off x="2109150" y="3726734"/>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108" name="pt63">
              <a:extLst>
                <a:ext uri="{FF2B5EF4-FFF2-40B4-BE49-F238E27FC236}">
                  <a16:creationId xmlns:a16="http://schemas.microsoft.com/office/drawing/2014/main" id="{FACD2A82-BA8B-EA27-E5FA-F700472AC6B3}"/>
                </a:ext>
              </a:extLst>
            </p:cNvPr>
            <p:cNvSpPr/>
            <p:nvPr/>
          </p:nvSpPr>
          <p:spPr>
            <a:xfrm>
              <a:off x="2590823" y="3643461"/>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109" name="pt64">
              <a:extLst>
                <a:ext uri="{FF2B5EF4-FFF2-40B4-BE49-F238E27FC236}">
                  <a16:creationId xmlns:a16="http://schemas.microsoft.com/office/drawing/2014/main" id="{1770AE39-C565-31A4-68FA-63C43D1D40D6}"/>
                </a:ext>
              </a:extLst>
            </p:cNvPr>
            <p:cNvSpPr/>
            <p:nvPr/>
          </p:nvSpPr>
          <p:spPr>
            <a:xfrm>
              <a:off x="3485359" y="3488355"/>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110" name="pt65">
              <a:extLst>
                <a:ext uri="{FF2B5EF4-FFF2-40B4-BE49-F238E27FC236}">
                  <a16:creationId xmlns:a16="http://schemas.microsoft.com/office/drawing/2014/main" id="{072E6BFA-D39C-015B-28CE-F7ED3042236C}"/>
                </a:ext>
              </a:extLst>
            </p:cNvPr>
            <p:cNvSpPr/>
            <p:nvPr/>
          </p:nvSpPr>
          <p:spPr>
            <a:xfrm>
              <a:off x="1627479" y="3892646"/>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111" name="pt66">
              <a:extLst>
                <a:ext uri="{FF2B5EF4-FFF2-40B4-BE49-F238E27FC236}">
                  <a16:creationId xmlns:a16="http://schemas.microsoft.com/office/drawing/2014/main" id="{3A58E9DF-5EC3-3912-42AC-0B0F00CE5AB0}"/>
                </a:ext>
              </a:extLst>
            </p:cNvPr>
            <p:cNvSpPr/>
            <p:nvPr/>
          </p:nvSpPr>
          <p:spPr>
            <a:xfrm>
              <a:off x="2453203" y="3670795"/>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112" name="pt67">
              <a:extLst>
                <a:ext uri="{FF2B5EF4-FFF2-40B4-BE49-F238E27FC236}">
                  <a16:creationId xmlns:a16="http://schemas.microsoft.com/office/drawing/2014/main" id="{76D07CCB-AFD0-2E3F-BD98-42ACC69762A6}"/>
                </a:ext>
              </a:extLst>
            </p:cNvPr>
            <p:cNvSpPr/>
            <p:nvPr/>
          </p:nvSpPr>
          <p:spPr>
            <a:xfrm>
              <a:off x="3003686" y="3587521"/>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113" name="pt68">
              <a:extLst>
                <a:ext uri="{FF2B5EF4-FFF2-40B4-BE49-F238E27FC236}">
                  <a16:creationId xmlns:a16="http://schemas.microsoft.com/office/drawing/2014/main" id="{A8B6E41A-DB36-38F2-73BB-A5BB96C1E590}"/>
                </a:ext>
              </a:extLst>
            </p:cNvPr>
            <p:cNvSpPr/>
            <p:nvPr/>
          </p:nvSpPr>
          <p:spPr>
            <a:xfrm>
              <a:off x="2797255" y="3619941"/>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114" name="pt69">
              <a:extLst>
                <a:ext uri="{FF2B5EF4-FFF2-40B4-BE49-F238E27FC236}">
                  <a16:creationId xmlns:a16="http://schemas.microsoft.com/office/drawing/2014/main" id="{705A4CB7-4A7D-1B75-7FA0-B50BBAA7C8DD}"/>
                </a:ext>
              </a:extLst>
            </p:cNvPr>
            <p:cNvSpPr/>
            <p:nvPr/>
          </p:nvSpPr>
          <p:spPr>
            <a:xfrm>
              <a:off x="2728444" y="3629476"/>
              <a:ext cx="39217" cy="38248"/>
            </a:xfrm>
            <a:prstGeom prst="ellipse">
              <a:avLst/>
            </a:prstGeom>
            <a:solidFill>
              <a:srgbClr val="00DF86">
                <a:alpha val="100000"/>
              </a:srgbClr>
            </a:solidFill>
            <a:ln w="9000" cap="rnd">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115" name="pt70">
              <a:extLst>
                <a:ext uri="{FF2B5EF4-FFF2-40B4-BE49-F238E27FC236}">
                  <a16:creationId xmlns:a16="http://schemas.microsoft.com/office/drawing/2014/main" id="{BF61B4A7-3CCA-2574-F8C8-0EB488017012}"/>
                </a:ext>
              </a:extLst>
            </p:cNvPr>
            <p:cNvSpPr/>
            <p:nvPr/>
          </p:nvSpPr>
          <p:spPr>
            <a:xfrm>
              <a:off x="2177962" y="4230827"/>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16" name="pt71">
              <a:extLst>
                <a:ext uri="{FF2B5EF4-FFF2-40B4-BE49-F238E27FC236}">
                  <a16:creationId xmlns:a16="http://schemas.microsoft.com/office/drawing/2014/main" id="{7931E30D-BEAF-E1E9-2720-05AF17C72FA9}"/>
                </a:ext>
              </a:extLst>
            </p:cNvPr>
            <p:cNvSpPr/>
            <p:nvPr/>
          </p:nvSpPr>
          <p:spPr>
            <a:xfrm>
              <a:off x="1765099" y="4245448"/>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17" name="pt72">
              <a:extLst>
                <a:ext uri="{FF2B5EF4-FFF2-40B4-BE49-F238E27FC236}">
                  <a16:creationId xmlns:a16="http://schemas.microsoft.com/office/drawing/2014/main" id="{7EC7BB4E-76DC-51BE-59B6-0DCA6E396D1B}"/>
                </a:ext>
              </a:extLst>
            </p:cNvPr>
            <p:cNvSpPr/>
            <p:nvPr/>
          </p:nvSpPr>
          <p:spPr>
            <a:xfrm>
              <a:off x="3416549" y="4101149"/>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18" name="pt73">
              <a:extLst>
                <a:ext uri="{FF2B5EF4-FFF2-40B4-BE49-F238E27FC236}">
                  <a16:creationId xmlns:a16="http://schemas.microsoft.com/office/drawing/2014/main" id="{41F2F41E-5D64-7C43-91C2-7F86534F54E0}"/>
                </a:ext>
              </a:extLst>
            </p:cNvPr>
            <p:cNvSpPr/>
            <p:nvPr/>
          </p:nvSpPr>
          <p:spPr>
            <a:xfrm>
              <a:off x="2315582" y="4192687"/>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19" name="pt74">
              <a:extLst>
                <a:ext uri="{FF2B5EF4-FFF2-40B4-BE49-F238E27FC236}">
                  <a16:creationId xmlns:a16="http://schemas.microsoft.com/office/drawing/2014/main" id="{55D8A486-4FE8-CDBA-F1FC-24EE02ECD069}"/>
                </a:ext>
              </a:extLst>
            </p:cNvPr>
            <p:cNvSpPr/>
            <p:nvPr/>
          </p:nvSpPr>
          <p:spPr>
            <a:xfrm>
              <a:off x="2934876" y="4108141"/>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20" name="pt75">
              <a:extLst>
                <a:ext uri="{FF2B5EF4-FFF2-40B4-BE49-F238E27FC236}">
                  <a16:creationId xmlns:a16="http://schemas.microsoft.com/office/drawing/2014/main" id="{C8487FEC-FF90-9B2B-27EA-98C1087DDD80}"/>
                </a:ext>
              </a:extLst>
            </p:cNvPr>
            <p:cNvSpPr/>
            <p:nvPr/>
          </p:nvSpPr>
          <p:spPr>
            <a:xfrm>
              <a:off x="3347737" y="4109413"/>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21" name="pt76">
              <a:extLst>
                <a:ext uri="{FF2B5EF4-FFF2-40B4-BE49-F238E27FC236}">
                  <a16:creationId xmlns:a16="http://schemas.microsoft.com/office/drawing/2014/main" id="{BC1C0A16-7E30-B7E8-4091-ABEEC7CCC47C}"/>
                </a:ext>
              </a:extLst>
            </p:cNvPr>
            <p:cNvSpPr/>
            <p:nvPr/>
          </p:nvSpPr>
          <p:spPr>
            <a:xfrm>
              <a:off x="1352236" y="3881840"/>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22" name="pt77">
              <a:extLst>
                <a:ext uri="{FF2B5EF4-FFF2-40B4-BE49-F238E27FC236}">
                  <a16:creationId xmlns:a16="http://schemas.microsoft.com/office/drawing/2014/main" id="{6FCAE4E9-9F18-495F-8173-26541A6E8420}"/>
                </a:ext>
              </a:extLst>
            </p:cNvPr>
            <p:cNvSpPr/>
            <p:nvPr/>
          </p:nvSpPr>
          <p:spPr>
            <a:xfrm>
              <a:off x="2866066" y="4136111"/>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23" name="pt78">
              <a:extLst>
                <a:ext uri="{FF2B5EF4-FFF2-40B4-BE49-F238E27FC236}">
                  <a16:creationId xmlns:a16="http://schemas.microsoft.com/office/drawing/2014/main" id="{DA3AA69C-FC28-D370-41F7-6423A4C0CA9F}"/>
                </a:ext>
              </a:extLst>
            </p:cNvPr>
            <p:cNvSpPr/>
            <p:nvPr/>
          </p:nvSpPr>
          <p:spPr>
            <a:xfrm>
              <a:off x="1902720" y="4244812"/>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24" name="pt79">
              <a:extLst>
                <a:ext uri="{FF2B5EF4-FFF2-40B4-BE49-F238E27FC236}">
                  <a16:creationId xmlns:a16="http://schemas.microsoft.com/office/drawing/2014/main" id="{00E7CE00-18D6-D196-EF9A-B50715DAE383}"/>
                </a:ext>
              </a:extLst>
            </p:cNvPr>
            <p:cNvSpPr/>
            <p:nvPr/>
          </p:nvSpPr>
          <p:spPr>
            <a:xfrm>
              <a:off x="3278927" y="4107506"/>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25" name="pt80">
              <a:extLst>
                <a:ext uri="{FF2B5EF4-FFF2-40B4-BE49-F238E27FC236}">
                  <a16:creationId xmlns:a16="http://schemas.microsoft.com/office/drawing/2014/main" id="{2A21B838-43E6-AED4-EBBF-12226498EB23}"/>
                </a:ext>
              </a:extLst>
            </p:cNvPr>
            <p:cNvSpPr/>
            <p:nvPr/>
          </p:nvSpPr>
          <p:spPr>
            <a:xfrm>
              <a:off x="1558668" y="4155817"/>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26" name="pt81">
              <a:extLst>
                <a:ext uri="{FF2B5EF4-FFF2-40B4-BE49-F238E27FC236}">
                  <a16:creationId xmlns:a16="http://schemas.microsoft.com/office/drawing/2014/main" id="{0730DEF2-85DF-F18E-B772-B22F7C87A83E}"/>
                </a:ext>
              </a:extLst>
            </p:cNvPr>
            <p:cNvSpPr/>
            <p:nvPr/>
          </p:nvSpPr>
          <p:spPr>
            <a:xfrm>
              <a:off x="1971530" y="4229556"/>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27" name="pt82">
              <a:extLst>
                <a:ext uri="{FF2B5EF4-FFF2-40B4-BE49-F238E27FC236}">
                  <a16:creationId xmlns:a16="http://schemas.microsoft.com/office/drawing/2014/main" id="{40D67337-F9CB-48B5-B47F-42EE74418F8B}"/>
                </a:ext>
              </a:extLst>
            </p:cNvPr>
            <p:cNvSpPr/>
            <p:nvPr/>
          </p:nvSpPr>
          <p:spPr>
            <a:xfrm>
              <a:off x="1421047" y="4072543"/>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28" name="pt83">
              <a:extLst>
                <a:ext uri="{FF2B5EF4-FFF2-40B4-BE49-F238E27FC236}">
                  <a16:creationId xmlns:a16="http://schemas.microsoft.com/office/drawing/2014/main" id="{E75E1D86-7D2F-CAA4-CBEE-6A87FEF54E72}"/>
                </a:ext>
              </a:extLst>
            </p:cNvPr>
            <p:cNvSpPr/>
            <p:nvPr/>
          </p:nvSpPr>
          <p:spPr>
            <a:xfrm>
              <a:off x="1489857" y="4160903"/>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29" name="pt84">
              <a:extLst>
                <a:ext uri="{FF2B5EF4-FFF2-40B4-BE49-F238E27FC236}">
                  <a16:creationId xmlns:a16="http://schemas.microsoft.com/office/drawing/2014/main" id="{7E29C5CB-2D23-721C-EF8E-78310AE9E221}"/>
                </a:ext>
              </a:extLst>
            </p:cNvPr>
            <p:cNvSpPr/>
            <p:nvPr/>
          </p:nvSpPr>
          <p:spPr>
            <a:xfrm>
              <a:off x="2522013" y="4214935"/>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30" name="pt85">
              <a:extLst>
                <a:ext uri="{FF2B5EF4-FFF2-40B4-BE49-F238E27FC236}">
                  <a16:creationId xmlns:a16="http://schemas.microsoft.com/office/drawing/2014/main" id="{A8919672-1102-8608-41CE-A21E88FBFBDF}"/>
                </a:ext>
              </a:extLst>
            </p:cNvPr>
            <p:cNvSpPr/>
            <p:nvPr/>
          </p:nvSpPr>
          <p:spPr>
            <a:xfrm>
              <a:off x="1696289" y="4232734"/>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31" name="pt86">
              <a:extLst>
                <a:ext uri="{FF2B5EF4-FFF2-40B4-BE49-F238E27FC236}">
                  <a16:creationId xmlns:a16="http://schemas.microsoft.com/office/drawing/2014/main" id="{A5B7BF4B-B33E-26A2-6E7D-6C7390B928E7}"/>
                </a:ext>
              </a:extLst>
            </p:cNvPr>
            <p:cNvSpPr/>
            <p:nvPr/>
          </p:nvSpPr>
          <p:spPr>
            <a:xfrm>
              <a:off x="3141307" y="4114498"/>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32" name="pt87">
              <a:extLst>
                <a:ext uri="{FF2B5EF4-FFF2-40B4-BE49-F238E27FC236}">
                  <a16:creationId xmlns:a16="http://schemas.microsoft.com/office/drawing/2014/main" id="{845AD5C8-E863-C1A9-B6E5-36C1BFB1F2A5}"/>
                </a:ext>
              </a:extLst>
            </p:cNvPr>
            <p:cNvSpPr/>
            <p:nvPr/>
          </p:nvSpPr>
          <p:spPr>
            <a:xfrm>
              <a:off x="2659634" y="4183787"/>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33" name="pt88">
              <a:extLst>
                <a:ext uri="{FF2B5EF4-FFF2-40B4-BE49-F238E27FC236}">
                  <a16:creationId xmlns:a16="http://schemas.microsoft.com/office/drawing/2014/main" id="{D58C6D47-8627-2513-9B15-EDA6408DCD42}"/>
                </a:ext>
              </a:extLst>
            </p:cNvPr>
            <p:cNvSpPr/>
            <p:nvPr/>
          </p:nvSpPr>
          <p:spPr>
            <a:xfrm>
              <a:off x="2246772" y="4225742"/>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34" name="pt89">
              <a:extLst>
                <a:ext uri="{FF2B5EF4-FFF2-40B4-BE49-F238E27FC236}">
                  <a16:creationId xmlns:a16="http://schemas.microsoft.com/office/drawing/2014/main" id="{653B0A73-E600-8E8B-7058-831CBFBBE5BB}"/>
                </a:ext>
              </a:extLst>
            </p:cNvPr>
            <p:cNvSpPr/>
            <p:nvPr/>
          </p:nvSpPr>
          <p:spPr>
            <a:xfrm>
              <a:off x="2040340" y="4228920"/>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35" name="pt90">
              <a:extLst>
                <a:ext uri="{FF2B5EF4-FFF2-40B4-BE49-F238E27FC236}">
                  <a16:creationId xmlns:a16="http://schemas.microsoft.com/office/drawing/2014/main" id="{6E7DC8D2-8A2B-5BB7-6079-761471D56F2E}"/>
                </a:ext>
              </a:extLst>
            </p:cNvPr>
            <p:cNvSpPr/>
            <p:nvPr/>
          </p:nvSpPr>
          <p:spPr>
            <a:xfrm>
              <a:off x="3072496" y="4139290"/>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36" name="pt91">
              <a:extLst>
                <a:ext uri="{FF2B5EF4-FFF2-40B4-BE49-F238E27FC236}">
                  <a16:creationId xmlns:a16="http://schemas.microsoft.com/office/drawing/2014/main" id="{5FCE737A-E479-A33A-5370-109031C159C6}"/>
                </a:ext>
              </a:extLst>
            </p:cNvPr>
            <p:cNvSpPr/>
            <p:nvPr/>
          </p:nvSpPr>
          <p:spPr>
            <a:xfrm>
              <a:off x="2384393" y="4202222"/>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37" name="pt92">
              <a:extLst>
                <a:ext uri="{FF2B5EF4-FFF2-40B4-BE49-F238E27FC236}">
                  <a16:creationId xmlns:a16="http://schemas.microsoft.com/office/drawing/2014/main" id="{D4885251-8B3A-58EA-DCEF-6AC14A7C1293}"/>
                </a:ext>
              </a:extLst>
            </p:cNvPr>
            <p:cNvSpPr/>
            <p:nvPr/>
          </p:nvSpPr>
          <p:spPr>
            <a:xfrm>
              <a:off x="1833909" y="4246719"/>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38" name="pt93">
              <a:extLst>
                <a:ext uri="{FF2B5EF4-FFF2-40B4-BE49-F238E27FC236}">
                  <a16:creationId xmlns:a16="http://schemas.microsoft.com/office/drawing/2014/main" id="{0C8B8B9E-63C3-E53D-4CA1-B3273DB152EA}"/>
                </a:ext>
              </a:extLst>
            </p:cNvPr>
            <p:cNvSpPr/>
            <p:nvPr/>
          </p:nvSpPr>
          <p:spPr>
            <a:xfrm>
              <a:off x="3210117" y="4089071"/>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39" name="pt94">
              <a:extLst>
                <a:ext uri="{FF2B5EF4-FFF2-40B4-BE49-F238E27FC236}">
                  <a16:creationId xmlns:a16="http://schemas.microsoft.com/office/drawing/2014/main" id="{82AC131B-D344-406F-78E7-0BF53295EFA6}"/>
                </a:ext>
              </a:extLst>
            </p:cNvPr>
            <p:cNvSpPr/>
            <p:nvPr/>
          </p:nvSpPr>
          <p:spPr>
            <a:xfrm>
              <a:off x="2109150" y="4240362"/>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40" name="pt95">
              <a:extLst>
                <a:ext uri="{FF2B5EF4-FFF2-40B4-BE49-F238E27FC236}">
                  <a16:creationId xmlns:a16="http://schemas.microsoft.com/office/drawing/2014/main" id="{333DED04-C41A-F44B-B1D7-C7C046F7F4F4}"/>
                </a:ext>
              </a:extLst>
            </p:cNvPr>
            <p:cNvSpPr/>
            <p:nvPr/>
          </p:nvSpPr>
          <p:spPr>
            <a:xfrm>
              <a:off x="2590823" y="4185058"/>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41" name="pt96">
              <a:extLst>
                <a:ext uri="{FF2B5EF4-FFF2-40B4-BE49-F238E27FC236}">
                  <a16:creationId xmlns:a16="http://schemas.microsoft.com/office/drawing/2014/main" id="{24A054D2-F157-7512-D6FF-5014F30E32DC}"/>
                </a:ext>
              </a:extLst>
            </p:cNvPr>
            <p:cNvSpPr/>
            <p:nvPr/>
          </p:nvSpPr>
          <p:spPr>
            <a:xfrm>
              <a:off x="3485359" y="4061737"/>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42" name="pt97">
              <a:extLst>
                <a:ext uri="{FF2B5EF4-FFF2-40B4-BE49-F238E27FC236}">
                  <a16:creationId xmlns:a16="http://schemas.microsoft.com/office/drawing/2014/main" id="{52410710-2118-3D08-AAC8-1894BABFB73D}"/>
                </a:ext>
              </a:extLst>
            </p:cNvPr>
            <p:cNvSpPr/>
            <p:nvPr/>
          </p:nvSpPr>
          <p:spPr>
            <a:xfrm>
              <a:off x="1627479" y="4194594"/>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43" name="pt98">
              <a:extLst>
                <a:ext uri="{FF2B5EF4-FFF2-40B4-BE49-F238E27FC236}">
                  <a16:creationId xmlns:a16="http://schemas.microsoft.com/office/drawing/2014/main" id="{E40C8E32-A38C-8F7E-463E-AFC25B906C84}"/>
                </a:ext>
              </a:extLst>
            </p:cNvPr>
            <p:cNvSpPr/>
            <p:nvPr/>
          </p:nvSpPr>
          <p:spPr>
            <a:xfrm>
              <a:off x="2453203" y="4198408"/>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44" name="pt99">
              <a:extLst>
                <a:ext uri="{FF2B5EF4-FFF2-40B4-BE49-F238E27FC236}">
                  <a16:creationId xmlns:a16="http://schemas.microsoft.com/office/drawing/2014/main" id="{C3965AA4-E834-85EC-4E5E-6A59AB5C7A5D}"/>
                </a:ext>
              </a:extLst>
            </p:cNvPr>
            <p:cNvSpPr/>
            <p:nvPr/>
          </p:nvSpPr>
          <p:spPr>
            <a:xfrm>
              <a:off x="3003686" y="4125305"/>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45" name="pt100">
              <a:extLst>
                <a:ext uri="{FF2B5EF4-FFF2-40B4-BE49-F238E27FC236}">
                  <a16:creationId xmlns:a16="http://schemas.microsoft.com/office/drawing/2014/main" id="{6F8F1877-8EB9-8B00-C412-54063BCFE7B0}"/>
                </a:ext>
              </a:extLst>
            </p:cNvPr>
            <p:cNvSpPr/>
            <p:nvPr/>
          </p:nvSpPr>
          <p:spPr>
            <a:xfrm>
              <a:off x="2797255" y="4152003"/>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46" name="pt101">
              <a:extLst>
                <a:ext uri="{FF2B5EF4-FFF2-40B4-BE49-F238E27FC236}">
                  <a16:creationId xmlns:a16="http://schemas.microsoft.com/office/drawing/2014/main" id="{6CA5CC8E-9773-51C9-FFC0-47F517976980}"/>
                </a:ext>
              </a:extLst>
            </p:cNvPr>
            <p:cNvSpPr/>
            <p:nvPr/>
          </p:nvSpPr>
          <p:spPr>
            <a:xfrm>
              <a:off x="2728444" y="4188237"/>
              <a:ext cx="39217" cy="38248"/>
            </a:xfrm>
            <a:prstGeom prst="ellipse">
              <a:avLst/>
            </a:prstGeom>
            <a:solidFill>
              <a:srgbClr val="48D9E8">
                <a:alpha val="100000"/>
              </a:srgbClr>
            </a:solidFill>
            <a:ln w="9000" cap="rnd">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147" name="pt102">
              <a:extLst>
                <a:ext uri="{FF2B5EF4-FFF2-40B4-BE49-F238E27FC236}">
                  <a16:creationId xmlns:a16="http://schemas.microsoft.com/office/drawing/2014/main" id="{8E221CF3-5FC1-1F45-F523-7809F423014A}"/>
                </a:ext>
              </a:extLst>
            </p:cNvPr>
            <p:cNvSpPr/>
            <p:nvPr/>
          </p:nvSpPr>
          <p:spPr>
            <a:xfrm>
              <a:off x="2177962" y="4225106"/>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48" name="pt103">
              <a:extLst>
                <a:ext uri="{FF2B5EF4-FFF2-40B4-BE49-F238E27FC236}">
                  <a16:creationId xmlns:a16="http://schemas.microsoft.com/office/drawing/2014/main" id="{4F451609-8AB4-1A54-CA44-4DF87DFDE9BB}"/>
                </a:ext>
              </a:extLst>
            </p:cNvPr>
            <p:cNvSpPr/>
            <p:nvPr/>
          </p:nvSpPr>
          <p:spPr>
            <a:xfrm>
              <a:off x="1765099" y="4338257"/>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49" name="pt104">
              <a:extLst>
                <a:ext uri="{FF2B5EF4-FFF2-40B4-BE49-F238E27FC236}">
                  <a16:creationId xmlns:a16="http://schemas.microsoft.com/office/drawing/2014/main" id="{42FFBCFA-89CC-BFC7-00F7-EC5B8ED4931C}"/>
                </a:ext>
              </a:extLst>
            </p:cNvPr>
            <p:cNvSpPr/>
            <p:nvPr/>
          </p:nvSpPr>
          <p:spPr>
            <a:xfrm>
              <a:off x="3416549" y="4169166"/>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50" name="pt105">
              <a:extLst>
                <a:ext uri="{FF2B5EF4-FFF2-40B4-BE49-F238E27FC236}">
                  <a16:creationId xmlns:a16="http://schemas.microsoft.com/office/drawing/2014/main" id="{9B56029D-FFDA-33B5-51B5-CC013310045E}"/>
                </a:ext>
              </a:extLst>
            </p:cNvPr>
            <p:cNvSpPr/>
            <p:nvPr/>
          </p:nvSpPr>
          <p:spPr>
            <a:xfrm>
              <a:off x="2315582" y="4178702"/>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51" name="pt106">
              <a:extLst>
                <a:ext uri="{FF2B5EF4-FFF2-40B4-BE49-F238E27FC236}">
                  <a16:creationId xmlns:a16="http://schemas.microsoft.com/office/drawing/2014/main" id="{797012AC-718D-F211-984F-70E1516696FB}"/>
                </a:ext>
              </a:extLst>
            </p:cNvPr>
            <p:cNvSpPr/>
            <p:nvPr/>
          </p:nvSpPr>
          <p:spPr>
            <a:xfrm>
              <a:off x="2934876" y="4213028"/>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52" name="pt107">
              <a:extLst>
                <a:ext uri="{FF2B5EF4-FFF2-40B4-BE49-F238E27FC236}">
                  <a16:creationId xmlns:a16="http://schemas.microsoft.com/office/drawing/2014/main" id="{E9D44600-611D-EC22-02DB-C6162DEF63A4}"/>
                </a:ext>
              </a:extLst>
            </p:cNvPr>
            <p:cNvSpPr/>
            <p:nvPr/>
          </p:nvSpPr>
          <p:spPr>
            <a:xfrm>
              <a:off x="3347737" y="4200950"/>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53" name="pt108">
              <a:extLst>
                <a:ext uri="{FF2B5EF4-FFF2-40B4-BE49-F238E27FC236}">
                  <a16:creationId xmlns:a16="http://schemas.microsoft.com/office/drawing/2014/main" id="{358C10B9-BB83-ACCC-5022-4FE5960C0793}"/>
                </a:ext>
              </a:extLst>
            </p:cNvPr>
            <p:cNvSpPr/>
            <p:nvPr/>
          </p:nvSpPr>
          <p:spPr>
            <a:xfrm>
              <a:off x="1352236" y="3881840"/>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54" name="pt109">
              <a:extLst>
                <a:ext uri="{FF2B5EF4-FFF2-40B4-BE49-F238E27FC236}">
                  <a16:creationId xmlns:a16="http://schemas.microsoft.com/office/drawing/2014/main" id="{B34D43DE-4E3E-6A36-8C36-110A6263DFEA}"/>
                </a:ext>
              </a:extLst>
            </p:cNvPr>
            <p:cNvSpPr/>
            <p:nvPr/>
          </p:nvSpPr>
          <p:spPr>
            <a:xfrm>
              <a:off x="2866066" y="4176795"/>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55" name="pt110">
              <a:extLst>
                <a:ext uri="{FF2B5EF4-FFF2-40B4-BE49-F238E27FC236}">
                  <a16:creationId xmlns:a16="http://schemas.microsoft.com/office/drawing/2014/main" id="{A14E9003-A8FD-5924-9943-62BF0521B766}"/>
                </a:ext>
              </a:extLst>
            </p:cNvPr>
            <p:cNvSpPr/>
            <p:nvPr/>
          </p:nvSpPr>
          <p:spPr>
            <a:xfrm>
              <a:off x="1902720" y="4230827"/>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56" name="pt111">
              <a:extLst>
                <a:ext uri="{FF2B5EF4-FFF2-40B4-BE49-F238E27FC236}">
                  <a16:creationId xmlns:a16="http://schemas.microsoft.com/office/drawing/2014/main" id="{708561F8-83E8-B0D3-8DC6-57AB6132BAFC}"/>
                </a:ext>
              </a:extLst>
            </p:cNvPr>
            <p:cNvSpPr/>
            <p:nvPr/>
          </p:nvSpPr>
          <p:spPr>
            <a:xfrm>
              <a:off x="3278927" y="4173616"/>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57" name="pt112">
              <a:extLst>
                <a:ext uri="{FF2B5EF4-FFF2-40B4-BE49-F238E27FC236}">
                  <a16:creationId xmlns:a16="http://schemas.microsoft.com/office/drawing/2014/main" id="{0181C3E0-F055-6808-41F4-C93A4479DD54}"/>
                </a:ext>
              </a:extLst>
            </p:cNvPr>
            <p:cNvSpPr/>
            <p:nvPr/>
          </p:nvSpPr>
          <p:spPr>
            <a:xfrm>
              <a:off x="1558668" y="4250533"/>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58" name="pt113">
              <a:extLst>
                <a:ext uri="{FF2B5EF4-FFF2-40B4-BE49-F238E27FC236}">
                  <a16:creationId xmlns:a16="http://schemas.microsoft.com/office/drawing/2014/main" id="{C717B1C0-EC44-9BFE-1379-D2873715E14E}"/>
                </a:ext>
              </a:extLst>
            </p:cNvPr>
            <p:cNvSpPr/>
            <p:nvPr/>
          </p:nvSpPr>
          <p:spPr>
            <a:xfrm>
              <a:off x="1971530" y="4196501"/>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59" name="pt114">
              <a:extLst>
                <a:ext uri="{FF2B5EF4-FFF2-40B4-BE49-F238E27FC236}">
                  <a16:creationId xmlns:a16="http://schemas.microsoft.com/office/drawing/2014/main" id="{EBD98784-CF53-F17F-AFB8-8BDF2C2583EA}"/>
                </a:ext>
              </a:extLst>
            </p:cNvPr>
            <p:cNvSpPr/>
            <p:nvPr/>
          </p:nvSpPr>
          <p:spPr>
            <a:xfrm>
              <a:off x="1421047" y="4125305"/>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60" name="pt115">
              <a:extLst>
                <a:ext uri="{FF2B5EF4-FFF2-40B4-BE49-F238E27FC236}">
                  <a16:creationId xmlns:a16="http://schemas.microsoft.com/office/drawing/2014/main" id="{86DAE977-5B9C-18EF-9A8D-4292538F0EE0}"/>
                </a:ext>
              </a:extLst>
            </p:cNvPr>
            <p:cNvSpPr/>
            <p:nvPr/>
          </p:nvSpPr>
          <p:spPr>
            <a:xfrm>
              <a:off x="1489857" y="4184423"/>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61" name="pt116">
              <a:extLst>
                <a:ext uri="{FF2B5EF4-FFF2-40B4-BE49-F238E27FC236}">
                  <a16:creationId xmlns:a16="http://schemas.microsoft.com/office/drawing/2014/main" id="{925272A2-2CAB-51F1-515E-8F60073B47D2}"/>
                </a:ext>
              </a:extLst>
            </p:cNvPr>
            <p:cNvSpPr/>
            <p:nvPr/>
          </p:nvSpPr>
          <p:spPr>
            <a:xfrm>
              <a:off x="2522013" y="4234006"/>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62" name="pt117">
              <a:extLst>
                <a:ext uri="{FF2B5EF4-FFF2-40B4-BE49-F238E27FC236}">
                  <a16:creationId xmlns:a16="http://schemas.microsoft.com/office/drawing/2014/main" id="{DF2F2856-2BA3-245D-89AC-FEC2E40EDFE4}"/>
                </a:ext>
              </a:extLst>
            </p:cNvPr>
            <p:cNvSpPr/>
            <p:nvPr/>
          </p:nvSpPr>
          <p:spPr>
            <a:xfrm>
              <a:off x="1696289" y="4233370"/>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63" name="pt118">
              <a:extLst>
                <a:ext uri="{FF2B5EF4-FFF2-40B4-BE49-F238E27FC236}">
                  <a16:creationId xmlns:a16="http://schemas.microsoft.com/office/drawing/2014/main" id="{25551027-92AC-7F47-5061-46DA40DD9B7D}"/>
                </a:ext>
              </a:extLst>
            </p:cNvPr>
            <p:cNvSpPr/>
            <p:nvPr/>
          </p:nvSpPr>
          <p:spPr>
            <a:xfrm>
              <a:off x="3141307" y="4205400"/>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64" name="pt119">
              <a:extLst>
                <a:ext uri="{FF2B5EF4-FFF2-40B4-BE49-F238E27FC236}">
                  <a16:creationId xmlns:a16="http://schemas.microsoft.com/office/drawing/2014/main" id="{84FCBFC8-8247-1DE8-E429-04E9B8FC5E4F}"/>
                </a:ext>
              </a:extLst>
            </p:cNvPr>
            <p:cNvSpPr/>
            <p:nvPr/>
          </p:nvSpPr>
          <p:spPr>
            <a:xfrm>
              <a:off x="2659634" y="4223835"/>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65" name="pt120">
              <a:extLst>
                <a:ext uri="{FF2B5EF4-FFF2-40B4-BE49-F238E27FC236}">
                  <a16:creationId xmlns:a16="http://schemas.microsoft.com/office/drawing/2014/main" id="{77DBAB60-BD3C-7A6F-C017-E5350593D6CA}"/>
                </a:ext>
              </a:extLst>
            </p:cNvPr>
            <p:cNvSpPr/>
            <p:nvPr/>
          </p:nvSpPr>
          <p:spPr>
            <a:xfrm>
              <a:off x="2246772" y="4180609"/>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66" name="pt121">
              <a:extLst>
                <a:ext uri="{FF2B5EF4-FFF2-40B4-BE49-F238E27FC236}">
                  <a16:creationId xmlns:a16="http://schemas.microsoft.com/office/drawing/2014/main" id="{C6CA98F9-AB42-02AE-64E8-422D853D969D}"/>
                </a:ext>
              </a:extLst>
            </p:cNvPr>
            <p:cNvSpPr/>
            <p:nvPr/>
          </p:nvSpPr>
          <p:spPr>
            <a:xfrm>
              <a:off x="2040340" y="4241634"/>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67" name="pt122">
              <a:extLst>
                <a:ext uri="{FF2B5EF4-FFF2-40B4-BE49-F238E27FC236}">
                  <a16:creationId xmlns:a16="http://schemas.microsoft.com/office/drawing/2014/main" id="{BD92AEC7-003C-411A-6325-4C85745A1D66}"/>
                </a:ext>
              </a:extLst>
            </p:cNvPr>
            <p:cNvSpPr/>
            <p:nvPr/>
          </p:nvSpPr>
          <p:spPr>
            <a:xfrm>
              <a:off x="3072496" y="4214935"/>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68" name="pt123">
              <a:extLst>
                <a:ext uri="{FF2B5EF4-FFF2-40B4-BE49-F238E27FC236}">
                  <a16:creationId xmlns:a16="http://schemas.microsoft.com/office/drawing/2014/main" id="{A832640E-6D7F-59E2-CD69-E63301C78D01}"/>
                </a:ext>
              </a:extLst>
            </p:cNvPr>
            <p:cNvSpPr/>
            <p:nvPr/>
          </p:nvSpPr>
          <p:spPr>
            <a:xfrm>
              <a:off x="2384393" y="4227013"/>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69" name="pt124">
              <a:extLst>
                <a:ext uri="{FF2B5EF4-FFF2-40B4-BE49-F238E27FC236}">
                  <a16:creationId xmlns:a16="http://schemas.microsoft.com/office/drawing/2014/main" id="{757C9D55-A226-BBDB-86F0-591B324F9052}"/>
                </a:ext>
              </a:extLst>
            </p:cNvPr>
            <p:cNvSpPr/>
            <p:nvPr/>
          </p:nvSpPr>
          <p:spPr>
            <a:xfrm>
              <a:off x="1833909" y="4232099"/>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70" name="pt125">
              <a:extLst>
                <a:ext uri="{FF2B5EF4-FFF2-40B4-BE49-F238E27FC236}">
                  <a16:creationId xmlns:a16="http://schemas.microsoft.com/office/drawing/2014/main" id="{5936BB27-8963-7FD8-B47E-5E5034AD7EDC}"/>
                </a:ext>
              </a:extLst>
            </p:cNvPr>
            <p:cNvSpPr/>
            <p:nvPr/>
          </p:nvSpPr>
          <p:spPr>
            <a:xfrm>
              <a:off x="3210117" y="4181880"/>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71" name="pt126">
              <a:extLst>
                <a:ext uri="{FF2B5EF4-FFF2-40B4-BE49-F238E27FC236}">
                  <a16:creationId xmlns:a16="http://schemas.microsoft.com/office/drawing/2014/main" id="{1A412925-C73C-8690-DD2F-580EE314F753}"/>
                </a:ext>
              </a:extLst>
            </p:cNvPr>
            <p:cNvSpPr/>
            <p:nvPr/>
          </p:nvSpPr>
          <p:spPr>
            <a:xfrm>
              <a:off x="2109150" y="4243541"/>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72" name="pt127">
              <a:extLst>
                <a:ext uri="{FF2B5EF4-FFF2-40B4-BE49-F238E27FC236}">
                  <a16:creationId xmlns:a16="http://schemas.microsoft.com/office/drawing/2014/main" id="{0E1AF650-FBFD-857A-CD9E-B97CE52ADBC9}"/>
                </a:ext>
              </a:extLst>
            </p:cNvPr>
            <p:cNvSpPr/>
            <p:nvPr/>
          </p:nvSpPr>
          <p:spPr>
            <a:xfrm>
              <a:off x="2590823" y="4222563"/>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73" name="pt128">
              <a:extLst>
                <a:ext uri="{FF2B5EF4-FFF2-40B4-BE49-F238E27FC236}">
                  <a16:creationId xmlns:a16="http://schemas.microsoft.com/office/drawing/2014/main" id="{71B9E8E1-3387-2BB9-543A-7AC758DB13D7}"/>
                </a:ext>
              </a:extLst>
            </p:cNvPr>
            <p:cNvSpPr/>
            <p:nvPr/>
          </p:nvSpPr>
          <p:spPr>
            <a:xfrm>
              <a:off x="3485359" y="4188237"/>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74" name="pt129">
              <a:extLst>
                <a:ext uri="{FF2B5EF4-FFF2-40B4-BE49-F238E27FC236}">
                  <a16:creationId xmlns:a16="http://schemas.microsoft.com/office/drawing/2014/main" id="{EB38195A-5303-0704-40F4-6586D591D3EB}"/>
                </a:ext>
              </a:extLst>
            </p:cNvPr>
            <p:cNvSpPr/>
            <p:nvPr/>
          </p:nvSpPr>
          <p:spPr>
            <a:xfrm>
              <a:off x="1627479" y="4225106"/>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75" name="pt130">
              <a:extLst>
                <a:ext uri="{FF2B5EF4-FFF2-40B4-BE49-F238E27FC236}">
                  <a16:creationId xmlns:a16="http://schemas.microsoft.com/office/drawing/2014/main" id="{79E2B9F2-7A32-D078-85FE-A27C78E95266}"/>
                </a:ext>
              </a:extLst>
            </p:cNvPr>
            <p:cNvSpPr/>
            <p:nvPr/>
          </p:nvSpPr>
          <p:spPr>
            <a:xfrm>
              <a:off x="2453203" y="4214935"/>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76" name="pt131">
              <a:extLst>
                <a:ext uri="{FF2B5EF4-FFF2-40B4-BE49-F238E27FC236}">
                  <a16:creationId xmlns:a16="http://schemas.microsoft.com/office/drawing/2014/main" id="{ACDF663F-6F0D-275F-5C06-9BE7255FC15E}"/>
                </a:ext>
              </a:extLst>
            </p:cNvPr>
            <p:cNvSpPr/>
            <p:nvPr/>
          </p:nvSpPr>
          <p:spPr>
            <a:xfrm>
              <a:off x="3003686" y="4208578"/>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77" name="pt132">
              <a:extLst>
                <a:ext uri="{FF2B5EF4-FFF2-40B4-BE49-F238E27FC236}">
                  <a16:creationId xmlns:a16="http://schemas.microsoft.com/office/drawing/2014/main" id="{A778645E-D6D8-FC0E-DE08-2737D3B8B875}"/>
                </a:ext>
              </a:extLst>
            </p:cNvPr>
            <p:cNvSpPr/>
            <p:nvPr/>
          </p:nvSpPr>
          <p:spPr>
            <a:xfrm>
              <a:off x="2797255" y="4205400"/>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78" name="pt133">
              <a:extLst>
                <a:ext uri="{FF2B5EF4-FFF2-40B4-BE49-F238E27FC236}">
                  <a16:creationId xmlns:a16="http://schemas.microsoft.com/office/drawing/2014/main" id="{70DC21B6-3094-4736-CA1C-CF7BEA5D037F}"/>
                </a:ext>
              </a:extLst>
            </p:cNvPr>
            <p:cNvSpPr/>
            <p:nvPr/>
          </p:nvSpPr>
          <p:spPr>
            <a:xfrm>
              <a:off x="2728444" y="4235277"/>
              <a:ext cx="39217" cy="38248"/>
            </a:xfrm>
            <a:prstGeom prst="ellipse">
              <a:avLst/>
            </a:prstGeom>
            <a:solidFill>
              <a:srgbClr val="745DAD">
                <a:alpha val="100000"/>
              </a:srgbClr>
            </a:solidFill>
            <a:ln w="9000" cap="rnd">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179" name="pt134">
              <a:extLst>
                <a:ext uri="{FF2B5EF4-FFF2-40B4-BE49-F238E27FC236}">
                  <a16:creationId xmlns:a16="http://schemas.microsoft.com/office/drawing/2014/main" id="{0CC51CC8-7418-EE36-85C2-0E7A7014FD1B}"/>
                </a:ext>
              </a:extLst>
            </p:cNvPr>
            <p:cNvSpPr/>
            <p:nvPr/>
          </p:nvSpPr>
          <p:spPr>
            <a:xfrm>
              <a:off x="2177962" y="4171073"/>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180" name="pt135">
              <a:extLst>
                <a:ext uri="{FF2B5EF4-FFF2-40B4-BE49-F238E27FC236}">
                  <a16:creationId xmlns:a16="http://schemas.microsoft.com/office/drawing/2014/main" id="{79E99F43-D829-4F96-1C9B-37D9468ACCB8}"/>
                </a:ext>
              </a:extLst>
            </p:cNvPr>
            <p:cNvSpPr/>
            <p:nvPr/>
          </p:nvSpPr>
          <p:spPr>
            <a:xfrm>
              <a:off x="1765099" y="4040941"/>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181" name="pt136">
              <a:extLst>
                <a:ext uri="{FF2B5EF4-FFF2-40B4-BE49-F238E27FC236}">
                  <a16:creationId xmlns:a16="http://schemas.microsoft.com/office/drawing/2014/main" id="{E8C3BF5F-A4AE-7638-7E0D-CE27E38C7794}"/>
                </a:ext>
              </a:extLst>
            </p:cNvPr>
            <p:cNvSpPr/>
            <p:nvPr/>
          </p:nvSpPr>
          <p:spPr>
            <a:xfrm>
              <a:off x="3416549" y="4265154"/>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182" name="pt137">
              <a:extLst>
                <a:ext uri="{FF2B5EF4-FFF2-40B4-BE49-F238E27FC236}">
                  <a16:creationId xmlns:a16="http://schemas.microsoft.com/office/drawing/2014/main" id="{81973F2E-9660-EF3E-574D-F9C5A7161FBD}"/>
                </a:ext>
              </a:extLst>
            </p:cNvPr>
            <p:cNvSpPr/>
            <p:nvPr/>
          </p:nvSpPr>
          <p:spPr>
            <a:xfrm>
              <a:off x="2315582" y="4215571"/>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183" name="pt138">
              <a:extLst>
                <a:ext uri="{FF2B5EF4-FFF2-40B4-BE49-F238E27FC236}">
                  <a16:creationId xmlns:a16="http://schemas.microsoft.com/office/drawing/2014/main" id="{D04DE982-B046-2A62-CFFA-99B830D38FD2}"/>
                </a:ext>
              </a:extLst>
            </p:cNvPr>
            <p:cNvSpPr/>
            <p:nvPr/>
          </p:nvSpPr>
          <p:spPr>
            <a:xfrm>
              <a:off x="2934876" y="4197772"/>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184" name="pt139">
              <a:extLst>
                <a:ext uri="{FF2B5EF4-FFF2-40B4-BE49-F238E27FC236}">
                  <a16:creationId xmlns:a16="http://schemas.microsoft.com/office/drawing/2014/main" id="{CD523773-FC40-3FB8-4BC3-B2FEEA37EC46}"/>
                </a:ext>
              </a:extLst>
            </p:cNvPr>
            <p:cNvSpPr/>
            <p:nvPr/>
          </p:nvSpPr>
          <p:spPr>
            <a:xfrm>
              <a:off x="3347737" y="4270239"/>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185" name="pt140">
              <a:extLst>
                <a:ext uri="{FF2B5EF4-FFF2-40B4-BE49-F238E27FC236}">
                  <a16:creationId xmlns:a16="http://schemas.microsoft.com/office/drawing/2014/main" id="{820043C1-B053-A148-17CB-9C1634BDD297}"/>
                </a:ext>
              </a:extLst>
            </p:cNvPr>
            <p:cNvSpPr/>
            <p:nvPr/>
          </p:nvSpPr>
          <p:spPr>
            <a:xfrm>
              <a:off x="1352236" y="3881840"/>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186" name="pt141">
              <a:extLst>
                <a:ext uri="{FF2B5EF4-FFF2-40B4-BE49-F238E27FC236}">
                  <a16:creationId xmlns:a16="http://schemas.microsoft.com/office/drawing/2014/main" id="{359BB63D-3328-5D25-BD8B-2D2400112B3E}"/>
                </a:ext>
              </a:extLst>
            </p:cNvPr>
            <p:cNvSpPr/>
            <p:nvPr/>
          </p:nvSpPr>
          <p:spPr>
            <a:xfrm>
              <a:off x="2866066" y="4202857"/>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187" name="pt142">
              <a:extLst>
                <a:ext uri="{FF2B5EF4-FFF2-40B4-BE49-F238E27FC236}">
                  <a16:creationId xmlns:a16="http://schemas.microsoft.com/office/drawing/2014/main" id="{C65D9927-3BB4-7633-7543-5C2FECF8CA25}"/>
                </a:ext>
              </a:extLst>
            </p:cNvPr>
            <p:cNvSpPr/>
            <p:nvPr/>
          </p:nvSpPr>
          <p:spPr>
            <a:xfrm>
              <a:off x="1902720" y="4089071"/>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188" name="pt143">
              <a:extLst>
                <a:ext uri="{FF2B5EF4-FFF2-40B4-BE49-F238E27FC236}">
                  <a16:creationId xmlns:a16="http://schemas.microsoft.com/office/drawing/2014/main" id="{A0250578-EE02-4C1F-382E-E15BE8A7F807}"/>
                </a:ext>
              </a:extLst>
            </p:cNvPr>
            <p:cNvSpPr/>
            <p:nvPr/>
          </p:nvSpPr>
          <p:spPr>
            <a:xfrm>
              <a:off x="3278927" y="4233370"/>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189" name="pt144">
              <a:extLst>
                <a:ext uri="{FF2B5EF4-FFF2-40B4-BE49-F238E27FC236}">
                  <a16:creationId xmlns:a16="http://schemas.microsoft.com/office/drawing/2014/main" id="{2B037F57-EFDA-457C-285D-D4B4FC628C77}"/>
                </a:ext>
              </a:extLst>
            </p:cNvPr>
            <p:cNvSpPr/>
            <p:nvPr/>
          </p:nvSpPr>
          <p:spPr>
            <a:xfrm>
              <a:off x="1558668" y="3982277"/>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190" name="pt145">
              <a:extLst>
                <a:ext uri="{FF2B5EF4-FFF2-40B4-BE49-F238E27FC236}">
                  <a16:creationId xmlns:a16="http://schemas.microsoft.com/office/drawing/2014/main" id="{B20F4905-DEFD-F3D7-2077-91A7F4AC9EFA}"/>
                </a:ext>
              </a:extLst>
            </p:cNvPr>
            <p:cNvSpPr/>
            <p:nvPr/>
          </p:nvSpPr>
          <p:spPr>
            <a:xfrm>
              <a:off x="1971530" y="4108777"/>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191" name="pt146">
              <a:extLst>
                <a:ext uri="{FF2B5EF4-FFF2-40B4-BE49-F238E27FC236}">
                  <a16:creationId xmlns:a16="http://schemas.microsoft.com/office/drawing/2014/main" id="{C8A45FA4-E55C-C28F-6D11-6ED8CFCDD353}"/>
                </a:ext>
              </a:extLst>
            </p:cNvPr>
            <p:cNvSpPr/>
            <p:nvPr/>
          </p:nvSpPr>
          <p:spPr>
            <a:xfrm>
              <a:off x="1421047" y="3911717"/>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192" name="pt147">
              <a:extLst>
                <a:ext uri="{FF2B5EF4-FFF2-40B4-BE49-F238E27FC236}">
                  <a16:creationId xmlns:a16="http://schemas.microsoft.com/office/drawing/2014/main" id="{96E4599F-3BE4-1271-BCDB-51EE8C052CB2}"/>
                </a:ext>
              </a:extLst>
            </p:cNvPr>
            <p:cNvSpPr/>
            <p:nvPr/>
          </p:nvSpPr>
          <p:spPr>
            <a:xfrm>
              <a:off x="1489857" y="3910445"/>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193" name="pt148">
              <a:extLst>
                <a:ext uri="{FF2B5EF4-FFF2-40B4-BE49-F238E27FC236}">
                  <a16:creationId xmlns:a16="http://schemas.microsoft.com/office/drawing/2014/main" id="{19421A29-740F-2D8F-763B-F6F9B45D95DB}"/>
                </a:ext>
              </a:extLst>
            </p:cNvPr>
            <p:cNvSpPr/>
            <p:nvPr/>
          </p:nvSpPr>
          <p:spPr>
            <a:xfrm>
              <a:off x="2522013" y="4245448"/>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194" name="pt149">
              <a:extLst>
                <a:ext uri="{FF2B5EF4-FFF2-40B4-BE49-F238E27FC236}">
                  <a16:creationId xmlns:a16="http://schemas.microsoft.com/office/drawing/2014/main" id="{60AC6813-F3CF-288A-5F16-A4C8351939E3}"/>
                </a:ext>
              </a:extLst>
            </p:cNvPr>
            <p:cNvSpPr/>
            <p:nvPr/>
          </p:nvSpPr>
          <p:spPr>
            <a:xfrm>
              <a:off x="1696289" y="4028682"/>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195" name="pt150">
              <a:extLst>
                <a:ext uri="{FF2B5EF4-FFF2-40B4-BE49-F238E27FC236}">
                  <a16:creationId xmlns:a16="http://schemas.microsoft.com/office/drawing/2014/main" id="{46C6CB36-B17C-40A4-C86D-001AD0FF2E1A}"/>
                </a:ext>
              </a:extLst>
            </p:cNvPr>
            <p:cNvSpPr/>
            <p:nvPr/>
          </p:nvSpPr>
          <p:spPr>
            <a:xfrm>
              <a:off x="3141307" y="4247991"/>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196" name="pt151">
              <a:extLst>
                <a:ext uri="{FF2B5EF4-FFF2-40B4-BE49-F238E27FC236}">
                  <a16:creationId xmlns:a16="http://schemas.microsoft.com/office/drawing/2014/main" id="{E2D43ADE-2746-715F-1C32-4A12D646A1F5}"/>
                </a:ext>
              </a:extLst>
            </p:cNvPr>
            <p:cNvSpPr/>
            <p:nvPr/>
          </p:nvSpPr>
          <p:spPr>
            <a:xfrm>
              <a:off x="2659634" y="4220656"/>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197" name="pt152">
              <a:extLst>
                <a:ext uri="{FF2B5EF4-FFF2-40B4-BE49-F238E27FC236}">
                  <a16:creationId xmlns:a16="http://schemas.microsoft.com/office/drawing/2014/main" id="{32AED0CA-CD21-0C52-6B01-1480B88395EB}"/>
                </a:ext>
              </a:extLst>
            </p:cNvPr>
            <p:cNvSpPr/>
            <p:nvPr/>
          </p:nvSpPr>
          <p:spPr>
            <a:xfrm>
              <a:off x="2246772" y="4188237"/>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198" name="pt153">
              <a:extLst>
                <a:ext uri="{FF2B5EF4-FFF2-40B4-BE49-F238E27FC236}">
                  <a16:creationId xmlns:a16="http://schemas.microsoft.com/office/drawing/2014/main" id="{E4113951-11BC-C8ED-0E34-7AB61546E998}"/>
                </a:ext>
              </a:extLst>
            </p:cNvPr>
            <p:cNvSpPr/>
            <p:nvPr/>
          </p:nvSpPr>
          <p:spPr>
            <a:xfrm>
              <a:off x="2040340" y="4155182"/>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199" name="pt154">
              <a:extLst>
                <a:ext uri="{FF2B5EF4-FFF2-40B4-BE49-F238E27FC236}">
                  <a16:creationId xmlns:a16="http://schemas.microsoft.com/office/drawing/2014/main" id="{BAADEA88-6122-955A-E453-A064CCDE028B}"/>
                </a:ext>
              </a:extLst>
            </p:cNvPr>
            <p:cNvSpPr/>
            <p:nvPr/>
          </p:nvSpPr>
          <p:spPr>
            <a:xfrm>
              <a:off x="3072496" y="4241634"/>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200" name="pt155">
              <a:extLst>
                <a:ext uri="{FF2B5EF4-FFF2-40B4-BE49-F238E27FC236}">
                  <a16:creationId xmlns:a16="http://schemas.microsoft.com/office/drawing/2014/main" id="{C19800DE-236B-3B81-07A7-DA67A57B7510}"/>
                </a:ext>
              </a:extLst>
            </p:cNvPr>
            <p:cNvSpPr/>
            <p:nvPr/>
          </p:nvSpPr>
          <p:spPr>
            <a:xfrm>
              <a:off x="2384393" y="4199043"/>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201" name="pt156">
              <a:extLst>
                <a:ext uri="{FF2B5EF4-FFF2-40B4-BE49-F238E27FC236}">
                  <a16:creationId xmlns:a16="http://schemas.microsoft.com/office/drawing/2014/main" id="{8A127707-6321-8D2A-66B8-12A42893F892}"/>
                </a:ext>
              </a:extLst>
            </p:cNvPr>
            <p:cNvSpPr/>
            <p:nvPr/>
          </p:nvSpPr>
          <p:spPr>
            <a:xfrm>
              <a:off x="1833909" y="4071908"/>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202" name="pt157">
              <a:extLst>
                <a:ext uri="{FF2B5EF4-FFF2-40B4-BE49-F238E27FC236}">
                  <a16:creationId xmlns:a16="http://schemas.microsoft.com/office/drawing/2014/main" id="{D1CE0105-B022-88C5-59FC-D44C89A6FF91}"/>
                </a:ext>
              </a:extLst>
            </p:cNvPr>
            <p:cNvSpPr/>
            <p:nvPr/>
          </p:nvSpPr>
          <p:spPr>
            <a:xfrm>
              <a:off x="3210117" y="4219385"/>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203" name="pt158">
              <a:extLst>
                <a:ext uri="{FF2B5EF4-FFF2-40B4-BE49-F238E27FC236}">
                  <a16:creationId xmlns:a16="http://schemas.microsoft.com/office/drawing/2014/main" id="{D677917E-B6B4-55AC-5EF4-A06020531B11}"/>
                </a:ext>
              </a:extLst>
            </p:cNvPr>
            <p:cNvSpPr/>
            <p:nvPr/>
          </p:nvSpPr>
          <p:spPr>
            <a:xfrm>
              <a:off x="2109150" y="4143739"/>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204" name="pt159">
              <a:extLst>
                <a:ext uri="{FF2B5EF4-FFF2-40B4-BE49-F238E27FC236}">
                  <a16:creationId xmlns:a16="http://schemas.microsoft.com/office/drawing/2014/main" id="{B2FC05FC-D437-2284-D4E4-E47D895EC822}"/>
                </a:ext>
              </a:extLst>
            </p:cNvPr>
            <p:cNvSpPr/>
            <p:nvPr/>
          </p:nvSpPr>
          <p:spPr>
            <a:xfrm>
              <a:off x="2590823" y="4216207"/>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205" name="pt160">
              <a:extLst>
                <a:ext uri="{FF2B5EF4-FFF2-40B4-BE49-F238E27FC236}">
                  <a16:creationId xmlns:a16="http://schemas.microsoft.com/office/drawing/2014/main" id="{E504F4B3-CE46-8D56-4773-72EB71FB289E}"/>
                </a:ext>
              </a:extLst>
            </p:cNvPr>
            <p:cNvSpPr/>
            <p:nvPr/>
          </p:nvSpPr>
          <p:spPr>
            <a:xfrm>
              <a:off x="3485359" y="4230192"/>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206" name="pt161">
              <a:extLst>
                <a:ext uri="{FF2B5EF4-FFF2-40B4-BE49-F238E27FC236}">
                  <a16:creationId xmlns:a16="http://schemas.microsoft.com/office/drawing/2014/main" id="{BDD89A5F-59A4-CAD4-A542-9880E82AAB4F}"/>
                </a:ext>
              </a:extLst>
            </p:cNvPr>
            <p:cNvSpPr/>
            <p:nvPr/>
          </p:nvSpPr>
          <p:spPr>
            <a:xfrm>
              <a:off x="1627479" y="4008340"/>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207" name="pt162">
              <a:extLst>
                <a:ext uri="{FF2B5EF4-FFF2-40B4-BE49-F238E27FC236}">
                  <a16:creationId xmlns:a16="http://schemas.microsoft.com/office/drawing/2014/main" id="{133C6541-8821-D4E5-3553-C81385A86481}"/>
                </a:ext>
              </a:extLst>
            </p:cNvPr>
            <p:cNvSpPr/>
            <p:nvPr/>
          </p:nvSpPr>
          <p:spPr>
            <a:xfrm>
              <a:off x="2453203" y="4251169"/>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208" name="pt163">
              <a:extLst>
                <a:ext uri="{FF2B5EF4-FFF2-40B4-BE49-F238E27FC236}">
                  <a16:creationId xmlns:a16="http://schemas.microsoft.com/office/drawing/2014/main" id="{E570B886-685D-27E5-3AF1-369C378AF52B}"/>
                </a:ext>
              </a:extLst>
            </p:cNvPr>
            <p:cNvSpPr/>
            <p:nvPr/>
          </p:nvSpPr>
          <p:spPr>
            <a:xfrm>
              <a:off x="3003686" y="4227013"/>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209" name="pt164">
              <a:extLst>
                <a:ext uri="{FF2B5EF4-FFF2-40B4-BE49-F238E27FC236}">
                  <a16:creationId xmlns:a16="http://schemas.microsoft.com/office/drawing/2014/main" id="{8F3265F0-3C2A-D2FB-1FFF-E9349C68EC0E}"/>
                </a:ext>
              </a:extLst>
            </p:cNvPr>
            <p:cNvSpPr/>
            <p:nvPr/>
          </p:nvSpPr>
          <p:spPr>
            <a:xfrm>
              <a:off x="2797255" y="4250533"/>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210" name="pt165">
              <a:extLst>
                <a:ext uri="{FF2B5EF4-FFF2-40B4-BE49-F238E27FC236}">
                  <a16:creationId xmlns:a16="http://schemas.microsoft.com/office/drawing/2014/main" id="{B5D2070B-3318-4D04-3E2B-ED1A312D5BC8}"/>
                </a:ext>
              </a:extLst>
            </p:cNvPr>
            <p:cNvSpPr/>
            <p:nvPr/>
          </p:nvSpPr>
          <p:spPr>
            <a:xfrm>
              <a:off x="2728444" y="4244812"/>
              <a:ext cx="39217" cy="38248"/>
            </a:xfrm>
            <a:prstGeom prst="ellipse">
              <a:avLst/>
            </a:prstGeom>
            <a:solidFill>
              <a:srgbClr val="F3F44D">
                <a:alpha val="100000"/>
              </a:srgbClr>
            </a:solidFill>
            <a:ln w="9000" cap="rnd">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211" name="pt166">
              <a:extLst>
                <a:ext uri="{FF2B5EF4-FFF2-40B4-BE49-F238E27FC236}">
                  <a16:creationId xmlns:a16="http://schemas.microsoft.com/office/drawing/2014/main" id="{D73C0987-22C0-27A5-F812-13710849AF11}"/>
                </a:ext>
              </a:extLst>
            </p:cNvPr>
            <p:cNvSpPr/>
            <p:nvPr/>
          </p:nvSpPr>
          <p:spPr>
            <a:xfrm>
              <a:off x="2177962" y="4197136"/>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12" name="pt167">
              <a:extLst>
                <a:ext uri="{FF2B5EF4-FFF2-40B4-BE49-F238E27FC236}">
                  <a16:creationId xmlns:a16="http://schemas.microsoft.com/office/drawing/2014/main" id="{C61E97F9-37DF-5FE5-640C-5AC3AE1C40C7}"/>
                </a:ext>
              </a:extLst>
            </p:cNvPr>
            <p:cNvSpPr/>
            <p:nvPr/>
          </p:nvSpPr>
          <p:spPr>
            <a:xfrm>
              <a:off x="1765099" y="4257526"/>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13" name="pt168">
              <a:extLst>
                <a:ext uri="{FF2B5EF4-FFF2-40B4-BE49-F238E27FC236}">
                  <a16:creationId xmlns:a16="http://schemas.microsoft.com/office/drawing/2014/main" id="{CB0E6516-D883-06AC-3C5B-9673F128B320}"/>
                </a:ext>
              </a:extLst>
            </p:cNvPr>
            <p:cNvSpPr/>
            <p:nvPr/>
          </p:nvSpPr>
          <p:spPr>
            <a:xfrm>
              <a:off x="3416549" y="4156453"/>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14" name="pt169">
              <a:extLst>
                <a:ext uri="{FF2B5EF4-FFF2-40B4-BE49-F238E27FC236}">
                  <a16:creationId xmlns:a16="http://schemas.microsoft.com/office/drawing/2014/main" id="{4A2CC04C-26C0-A376-8E39-CE48A3757F3E}"/>
                </a:ext>
              </a:extLst>
            </p:cNvPr>
            <p:cNvSpPr/>
            <p:nvPr/>
          </p:nvSpPr>
          <p:spPr>
            <a:xfrm>
              <a:off x="2315582" y="4182516"/>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15" name="pt170">
              <a:extLst>
                <a:ext uri="{FF2B5EF4-FFF2-40B4-BE49-F238E27FC236}">
                  <a16:creationId xmlns:a16="http://schemas.microsoft.com/office/drawing/2014/main" id="{2A6536B2-B1B5-06BF-84CE-8869FB8D12B6}"/>
                </a:ext>
              </a:extLst>
            </p:cNvPr>
            <p:cNvSpPr/>
            <p:nvPr/>
          </p:nvSpPr>
          <p:spPr>
            <a:xfrm>
              <a:off x="2934876" y="4168531"/>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16" name="pt171">
              <a:extLst>
                <a:ext uri="{FF2B5EF4-FFF2-40B4-BE49-F238E27FC236}">
                  <a16:creationId xmlns:a16="http://schemas.microsoft.com/office/drawing/2014/main" id="{01939AED-1228-3903-2491-99A9E895EABC}"/>
                </a:ext>
              </a:extLst>
            </p:cNvPr>
            <p:cNvSpPr/>
            <p:nvPr/>
          </p:nvSpPr>
          <p:spPr>
            <a:xfrm>
              <a:off x="3347737" y="4202857"/>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17" name="pt172">
              <a:extLst>
                <a:ext uri="{FF2B5EF4-FFF2-40B4-BE49-F238E27FC236}">
                  <a16:creationId xmlns:a16="http://schemas.microsoft.com/office/drawing/2014/main" id="{7B857621-EB32-7EF6-30BE-4573B9FBE01D}"/>
                </a:ext>
              </a:extLst>
            </p:cNvPr>
            <p:cNvSpPr/>
            <p:nvPr/>
          </p:nvSpPr>
          <p:spPr>
            <a:xfrm>
              <a:off x="1352236" y="3881840"/>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18" name="pt173">
              <a:extLst>
                <a:ext uri="{FF2B5EF4-FFF2-40B4-BE49-F238E27FC236}">
                  <a16:creationId xmlns:a16="http://schemas.microsoft.com/office/drawing/2014/main" id="{9C6C9AE4-8C66-DCF2-3725-CA912387C467}"/>
                </a:ext>
              </a:extLst>
            </p:cNvPr>
            <p:cNvSpPr/>
            <p:nvPr/>
          </p:nvSpPr>
          <p:spPr>
            <a:xfrm>
              <a:off x="2866066" y="4125305"/>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19" name="pt174">
              <a:extLst>
                <a:ext uri="{FF2B5EF4-FFF2-40B4-BE49-F238E27FC236}">
                  <a16:creationId xmlns:a16="http://schemas.microsoft.com/office/drawing/2014/main" id="{551C39CE-01F5-7CCA-F63F-1C40D348670A}"/>
                </a:ext>
              </a:extLst>
            </p:cNvPr>
            <p:cNvSpPr/>
            <p:nvPr/>
          </p:nvSpPr>
          <p:spPr>
            <a:xfrm>
              <a:off x="1902720" y="4234006"/>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20" name="pt175">
              <a:extLst>
                <a:ext uri="{FF2B5EF4-FFF2-40B4-BE49-F238E27FC236}">
                  <a16:creationId xmlns:a16="http://schemas.microsoft.com/office/drawing/2014/main" id="{D1798E76-B109-8EDA-99C2-6D4C289409CD}"/>
                </a:ext>
              </a:extLst>
            </p:cNvPr>
            <p:cNvSpPr/>
            <p:nvPr/>
          </p:nvSpPr>
          <p:spPr>
            <a:xfrm>
              <a:off x="3278927" y="4183787"/>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21" name="pt176">
              <a:extLst>
                <a:ext uri="{FF2B5EF4-FFF2-40B4-BE49-F238E27FC236}">
                  <a16:creationId xmlns:a16="http://schemas.microsoft.com/office/drawing/2014/main" id="{03F83F4D-1B26-700D-F029-50C1392E553E}"/>
                </a:ext>
              </a:extLst>
            </p:cNvPr>
            <p:cNvSpPr/>
            <p:nvPr/>
          </p:nvSpPr>
          <p:spPr>
            <a:xfrm>
              <a:off x="1558668" y="4168531"/>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22" name="pt177">
              <a:extLst>
                <a:ext uri="{FF2B5EF4-FFF2-40B4-BE49-F238E27FC236}">
                  <a16:creationId xmlns:a16="http://schemas.microsoft.com/office/drawing/2014/main" id="{DEBC81D6-A3CD-A0E2-2AFC-8D0C04CF0223}"/>
                </a:ext>
              </a:extLst>
            </p:cNvPr>
            <p:cNvSpPr/>
            <p:nvPr/>
          </p:nvSpPr>
          <p:spPr>
            <a:xfrm>
              <a:off x="1971530" y="4228920"/>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23" name="pt178">
              <a:extLst>
                <a:ext uri="{FF2B5EF4-FFF2-40B4-BE49-F238E27FC236}">
                  <a16:creationId xmlns:a16="http://schemas.microsoft.com/office/drawing/2014/main" id="{AD6D6BC7-F636-CFBB-E4B9-29E5F0365926}"/>
                </a:ext>
              </a:extLst>
            </p:cNvPr>
            <p:cNvSpPr/>
            <p:nvPr/>
          </p:nvSpPr>
          <p:spPr>
            <a:xfrm>
              <a:off x="1421047" y="3972742"/>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24" name="pt179">
              <a:extLst>
                <a:ext uri="{FF2B5EF4-FFF2-40B4-BE49-F238E27FC236}">
                  <a16:creationId xmlns:a16="http://schemas.microsoft.com/office/drawing/2014/main" id="{EA1131AE-9D61-1F78-5F8F-F135D06FC8DF}"/>
                </a:ext>
              </a:extLst>
            </p:cNvPr>
            <p:cNvSpPr/>
            <p:nvPr/>
          </p:nvSpPr>
          <p:spPr>
            <a:xfrm>
              <a:off x="1489857" y="4100513"/>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25" name="pt180">
              <a:extLst>
                <a:ext uri="{FF2B5EF4-FFF2-40B4-BE49-F238E27FC236}">
                  <a16:creationId xmlns:a16="http://schemas.microsoft.com/office/drawing/2014/main" id="{E185BB3E-1FD7-16C7-3BE1-E135A5591321}"/>
                </a:ext>
              </a:extLst>
            </p:cNvPr>
            <p:cNvSpPr/>
            <p:nvPr/>
          </p:nvSpPr>
          <p:spPr>
            <a:xfrm>
              <a:off x="2522013" y="4187601"/>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26" name="pt181">
              <a:extLst>
                <a:ext uri="{FF2B5EF4-FFF2-40B4-BE49-F238E27FC236}">
                  <a16:creationId xmlns:a16="http://schemas.microsoft.com/office/drawing/2014/main" id="{8D0C47CE-D5A7-B4A2-2C3C-E0752D29CD63}"/>
                </a:ext>
              </a:extLst>
            </p:cNvPr>
            <p:cNvSpPr/>
            <p:nvPr/>
          </p:nvSpPr>
          <p:spPr>
            <a:xfrm>
              <a:off x="1696289" y="4245448"/>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27" name="pt182">
              <a:extLst>
                <a:ext uri="{FF2B5EF4-FFF2-40B4-BE49-F238E27FC236}">
                  <a16:creationId xmlns:a16="http://schemas.microsoft.com/office/drawing/2014/main" id="{0647697E-84BC-C583-420F-4182398A022C}"/>
                </a:ext>
              </a:extLst>
            </p:cNvPr>
            <p:cNvSpPr/>
            <p:nvPr/>
          </p:nvSpPr>
          <p:spPr>
            <a:xfrm>
              <a:off x="3141307" y="4158996"/>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28" name="pt183">
              <a:extLst>
                <a:ext uri="{FF2B5EF4-FFF2-40B4-BE49-F238E27FC236}">
                  <a16:creationId xmlns:a16="http://schemas.microsoft.com/office/drawing/2014/main" id="{45D8DC48-D7A1-A1E0-E1CE-C5A207756A06}"/>
                </a:ext>
              </a:extLst>
            </p:cNvPr>
            <p:cNvSpPr/>
            <p:nvPr/>
          </p:nvSpPr>
          <p:spPr>
            <a:xfrm>
              <a:off x="2659634" y="4165988"/>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29" name="pt184">
              <a:extLst>
                <a:ext uri="{FF2B5EF4-FFF2-40B4-BE49-F238E27FC236}">
                  <a16:creationId xmlns:a16="http://schemas.microsoft.com/office/drawing/2014/main" id="{AEFEC930-7C72-40A6-1EF9-D8480D95C85D}"/>
                </a:ext>
              </a:extLst>
            </p:cNvPr>
            <p:cNvSpPr/>
            <p:nvPr/>
          </p:nvSpPr>
          <p:spPr>
            <a:xfrm>
              <a:off x="2246772" y="4182516"/>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30" name="pt185">
              <a:extLst>
                <a:ext uri="{FF2B5EF4-FFF2-40B4-BE49-F238E27FC236}">
                  <a16:creationId xmlns:a16="http://schemas.microsoft.com/office/drawing/2014/main" id="{5DEA8597-ADAB-83B5-6F93-2CA42639F45C}"/>
                </a:ext>
              </a:extLst>
            </p:cNvPr>
            <p:cNvSpPr/>
            <p:nvPr/>
          </p:nvSpPr>
          <p:spPr>
            <a:xfrm>
              <a:off x="2040340" y="4232734"/>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31" name="pt186">
              <a:extLst>
                <a:ext uri="{FF2B5EF4-FFF2-40B4-BE49-F238E27FC236}">
                  <a16:creationId xmlns:a16="http://schemas.microsoft.com/office/drawing/2014/main" id="{DF140A01-B9EE-81FB-5B74-C144C8968A1A}"/>
                </a:ext>
              </a:extLst>
            </p:cNvPr>
            <p:cNvSpPr/>
            <p:nvPr/>
          </p:nvSpPr>
          <p:spPr>
            <a:xfrm>
              <a:off x="3072496" y="4162810"/>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32" name="pt187">
              <a:extLst>
                <a:ext uri="{FF2B5EF4-FFF2-40B4-BE49-F238E27FC236}">
                  <a16:creationId xmlns:a16="http://schemas.microsoft.com/office/drawing/2014/main" id="{772B9A64-3886-4626-CBEC-89D28807D27E}"/>
                </a:ext>
              </a:extLst>
            </p:cNvPr>
            <p:cNvSpPr/>
            <p:nvPr/>
          </p:nvSpPr>
          <p:spPr>
            <a:xfrm>
              <a:off x="2384393" y="4156453"/>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33" name="pt188">
              <a:extLst>
                <a:ext uri="{FF2B5EF4-FFF2-40B4-BE49-F238E27FC236}">
                  <a16:creationId xmlns:a16="http://schemas.microsoft.com/office/drawing/2014/main" id="{00C1A6E2-FE9E-C09B-044A-9573914C9C65}"/>
                </a:ext>
              </a:extLst>
            </p:cNvPr>
            <p:cNvSpPr/>
            <p:nvPr/>
          </p:nvSpPr>
          <p:spPr>
            <a:xfrm>
              <a:off x="1833909" y="4250533"/>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34" name="pt189">
              <a:extLst>
                <a:ext uri="{FF2B5EF4-FFF2-40B4-BE49-F238E27FC236}">
                  <a16:creationId xmlns:a16="http://schemas.microsoft.com/office/drawing/2014/main" id="{29711F9E-F293-E3FF-A685-4B3E47ACD680}"/>
                </a:ext>
              </a:extLst>
            </p:cNvPr>
            <p:cNvSpPr/>
            <p:nvPr/>
          </p:nvSpPr>
          <p:spPr>
            <a:xfrm>
              <a:off x="3210117" y="4065551"/>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35" name="pt190">
              <a:extLst>
                <a:ext uri="{FF2B5EF4-FFF2-40B4-BE49-F238E27FC236}">
                  <a16:creationId xmlns:a16="http://schemas.microsoft.com/office/drawing/2014/main" id="{BB9F34F8-A607-E762-6B87-33B4C36771BF}"/>
                </a:ext>
              </a:extLst>
            </p:cNvPr>
            <p:cNvSpPr/>
            <p:nvPr/>
          </p:nvSpPr>
          <p:spPr>
            <a:xfrm>
              <a:off x="2109150" y="4234006"/>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36" name="pt191">
              <a:extLst>
                <a:ext uri="{FF2B5EF4-FFF2-40B4-BE49-F238E27FC236}">
                  <a16:creationId xmlns:a16="http://schemas.microsoft.com/office/drawing/2014/main" id="{E7E5153D-EC6F-596A-CC7E-407B772EED38}"/>
                </a:ext>
              </a:extLst>
            </p:cNvPr>
            <p:cNvSpPr/>
            <p:nvPr/>
          </p:nvSpPr>
          <p:spPr>
            <a:xfrm>
              <a:off x="2590823" y="4149460"/>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37" name="pt192">
              <a:extLst>
                <a:ext uri="{FF2B5EF4-FFF2-40B4-BE49-F238E27FC236}">
                  <a16:creationId xmlns:a16="http://schemas.microsoft.com/office/drawing/2014/main" id="{22BCF216-E539-46C0-3423-D2C8FE066367}"/>
                </a:ext>
              </a:extLst>
            </p:cNvPr>
            <p:cNvSpPr/>
            <p:nvPr/>
          </p:nvSpPr>
          <p:spPr>
            <a:xfrm>
              <a:off x="3485359" y="4124033"/>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38" name="pt193">
              <a:extLst>
                <a:ext uri="{FF2B5EF4-FFF2-40B4-BE49-F238E27FC236}">
                  <a16:creationId xmlns:a16="http://schemas.microsoft.com/office/drawing/2014/main" id="{8030A2B4-CBA2-CE18-9694-BA74F4FF5452}"/>
                </a:ext>
              </a:extLst>
            </p:cNvPr>
            <p:cNvSpPr/>
            <p:nvPr/>
          </p:nvSpPr>
          <p:spPr>
            <a:xfrm>
              <a:off x="1627479" y="4202857"/>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39" name="pt194">
              <a:extLst>
                <a:ext uri="{FF2B5EF4-FFF2-40B4-BE49-F238E27FC236}">
                  <a16:creationId xmlns:a16="http://schemas.microsoft.com/office/drawing/2014/main" id="{A5CA8B09-2448-4B89-125B-AB7265B915E7}"/>
                </a:ext>
              </a:extLst>
            </p:cNvPr>
            <p:cNvSpPr/>
            <p:nvPr/>
          </p:nvSpPr>
          <p:spPr>
            <a:xfrm>
              <a:off x="2453203" y="4165988"/>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40" name="pt195">
              <a:extLst>
                <a:ext uri="{FF2B5EF4-FFF2-40B4-BE49-F238E27FC236}">
                  <a16:creationId xmlns:a16="http://schemas.microsoft.com/office/drawing/2014/main" id="{FB348A97-695C-5A58-5306-5B72A631FCFC}"/>
                </a:ext>
              </a:extLst>
            </p:cNvPr>
            <p:cNvSpPr/>
            <p:nvPr/>
          </p:nvSpPr>
          <p:spPr>
            <a:xfrm>
              <a:off x="3003686" y="4161538"/>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41" name="pt196">
              <a:extLst>
                <a:ext uri="{FF2B5EF4-FFF2-40B4-BE49-F238E27FC236}">
                  <a16:creationId xmlns:a16="http://schemas.microsoft.com/office/drawing/2014/main" id="{932BE22D-3EB2-BE54-A252-C85738142EFA}"/>
                </a:ext>
              </a:extLst>
            </p:cNvPr>
            <p:cNvSpPr/>
            <p:nvPr/>
          </p:nvSpPr>
          <p:spPr>
            <a:xfrm>
              <a:off x="2797255" y="4121491"/>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42" name="pt197">
              <a:extLst>
                <a:ext uri="{FF2B5EF4-FFF2-40B4-BE49-F238E27FC236}">
                  <a16:creationId xmlns:a16="http://schemas.microsoft.com/office/drawing/2014/main" id="{91C71B0C-6EC2-4E79-4431-8E28ADB4DDE9}"/>
                </a:ext>
              </a:extLst>
            </p:cNvPr>
            <p:cNvSpPr/>
            <p:nvPr/>
          </p:nvSpPr>
          <p:spPr>
            <a:xfrm>
              <a:off x="2728444" y="4159631"/>
              <a:ext cx="39217" cy="38248"/>
            </a:xfrm>
            <a:prstGeom prst="ellipse">
              <a:avLst/>
            </a:prstGeom>
            <a:solidFill>
              <a:srgbClr val="48B0D8">
                <a:alpha val="100000"/>
              </a:srgbClr>
            </a:solidFill>
            <a:ln w="9000" cap="rnd">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243" name="pt198">
              <a:extLst>
                <a:ext uri="{FF2B5EF4-FFF2-40B4-BE49-F238E27FC236}">
                  <a16:creationId xmlns:a16="http://schemas.microsoft.com/office/drawing/2014/main" id="{2C2573BB-3152-1701-5812-F8455F9BB0BC}"/>
                </a:ext>
              </a:extLst>
            </p:cNvPr>
            <p:cNvSpPr/>
            <p:nvPr/>
          </p:nvSpPr>
          <p:spPr>
            <a:xfrm>
              <a:off x="2177962" y="4211121"/>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44" name="pt199">
              <a:extLst>
                <a:ext uri="{FF2B5EF4-FFF2-40B4-BE49-F238E27FC236}">
                  <a16:creationId xmlns:a16="http://schemas.microsoft.com/office/drawing/2014/main" id="{A9ABEDCE-9C5C-B142-1C9E-D67F0246FE46}"/>
                </a:ext>
              </a:extLst>
            </p:cNvPr>
            <p:cNvSpPr/>
            <p:nvPr/>
          </p:nvSpPr>
          <p:spPr>
            <a:xfrm>
              <a:off x="1765099" y="4369405"/>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45" name="pt200">
              <a:extLst>
                <a:ext uri="{FF2B5EF4-FFF2-40B4-BE49-F238E27FC236}">
                  <a16:creationId xmlns:a16="http://schemas.microsoft.com/office/drawing/2014/main" id="{85B33D19-D8D2-9CF4-B1EC-87A47D288564}"/>
                </a:ext>
              </a:extLst>
            </p:cNvPr>
            <p:cNvSpPr/>
            <p:nvPr/>
          </p:nvSpPr>
          <p:spPr>
            <a:xfrm>
              <a:off x="3416549" y="4019782"/>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46" name="pt201">
              <a:extLst>
                <a:ext uri="{FF2B5EF4-FFF2-40B4-BE49-F238E27FC236}">
                  <a16:creationId xmlns:a16="http://schemas.microsoft.com/office/drawing/2014/main" id="{8A85D2DB-E362-2903-DD90-42F1B8B380C7}"/>
                </a:ext>
              </a:extLst>
            </p:cNvPr>
            <p:cNvSpPr/>
            <p:nvPr/>
          </p:nvSpPr>
          <p:spPr>
            <a:xfrm>
              <a:off x="2315582" y="4190779"/>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47" name="pt202">
              <a:extLst>
                <a:ext uri="{FF2B5EF4-FFF2-40B4-BE49-F238E27FC236}">
                  <a16:creationId xmlns:a16="http://schemas.microsoft.com/office/drawing/2014/main" id="{C9159A1F-FBB8-91A3-C15C-302357E34250}"/>
                </a:ext>
              </a:extLst>
            </p:cNvPr>
            <p:cNvSpPr/>
            <p:nvPr/>
          </p:nvSpPr>
          <p:spPr>
            <a:xfrm>
              <a:off x="2934876" y="4146282"/>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48" name="pt203">
              <a:extLst>
                <a:ext uri="{FF2B5EF4-FFF2-40B4-BE49-F238E27FC236}">
                  <a16:creationId xmlns:a16="http://schemas.microsoft.com/office/drawing/2014/main" id="{E2171313-3AF9-8974-C204-02D39C315040}"/>
                </a:ext>
              </a:extLst>
            </p:cNvPr>
            <p:cNvSpPr/>
            <p:nvPr/>
          </p:nvSpPr>
          <p:spPr>
            <a:xfrm>
              <a:off x="3347737" y="4078900"/>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49" name="pt204">
              <a:extLst>
                <a:ext uri="{FF2B5EF4-FFF2-40B4-BE49-F238E27FC236}">
                  <a16:creationId xmlns:a16="http://schemas.microsoft.com/office/drawing/2014/main" id="{ABE3C55E-911F-DA35-F37C-C4B560C55345}"/>
                </a:ext>
              </a:extLst>
            </p:cNvPr>
            <p:cNvSpPr/>
            <p:nvPr/>
          </p:nvSpPr>
          <p:spPr>
            <a:xfrm>
              <a:off x="1352236" y="3881840"/>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50" name="pt205">
              <a:extLst>
                <a:ext uri="{FF2B5EF4-FFF2-40B4-BE49-F238E27FC236}">
                  <a16:creationId xmlns:a16="http://schemas.microsoft.com/office/drawing/2014/main" id="{C0250ADB-ABED-ADEC-9078-C384C31ABB96}"/>
                </a:ext>
              </a:extLst>
            </p:cNvPr>
            <p:cNvSpPr/>
            <p:nvPr/>
          </p:nvSpPr>
          <p:spPr>
            <a:xfrm>
              <a:off x="2866066" y="4098606"/>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51" name="pt206">
              <a:extLst>
                <a:ext uri="{FF2B5EF4-FFF2-40B4-BE49-F238E27FC236}">
                  <a16:creationId xmlns:a16="http://schemas.microsoft.com/office/drawing/2014/main" id="{06CD325D-470B-2BE2-C5E7-94B28154729D}"/>
                </a:ext>
              </a:extLst>
            </p:cNvPr>
            <p:cNvSpPr/>
            <p:nvPr/>
          </p:nvSpPr>
          <p:spPr>
            <a:xfrm>
              <a:off x="1902720" y="4328722"/>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52" name="pt207">
              <a:extLst>
                <a:ext uri="{FF2B5EF4-FFF2-40B4-BE49-F238E27FC236}">
                  <a16:creationId xmlns:a16="http://schemas.microsoft.com/office/drawing/2014/main" id="{C42E1952-5D15-E00F-7D04-D8613AEA9FC6}"/>
                </a:ext>
              </a:extLst>
            </p:cNvPr>
            <p:cNvSpPr/>
            <p:nvPr/>
          </p:nvSpPr>
          <p:spPr>
            <a:xfrm>
              <a:off x="3278927" y="4097970"/>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53" name="pt208">
              <a:extLst>
                <a:ext uri="{FF2B5EF4-FFF2-40B4-BE49-F238E27FC236}">
                  <a16:creationId xmlns:a16="http://schemas.microsoft.com/office/drawing/2014/main" id="{974848D5-59A1-1292-EED2-677037437877}"/>
                </a:ext>
              </a:extLst>
            </p:cNvPr>
            <p:cNvSpPr/>
            <p:nvPr/>
          </p:nvSpPr>
          <p:spPr>
            <a:xfrm>
              <a:off x="1558668" y="4260704"/>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54" name="pt209">
              <a:extLst>
                <a:ext uri="{FF2B5EF4-FFF2-40B4-BE49-F238E27FC236}">
                  <a16:creationId xmlns:a16="http://schemas.microsoft.com/office/drawing/2014/main" id="{B87907DD-9D97-ACDE-4F8C-07382D20E273}"/>
                </a:ext>
              </a:extLst>
            </p:cNvPr>
            <p:cNvSpPr/>
            <p:nvPr/>
          </p:nvSpPr>
          <p:spPr>
            <a:xfrm>
              <a:off x="1971530" y="4312830"/>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55" name="pt210">
              <a:extLst>
                <a:ext uri="{FF2B5EF4-FFF2-40B4-BE49-F238E27FC236}">
                  <a16:creationId xmlns:a16="http://schemas.microsoft.com/office/drawing/2014/main" id="{9060723D-E37F-54EF-7BC8-0F5C141A8AEF}"/>
                </a:ext>
              </a:extLst>
            </p:cNvPr>
            <p:cNvSpPr/>
            <p:nvPr/>
          </p:nvSpPr>
          <p:spPr>
            <a:xfrm>
              <a:off x="1421047" y="3976556"/>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56" name="pt211">
              <a:extLst>
                <a:ext uri="{FF2B5EF4-FFF2-40B4-BE49-F238E27FC236}">
                  <a16:creationId xmlns:a16="http://schemas.microsoft.com/office/drawing/2014/main" id="{A207CB61-F432-CA0D-AAFD-DD5F55F743A2}"/>
                </a:ext>
              </a:extLst>
            </p:cNvPr>
            <p:cNvSpPr/>
            <p:nvPr/>
          </p:nvSpPr>
          <p:spPr>
            <a:xfrm>
              <a:off x="1489857" y="4084621"/>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57" name="pt212">
              <a:extLst>
                <a:ext uri="{FF2B5EF4-FFF2-40B4-BE49-F238E27FC236}">
                  <a16:creationId xmlns:a16="http://schemas.microsoft.com/office/drawing/2014/main" id="{9EC4CF66-CAAD-B316-F750-732F87574564}"/>
                </a:ext>
              </a:extLst>
            </p:cNvPr>
            <p:cNvSpPr/>
            <p:nvPr/>
          </p:nvSpPr>
          <p:spPr>
            <a:xfrm>
              <a:off x="2522013" y="4186965"/>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58" name="pt213">
              <a:extLst>
                <a:ext uri="{FF2B5EF4-FFF2-40B4-BE49-F238E27FC236}">
                  <a16:creationId xmlns:a16="http://schemas.microsoft.com/office/drawing/2014/main" id="{15F6CEC8-A6A7-3B1D-D07D-6200E47DCD19}"/>
                </a:ext>
              </a:extLst>
            </p:cNvPr>
            <p:cNvSpPr/>
            <p:nvPr/>
          </p:nvSpPr>
          <p:spPr>
            <a:xfrm>
              <a:off x="1696289" y="4374490"/>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59" name="pt214">
              <a:extLst>
                <a:ext uri="{FF2B5EF4-FFF2-40B4-BE49-F238E27FC236}">
                  <a16:creationId xmlns:a16="http://schemas.microsoft.com/office/drawing/2014/main" id="{C9302F15-D238-E1BB-8ADB-C4BE67041AE2}"/>
                </a:ext>
              </a:extLst>
            </p:cNvPr>
            <p:cNvSpPr/>
            <p:nvPr/>
          </p:nvSpPr>
          <p:spPr>
            <a:xfrm>
              <a:off x="3141307" y="4078900"/>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60" name="pt215">
              <a:extLst>
                <a:ext uri="{FF2B5EF4-FFF2-40B4-BE49-F238E27FC236}">
                  <a16:creationId xmlns:a16="http://schemas.microsoft.com/office/drawing/2014/main" id="{6B3CBF6E-B67F-E4AE-F9FC-D8A42BE77231}"/>
                </a:ext>
              </a:extLst>
            </p:cNvPr>
            <p:cNvSpPr/>
            <p:nvPr/>
          </p:nvSpPr>
          <p:spPr>
            <a:xfrm>
              <a:off x="2659634" y="4124033"/>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61" name="pt216">
              <a:extLst>
                <a:ext uri="{FF2B5EF4-FFF2-40B4-BE49-F238E27FC236}">
                  <a16:creationId xmlns:a16="http://schemas.microsoft.com/office/drawing/2014/main" id="{37791900-D9A4-22E9-FF71-CE6A1B54906E}"/>
                </a:ext>
              </a:extLst>
            </p:cNvPr>
            <p:cNvSpPr/>
            <p:nvPr/>
          </p:nvSpPr>
          <p:spPr>
            <a:xfrm>
              <a:off x="2246772" y="4216842"/>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62" name="pt217">
              <a:extLst>
                <a:ext uri="{FF2B5EF4-FFF2-40B4-BE49-F238E27FC236}">
                  <a16:creationId xmlns:a16="http://schemas.microsoft.com/office/drawing/2014/main" id="{CA73B0A6-C9DB-3C55-5E00-F8F4CC09807A}"/>
                </a:ext>
              </a:extLst>
            </p:cNvPr>
            <p:cNvSpPr/>
            <p:nvPr/>
          </p:nvSpPr>
          <p:spPr>
            <a:xfrm>
              <a:off x="2040340" y="4317279"/>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63" name="pt218">
              <a:extLst>
                <a:ext uri="{FF2B5EF4-FFF2-40B4-BE49-F238E27FC236}">
                  <a16:creationId xmlns:a16="http://schemas.microsoft.com/office/drawing/2014/main" id="{CF0BDAF8-0ACE-EC2E-D4AF-9E62E946D8B2}"/>
                </a:ext>
              </a:extLst>
            </p:cNvPr>
            <p:cNvSpPr/>
            <p:nvPr/>
          </p:nvSpPr>
          <p:spPr>
            <a:xfrm>
              <a:off x="3072496" y="4103056"/>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64" name="pt219">
              <a:extLst>
                <a:ext uri="{FF2B5EF4-FFF2-40B4-BE49-F238E27FC236}">
                  <a16:creationId xmlns:a16="http://schemas.microsoft.com/office/drawing/2014/main" id="{2C7E1A59-EFA3-8024-BD17-1BBDEDDE66E5}"/>
                </a:ext>
              </a:extLst>
            </p:cNvPr>
            <p:cNvSpPr/>
            <p:nvPr/>
          </p:nvSpPr>
          <p:spPr>
            <a:xfrm>
              <a:off x="2384393" y="4181880"/>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65" name="pt220">
              <a:extLst>
                <a:ext uri="{FF2B5EF4-FFF2-40B4-BE49-F238E27FC236}">
                  <a16:creationId xmlns:a16="http://schemas.microsoft.com/office/drawing/2014/main" id="{BDD3A2BE-A475-1067-5BD3-C663355E7F33}"/>
                </a:ext>
              </a:extLst>
            </p:cNvPr>
            <p:cNvSpPr/>
            <p:nvPr/>
          </p:nvSpPr>
          <p:spPr>
            <a:xfrm>
              <a:off x="1833909" y="4341435"/>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66" name="pt221">
              <a:extLst>
                <a:ext uri="{FF2B5EF4-FFF2-40B4-BE49-F238E27FC236}">
                  <a16:creationId xmlns:a16="http://schemas.microsoft.com/office/drawing/2014/main" id="{08BCB619-3642-4CCA-39C3-C0B74DAEF40D}"/>
                </a:ext>
              </a:extLst>
            </p:cNvPr>
            <p:cNvSpPr/>
            <p:nvPr/>
          </p:nvSpPr>
          <p:spPr>
            <a:xfrm>
              <a:off x="3210117" y="4103692"/>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67" name="pt222">
              <a:extLst>
                <a:ext uri="{FF2B5EF4-FFF2-40B4-BE49-F238E27FC236}">
                  <a16:creationId xmlns:a16="http://schemas.microsoft.com/office/drawing/2014/main" id="{EFE3751A-CE4E-9F3E-3443-0FAE26E2E9E3}"/>
                </a:ext>
              </a:extLst>
            </p:cNvPr>
            <p:cNvSpPr/>
            <p:nvPr/>
          </p:nvSpPr>
          <p:spPr>
            <a:xfrm>
              <a:off x="2109150" y="4265154"/>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68" name="pt223">
              <a:extLst>
                <a:ext uri="{FF2B5EF4-FFF2-40B4-BE49-F238E27FC236}">
                  <a16:creationId xmlns:a16="http://schemas.microsoft.com/office/drawing/2014/main" id="{2BB2CF34-E395-CC26-EE5F-54E52F3F3B83}"/>
                </a:ext>
              </a:extLst>
            </p:cNvPr>
            <p:cNvSpPr/>
            <p:nvPr/>
          </p:nvSpPr>
          <p:spPr>
            <a:xfrm>
              <a:off x="2590823" y="4159631"/>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69" name="pt224">
              <a:extLst>
                <a:ext uri="{FF2B5EF4-FFF2-40B4-BE49-F238E27FC236}">
                  <a16:creationId xmlns:a16="http://schemas.microsoft.com/office/drawing/2014/main" id="{4CAFA7B5-840C-AADF-1BFC-47681493BADB}"/>
                </a:ext>
              </a:extLst>
            </p:cNvPr>
            <p:cNvSpPr/>
            <p:nvPr/>
          </p:nvSpPr>
          <p:spPr>
            <a:xfrm>
              <a:off x="3485359" y="4043302"/>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70" name="pt225">
              <a:extLst>
                <a:ext uri="{FF2B5EF4-FFF2-40B4-BE49-F238E27FC236}">
                  <a16:creationId xmlns:a16="http://schemas.microsoft.com/office/drawing/2014/main" id="{46B8DFBE-E7C9-3F3D-5287-A34A1AD7FB4C}"/>
                </a:ext>
              </a:extLst>
            </p:cNvPr>
            <p:cNvSpPr/>
            <p:nvPr/>
          </p:nvSpPr>
          <p:spPr>
            <a:xfrm>
              <a:off x="1627479" y="4319822"/>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71" name="pt226">
              <a:extLst>
                <a:ext uri="{FF2B5EF4-FFF2-40B4-BE49-F238E27FC236}">
                  <a16:creationId xmlns:a16="http://schemas.microsoft.com/office/drawing/2014/main" id="{EB2D0411-A796-E14A-6B05-48ADA1E5A163}"/>
                </a:ext>
              </a:extLst>
            </p:cNvPr>
            <p:cNvSpPr/>
            <p:nvPr/>
          </p:nvSpPr>
          <p:spPr>
            <a:xfrm>
              <a:off x="2453203" y="4180609"/>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72" name="pt227">
              <a:extLst>
                <a:ext uri="{FF2B5EF4-FFF2-40B4-BE49-F238E27FC236}">
                  <a16:creationId xmlns:a16="http://schemas.microsoft.com/office/drawing/2014/main" id="{ACA36547-FA4A-2B4D-62AB-90A746D4FC2F}"/>
                </a:ext>
              </a:extLst>
            </p:cNvPr>
            <p:cNvSpPr/>
            <p:nvPr/>
          </p:nvSpPr>
          <p:spPr>
            <a:xfrm>
              <a:off x="3003686" y="4103692"/>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73" name="pt228">
              <a:extLst>
                <a:ext uri="{FF2B5EF4-FFF2-40B4-BE49-F238E27FC236}">
                  <a16:creationId xmlns:a16="http://schemas.microsoft.com/office/drawing/2014/main" id="{58E0A47D-7A70-F4CC-1139-0617F2520E80}"/>
                </a:ext>
              </a:extLst>
            </p:cNvPr>
            <p:cNvSpPr/>
            <p:nvPr/>
          </p:nvSpPr>
          <p:spPr>
            <a:xfrm>
              <a:off x="2797255" y="4125305"/>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74" name="pt229">
              <a:extLst>
                <a:ext uri="{FF2B5EF4-FFF2-40B4-BE49-F238E27FC236}">
                  <a16:creationId xmlns:a16="http://schemas.microsoft.com/office/drawing/2014/main" id="{FED6B83C-06D1-C72E-7665-A12E2FA47BB9}"/>
                </a:ext>
              </a:extLst>
            </p:cNvPr>
            <p:cNvSpPr/>
            <p:nvPr/>
          </p:nvSpPr>
          <p:spPr>
            <a:xfrm>
              <a:off x="2728444" y="4145646"/>
              <a:ext cx="39217" cy="38248"/>
            </a:xfrm>
            <a:prstGeom prst="ellipse">
              <a:avLst/>
            </a:prstGeom>
            <a:solidFill>
              <a:srgbClr val="2878FF">
                <a:alpha val="100000"/>
              </a:srgbClr>
            </a:solidFill>
            <a:ln w="9000" cap="rnd">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275" name="pt230">
              <a:extLst>
                <a:ext uri="{FF2B5EF4-FFF2-40B4-BE49-F238E27FC236}">
                  <a16:creationId xmlns:a16="http://schemas.microsoft.com/office/drawing/2014/main" id="{614A0699-FFDA-2225-CEE3-41EDB6641D8A}"/>
                </a:ext>
              </a:extLst>
            </p:cNvPr>
            <p:cNvSpPr/>
            <p:nvPr/>
          </p:nvSpPr>
          <p:spPr>
            <a:xfrm>
              <a:off x="2177962" y="4179337"/>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76" name="pt231">
              <a:extLst>
                <a:ext uri="{FF2B5EF4-FFF2-40B4-BE49-F238E27FC236}">
                  <a16:creationId xmlns:a16="http://schemas.microsoft.com/office/drawing/2014/main" id="{AC00D659-C3A6-CC7A-7342-C631CD052E73}"/>
                </a:ext>
              </a:extLst>
            </p:cNvPr>
            <p:cNvSpPr/>
            <p:nvPr/>
          </p:nvSpPr>
          <p:spPr>
            <a:xfrm>
              <a:off x="1765099" y="4120219"/>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77" name="pt232">
              <a:extLst>
                <a:ext uri="{FF2B5EF4-FFF2-40B4-BE49-F238E27FC236}">
                  <a16:creationId xmlns:a16="http://schemas.microsoft.com/office/drawing/2014/main" id="{8F171191-E7F8-4B3A-C687-1398EEE3B415}"/>
                </a:ext>
              </a:extLst>
            </p:cNvPr>
            <p:cNvSpPr/>
            <p:nvPr/>
          </p:nvSpPr>
          <p:spPr>
            <a:xfrm>
              <a:off x="3416549" y="4239091"/>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78" name="pt233">
              <a:extLst>
                <a:ext uri="{FF2B5EF4-FFF2-40B4-BE49-F238E27FC236}">
                  <a16:creationId xmlns:a16="http://schemas.microsoft.com/office/drawing/2014/main" id="{4D875A7E-BB5B-F843-D18B-E58B1B9F8D57}"/>
                </a:ext>
              </a:extLst>
            </p:cNvPr>
            <p:cNvSpPr/>
            <p:nvPr/>
          </p:nvSpPr>
          <p:spPr>
            <a:xfrm>
              <a:off x="2315582" y="4196501"/>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79" name="pt234">
              <a:extLst>
                <a:ext uri="{FF2B5EF4-FFF2-40B4-BE49-F238E27FC236}">
                  <a16:creationId xmlns:a16="http://schemas.microsoft.com/office/drawing/2014/main" id="{59C406BC-2F64-906E-3623-837380524160}"/>
                </a:ext>
              </a:extLst>
            </p:cNvPr>
            <p:cNvSpPr/>
            <p:nvPr/>
          </p:nvSpPr>
          <p:spPr>
            <a:xfrm>
              <a:off x="2934876" y="4252440"/>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80" name="pt235">
              <a:extLst>
                <a:ext uri="{FF2B5EF4-FFF2-40B4-BE49-F238E27FC236}">
                  <a16:creationId xmlns:a16="http://schemas.microsoft.com/office/drawing/2014/main" id="{3E50E9CF-66BF-AA65-C402-BBAE1CD891D3}"/>
                </a:ext>
              </a:extLst>
            </p:cNvPr>
            <p:cNvSpPr/>
            <p:nvPr/>
          </p:nvSpPr>
          <p:spPr>
            <a:xfrm>
              <a:off x="3347737" y="4253712"/>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81" name="pt236">
              <a:extLst>
                <a:ext uri="{FF2B5EF4-FFF2-40B4-BE49-F238E27FC236}">
                  <a16:creationId xmlns:a16="http://schemas.microsoft.com/office/drawing/2014/main" id="{51085FD7-6BBA-0E11-F400-1A1FDAD95028}"/>
                </a:ext>
              </a:extLst>
            </p:cNvPr>
            <p:cNvSpPr/>
            <p:nvPr/>
          </p:nvSpPr>
          <p:spPr>
            <a:xfrm>
              <a:off x="1352236" y="3881840"/>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82" name="pt237">
              <a:extLst>
                <a:ext uri="{FF2B5EF4-FFF2-40B4-BE49-F238E27FC236}">
                  <a16:creationId xmlns:a16="http://schemas.microsoft.com/office/drawing/2014/main" id="{922DE3D6-6BF1-0CBF-4CB5-BF31905DF3CD}"/>
                </a:ext>
              </a:extLst>
            </p:cNvPr>
            <p:cNvSpPr/>
            <p:nvPr/>
          </p:nvSpPr>
          <p:spPr>
            <a:xfrm>
              <a:off x="2866066" y="4241634"/>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83" name="pt238">
              <a:extLst>
                <a:ext uri="{FF2B5EF4-FFF2-40B4-BE49-F238E27FC236}">
                  <a16:creationId xmlns:a16="http://schemas.microsoft.com/office/drawing/2014/main" id="{DE60044D-C115-2AB2-013E-BEF587962423}"/>
                </a:ext>
              </a:extLst>
            </p:cNvPr>
            <p:cNvSpPr/>
            <p:nvPr/>
          </p:nvSpPr>
          <p:spPr>
            <a:xfrm>
              <a:off x="1902720" y="4106234"/>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84" name="pt239">
              <a:extLst>
                <a:ext uri="{FF2B5EF4-FFF2-40B4-BE49-F238E27FC236}">
                  <a16:creationId xmlns:a16="http://schemas.microsoft.com/office/drawing/2014/main" id="{E9B8FCC1-C00D-F820-8F0E-A26F80ED1563}"/>
                </a:ext>
              </a:extLst>
            </p:cNvPr>
            <p:cNvSpPr/>
            <p:nvPr/>
          </p:nvSpPr>
          <p:spPr>
            <a:xfrm>
              <a:off x="3278927" y="4262611"/>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85" name="pt240">
              <a:extLst>
                <a:ext uri="{FF2B5EF4-FFF2-40B4-BE49-F238E27FC236}">
                  <a16:creationId xmlns:a16="http://schemas.microsoft.com/office/drawing/2014/main" id="{3D33167B-BD3C-4A4E-F933-63C79C381D44}"/>
                </a:ext>
              </a:extLst>
            </p:cNvPr>
            <p:cNvSpPr/>
            <p:nvPr/>
          </p:nvSpPr>
          <p:spPr>
            <a:xfrm>
              <a:off x="1558668" y="3991177"/>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86" name="pt241">
              <a:extLst>
                <a:ext uri="{FF2B5EF4-FFF2-40B4-BE49-F238E27FC236}">
                  <a16:creationId xmlns:a16="http://schemas.microsoft.com/office/drawing/2014/main" id="{8B272709-F8CA-3DCE-BE07-BCE4AD0A6338}"/>
                </a:ext>
              </a:extLst>
            </p:cNvPr>
            <p:cNvSpPr/>
            <p:nvPr/>
          </p:nvSpPr>
          <p:spPr>
            <a:xfrm>
              <a:off x="1971530" y="4150732"/>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87" name="pt242">
              <a:extLst>
                <a:ext uri="{FF2B5EF4-FFF2-40B4-BE49-F238E27FC236}">
                  <a16:creationId xmlns:a16="http://schemas.microsoft.com/office/drawing/2014/main" id="{723F6911-A651-66CE-4132-B3D44C68759A}"/>
                </a:ext>
              </a:extLst>
            </p:cNvPr>
            <p:cNvSpPr/>
            <p:nvPr/>
          </p:nvSpPr>
          <p:spPr>
            <a:xfrm>
              <a:off x="1421047" y="3895825"/>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88" name="pt243">
              <a:extLst>
                <a:ext uri="{FF2B5EF4-FFF2-40B4-BE49-F238E27FC236}">
                  <a16:creationId xmlns:a16="http://schemas.microsoft.com/office/drawing/2014/main" id="{022BBD6D-82DB-F20E-77EC-6BC3871BA883}"/>
                </a:ext>
              </a:extLst>
            </p:cNvPr>
            <p:cNvSpPr/>
            <p:nvPr/>
          </p:nvSpPr>
          <p:spPr>
            <a:xfrm>
              <a:off x="1489857" y="3937780"/>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89" name="pt244">
              <a:extLst>
                <a:ext uri="{FF2B5EF4-FFF2-40B4-BE49-F238E27FC236}">
                  <a16:creationId xmlns:a16="http://schemas.microsoft.com/office/drawing/2014/main" id="{F03783BC-CC12-FF07-58DD-25F02D632AAB}"/>
                </a:ext>
              </a:extLst>
            </p:cNvPr>
            <p:cNvSpPr/>
            <p:nvPr/>
          </p:nvSpPr>
          <p:spPr>
            <a:xfrm>
              <a:off x="2522013" y="4222563"/>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90" name="pt245">
              <a:extLst>
                <a:ext uri="{FF2B5EF4-FFF2-40B4-BE49-F238E27FC236}">
                  <a16:creationId xmlns:a16="http://schemas.microsoft.com/office/drawing/2014/main" id="{474C9B70-BE2C-4DDD-1A75-0757F99BB7F1}"/>
                </a:ext>
              </a:extLst>
            </p:cNvPr>
            <p:cNvSpPr/>
            <p:nvPr/>
          </p:nvSpPr>
          <p:spPr>
            <a:xfrm>
              <a:off x="1696289" y="4099878"/>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91" name="pt246">
              <a:extLst>
                <a:ext uri="{FF2B5EF4-FFF2-40B4-BE49-F238E27FC236}">
                  <a16:creationId xmlns:a16="http://schemas.microsoft.com/office/drawing/2014/main" id="{A534E11F-5647-06D5-322A-01A07A66B2F6}"/>
                </a:ext>
              </a:extLst>
            </p:cNvPr>
            <p:cNvSpPr/>
            <p:nvPr/>
          </p:nvSpPr>
          <p:spPr>
            <a:xfrm>
              <a:off x="3141307" y="4237184"/>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92" name="pt247">
              <a:extLst>
                <a:ext uri="{FF2B5EF4-FFF2-40B4-BE49-F238E27FC236}">
                  <a16:creationId xmlns:a16="http://schemas.microsoft.com/office/drawing/2014/main" id="{837788E7-DE41-0607-8A9A-C62AA188A9E3}"/>
                </a:ext>
              </a:extLst>
            </p:cNvPr>
            <p:cNvSpPr/>
            <p:nvPr/>
          </p:nvSpPr>
          <p:spPr>
            <a:xfrm>
              <a:off x="2659634" y="4245448"/>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93" name="pt248">
              <a:extLst>
                <a:ext uri="{FF2B5EF4-FFF2-40B4-BE49-F238E27FC236}">
                  <a16:creationId xmlns:a16="http://schemas.microsoft.com/office/drawing/2014/main" id="{B4338981-C80D-8464-7751-4101FDDC7B99}"/>
                </a:ext>
              </a:extLst>
            </p:cNvPr>
            <p:cNvSpPr/>
            <p:nvPr/>
          </p:nvSpPr>
          <p:spPr>
            <a:xfrm>
              <a:off x="2246772" y="4181244"/>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94" name="pt249">
              <a:extLst>
                <a:ext uri="{FF2B5EF4-FFF2-40B4-BE49-F238E27FC236}">
                  <a16:creationId xmlns:a16="http://schemas.microsoft.com/office/drawing/2014/main" id="{4EF75202-E8B7-2F5F-2725-9EAB58CE0AE9}"/>
                </a:ext>
              </a:extLst>
            </p:cNvPr>
            <p:cNvSpPr/>
            <p:nvPr/>
          </p:nvSpPr>
          <p:spPr>
            <a:xfrm>
              <a:off x="2040340" y="4136111"/>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95" name="pt250">
              <a:extLst>
                <a:ext uri="{FF2B5EF4-FFF2-40B4-BE49-F238E27FC236}">
                  <a16:creationId xmlns:a16="http://schemas.microsoft.com/office/drawing/2014/main" id="{FEC146BC-D28C-F8BE-C635-6CAEDFA4DCBC}"/>
                </a:ext>
              </a:extLst>
            </p:cNvPr>
            <p:cNvSpPr/>
            <p:nvPr/>
          </p:nvSpPr>
          <p:spPr>
            <a:xfrm>
              <a:off x="3072496" y="4235277"/>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96" name="pt251">
              <a:extLst>
                <a:ext uri="{FF2B5EF4-FFF2-40B4-BE49-F238E27FC236}">
                  <a16:creationId xmlns:a16="http://schemas.microsoft.com/office/drawing/2014/main" id="{CAB4F4C2-893A-3593-B720-764E450B4AF2}"/>
                </a:ext>
              </a:extLst>
            </p:cNvPr>
            <p:cNvSpPr/>
            <p:nvPr/>
          </p:nvSpPr>
          <p:spPr>
            <a:xfrm>
              <a:off x="2384393" y="4176795"/>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97" name="pt252">
              <a:extLst>
                <a:ext uri="{FF2B5EF4-FFF2-40B4-BE49-F238E27FC236}">
                  <a16:creationId xmlns:a16="http://schemas.microsoft.com/office/drawing/2014/main" id="{5EA91BE2-1A99-597D-23D2-983114068C49}"/>
                </a:ext>
              </a:extLst>
            </p:cNvPr>
            <p:cNvSpPr/>
            <p:nvPr/>
          </p:nvSpPr>
          <p:spPr>
            <a:xfrm>
              <a:off x="1833909" y="4125940"/>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98" name="pt253">
              <a:extLst>
                <a:ext uri="{FF2B5EF4-FFF2-40B4-BE49-F238E27FC236}">
                  <a16:creationId xmlns:a16="http://schemas.microsoft.com/office/drawing/2014/main" id="{0FD5ABB2-55E5-18FC-5D58-36C8F6017C33}"/>
                </a:ext>
              </a:extLst>
            </p:cNvPr>
            <p:cNvSpPr/>
            <p:nvPr/>
          </p:nvSpPr>
          <p:spPr>
            <a:xfrm>
              <a:off x="3210117" y="4258161"/>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299" name="pt254">
              <a:extLst>
                <a:ext uri="{FF2B5EF4-FFF2-40B4-BE49-F238E27FC236}">
                  <a16:creationId xmlns:a16="http://schemas.microsoft.com/office/drawing/2014/main" id="{D8B3A6B1-2470-705C-BA34-19A6BFC3225C}"/>
                </a:ext>
              </a:extLst>
            </p:cNvPr>
            <p:cNvSpPr/>
            <p:nvPr/>
          </p:nvSpPr>
          <p:spPr>
            <a:xfrm>
              <a:off x="2109150" y="4155182"/>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300" name="pt255">
              <a:extLst>
                <a:ext uri="{FF2B5EF4-FFF2-40B4-BE49-F238E27FC236}">
                  <a16:creationId xmlns:a16="http://schemas.microsoft.com/office/drawing/2014/main" id="{7ACD4588-E92A-2353-50D6-5E2A91751990}"/>
                </a:ext>
              </a:extLst>
            </p:cNvPr>
            <p:cNvSpPr/>
            <p:nvPr/>
          </p:nvSpPr>
          <p:spPr>
            <a:xfrm>
              <a:off x="2590823" y="4206036"/>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301" name="pt256">
              <a:extLst>
                <a:ext uri="{FF2B5EF4-FFF2-40B4-BE49-F238E27FC236}">
                  <a16:creationId xmlns:a16="http://schemas.microsoft.com/office/drawing/2014/main" id="{3EF06E76-9161-C1FA-5D91-30106134BE55}"/>
                </a:ext>
              </a:extLst>
            </p:cNvPr>
            <p:cNvSpPr/>
            <p:nvPr/>
          </p:nvSpPr>
          <p:spPr>
            <a:xfrm>
              <a:off x="3485359" y="4179337"/>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302" name="pt257">
              <a:extLst>
                <a:ext uri="{FF2B5EF4-FFF2-40B4-BE49-F238E27FC236}">
                  <a16:creationId xmlns:a16="http://schemas.microsoft.com/office/drawing/2014/main" id="{EF3B58C8-FFD2-6C86-7B45-707D26B55269}"/>
                </a:ext>
              </a:extLst>
            </p:cNvPr>
            <p:cNvSpPr/>
            <p:nvPr/>
          </p:nvSpPr>
          <p:spPr>
            <a:xfrm>
              <a:off x="1627479" y="4041395"/>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303" name="pt258">
              <a:extLst>
                <a:ext uri="{FF2B5EF4-FFF2-40B4-BE49-F238E27FC236}">
                  <a16:creationId xmlns:a16="http://schemas.microsoft.com/office/drawing/2014/main" id="{116076BC-FD2B-8C80-801F-1B27CC605F49}"/>
                </a:ext>
              </a:extLst>
            </p:cNvPr>
            <p:cNvSpPr/>
            <p:nvPr/>
          </p:nvSpPr>
          <p:spPr>
            <a:xfrm>
              <a:off x="2453203" y="4207943"/>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304" name="pt259">
              <a:extLst>
                <a:ext uri="{FF2B5EF4-FFF2-40B4-BE49-F238E27FC236}">
                  <a16:creationId xmlns:a16="http://schemas.microsoft.com/office/drawing/2014/main" id="{80F86AFA-0477-10DB-0E3F-FFF058DAE8FC}"/>
                </a:ext>
              </a:extLst>
            </p:cNvPr>
            <p:cNvSpPr/>
            <p:nvPr/>
          </p:nvSpPr>
          <p:spPr>
            <a:xfrm>
              <a:off x="3003686" y="4270239"/>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305" name="pt260">
              <a:extLst>
                <a:ext uri="{FF2B5EF4-FFF2-40B4-BE49-F238E27FC236}">
                  <a16:creationId xmlns:a16="http://schemas.microsoft.com/office/drawing/2014/main" id="{D90E8AD4-0D42-9BC9-0C5E-393539630E0E}"/>
                </a:ext>
              </a:extLst>
            </p:cNvPr>
            <p:cNvSpPr/>
            <p:nvPr/>
          </p:nvSpPr>
          <p:spPr>
            <a:xfrm>
              <a:off x="2797255" y="4270875"/>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306" name="pt261">
              <a:extLst>
                <a:ext uri="{FF2B5EF4-FFF2-40B4-BE49-F238E27FC236}">
                  <a16:creationId xmlns:a16="http://schemas.microsoft.com/office/drawing/2014/main" id="{F17DACD6-EC6E-6C0A-3251-002D0C832B8B}"/>
                </a:ext>
              </a:extLst>
            </p:cNvPr>
            <p:cNvSpPr/>
            <p:nvPr/>
          </p:nvSpPr>
          <p:spPr>
            <a:xfrm>
              <a:off x="2728444" y="4235913"/>
              <a:ext cx="39217" cy="38248"/>
            </a:xfrm>
            <a:prstGeom prst="ellipse">
              <a:avLst/>
            </a:prstGeom>
            <a:solidFill>
              <a:srgbClr val="E2B22C">
                <a:alpha val="100000"/>
              </a:srgbClr>
            </a:solidFill>
            <a:ln w="9000" cap="rnd">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307" name="pl262">
              <a:extLst>
                <a:ext uri="{FF2B5EF4-FFF2-40B4-BE49-F238E27FC236}">
                  <a16:creationId xmlns:a16="http://schemas.microsoft.com/office/drawing/2014/main" id="{10AB3C93-7668-3C2E-6C4B-7736F73A8521}"/>
                </a:ext>
              </a:extLst>
            </p:cNvPr>
            <p:cNvSpPr/>
            <p:nvPr/>
          </p:nvSpPr>
          <p:spPr>
            <a:xfrm>
              <a:off x="1371845" y="3622536"/>
              <a:ext cx="2133121" cy="278426"/>
            </a:xfrm>
            <a:custGeom>
              <a:avLst/>
              <a:gdLst/>
              <a:ahLst/>
              <a:cxnLst/>
              <a:rect l="0" t="0" r="0" b="0"/>
              <a:pathLst>
                <a:path w="1963636" h="262799">
                  <a:moveTo>
                    <a:pt x="0" y="262799"/>
                  </a:moveTo>
                  <a:lnTo>
                    <a:pt x="63343" y="251399"/>
                  </a:lnTo>
                  <a:lnTo>
                    <a:pt x="126686" y="236999"/>
                  </a:lnTo>
                  <a:lnTo>
                    <a:pt x="190029" y="244799"/>
                  </a:lnTo>
                  <a:lnTo>
                    <a:pt x="253372" y="258599"/>
                  </a:lnTo>
                  <a:lnTo>
                    <a:pt x="316715" y="228000"/>
                  </a:lnTo>
                  <a:lnTo>
                    <a:pt x="380058" y="247799"/>
                  </a:lnTo>
                  <a:lnTo>
                    <a:pt x="443401" y="212399"/>
                  </a:lnTo>
                  <a:lnTo>
                    <a:pt x="506744" y="199800"/>
                  </a:lnTo>
                  <a:lnTo>
                    <a:pt x="570087" y="173399"/>
                  </a:lnTo>
                  <a:lnTo>
                    <a:pt x="633431" y="185999"/>
                  </a:lnTo>
                  <a:lnTo>
                    <a:pt x="696774" y="212399"/>
                  </a:lnTo>
                  <a:lnTo>
                    <a:pt x="760117" y="206400"/>
                  </a:lnTo>
                  <a:lnTo>
                    <a:pt x="823460" y="195000"/>
                  </a:lnTo>
                  <a:lnTo>
                    <a:pt x="886803" y="177000"/>
                  </a:lnTo>
                  <a:lnTo>
                    <a:pt x="950146" y="188400"/>
                  </a:lnTo>
                  <a:lnTo>
                    <a:pt x="1013489" y="195599"/>
                  </a:lnTo>
                  <a:lnTo>
                    <a:pt x="1076832" y="181199"/>
                  </a:lnTo>
                  <a:lnTo>
                    <a:pt x="1140175" y="171599"/>
                  </a:lnTo>
                  <a:lnTo>
                    <a:pt x="1203519" y="161399"/>
                  </a:lnTo>
                  <a:lnTo>
                    <a:pt x="1266862" y="144599"/>
                  </a:lnTo>
                  <a:lnTo>
                    <a:pt x="1330205" y="122399"/>
                  </a:lnTo>
                  <a:lnTo>
                    <a:pt x="1393548" y="101999"/>
                  </a:lnTo>
                  <a:lnTo>
                    <a:pt x="1456891" y="70199"/>
                  </a:lnTo>
                  <a:lnTo>
                    <a:pt x="1520234" y="85799"/>
                  </a:lnTo>
                  <a:lnTo>
                    <a:pt x="1583577" y="73799"/>
                  </a:lnTo>
                  <a:lnTo>
                    <a:pt x="1646920" y="55800"/>
                  </a:lnTo>
                  <a:lnTo>
                    <a:pt x="1710263" y="38399"/>
                  </a:lnTo>
                  <a:lnTo>
                    <a:pt x="1773607" y="38399"/>
                  </a:lnTo>
                  <a:lnTo>
                    <a:pt x="1836950" y="52199"/>
                  </a:lnTo>
                  <a:lnTo>
                    <a:pt x="1900293" y="26999"/>
                  </a:lnTo>
                  <a:lnTo>
                    <a:pt x="1963636"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08" name="pl263">
              <a:extLst>
                <a:ext uri="{FF2B5EF4-FFF2-40B4-BE49-F238E27FC236}">
                  <a16:creationId xmlns:a16="http://schemas.microsoft.com/office/drawing/2014/main" id="{FB42A4F3-5A47-8B56-129C-AD6300F943BB}"/>
                </a:ext>
              </a:extLst>
            </p:cNvPr>
            <p:cNvSpPr/>
            <p:nvPr/>
          </p:nvSpPr>
          <p:spPr>
            <a:xfrm>
              <a:off x="1371845" y="3507478"/>
              <a:ext cx="2133121" cy="404290"/>
            </a:xfrm>
            <a:custGeom>
              <a:avLst/>
              <a:gdLst/>
              <a:ahLst/>
              <a:cxnLst/>
              <a:rect l="0" t="0" r="0" b="0"/>
              <a:pathLst>
                <a:path w="1963636" h="381599">
                  <a:moveTo>
                    <a:pt x="0" y="371399"/>
                  </a:moveTo>
                  <a:lnTo>
                    <a:pt x="63343" y="351600"/>
                  </a:lnTo>
                  <a:lnTo>
                    <a:pt x="126686" y="329400"/>
                  </a:lnTo>
                  <a:lnTo>
                    <a:pt x="190029" y="349799"/>
                  </a:lnTo>
                  <a:lnTo>
                    <a:pt x="253372" y="381599"/>
                  </a:lnTo>
                  <a:lnTo>
                    <a:pt x="316715" y="379199"/>
                  </a:lnTo>
                  <a:lnTo>
                    <a:pt x="380058" y="379628"/>
                  </a:lnTo>
                  <a:lnTo>
                    <a:pt x="443401" y="340799"/>
                  </a:lnTo>
                  <a:lnTo>
                    <a:pt x="506744" y="358799"/>
                  </a:lnTo>
                  <a:lnTo>
                    <a:pt x="570087" y="258599"/>
                  </a:lnTo>
                  <a:lnTo>
                    <a:pt x="633431" y="268199"/>
                  </a:lnTo>
                  <a:lnTo>
                    <a:pt x="696774" y="225000"/>
                  </a:lnTo>
                  <a:lnTo>
                    <a:pt x="760117" y="253199"/>
                  </a:lnTo>
                  <a:lnTo>
                    <a:pt x="823460" y="223799"/>
                  </a:lnTo>
                  <a:lnTo>
                    <a:pt x="886803" y="208800"/>
                  </a:lnTo>
                  <a:lnTo>
                    <a:pt x="950146" y="205199"/>
                  </a:lnTo>
                  <a:lnTo>
                    <a:pt x="1013489" y="172199"/>
                  </a:lnTo>
                  <a:lnTo>
                    <a:pt x="1076832" y="171599"/>
                  </a:lnTo>
                  <a:lnTo>
                    <a:pt x="1140175" y="146399"/>
                  </a:lnTo>
                  <a:lnTo>
                    <a:pt x="1203519" y="150000"/>
                  </a:lnTo>
                  <a:lnTo>
                    <a:pt x="1266862" y="133199"/>
                  </a:lnTo>
                  <a:lnTo>
                    <a:pt x="1330205" y="124199"/>
                  </a:lnTo>
                  <a:lnTo>
                    <a:pt x="1393548" y="134399"/>
                  </a:lnTo>
                  <a:lnTo>
                    <a:pt x="1456891" y="130199"/>
                  </a:lnTo>
                  <a:lnTo>
                    <a:pt x="1520234" y="93599"/>
                  </a:lnTo>
                  <a:lnTo>
                    <a:pt x="1583577" y="106199"/>
                  </a:lnTo>
                  <a:lnTo>
                    <a:pt x="1646920" y="73199"/>
                  </a:lnTo>
                  <a:lnTo>
                    <a:pt x="1710263" y="55199"/>
                  </a:lnTo>
                  <a:lnTo>
                    <a:pt x="1773607" y="50400"/>
                  </a:lnTo>
                  <a:lnTo>
                    <a:pt x="1836950" y="49199"/>
                  </a:lnTo>
                  <a:lnTo>
                    <a:pt x="1900293" y="50999"/>
                  </a:lnTo>
                  <a:lnTo>
                    <a:pt x="1963636"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09" name="pl264">
              <a:extLst>
                <a:ext uri="{FF2B5EF4-FFF2-40B4-BE49-F238E27FC236}">
                  <a16:creationId xmlns:a16="http://schemas.microsoft.com/office/drawing/2014/main" id="{8D2F1EA4-FC8F-496C-DEE4-EA3207764B65}"/>
                </a:ext>
              </a:extLst>
            </p:cNvPr>
            <p:cNvSpPr/>
            <p:nvPr/>
          </p:nvSpPr>
          <p:spPr>
            <a:xfrm>
              <a:off x="1371845" y="3900963"/>
              <a:ext cx="2133121" cy="364878"/>
            </a:xfrm>
            <a:custGeom>
              <a:avLst/>
              <a:gdLst/>
              <a:ahLst/>
              <a:cxnLst/>
              <a:rect l="0" t="0" r="0" b="0"/>
              <a:pathLst>
                <a:path w="1963636" h="344399">
                  <a:moveTo>
                    <a:pt x="0" y="0"/>
                  </a:moveTo>
                  <a:lnTo>
                    <a:pt x="63343" y="180000"/>
                  </a:lnTo>
                  <a:lnTo>
                    <a:pt x="126686" y="263400"/>
                  </a:lnTo>
                  <a:lnTo>
                    <a:pt x="190029" y="258600"/>
                  </a:lnTo>
                  <a:lnTo>
                    <a:pt x="253372" y="295200"/>
                  </a:lnTo>
                  <a:lnTo>
                    <a:pt x="316715" y="331200"/>
                  </a:lnTo>
                  <a:lnTo>
                    <a:pt x="380058" y="343200"/>
                  </a:lnTo>
                  <a:lnTo>
                    <a:pt x="443401" y="344399"/>
                  </a:lnTo>
                  <a:lnTo>
                    <a:pt x="506744" y="342600"/>
                  </a:lnTo>
                  <a:lnTo>
                    <a:pt x="570087" y="328200"/>
                  </a:lnTo>
                  <a:lnTo>
                    <a:pt x="633431" y="327600"/>
                  </a:lnTo>
                  <a:lnTo>
                    <a:pt x="696774" y="338400"/>
                  </a:lnTo>
                  <a:lnTo>
                    <a:pt x="760117" y="329400"/>
                  </a:lnTo>
                  <a:lnTo>
                    <a:pt x="823460" y="324600"/>
                  </a:lnTo>
                  <a:lnTo>
                    <a:pt x="886803" y="293400"/>
                  </a:lnTo>
                  <a:lnTo>
                    <a:pt x="950146" y="302400"/>
                  </a:lnTo>
                  <a:lnTo>
                    <a:pt x="1013489" y="298799"/>
                  </a:lnTo>
                  <a:lnTo>
                    <a:pt x="1076832" y="314400"/>
                  </a:lnTo>
                  <a:lnTo>
                    <a:pt x="1140175" y="286200"/>
                  </a:lnTo>
                  <a:lnTo>
                    <a:pt x="1203519" y="285000"/>
                  </a:lnTo>
                  <a:lnTo>
                    <a:pt x="1266862" y="289200"/>
                  </a:lnTo>
                  <a:lnTo>
                    <a:pt x="1330205" y="255000"/>
                  </a:lnTo>
                  <a:lnTo>
                    <a:pt x="1393548" y="240000"/>
                  </a:lnTo>
                  <a:lnTo>
                    <a:pt x="1456891" y="213600"/>
                  </a:lnTo>
                  <a:lnTo>
                    <a:pt x="1520234" y="229799"/>
                  </a:lnTo>
                  <a:lnTo>
                    <a:pt x="1583577" y="243000"/>
                  </a:lnTo>
                  <a:lnTo>
                    <a:pt x="1646920" y="219600"/>
                  </a:lnTo>
                  <a:lnTo>
                    <a:pt x="1710263" y="195600"/>
                  </a:lnTo>
                  <a:lnTo>
                    <a:pt x="1773607" y="213000"/>
                  </a:lnTo>
                  <a:lnTo>
                    <a:pt x="1836950" y="214800"/>
                  </a:lnTo>
                  <a:lnTo>
                    <a:pt x="1900293" y="207000"/>
                  </a:lnTo>
                  <a:lnTo>
                    <a:pt x="1963636" y="16980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310" name="pl265">
              <a:extLst>
                <a:ext uri="{FF2B5EF4-FFF2-40B4-BE49-F238E27FC236}">
                  <a16:creationId xmlns:a16="http://schemas.microsoft.com/office/drawing/2014/main" id="{1FC35B95-5432-D15B-9A82-351BDD237B0A}"/>
                </a:ext>
              </a:extLst>
            </p:cNvPr>
            <p:cNvSpPr/>
            <p:nvPr/>
          </p:nvSpPr>
          <p:spPr>
            <a:xfrm>
              <a:off x="1371845" y="3900963"/>
              <a:ext cx="2133121" cy="456417"/>
            </a:xfrm>
            <a:custGeom>
              <a:avLst/>
              <a:gdLst/>
              <a:ahLst/>
              <a:cxnLst/>
              <a:rect l="0" t="0" r="0" b="0"/>
              <a:pathLst>
                <a:path w="1963636" h="430800">
                  <a:moveTo>
                    <a:pt x="0" y="0"/>
                  </a:moveTo>
                  <a:lnTo>
                    <a:pt x="63343" y="229799"/>
                  </a:lnTo>
                  <a:lnTo>
                    <a:pt x="126686" y="285600"/>
                  </a:lnTo>
                  <a:lnTo>
                    <a:pt x="190029" y="348000"/>
                  </a:lnTo>
                  <a:lnTo>
                    <a:pt x="253372" y="323999"/>
                  </a:lnTo>
                  <a:lnTo>
                    <a:pt x="316715" y="331799"/>
                  </a:lnTo>
                  <a:lnTo>
                    <a:pt x="380058" y="430800"/>
                  </a:lnTo>
                  <a:lnTo>
                    <a:pt x="443401" y="330599"/>
                  </a:lnTo>
                  <a:lnTo>
                    <a:pt x="506744" y="329400"/>
                  </a:lnTo>
                  <a:lnTo>
                    <a:pt x="570087" y="297000"/>
                  </a:lnTo>
                  <a:lnTo>
                    <a:pt x="633431" y="339600"/>
                  </a:lnTo>
                  <a:lnTo>
                    <a:pt x="696774" y="341400"/>
                  </a:lnTo>
                  <a:lnTo>
                    <a:pt x="760117" y="323999"/>
                  </a:lnTo>
                  <a:lnTo>
                    <a:pt x="823460" y="282000"/>
                  </a:lnTo>
                  <a:lnTo>
                    <a:pt x="886803" y="280200"/>
                  </a:lnTo>
                  <a:lnTo>
                    <a:pt x="950146" y="325799"/>
                  </a:lnTo>
                  <a:lnTo>
                    <a:pt x="1013489" y="314400"/>
                  </a:lnTo>
                  <a:lnTo>
                    <a:pt x="1076832" y="332399"/>
                  </a:lnTo>
                  <a:lnTo>
                    <a:pt x="1140175" y="321600"/>
                  </a:lnTo>
                  <a:lnTo>
                    <a:pt x="1203519" y="322800"/>
                  </a:lnTo>
                  <a:lnTo>
                    <a:pt x="1266862" y="333600"/>
                  </a:lnTo>
                  <a:lnTo>
                    <a:pt x="1330205" y="305399"/>
                  </a:lnTo>
                  <a:lnTo>
                    <a:pt x="1393548" y="278400"/>
                  </a:lnTo>
                  <a:lnTo>
                    <a:pt x="1456891" y="312600"/>
                  </a:lnTo>
                  <a:lnTo>
                    <a:pt x="1520234" y="308400"/>
                  </a:lnTo>
                  <a:lnTo>
                    <a:pt x="1583577" y="314400"/>
                  </a:lnTo>
                  <a:lnTo>
                    <a:pt x="1646920" y="305399"/>
                  </a:lnTo>
                  <a:lnTo>
                    <a:pt x="1710263" y="283200"/>
                  </a:lnTo>
                  <a:lnTo>
                    <a:pt x="1773607" y="275399"/>
                  </a:lnTo>
                  <a:lnTo>
                    <a:pt x="1836950" y="301200"/>
                  </a:lnTo>
                  <a:lnTo>
                    <a:pt x="1900293" y="271200"/>
                  </a:lnTo>
                  <a:lnTo>
                    <a:pt x="1963636" y="28920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311" name="pl266">
              <a:extLst>
                <a:ext uri="{FF2B5EF4-FFF2-40B4-BE49-F238E27FC236}">
                  <a16:creationId xmlns:a16="http://schemas.microsoft.com/office/drawing/2014/main" id="{46254C39-8B1F-5C76-0967-124D3976259D}"/>
                </a:ext>
              </a:extLst>
            </p:cNvPr>
            <p:cNvSpPr/>
            <p:nvPr/>
          </p:nvSpPr>
          <p:spPr>
            <a:xfrm>
              <a:off x="1371845" y="3900963"/>
              <a:ext cx="2133121" cy="388399"/>
            </a:xfrm>
            <a:custGeom>
              <a:avLst/>
              <a:gdLst/>
              <a:ahLst/>
              <a:cxnLst/>
              <a:rect l="0" t="0" r="0" b="0"/>
              <a:pathLst>
                <a:path w="1963636" h="366600">
                  <a:moveTo>
                    <a:pt x="0" y="0"/>
                  </a:moveTo>
                  <a:lnTo>
                    <a:pt x="63343" y="28200"/>
                  </a:lnTo>
                  <a:lnTo>
                    <a:pt x="126686" y="27000"/>
                  </a:lnTo>
                  <a:lnTo>
                    <a:pt x="190029" y="94800"/>
                  </a:lnTo>
                  <a:lnTo>
                    <a:pt x="253372" y="119400"/>
                  </a:lnTo>
                  <a:lnTo>
                    <a:pt x="316715" y="138600"/>
                  </a:lnTo>
                  <a:lnTo>
                    <a:pt x="380058" y="150171"/>
                  </a:lnTo>
                  <a:lnTo>
                    <a:pt x="443401" y="179400"/>
                  </a:lnTo>
                  <a:lnTo>
                    <a:pt x="506744" y="195600"/>
                  </a:lnTo>
                  <a:lnTo>
                    <a:pt x="570087" y="214200"/>
                  </a:lnTo>
                  <a:lnTo>
                    <a:pt x="633431" y="258000"/>
                  </a:lnTo>
                  <a:lnTo>
                    <a:pt x="696774" y="247200"/>
                  </a:lnTo>
                  <a:lnTo>
                    <a:pt x="760117" y="273000"/>
                  </a:lnTo>
                  <a:lnTo>
                    <a:pt x="823460" y="289200"/>
                  </a:lnTo>
                  <a:lnTo>
                    <a:pt x="886803" y="315000"/>
                  </a:lnTo>
                  <a:lnTo>
                    <a:pt x="950146" y="299399"/>
                  </a:lnTo>
                  <a:lnTo>
                    <a:pt x="1013489" y="348600"/>
                  </a:lnTo>
                  <a:lnTo>
                    <a:pt x="1076832" y="343200"/>
                  </a:lnTo>
                  <a:lnTo>
                    <a:pt x="1140175" y="315600"/>
                  </a:lnTo>
                  <a:lnTo>
                    <a:pt x="1203519" y="319799"/>
                  </a:lnTo>
                  <a:lnTo>
                    <a:pt x="1266862" y="342600"/>
                  </a:lnTo>
                  <a:lnTo>
                    <a:pt x="1330205" y="348000"/>
                  </a:lnTo>
                  <a:lnTo>
                    <a:pt x="1393548" y="303000"/>
                  </a:lnTo>
                  <a:lnTo>
                    <a:pt x="1456891" y="298200"/>
                  </a:lnTo>
                  <a:lnTo>
                    <a:pt x="1520234" y="325799"/>
                  </a:lnTo>
                  <a:lnTo>
                    <a:pt x="1583577" y="339600"/>
                  </a:lnTo>
                  <a:lnTo>
                    <a:pt x="1646920" y="345600"/>
                  </a:lnTo>
                  <a:lnTo>
                    <a:pt x="1710263" y="318600"/>
                  </a:lnTo>
                  <a:lnTo>
                    <a:pt x="1773607" y="331799"/>
                  </a:lnTo>
                  <a:lnTo>
                    <a:pt x="1836950" y="366600"/>
                  </a:lnTo>
                  <a:lnTo>
                    <a:pt x="1900293" y="361800"/>
                  </a:lnTo>
                  <a:lnTo>
                    <a:pt x="1963636" y="32880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312" name="pl267">
              <a:extLst>
                <a:ext uri="{FF2B5EF4-FFF2-40B4-BE49-F238E27FC236}">
                  <a16:creationId xmlns:a16="http://schemas.microsoft.com/office/drawing/2014/main" id="{9A9904D8-5BD5-5AFC-C923-E4C817464A3C}"/>
                </a:ext>
              </a:extLst>
            </p:cNvPr>
            <p:cNvSpPr/>
            <p:nvPr/>
          </p:nvSpPr>
          <p:spPr>
            <a:xfrm>
              <a:off x="1371845" y="3900963"/>
              <a:ext cx="2133121" cy="375686"/>
            </a:xfrm>
            <a:custGeom>
              <a:avLst/>
              <a:gdLst/>
              <a:ahLst/>
              <a:cxnLst/>
              <a:rect l="0" t="0" r="0" b="0"/>
              <a:pathLst>
                <a:path w="1963636" h="354600">
                  <a:moveTo>
                    <a:pt x="0" y="0"/>
                  </a:moveTo>
                  <a:lnTo>
                    <a:pt x="63343" y="85799"/>
                  </a:lnTo>
                  <a:lnTo>
                    <a:pt x="126686" y="206400"/>
                  </a:lnTo>
                  <a:lnTo>
                    <a:pt x="190029" y="270600"/>
                  </a:lnTo>
                  <a:lnTo>
                    <a:pt x="253372" y="303000"/>
                  </a:lnTo>
                  <a:lnTo>
                    <a:pt x="316715" y="343200"/>
                  </a:lnTo>
                  <a:lnTo>
                    <a:pt x="380058" y="354600"/>
                  </a:lnTo>
                  <a:lnTo>
                    <a:pt x="443401" y="348000"/>
                  </a:lnTo>
                  <a:lnTo>
                    <a:pt x="506744" y="332399"/>
                  </a:lnTo>
                  <a:lnTo>
                    <a:pt x="570087" y="327600"/>
                  </a:lnTo>
                  <a:lnTo>
                    <a:pt x="633431" y="331200"/>
                  </a:lnTo>
                  <a:lnTo>
                    <a:pt x="696774" y="332399"/>
                  </a:lnTo>
                  <a:lnTo>
                    <a:pt x="760117" y="297600"/>
                  </a:lnTo>
                  <a:lnTo>
                    <a:pt x="823460" y="283800"/>
                  </a:lnTo>
                  <a:lnTo>
                    <a:pt x="886803" y="283800"/>
                  </a:lnTo>
                  <a:lnTo>
                    <a:pt x="950146" y="259200"/>
                  </a:lnTo>
                  <a:lnTo>
                    <a:pt x="1013489" y="268200"/>
                  </a:lnTo>
                  <a:lnTo>
                    <a:pt x="1076832" y="288600"/>
                  </a:lnTo>
                  <a:lnTo>
                    <a:pt x="1140175" y="252600"/>
                  </a:lnTo>
                  <a:lnTo>
                    <a:pt x="1203519" y="268200"/>
                  </a:lnTo>
                  <a:lnTo>
                    <a:pt x="1266862" y="262199"/>
                  </a:lnTo>
                  <a:lnTo>
                    <a:pt x="1330205" y="226200"/>
                  </a:lnTo>
                  <a:lnTo>
                    <a:pt x="1393548" y="229799"/>
                  </a:lnTo>
                  <a:lnTo>
                    <a:pt x="1456891" y="270600"/>
                  </a:lnTo>
                  <a:lnTo>
                    <a:pt x="1520234" y="263999"/>
                  </a:lnTo>
                  <a:lnTo>
                    <a:pt x="1583577" y="265200"/>
                  </a:lnTo>
                  <a:lnTo>
                    <a:pt x="1646920" y="261600"/>
                  </a:lnTo>
                  <a:lnTo>
                    <a:pt x="1710263" y="173400"/>
                  </a:lnTo>
                  <a:lnTo>
                    <a:pt x="1773607" y="285000"/>
                  </a:lnTo>
                  <a:lnTo>
                    <a:pt x="1836950" y="303000"/>
                  </a:lnTo>
                  <a:lnTo>
                    <a:pt x="1900293" y="259200"/>
                  </a:lnTo>
                  <a:lnTo>
                    <a:pt x="1963636" y="22860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313" name="pl268">
              <a:extLst>
                <a:ext uri="{FF2B5EF4-FFF2-40B4-BE49-F238E27FC236}">
                  <a16:creationId xmlns:a16="http://schemas.microsoft.com/office/drawing/2014/main" id="{97315682-8F61-4C7C-0826-5B4DAAC8111B}"/>
                </a:ext>
              </a:extLst>
            </p:cNvPr>
            <p:cNvSpPr/>
            <p:nvPr/>
          </p:nvSpPr>
          <p:spPr>
            <a:xfrm>
              <a:off x="1371845" y="3900963"/>
              <a:ext cx="2133121" cy="492651"/>
            </a:xfrm>
            <a:custGeom>
              <a:avLst/>
              <a:gdLst/>
              <a:ahLst/>
              <a:cxnLst/>
              <a:rect l="0" t="0" r="0" b="0"/>
              <a:pathLst>
                <a:path w="1963636" h="465000">
                  <a:moveTo>
                    <a:pt x="0" y="0"/>
                  </a:moveTo>
                  <a:lnTo>
                    <a:pt x="63343" y="89399"/>
                  </a:lnTo>
                  <a:lnTo>
                    <a:pt x="126686" y="191399"/>
                  </a:lnTo>
                  <a:lnTo>
                    <a:pt x="190029" y="357600"/>
                  </a:lnTo>
                  <a:lnTo>
                    <a:pt x="253372" y="413399"/>
                  </a:lnTo>
                  <a:lnTo>
                    <a:pt x="316715" y="465000"/>
                  </a:lnTo>
                  <a:lnTo>
                    <a:pt x="380058" y="460200"/>
                  </a:lnTo>
                  <a:lnTo>
                    <a:pt x="443401" y="433800"/>
                  </a:lnTo>
                  <a:lnTo>
                    <a:pt x="506744" y="421799"/>
                  </a:lnTo>
                  <a:lnTo>
                    <a:pt x="570087" y="406799"/>
                  </a:lnTo>
                  <a:lnTo>
                    <a:pt x="633431" y="411000"/>
                  </a:lnTo>
                  <a:lnTo>
                    <a:pt x="696774" y="361800"/>
                  </a:lnTo>
                  <a:lnTo>
                    <a:pt x="760117" y="310800"/>
                  </a:lnTo>
                  <a:lnTo>
                    <a:pt x="823460" y="316200"/>
                  </a:lnTo>
                  <a:lnTo>
                    <a:pt x="886803" y="291600"/>
                  </a:lnTo>
                  <a:lnTo>
                    <a:pt x="950146" y="283200"/>
                  </a:lnTo>
                  <a:lnTo>
                    <a:pt x="1013489" y="282000"/>
                  </a:lnTo>
                  <a:lnTo>
                    <a:pt x="1076832" y="287999"/>
                  </a:lnTo>
                  <a:lnTo>
                    <a:pt x="1140175" y="262199"/>
                  </a:lnTo>
                  <a:lnTo>
                    <a:pt x="1203519" y="228600"/>
                  </a:lnTo>
                  <a:lnTo>
                    <a:pt x="1266862" y="248999"/>
                  </a:lnTo>
                  <a:lnTo>
                    <a:pt x="1330205" y="229800"/>
                  </a:lnTo>
                  <a:lnTo>
                    <a:pt x="1393548" y="204600"/>
                  </a:lnTo>
                  <a:lnTo>
                    <a:pt x="1456891" y="249600"/>
                  </a:lnTo>
                  <a:lnTo>
                    <a:pt x="1520234" y="209400"/>
                  </a:lnTo>
                  <a:lnTo>
                    <a:pt x="1583577" y="208800"/>
                  </a:lnTo>
                  <a:lnTo>
                    <a:pt x="1646920" y="186000"/>
                  </a:lnTo>
                  <a:lnTo>
                    <a:pt x="1710263" y="209400"/>
                  </a:lnTo>
                  <a:lnTo>
                    <a:pt x="1773607" y="203999"/>
                  </a:lnTo>
                  <a:lnTo>
                    <a:pt x="1836950" y="186000"/>
                  </a:lnTo>
                  <a:lnTo>
                    <a:pt x="1900293" y="130200"/>
                  </a:lnTo>
                  <a:lnTo>
                    <a:pt x="1963636" y="15240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314" name="pl269">
              <a:extLst>
                <a:ext uri="{FF2B5EF4-FFF2-40B4-BE49-F238E27FC236}">
                  <a16:creationId xmlns:a16="http://schemas.microsoft.com/office/drawing/2014/main" id="{22515470-4B57-B6B8-ADBD-2846773B2A55}"/>
                </a:ext>
              </a:extLst>
            </p:cNvPr>
            <p:cNvSpPr/>
            <p:nvPr/>
          </p:nvSpPr>
          <p:spPr>
            <a:xfrm>
              <a:off x="1371845" y="3900963"/>
              <a:ext cx="2133121" cy="389035"/>
            </a:xfrm>
            <a:custGeom>
              <a:avLst/>
              <a:gdLst/>
              <a:ahLst/>
              <a:cxnLst/>
              <a:rect l="0" t="0" r="0" b="0"/>
              <a:pathLst>
                <a:path w="1963636" h="367200">
                  <a:moveTo>
                    <a:pt x="0" y="0"/>
                  </a:moveTo>
                  <a:lnTo>
                    <a:pt x="63343" y="13200"/>
                  </a:lnTo>
                  <a:lnTo>
                    <a:pt x="126686" y="52800"/>
                  </a:lnTo>
                  <a:lnTo>
                    <a:pt x="190029" y="103200"/>
                  </a:lnTo>
                  <a:lnTo>
                    <a:pt x="253372" y="150600"/>
                  </a:lnTo>
                  <a:lnTo>
                    <a:pt x="316715" y="205800"/>
                  </a:lnTo>
                  <a:lnTo>
                    <a:pt x="380058" y="225000"/>
                  </a:lnTo>
                  <a:lnTo>
                    <a:pt x="443401" y="230400"/>
                  </a:lnTo>
                  <a:lnTo>
                    <a:pt x="506744" y="211800"/>
                  </a:lnTo>
                  <a:lnTo>
                    <a:pt x="570087" y="253800"/>
                  </a:lnTo>
                  <a:lnTo>
                    <a:pt x="633431" y="240000"/>
                  </a:lnTo>
                  <a:lnTo>
                    <a:pt x="696774" y="258000"/>
                  </a:lnTo>
                  <a:lnTo>
                    <a:pt x="760117" y="280799"/>
                  </a:lnTo>
                  <a:lnTo>
                    <a:pt x="823460" y="282600"/>
                  </a:lnTo>
                  <a:lnTo>
                    <a:pt x="886803" y="297000"/>
                  </a:lnTo>
                  <a:lnTo>
                    <a:pt x="950146" y="278400"/>
                  </a:lnTo>
                  <a:lnTo>
                    <a:pt x="1013489" y="307799"/>
                  </a:lnTo>
                  <a:lnTo>
                    <a:pt x="1076832" y="321600"/>
                  </a:lnTo>
                  <a:lnTo>
                    <a:pt x="1140175" y="305999"/>
                  </a:lnTo>
                  <a:lnTo>
                    <a:pt x="1203519" y="343200"/>
                  </a:lnTo>
                  <a:lnTo>
                    <a:pt x="1266862" y="334200"/>
                  </a:lnTo>
                  <a:lnTo>
                    <a:pt x="1330205" y="367200"/>
                  </a:lnTo>
                  <a:lnTo>
                    <a:pt x="1393548" y="339600"/>
                  </a:lnTo>
                  <a:lnTo>
                    <a:pt x="1456891" y="349799"/>
                  </a:lnTo>
                  <a:lnTo>
                    <a:pt x="1520234" y="366600"/>
                  </a:lnTo>
                  <a:lnTo>
                    <a:pt x="1583577" y="333600"/>
                  </a:lnTo>
                  <a:lnTo>
                    <a:pt x="1646920" y="335400"/>
                  </a:lnTo>
                  <a:lnTo>
                    <a:pt x="1710263" y="355200"/>
                  </a:lnTo>
                  <a:lnTo>
                    <a:pt x="1773607" y="359400"/>
                  </a:lnTo>
                  <a:lnTo>
                    <a:pt x="1836950" y="351000"/>
                  </a:lnTo>
                  <a:lnTo>
                    <a:pt x="1900293" y="337200"/>
                  </a:lnTo>
                  <a:lnTo>
                    <a:pt x="1963636" y="280799"/>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315" name="pl270">
              <a:extLst>
                <a:ext uri="{FF2B5EF4-FFF2-40B4-BE49-F238E27FC236}">
                  <a16:creationId xmlns:a16="http://schemas.microsoft.com/office/drawing/2014/main" id="{8BF2AA31-E911-24DB-2825-8DF203735E29}"/>
                </a:ext>
              </a:extLst>
            </p:cNvPr>
            <p:cNvSpPr/>
            <p:nvPr/>
          </p:nvSpPr>
          <p:spPr>
            <a:xfrm>
              <a:off x="2197570" y="3780528"/>
              <a:ext cx="0" cy="60681"/>
            </a:xfrm>
            <a:custGeom>
              <a:avLst/>
              <a:gdLst/>
              <a:ahLst/>
              <a:cxnLst/>
              <a:rect l="0" t="0" r="0" b="0"/>
              <a:pathLst>
                <a:path h="57275">
                  <a:moveTo>
                    <a:pt x="0" y="57275"/>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16" name="pl271">
              <a:extLst>
                <a:ext uri="{FF2B5EF4-FFF2-40B4-BE49-F238E27FC236}">
                  <a16:creationId xmlns:a16="http://schemas.microsoft.com/office/drawing/2014/main" id="{03E07CB3-A80E-E86F-777E-7519D21FB7B3}"/>
                </a:ext>
              </a:extLst>
            </p:cNvPr>
            <p:cNvSpPr/>
            <p:nvPr/>
          </p:nvSpPr>
          <p:spPr>
            <a:xfrm>
              <a:off x="1784708" y="3866750"/>
              <a:ext cx="0" cy="18321"/>
            </a:xfrm>
            <a:custGeom>
              <a:avLst/>
              <a:gdLst/>
              <a:ahLst/>
              <a:cxnLst/>
              <a:rect l="0" t="0" r="0" b="0"/>
              <a:pathLst>
                <a:path h="17293">
                  <a:moveTo>
                    <a:pt x="0" y="17293"/>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17" name="pl272">
              <a:extLst>
                <a:ext uri="{FF2B5EF4-FFF2-40B4-BE49-F238E27FC236}">
                  <a16:creationId xmlns:a16="http://schemas.microsoft.com/office/drawing/2014/main" id="{2E90134B-A42E-FB0B-4860-09F2E173C0E7}"/>
                </a:ext>
              </a:extLst>
            </p:cNvPr>
            <p:cNvSpPr/>
            <p:nvPr/>
          </p:nvSpPr>
          <p:spPr>
            <a:xfrm>
              <a:off x="3436157" y="3589721"/>
              <a:ext cx="0" cy="61420"/>
            </a:xfrm>
            <a:custGeom>
              <a:avLst/>
              <a:gdLst/>
              <a:ahLst/>
              <a:cxnLst/>
              <a:rect l="0" t="0" r="0" b="0"/>
              <a:pathLst>
                <a:path h="57973">
                  <a:moveTo>
                    <a:pt x="0" y="57973"/>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18" name="pl273">
              <a:extLst>
                <a:ext uri="{FF2B5EF4-FFF2-40B4-BE49-F238E27FC236}">
                  <a16:creationId xmlns:a16="http://schemas.microsoft.com/office/drawing/2014/main" id="{A34A16EF-AC05-E24F-00A7-B585E86E93D7}"/>
                </a:ext>
              </a:extLst>
            </p:cNvPr>
            <p:cNvSpPr/>
            <p:nvPr/>
          </p:nvSpPr>
          <p:spPr>
            <a:xfrm>
              <a:off x="2335190" y="3759760"/>
              <a:ext cx="0" cy="50301"/>
            </a:xfrm>
            <a:custGeom>
              <a:avLst/>
              <a:gdLst/>
              <a:ahLst/>
              <a:cxnLst/>
              <a:rect l="0" t="0" r="0" b="0"/>
              <a:pathLst>
                <a:path h="47478">
                  <a:moveTo>
                    <a:pt x="0" y="47478"/>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19" name="pl274">
              <a:extLst>
                <a:ext uri="{FF2B5EF4-FFF2-40B4-BE49-F238E27FC236}">
                  <a16:creationId xmlns:a16="http://schemas.microsoft.com/office/drawing/2014/main" id="{5741ECAF-82C0-E14D-021C-2C7C3D0E860C}"/>
                </a:ext>
              </a:extLst>
            </p:cNvPr>
            <p:cNvSpPr/>
            <p:nvPr/>
          </p:nvSpPr>
          <p:spPr>
            <a:xfrm>
              <a:off x="2954484" y="3648691"/>
              <a:ext cx="0" cy="48219"/>
            </a:xfrm>
            <a:custGeom>
              <a:avLst/>
              <a:gdLst/>
              <a:ahLst/>
              <a:cxnLst/>
              <a:rect l="0" t="0" r="0" b="0"/>
              <a:pathLst>
                <a:path h="45513">
                  <a:moveTo>
                    <a:pt x="0" y="45513"/>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20" name="pl275">
              <a:extLst>
                <a:ext uri="{FF2B5EF4-FFF2-40B4-BE49-F238E27FC236}">
                  <a16:creationId xmlns:a16="http://schemas.microsoft.com/office/drawing/2014/main" id="{DBF958B2-97F8-DE92-2002-03F07C96E6B2}"/>
                </a:ext>
              </a:extLst>
            </p:cNvPr>
            <p:cNvSpPr/>
            <p:nvPr/>
          </p:nvSpPr>
          <p:spPr>
            <a:xfrm>
              <a:off x="3367346" y="3617413"/>
              <a:ext cx="0" cy="60428"/>
            </a:xfrm>
            <a:custGeom>
              <a:avLst/>
              <a:gdLst/>
              <a:ahLst/>
              <a:cxnLst/>
              <a:rect l="0" t="0" r="0" b="0"/>
              <a:pathLst>
                <a:path h="57036">
                  <a:moveTo>
                    <a:pt x="0" y="57036"/>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21" name="pl276">
              <a:extLst>
                <a:ext uri="{FF2B5EF4-FFF2-40B4-BE49-F238E27FC236}">
                  <a16:creationId xmlns:a16="http://schemas.microsoft.com/office/drawing/2014/main" id="{E4F91437-26EA-66E6-47F6-D83A4F553A62}"/>
                </a:ext>
              </a:extLst>
            </p:cNvPr>
            <p:cNvSpPr/>
            <p:nvPr/>
          </p:nvSpPr>
          <p:spPr>
            <a:xfrm>
              <a:off x="1371845" y="3900963"/>
              <a:ext cx="0" cy="0"/>
            </a:xfrm>
            <a:custGeom>
              <a:avLst/>
              <a:gdLst/>
              <a:ahLst/>
              <a:cxnLst/>
              <a:rect l="0" t="0" r="0" b="0"/>
              <a:pathLst>
                <a:path>
                  <a:moveTo>
                    <a:pt x="0" y="0"/>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22" name="pl277">
              <a:extLst>
                <a:ext uri="{FF2B5EF4-FFF2-40B4-BE49-F238E27FC236}">
                  <a16:creationId xmlns:a16="http://schemas.microsoft.com/office/drawing/2014/main" id="{570D8168-3B2A-4AD3-604A-429E82F933C2}"/>
                </a:ext>
              </a:extLst>
            </p:cNvPr>
            <p:cNvSpPr/>
            <p:nvPr/>
          </p:nvSpPr>
          <p:spPr>
            <a:xfrm>
              <a:off x="2885673" y="3676304"/>
              <a:ext cx="0" cy="54296"/>
            </a:xfrm>
            <a:custGeom>
              <a:avLst/>
              <a:gdLst/>
              <a:ahLst/>
              <a:cxnLst/>
              <a:rect l="0" t="0" r="0" b="0"/>
              <a:pathLst>
                <a:path h="51249">
                  <a:moveTo>
                    <a:pt x="0" y="51249"/>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23" name="pl278">
              <a:extLst>
                <a:ext uri="{FF2B5EF4-FFF2-40B4-BE49-F238E27FC236}">
                  <a16:creationId xmlns:a16="http://schemas.microsoft.com/office/drawing/2014/main" id="{029B904F-9D70-B6AD-75CF-6CBFC464EC7A}"/>
                </a:ext>
              </a:extLst>
            </p:cNvPr>
            <p:cNvSpPr/>
            <p:nvPr/>
          </p:nvSpPr>
          <p:spPr>
            <a:xfrm>
              <a:off x="1922329" y="3815252"/>
              <a:ext cx="0" cy="18965"/>
            </a:xfrm>
            <a:custGeom>
              <a:avLst/>
              <a:gdLst/>
              <a:ahLst/>
              <a:cxnLst/>
              <a:rect l="0" t="0" r="0" b="0"/>
              <a:pathLst>
                <a:path h="17901">
                  <a:moveTo>
                    <a:pt x="0" y="17901"/>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24" name="pl279">
              <a:extLst>
                <a:ext uri="{FF2B5EF4-FFF2-40B4-BE49-F238E27FC236}">
                  <a16:creationId xmlns:a16="http://schemas.microsoft.com/office/drawing/2014/main" id="{01D4994D-3294-BF9F-E78C-A5178B8CC29E}"/>
                </a:ext>
              </a:extLst>
            </p:cNvPr>
            <p:cNvSpPr/>
            <p:nvPr/>
          </p:nvSpPr>
          <p:spPr>
            <a:xfrm>
              <a:off x="3298536" y="3610007"/>
              <a:ext cx="0" cy="53213"/>
            </a:xfrm>
            <a:custGeom>
              <a:avLst/>
              <a:gdLst/>
              <a:ahLst/>
              <a:cxnLst/>
              <a:rect l="0" t="0" r="0" b="0"/>
              <a:pathLst>
                <a:path h="50226">
                  <a:moveTo>
                    <a:pt x="0" y="50226"/>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25" name="pl280">
              <a:extLst>
                <a:ext uri="{FF2B5EF4-FFF2-40B4-BE49-F238E27FC236}">
                  <a16:creationId xmlns:a16="http://schemas.microsoft.com/office/drawing/2014/main" id="{E947D115-CE91-237E-B362-FF53FD5D7605}"/>
                </a:ext>
              </a:extLst>
            </p:cNvPr>
            <p:cNvSpPr/>
            <p:nvPr/>
          </p:nvSpPr>
          <p:spPr>
            <a:xfrm>
              <a:off x="1578276" y="3863920"/>
              <a:ext cx="0" cy="17973"/>
            </a:xfrm>
            <a:custGeom>
              <a:avLst/>
              <a:gdLst/>
              <a:ahLst/>
              <a:cxnLst/>
              <a:rect l="0" t="0" r="0" b="0"/>
              <a:pathLst>
                <a:path h="16964">
                  <a:moveTo>
                    <a:pt x="0" y="16964"/>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26" name="pl281">
              <a:extLst>
                <a:ext uri="{FF2B5EF4-FFF2-40B4-BE49-F238E27FC236}">
                  <a16:creationId xmlns:a16="http://schemas.microsoft.com/office/drawing/2014/main" id="{51C57D77-DA89-A6B6-7133-D5AD85B8BAAD}"/>
                </a:ext>
              </a:extLst>
            </p:cNvPr>
            <p:cNvSpPr/>
            <p:nvPr/>
          </p:nvSpPr>
          <p:spPr>
            <a:xfrm>
              <a:off x="1991139" y="3787294"/>
              <a:ext cx="0" cy="18953"/>
            </a:xfrm>
            <a:custGeom>
              <a:avLst/>
              <a:gdLst/>
              <a:ahLst/>
              <a:cxnLst/>
              <a:rect l="0" t="0" r="0" b="0"/>
              <a:pathLst>
                <a:path h="17889">
                  <a:moveTo>
                    <a:pt x="0" y="17889"/>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27" name="pl282">
              <a:extLst>
                <a:ext uri="{FF2B5EF4-FFF2-40B4-BE49-F238E27FC236}">
                  <a16:creationId xmlns:a16="http://schemas.microsoft.com/office/drawing/2014/main" id="{43DA05A8-2FF3-1CED-6E73-621242687D09}"/>
                </a:ext>
              </a:extLst>
            </p:cNvPr>
            <p:cNvSpPr/>
            <p:nvPr/>
          </p:nvSpPr>
          <p:spPr>
            <a:xfrm>
              <a:off x="1440656" y="3875028"/>
              <a:ext cx="0" cy="13858"/>
            </a:xfrm>
            <a:custGeom>
              <a:avLst/>
              <a:gdLst/>
              <a:ahLst/>
              <a:cxnLst/>
              <a:rect l="0" t="0" r="0" b="0"/>
              <a:pathLst>
                <a:path h="13080">
                  <a:moveTo>
                    <a:pt x="0" y="13080"/>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28" name="pl283">
              <a:extLst>
                <a:ext uri="{FF2B5EF4-FFF2-40B4-BE49-F238E27FC236}">
                  <a16:creationId xmlns:a16="http://schemas.microsoft.com/office/drawing/2014/main" id="{BC426A4E-1C7B-181B-7762-4F44D0FDD819}"/>
                </a:ext>
              </a:extLst>
            </p:cNvPr>
            <p:cNvSpPr/>
            <p:nvPr/>
          </p:nvSpPr>
          <p:spPr>
            <a:xfrm>
              <a:off x="1509466" y="3858805"/>
              <a:ext cx="0" cy="14824"/>
            </a:xfrm>
            <a:custGeom>
              <a:avLst/>
              <a:gdLst/>
              <a:ahLst/>
              <a:cxnLst/>
              <a:rect l="0" t="0" r="0" b="0"/>
              <a:pathLst>
                <a:path h="13992">
                  <a:moveTo>
                    <a:pt x="0" y="13992"/>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29" name="pl284">
              <a:extLst>
                <a:ext uri="{FF2B5EF4-FFF2-40B4-BE49-F238E27FC236}">
                  <a16:creationId xmlns:a16="http://schemas.microsoft.com/office/drawing/2014/main" id="{26792D3E-4DA7-525F-D474-6E37DCE27FFC}"/>
                </a:ext>
              </a:extLst>
            </p:cNvPr>
            <p:cNvSpPr/>
            <p:nvPr/>
          </p:nvSpPr>
          <p:spPr>
            <a:xfrm>
              <a:off x="2541622" y="3762295"/>
              <a:ext cx="0" cy="52216"/>
            </a:xfrm>
            <a:custGeom>
              <a:avLst/>
              <a:gdLst/>
              <a:ahLst/>
              <a:cxnLst/>
              <a:rect l="0" t="0" r="0" b="0"/>
              <a:pathLst>
                <a:path h="49285">
                  <a:moveTo>
                    <a:pt x="0" y="49285"/>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30" name="pl285">
              <a:extLst>
                <a:ext uri="{FF2B5EF4-FFF2-40B4-BE49-F238E27FC236}">
                  <a16:creationId xmlns:a16="http://schemas.microsoft.com/office/drawing/2014/main" id="{950FF2D2-C29C-78BC-4836-53D3CD3C68A0}"/>
                </a:ext>
              </a:extLst>
            </p:cNvPr>
            <p:cNvSpPr/>
            <p:nvPr/>
          </p:nvSpPr>
          <p:spPr>
            <a:xfrm>
              <a:off x="1715897" y="3845440"/>
              <a:ext cx="0" cy="18654"/>
            </a:xfrm>
            <a:custGeom>
              <a:avLst/>
              <a:gdLst/>
              <a:ahLst/>
              <a:cxnLst/>
              <a:rect l="0" t="0" r="0" b="0"/>
              <a:pathLst>
                <a:path h="17607">
                  <a:moveTo>
                    <a:pt x="0" y="17607"/>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31" name="pl286">
              <a:extLst>
                <a:ext uri="{FF2B5EF4-FFF2-40B4-BE49-F238E27FC236}">
                  <a16:creationId xmlns:a16="http://schemas.microsoft.com/office/drawing/2014/main" id="{6F2C99C3-9633-18AE-4D40-07BFD1938B5B}"/>
                </a:ext>
              </a:extLst>
            </p:cNvPr>
            <p:cNvSpPr/>
            <p:nvPr/>
          </p:nvSpPr>
          <p:spPr>
            <a:xfrm>
              <a:off x="3160916" y="3642316"/>
              <a:ext cx="0" cy="39338"/>
            </a:xfrm>
            <a:custGeom>
              <a:avLst/>
              <a:gdLst/>
              <a:ahLst/>
              <a:cxnLst/>
              <a:rect l="0" t="0" r="0" b="0"/>
              <a:pathLst>
                <a:path h="37130">
                  <a:moveTo>
                    <a:pt x="0" y="37130"/>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32" name="pl287">
              <a:extLst>
                <a:ext uri="{FF2B5EF4-FFF2-40B4-BE49-F238E27FC236}">
                  <a16:creationId xmlns:a16="http://schemas.microsoft.com/office/drawing/2014/main" id="{B48E5920-37B3-C4E6-8C93-5A67E3E3F5CE}"/>
                </a:ext>
              </a:extLst>
            </p:cNvPr>
            <p:cNvSpPr/>
            <p:nvPr/>
          </p:nvSpPr>
          <p:spPr>
            <a:xfrm>
              <a:off x="2679243" y="3741181"/>
              <a:ext cx="0" cy="52352"/>
            </a:xfrm>
            <a:custGeom>
              <a:avLst/>
              <a:gdLst/>
              <a:ahLst/>
              <a:cxnLst/>
              <a:rect l="0" t="0" r="0" b="0"/>
              <a:pathLst>
                <a:path h="49414">
                  <a:moveTo>
                    <a:pt x="0" y="49414"/>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33" name="pl288">
              <a:extLst>
                <a:ext uri="{FF2B5EF4-FFF2-40B4-BE49-F238E27FC236}">
                  <a16:creationId xmlns:a16="http://schemas.microsoft.com/office/drawing/2014/main" id="{ECB7BA33-844A-A4DB-ED05-E7B124AE911A}"/>
                </a:ext>
              </a:extLst>
            </p:cNvPr>
            <p:cNvSpPr/>
            <p:nvPr/>
          </p:nvSpPr>
          <p:spPr>
            <a:xfrm>
              <a:off x="2266380" y="3776096"/>
              <a:ext cx="0" cy="53036"/>
            </a:xfrm>
            <a:custGeom>
              <a:avLst/>
              <a:gdLst/>
              <a:ahLst/>
              <a:cxnLst/>
              <a:rect l="0" t="0" r="0" b="0"/>
              <a:pathLst>
                <a:path h="50059">
                  <a:moveTo>
                    <a:pt x="0" y="50059"/>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34" name="pl289">
              <a:extLst>
                <a:ext uri="{FF2B5EF4-FFF2-40B4-BE49-F238E27FC236}">
                  <a16:creationId xmlns:a16="http://schemas.microsoft.com/office/drawing/2014/main" id="{53B4E30B-CAA2-0FBE-EBEA-C297F04EEB26}"/>
                </a:ext>
              </a:extLst>
            </p:cNvPr>
            <p:cNvSpPr/>
            <p:nvPr/>
          </p:nvSpPr>
          <p:spPr>
            <a:xfrm>
              <a:off x="2059949" y="3794609"/>
              <a:ext cx="0" cy="24986"/>
            </a:xfrm>
            <a:custGeom>
              <a:avLst/>
              <a:gdLst/>
              <a:ahLst/>
              <a:cxnLst/>
              <a:rect l="0" t="0" r="0" b="0"/>
              <a:pathLst>
                <a:path h="23584">
                  <a:moveTo>
                    <a:pt x="0" y="23584"/>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35" name="pl290">
              <a:extLst>
                <a:ext uri="{FF2B5EF4-FFF2-40B4-BE49-F238E27FC236}">
                  <a16:creationId xmlns:a16="http://schemas.microsoft.com/office/drawing/2014/main" id="{A009D379-6B93-CECA-5D69-E953749F3F1B}"/>
                </a:ext>
              </a:extLst>
            </p:cNvPr>
            <p:cNvSpPr/>
            <p:nvPr/>
          </p:nvSpPr>
          <p:spPr>
            <a:xfrm>
              <a:off x="3092105" y="3643828"/>
              <a:ext cx="0" cy="56896"/>
            </a:xfrm>
            <a:custGeom>
              <a:avLst/>
              <a:gdLst/>
              <a:ahLst/>
              <a:cxnLst/>
              <a:rect l="0" t="0" r="0" b="0"/>
              <a:pathLst>
                <a:path h="53703">
                  <a:moveTo>
                    <a:pt x="0" y="53703"/>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36" name="pl291">
              <a:extLst>
                <a:ext uri="{FF2B5EF4-FFF2-40B4-BE49-F238E27FC236}">
                  <a16:creationId xmlns:a16="http://schemas.microsoft.com/office/drawing/2014/main" id="{BAB0477F-FB43-373A-473F-031C97365829}"/>
                </a:ext>
              </a:extLst>
            </p:cNvPr>
            <p:cNvSpPr/>
            <p:nvPr/>
          </p:nvSpPr>
          <p:spPr>
            <a:xfrm>
              <a:off x="2404002" y="3784145"/>
              <a:ext cx="0" cy="37994"/>
            </a:xfrm>
            <a:custGeom>
              <a:avLst/>
              <a:gdLst/>
              <a:ahLst/>
              <a:cxnLst/>
              <a:rect l="0" t="0" r="0" b="0"/>
              <a:pathLst>
                <a:path h="35862">
                  <a:moveTo>
                    <a:pt x="0" y="35862"/>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37" name="pl292">
              <a:extLst>
                <a:ext uri="{FF2B5EF4-FFF2-40B4-BE49-F238E27FC236}">
                  <a16:creationId xmlns:a16="http://schemas.microsoft.com/office/drawing/2014/main" id="{1163E3E1-9DA6-16CC-4015-B894A60DEB00}"/>
                </a:ext>
              </a:extLst>
            </p:cNvPr>
            <p:cNvSpPr/>
            <p:nvPr/>
          </p:nvSpPr>
          <p:spPr>
            <a:xfrm>
              <a:off x="1853518" y="3829030"/>
              <a:ext cx="0" cy="18535"/>
            </a:xfrm>
            <a:custGeom>
              <a:avLst/>
              <a:gdLst/>
              <a:ahLst/>
              <a:cxnLst/>
              <a:rect l="0" t="0" r="0" b="0"/>
              <a:pathLst>
                <a:path h="17495">
                  <a:moveTo>
                    <a:pt x="0" y="17495"/>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38" name="pl293">
              <a:extLst>
                <a:ext uri="{FF2B5EF4-FFF2-40B4-BE49-F238E27FC236}">
                  <a16:creationId xmlns:a16="http://schemas.microsoft.com/office/drawing/2014/main" id="{942371A4-A6B3-22F0-CDDD-DBBD253530AE}"/>
                </a:ext>
              </a:extLst>
            </p:cNvPr>
            <p:cNvSpPr/>
            <p:nvPr/>
          </p:nvSpPr>
          <p:spPr>
            <a:xfrm>
              <a:off x="3229726" y="3607406"/>
              <a:ext cx="0" cy="55814"/>
            </a:xfrm>
            <a:custGeom>
              <a:avLst/>
              <a:gdLst/>
              <a:ahLst/>
              <a:cxnLst/>
              <a:rect l="0" t="0" r="0" b="0"/>
              <a:pathLst>
                <a:path h="52681">
                  <a:moveTo>
                    <a:pt x="0" y="52681"/>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39" name="pl294">
              <a:extLst>
                <a:ext uri="{FF2B5EF4-FFF2-40B4-BE49-F238E27FC236}">
                  <a16:creationId xmlns:a16="http://schemas.microsoft.com/office/drawing/2014/main" id="{DF5A3251-1588-12E6-3E27-C5B3718B35C7}"/>
                </a:ext>
              </a:extLst>
            </p:cNvPr>
            <p:cNvSpPr/>
            <p:nvPr/>
          </p:nvSpPr>
          <p:spPr>
            <a:xfrm>
              <a:off x="2128759" y="3806702"/>
              <a:ext cx="0" cy="40865"/>
            </a:xfrm>
            <a:custGeom>
              <a:avLst/>
              <a:gdLst/>
              <a:ahLst/>
              <a:cxnLst/>
              <a:rect l="0" t="0" r="0" b="0"/>
              <a:pathLst>
                <a:path h="38571">
                  <a:moveTo>
                    <a:pt x="0" y="38571"/>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40" name="pl295">
              <a:extLst>
                <a:ext uri="{FF2B5EF4-FFF2-40B4-BE49-F238E27FC236}">
                  <a16:creationId xmlns:a16="http://schemas.microsoft.com/office/drawing/2014/main" id="{C12E96C8-E4FF-A09F-B50E-AC31503FAC44}"/>
                </a:ext>
              </a:extLst>
            </p:cNvPr>
            <p:cNvSpPr/>
            <p:nvPr/>
          </p:nvSpPr>
          <p:spPr>
            <a:xfrm>
              <a:off x="2610432" y="3757514"/>
              <a:ext cx="0" cy="46825"/>
            </a:xfrm>
            <a:custGeom>
              <a:avLst/>
              <a:gdLst/>
              <a:ahLst/>
              <a:cxnLst/>
              <a:rect l="0" t="0" r="0" b="0"/>
              <a:pathLst>
                <a:path h="44197">
                  <a:moveTo>
                    <a:pt x="0" y="44197"/>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41" name="pl296">
              <a:extLst>
                <a:ext uri="{FF2B5EF4-FFF2-40B4-BE49-F238E27FC236}">
                  <a16:creationId xmlns:a16="http://schemas.microsoft.com/office/drawing/2014/main" id="{18121A37-BC97-9C60-C48A-4E31F98CBF96}"/>
                </a:ext>
              </a:extLst>
            </p:cNvPr>
            <p:cNvSpPr/>
            <p:nvPr/>
          </p:nvSpPr>
          <p:spPr>
            <a:xfrm>
              <a:off x="3504967" y="3557271"/>
              <a:ext cx="0" cy="65265"/>
            </a:xfrm>
            <a:custGeom>
              <a:avLst/>
              <a:gdLst/>
              <a:ahLst/>
              <a:cxnLst/>
              <a:rect l="0" t="0" r="0" b="0"/>
              <a:pathLst>
                <a:path h="61602">
                  <a:moveTo>
                    <a:pt x="0" y="61602"/>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42" name="pl297">
              <a:extLst>
                <a:ext uri="{FF2B5EF4-FFF2-40B4-BE49-F238E27FC236}">
                  <a16:creationId xmlns:a16="http://schemas.microsoft.com/office/drawing/2014/main" id="{620A68C7-C45C-558A-0320-BF354FCD0643}"/>
                </a:ext>
              </a:extLst>
            </p:cNvPr>
            <p:cNvSpPr/>
            <p:nvPr/>
          </p:nvSpPr>
          <p:spPr>
            <a:xfrm>
              <a:off x="1647087" y="3878677"/>
              <a:ext cx="0" cy="17836"/>
            </a:xfrm>
            <a:custGeom>
              <a:avLst/>
              <a:gdLst/>
              <a:ahLst/>
              <a:cxnLst/>
              <a:rect l="0" t="0" r="0" b="0"/>
              <a:pathLst>
                <a:path h="16835">
                  <a:moveTo>
                    <a:pt x="0" y="16835"/>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43" name="pl298">
              <a:extLst>
                <a:ext uri="{FF2B5EF4-FFF2-40B4-BE49-F238E27FC236}">
                  <a16:creationId xmlns:a16="http://schemas.microsoft.com/office/drawing/2014/main" id="{D3AAF006-BBC0-1566-355E-97CF3AB2C2B7}"/>
                </a:ext>
              </a:extLst>
            </p:cNvPr>
            <p:cNvSpPr/>
            <p:nvPr/>
          </p:nvSpPr>
          <p:spPr>
            <a:xfrm>
              <a:off x="2472812" y="3774101"/>
              <a:ext cx="0" cy="55666"/>
            </a:xfrm>
            <a:custGeom>
              <a:avLst/>
              <a:gdLst/>
              <a:ahLst/>
              <a:cxnLst/>
              <a:rect l="0" t="0" r="0" b="0"/>
              <a:pathLst>
                <a:path h="52542">
                  <a:moveTo>
                    <a:pt x="0" y="52542"/>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44" name="pl299">
              <a:extLst>
                <a:ext uri="{FF2B5EF4-FFF2-40B4-BE49-F238E27FC236}">
                  <a16:creationId xmlns:a16="http://schemas.microsoft.com/office/drawing/2014/main" id="{7E25D451-4E71-4912-7DA3-DC83FFE07FEF}"/>
                </a:ext>
              </a:extLst>
            </p:cNvPr>
            <p:cNvSpPr/>
            <p:nvPr/>
          </p:nvSpPr>
          <p:spPr>
            <a:xfrm>
              <a:off x="3023295" y="3651136"/>
              <a:ext cx="0" cy="62301"/>
            </a:xfrm>
            <a:custGeom>
              <a:avLst/>
              <a:gdLst/>
              <a:ahLst/>
              <a:cxnLst/>
              <a:rect l="0" t="0" r="0" b="0"/>
              <a:pathLst>
                <a:path h="58804">
                  <a:moveTo>
                    <a:pt x="0" y="58804"/>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45" name="pl300">
              <a:extLst>
                <a:ext uri="{FF2B5EF4-FFF2-40B4-BE49-F238E27FC236}">
                  <a16:creationId xmlns:a16="http://schemas.microsoft.com/office/drawing/2014/main" id="{95E5B1E7-722D-E49C-811E-4B1AD8F62DF6}"/>
                </a:ext>
              </a:extLst>
            </p:cNvPr>
            <p:cNvSpPr/>
            <p:nvPr/>
          </p:nvSpPr>
          <p:spPr>
            <a:xfrm>
              <a:off x="2816863" y="3701181"/>
              <a:ext cx="0" cy="51032"/>
            </a:xfrm>
            <a:custGeom>
              <a:avLst/>
              <a:gdLst/>
              <a:ahLst/>
              <a:cxnLst/>
              <a:rect l="0" t="0" r="0" b="0"/>
              <a:pathLst>
                <a:path h="48168">
                  <a:moveTo>
                    <a:pt x="0" y="48168"/>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46" name="pl301">
              <a:extLst>
                <a:ext uri="{FF2B5EF4-FFF2-40B4-BE49-F238E27FC236}">
                  <a16:creationId xmlns:a16="http://schemas.microsoft.com/office/drawing/2014/main" id="{7D06978D-4415-2C07-6C9D-E5C0BD17CD3F}"/>
                </a:ext>
              </a:extLst>
            </p:cNvPr>
            <p:cNvSpPr/>
            <p:nvPr/>
          </p:nvSpPr>
          <p:spPr>
            <a:xfrm>
              <a:off x="2748053" y="3730037"/>
              <a:ext cx="0" cy="45697"/>
            </a:xfrm>
            <a:custGeom>
              <a:avLst/>
              <a:gdLst/>
              <a:ahLst/>
              <a:cxnLst/>
              <a:rect l="0" t="0" r="0" b="0"/>
              <a:pathLst>
                <a:path h="43132">
                  <a:moveTo>
                    <a:pt x="0" y="43132"/>
                  </a:moveTo>
                  <a:lnTo>
                    <a:pt x="0" y="0"/>
                  </a:lnTo>
                </a:path>
              </a:pathLst>
            </a:custGeom>
            <a:ln w="5420" cap="flat">
              <a:solidFill>
                <a:srgbClr val="2E2E2E">
                  <a:alpha val="100000"/>
                </a:srgbClr>
              </a:solidFill>
              <a:prstDash val="solid"/>
              <a:round/>
            </a:ln>
          </p:spPr>
          <p:txBody>
            <a:bodyPr/>
            <a:lstStyle/>
            <a:p>
              <a:pPr defTabSz="914400"/>
              <a:endParaRPr>
                <a:solidFill>
                  <a:srgbClr val="001965"/>
                </a:solidFill>
                <a:latin typeface="Avenir Next LT Pro"/>
              </a:endParaRPr>
            </a:p>
          </p:txBody>
        </p:sp>
        <p:sp>
          <p:nvSpPr>
            <p:cNvPr id="11347" name="pl302">
              <a:extLst>
                <a:ext uri="{FF2B5EF4-FFF2-40B4-BE49-F238E27FC236}">
                  <a16:creationId xmlns:a16="http://schemas.microsoft.com/office/drawing/2014/main" id="{90CA3739-F83A-A0B3-F7AB-F0B503C64AA7}"/>
                </a:ext>
              </a:extLst>
            </p:cNvPr>
            <p:cNvSpPr/>
            <p:nvPr/>
          </p:nvSpPr>
          <p:spPr>
            <a:xfrm>
              <a:off x="2197570" y="3732820"/>
              <a:ext cx="0" cy="42914"/>
            </a:xfrm>
            <a:custGeom>
              <a:avLst/>
              <a:gdLst/>
              <a:ahLst/>
              <a:cxnLst/>
              <a:rect l="0" t="0" r="0" b="0"/>
              <a:pathLst>
                <a:path h="40505">
                  <a:moveTo>
                    <a:pt x="0" y="40505"/>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48" name="pl303">
              <a:extLst>
                <a:ext uri="{FF2B5EF4-FFF2-40B4-BE49-F238E27FC236}">
                  <a16:creationId xmlns:a16="http://schemas.microsoft.com/office/drawing/2014/main" id="{3A00A090-F7C5-B112-93C4-C8637EBD0435}"/>
                </a:ext>
              </a:extLst>
            </p:cNvPr>
            <p:cNvSpPr/>
            <p:nvPr/>
          </p:nvSpPr>
          <p:spPr>
            <a:xfrm>
              <a:off x="1784708" y="3875195"/>
              <a:ext cx="0" cy="34486"/>
            </a:xfrm>
            <a:custGeom>
              <a:avLst/>
              <a:gdLst/>
              <a:ahLst/>
              <a:cxnLst/>
              <a:rect l="0" t="0" r="0" b="0"/>
              <a:pathLst>
                <a:path h="32550">
                  <a:moveTo>
                    <a:pt x="0" y="32550"/>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49" name="pl304">
              <a:extLst>
                <a:ext uri="{FF2B5EF4-FFF2-40B4-BE49-F238E27FC236}">
                  <a16:creationId xmlns:a16="http://schemas.microsoft.com/office/drawing/2014/main" id="{5A16BB53-759D-E897-430F-20DC6AFA28E5}"/>
                </a:ext>
              </a:extLst>
            </p:cNvPr>
            <p:cNvSpPr/>
            <p:nvPr/>
          </p:nvSpPr>
          <p:spPr>
            <a:xfrm>
              <a:off x="3436157" y="3528195"/>
              <a:ext cx="0" cy="33316"/>
            </a:xfrm>
            <a:custGeom>
              <a:avLst/>
              <a:gdLst/>
              <a:ahLst/>
              <a:cxnLst/>
              <a:rect l="0" t="0" r="0" b="0"/>
              <a:pathLst>
                <a:path h="31446">
                  <a:moveTo>
                    <a:pt x="0" y="31446"/>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50" name="pl305">
              <a:extLst>
                <a:ext uri="{FF2B5EF4-FFF2-40B4-BE49-F238E27FC236}">
                  <a16:creationId xmlns:a16="http://schemas.microsoft.com/office/drawing/2014/main" id="{853786D6-64ED-947A-894C-DA713F913E1C}"/>
                </a:ext>
              </a:extLst>
            </p:cNvPr>
            <p:cNvSpPr/>
            <p:nvPr/>
          </p:nvSpPr>
          <p:spPr>
            <a:xfrm>
              <a:off x="2335190" y="3693299"/>
              <a:ext cx="0" cy="35395"/>
            </a:xfrm>
            <a:custGeom>
              <a:avLst/>
              <a:gdLst/>
              <a:ahLst/>
              <a:cxnLst/>
              <a:rect l="0" t="0" r="0" b="0"/>
              <a:pathLst>
                <a:path h="33408">
                  <a:moveTo>
                    <a:pt x="0" y="33408"/>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51" name="pl306">
              <a:extLst>
                <a:ext uri="{FF2B5EF4-FFF2-40B4-BE49-F238E27FC236}">
                  <a16:creationId xmlns:a16="http://schemas.microsoft.com/office/drawing/2014/main" id="{F7A7A54C-4DF6-1A4F-E161-2908E649E54C}"/>
                </a:ext>
              </a:extLst>
            </p:cNvPr>
            <p:cNvSpPr/>
            <p:nvPr/>
          </p:nvSpPr>
          <p:spPr>
            <a:xfrm>
              <a:off x="2954484" y="3591681"/>
              <a:ext cx="0" cy="53739"/>
            </a:xfrm>
            <a:custGeom>
              <a:avLst/>
              <a:gdLst/>
              <a:ahLst/>
              <a:cxnLst/>
              <a:rect l="0" t="0" r="0" b="0"/>
              <a:pathLst>
                <a:path h="50723">
                  <a:moveTo>
                    <a:pt x="0" y="50723"/>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52" name="pl307">
              <a:extLst>
                <a:ext uri="{FF2B5EF4-FFF2-40B4-BE49-F238E27FC236}">
                  <a16:creationId xmlns:a16="http://schemas.microsoft.com/office/drawing/2014/main" id="{E0F26097-EBE9-8C4D-D3C4-371A608EB412}"/>
                </a:ext>
              </a:extLst>
            </p:cNvPr>
            <p:cNvSpPr/>
            <p:nvPr/>
          </p:nvSpPr>
          <p:spPr>
            <a:xfrm>
              <a:off x="3367346" y="3518285"/>
              <a:ext cx="0" cy="41318"/>
            </a:xfrm>
            <a:custGeom>
              <a:avLst/>
              <a:gdLst/>
              <a:ahLst/>
              <a:cxnLst/>
              <a:rect l="0" t="0" r="0" b="0"/>
              <a:pathLst>
                <a:path h="38999">
                  <a:moveTo>
                    <a:pt x="0" y="38999"/>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53" name="pl308">
              <a:extLst>
                <a:ext uri="{FF2B5EF4-FFF2-40B4-BE49-F238E27FC236}">
                  <a16:creationId xmlns:a16="http://schemas.microsoft.com/office/drawing/2014/main" id="{23DF2A5C-DA37-F586-5064-9274CF787292}"/>
                </a:ext>
              </a:extLst>
            </p:cNvPr>
            <p:cNvSpPr/>
            <p:nvPr/>
          </p:nvSpPr>
          <p:spPr>
            <a:xfrm>
              <a:off x="1371845" y="3900963"/>
              <a:ext cx="0" cy="0"/>
            </a:xfrm>
            <a:custGeom>
              <a:avLst/>
              <a:gdLst/>
              <a:ahLst/>
              <a:cxnLst/>
              <a:rect l="0" t="0" r="0" b="0"/>
              <a:pathLst>
                <a:path>
                  <a:moveTo>
                    <a:pt x="0" y="0"/>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54" name="pl309">
              <a:extLst>
                <a:ext uri="{FF2B5EF4-FFF2-40B4-BE49-F238E27FC236}">
                  <a16:creationId xmlns:a16="http://schemas.microsoft.com/office/drawing/2014/main" id="{82AF8950-09FE-EBB5-002A-BAD948FDADCD}"/>
                </a:ext>
              </a:extLst>
            </p:cNvPr>
            <p:cNvSpPr/>
            <p:nvPr/>
          </p:nvSpPr>
          <p:spPr>
            <a:xfrm>
              <a:off x="2885673" y="3575645"/>
              <a:ext cx="0" cy="74225"/>
            </a:xfrm>
            <a:custGeom>
              <a:avLst/>
              <a:gdLst/>
              <a:ahLst/>
              <a:cxnLst/>
              <a:rect l="0" t="0" r="0" b="0"/>
              <a:pathLst>
                <a:path h="70059">
                  <a:moveTo>
                    <a:pt x="0" y="70059"/>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55" name="pl310">
              <a:extLst>
                <a:ext uri="{FF2B5EF4-FFF2-40B4-BE49-F238E27FC236}">
                  <a16:creationId xmlns:a16="http://schemas.microsoft.com/office/drawing/2014/main" id="{388DD22B-53A2-566E-9E33-64E1516D80E6}"/>
                </a:ext>
              </a:extLst>
            </p:cNvPr>
            <p:cNvSpPr/>
            <p:nvPr/>
          </p:nvSpPr>
          <p:spPr>
            <a:xfrm>
              <a:off x="1922329" y="3864192"/>
              <a:ext cx="0" cy="23422"/>
            </a:xfrm>
            <a:custGeom>
              <a:avLst/>
              <a:gdLst/>
              <a:ahLst/>
              <a:cxnLst/>
              <a:rect l="0" t="0" r="0" b="0"/>
              <a:pathLst>
                <a:path h="22107">
                  <a:moveTo>
                    <a:pt x="0" y="22107"/>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56" name="pl311">
              <a:extLst>
                <a:ext uri="{FF2B5EF4-FFF2-40B4-BE49-F238E27FC236}">
                  <a16:creationId xmlns:a16="http://schemas.microsoft.com/office/drawing/2014/main" id="{421D1B69-4483-2F5F-43E5-631AC0A3F30B}"/>
                </a:ext>
              </a:extLst>
            </p:cNvPr>
            <p:cNvSpPr/>
            <p:nvPr/>
          </p:nvSpPr>
          <p:spPr>
            <a:xfrm>
              <a:off x="3298536" y="3526406"/>
              <a:ext cx="0" cy="34470"/>
            </a:xfrm>
            <a:custGeom>
              <a:avLst/>
              <a:gdLst/>
              <a:ahLst/>
              <a:cxnLst/>
              <a:rect l="0" t="0" r="0" b="0"/>
              <a:pathLst>
                <a:path h="32535">
                  <a:moveTo>
                    <a:pt x="0" y="32535"/>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57" name="pl312">
              <a:extLst>
                <a:ext uri="{FF2B5EF4-FFF2-40B4-BE49-F238E27FC236}">
                  <a16:creationId xmlns:a16="http://schemas.microsoft.com/office/drawing/2014/main" id="{DB3C22E4-C845-E639-36F2-455DDF04AEA8}"/>
                </a:ext>
              </a:extLst>
            </p:cNvPr>
            <p:cNvSpPr/>
            <p:nvPr/>
          </p:nvSpPr>
          <p:spPr>
            <a:xfrm>
              <a:off x="1578276" y="3847901"/>
              <a:ext cx="0" cy="30177"/>
            </a:xfrm>
            <a:custGeom>
              <a:avLst/>
              <a:gdLst/>
              <a:ahLst/>
              <a:cxnLst/>
              <a:rect l="0" t="0" r="0" b="0"/>
              <a:pathLst>
                <a:path h="28483">
                  <a:moveTo>
                    <a:pt x="0" y="28483"/>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58" name="pl313">
              <a:extLst>
                <a:ext uri="{FF2B5EF4-FFF2-40B4-BE49-F238E27FC236}">
                  <a16:creationId xmlns:a16="http://schemas.microsoft.com/office/drawing/2014/main" id="{27104C85-1FD0-5256-747B-BF8F941D2EE3}"/>
                </a:ext>
              </a:extLst>
            </p:cNvPr>
            <p:cNvSpPr/>
            <p:nvPr/>
          </p:nvSpPr>
          <p:spPr>
            <a:xfrm>
              <a:off x="1991139" y="3750943"/>
              <a:ext cx="0" cy="30511"/>
            </a:xfrm>
            <a:custGeom>
              <a:avLst/>
              <a:gdLst/>
              <a:ahLst/>
              <a:cxnLst/>
              <a:rect l="0" t="0" r="0" b="0"/>
              <a:pathLst>
                <a:path h="28799">
                  <a:moveTo>
                    <a:pt x="0" y="28799"/>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59" name="pl314">
              <a:extLst>
                <a:ext uri="{FF2B5EF4-FFF2-40B4-BE49-F238E27FC236}">
                  <a16:creationId xmlns:a16="http://schemas.microsoft.com/office/drawing/2014/main" id="{EB9F1EBC-44FF-8AC7-50A0-2C39F37F8959}"/>
                </a:ext>
              </a:extLst>
            </p:cNvPr>
            <p:cNvSpPr/>
            <p:nvPr/>
          </p:nvSpPr>
          <p:spPr>
            <a:xfrm>
              <a:off x="1440656" y="3866077"/>
              <a:ext cx="0" cy="13908"/>
            </a:xfrm>
            <a:custGeom>
              <a:avLst/>
              <a:gdLst/>
              <a:ahLst/>
              <a:cxnLst/>
              <a:rect l="0" t="0" r="0" b="0"/>
              <a:pathLst>
                <a:path h="13127">
                  <a:moveTo>
                    <a:pt x="0" y="13127"/>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60" name="pl315">
              <a:extLst>
                <a:ext uri="{FF2B5EF4-FFF2-40B4-BE49-F238E27FC236}">
                  <a16:creationId xmlns:a16="http://schemas.microsoft.com/office/drawing/2014/main" id="{398BD917-94DB-73FF-EEB0-426F6AB2FD40}"/>
                </a:ext>
              </a:extLst>
            </p:cNvPr>
            <p:cNvSpPr/>
            <p:nvPr/>
          </p:nvSpPr>
          <p:spPr>
            <a:xfrm>
              <a:off x="1509466" y="3828665"/>
              <a:ext cx="0" cy="27799"/>
            </a:xfrm>
            <a:custGeom>
              <a:avLst/>
              <a:gdLst/>
              <a:ahLst/>
              <a:cxnLst/>
              <a:rect l="0" t="0" r="0" b="0"/>
              <a:pathLst>
                <a:path h="26239">
                  <a:moveTo>
                    <a:pt x="0" y="26239"/>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61" name="pl316">
              <a:extLst>
                <a:ext uri="{FF2B5EF4-FFF2-40B4-BE49-F238E27FC236}">
                  <a16:creationId xmlns:a16="http://schemas.microsoft.com/office/drawing/2014/main" id="{6235E33A-E6CA-03DE-6280-164784CEB409}"/>
                </a:ext>
              </a:extLst>
            </p:cNvPr>
            <p:cNvSpPr/>
            <p:nvPr/>
          </p:nvSpPr>
          <p:spPr>
            <a:xfrm>
              <a:off x="2541622" y="3648453"/>
              <a:ext cx="0" cy="40830"/>
            </a:xfrm>
            <a:custGeom>
              <a:avLst/>
              <a:gdLst/>
              <a:ahLst/>
              <a:cxnLst/>
              <a:rect l="0" t="0" r="0" b="0"/>
              <a:pathLst>
                <a:path h="38538">
                  <a:moveTo>
                    <a:pt x="0" y="38538"/>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62" name="pl317">
              <a:extLst>
                <a:ext uri="{FF2B5EF4-FFF2-40B4-BE49-F238E27FC236}">
                  <a16:creationId xmlns:a16="http://schemas.microsoft.com/office/drawing/2014/main" id="{3ED44CF4-E43E-09F9-356A-2B5D6AF7D844}"/>
                </a:ext>
              </a:extLst>
            </p:cNvPr>
            <p:cNvSpPr/>
            <p:nvPr/>
          </p:nvSpPr>
          <p:spPr>
            <a:xfrm>
              <a:off x="1715897" y="3880686"/>
              <a:ext cx="0" cy="28540"/>
            </a:xfrm>
            <a:custGeom>
              <a:avLst/>
              <a:gdLst/>
              <a:ahLst/>
              <a:cxnLst/>
              <a:rect l="0" t="0" r="0" b="0"/>
              <a:pathLst>
                <a:path h="26938">
                  <a:moveTo>
                    <a:pt x="0" y="26938"/>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63" name="pl318">
              <a:extLst>
                <a:ext uri="{FF2B5EF4-FFF2-40B4-BE49-F238E27FC236}">
                  <a16:creationId xmlns:a16="http://schemas.microsoft.com/office/drawing/2014/main" id="{28960ED1-EA74-67DA-4E43-92C76B5F0F06}"/>
                </a:ext>
              </a:extLst>
            </p:cNvPr>
            <p:cNvSpPr/>
            <p:nvPr/>
          </p:nvSpPr>
          <p:spPr>
            <a:xfrm>
              <a:off x="3160916" y="3548216"/>
              <a:ext cx="0" cy="36814"/>
            </a:xfrm>
            <a:custGeom>
              <a:avLst/>
              <a:gdLst/>
              <a:ahLst/>
              <a:cxnLst/>
              <a:rect l="0" t="0" r="0" b="0"/>
              <a:pathLst>
                <a:path h="34748">
                  <a:moveTo>
                    <a:pt x="0" y="34748"/>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64" name="pl319">
              <a:extLst>
                <a:ext uri="{FF2B5EF4-FFF2-40B4-BE49-F238E27FC236}">
                  <a16:creationId xmlns:a16="http://schemas.microsoft.com/office/drawing/2014/main" id="{1E7EC27F-3056-2922-54CC-6FAF85A239B4}"/>
                </a:ext>
              </a:extLst>
            </p:cNvPr>
            <p:cNvSpPr/>
            <p:nvPr/>
          </p:nvSpPr>
          <p:spPr>
            <a:xfrm>
              <a:off x="2679243" y="3623328"/>
              <a:ext cx="0" cy="43069"/>
            </a:xfrm>
            <a:custGeom>
              <a:avLst/>
              <a:gdLst/>
              <a:ahLst/>
              <a:cxnLst/>
              <a:rect l="0" t="0" r="0" b="0"/>
              <a:pathLst>
                <a:path h="40652">
                  <a:moveTo>
                    <a:pt x="0" y="40652"/>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65" name="pl320">
              <a:extLst>
                <a:ext uri="{FF2B5EF4-FFF2-40B4-BE49-F238E27FC236}">
                  <a16:creationId xmlns:a16="http://schemas.microsoft.com/office/drawing/2014/main" id="{ABBB247C-01C1-35F2-F372-1F8859289F61}"/>
                </a:ext>
              </a:extLst>
            </p:cNvPr>
            <p:cNvSpPr/>
            <p:nvPr/>
          </p:nvSpPr>
          <p:spPr>
            <a:xfrm>
              <a:off x="2266380" y="3715393"/>
              <a:ext cx="0" cy="29194"/>
            </a:xfrm>
            <a:custGeom>
              <a:avLst/>
              <a:gdLst/>
              <a:ahLst/>
              <a:cxnLst/>
              <a:rect l="0" t="0" r="0" b="0"/>
              <a:pathLst>
                <a:path h="27555">
                  <a:moveTo>
                    <a:pt x="0" y="27555"/>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66" name="pl321">
              <a:extLst>
                <a:ext uri="{FF2B5EF4-FFF2-40B4-BE49-F238E27FC236}">
                  <a16:creationId xmlns:a16="http://schemas.microsoft.com/office/drawing/2014/main" id="{64549282-7AA1-A00A-73B5-0FF743CAF8FE}"/>
                </a:ext>
              </a:extLst>
            </p:cNvPr>
            <p:cNvSpPr/>
            <p:nvPr/>
          </p:nvSpPr>
          <p:spPr>
            <a:xfrm>
              <a:off x="2059949" y="3758515"/>
              <a:ext cx="0" cy="33110"/>
            </a:xfrm>
            <a:custGeom>
              <a:avLst/>
              <a:gdLst/>
              <a:ahLst/>
              <a:cxnLst/>
              <a:rect l="0" t="0" r="0" b="0"/>
              <a:pathLst>
                <a:path h="31252">
                  <a:moveTo>
                    <a:pt x="0" y="31252"/>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67" name="pl322">
              <a:extLst>
                <a:ext uri="{FF2B5EF4-FFF2-40B4-BE49-F238E27FC236}">
                  <a16:creationId xmlns:a16="http://schemas.microsoft.com/office/drawing/2014/main" id="{8FF770B7-FD3F-FA8F-64C8-40A54114E99E}"/>
                </a:ext>
              </a:extLst>
            </p:cNvPr>
            <p:cNvSpPr/>
            <p:nvPr/>
          </p:nvSpPr>
          <p:spPr>
            <a:xfrm>
              <a:off x="3092105" y="3575124"/>
              <a:ext cx="0" cy="44869"/>
            </a:xfrm>
            <a:custGeom>
              <a:avLst/>
              <a:gdLst/>
              <a:ahLst/>
              <a:cxnLst/>
              <a:rect l="0" t="0" r="0" b="0"/>
              <a:pathLst>
                <a:path h="42351">
                  <a:moveTo>
                    <a:pt x="0" y="42351"/>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68" name="pl323">
              <a:extLst>
                <a:ext uri="{FF2B5EF4-FFF2-40B4-BE49-F238E27FC236}">
                  <a16:creationId xmlns:a16="http://schemas.microsoft.com/office/drawing/2014/main" id="{F7F29256-13AA-47FD-E39F-50FF33D4ADA7}"/>
                </a:ext>
              </a:extLst>
            </p:cNvPr>
            <p:cNvSpPr/>
            <p:nvPr/>
          </p:nvSpPr>
          <p:spPr>
            <a:xfrm>
              <a:off x="2404002" y="3694491"/>
              <a:ext cx="0" cy="30390"/>
            </a:xfrm>
            <a:custGeom>
              <a:avLst/>
              <a:gdLst/>
              <a:ahLst/>
              <a:cxnLst/>
              <a:rect l="0" t="0" r="0" b="0"/>
              <a:pathLst>
                <a:path h="28684">
                  <a:moveTo>
                    <a:pt x="0" y="28684"/>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69" name="pl324">
              <a:extLst>
                <a:ext uri="{FF2B5EF4-FFF2-40B4-BE49-F238E27FC236}">
                  <a16:creationId xmlns:a16="http://schemas.microsoft.com/office/drawing/2014/main" id="{FB819837-4B37-7B74-861B-0852E9472957}"/>
                </a:ext>
              </a:extLst>
            </p:cNvPr>
            <p:cNvSpPr/>
            <p:nvPr/>
          </p:nvSpPr>
          <p:spPr>
            <a:xfrm>
              <a:off x="1853518" y="3835156"/>
              <a:ext cx="0" cy="33388"/>
            </a:xfrm>
            <a:custGeom>
              <a:avLst/>
              <a:gdLst/>
              <a:ahLst/>
              <a:cxnLst/>
              <a:rect l="0" t="0" r="0" b="0"/>
              <a:pathLst>
                <a:path h="31514">
                  <a:moveTo>
                    <a:pt x="0" y="31514"/>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70" name="pl325">
              <a:extLst>
                <a:ext uri="{FF2B5EF4-FFF2-40B4-BE49-F238E27FC236}">
                  <a16:creationId xmlns:a16="http://schemas.microsoft.com/office/drawing/2014/main" id="{DD10A669-A355-C0B2-814F-05CEE6C3382A}"/>
                </a:ext>
              </a:extLst>
            </p:cNvPr>
            <p:cNvSpPr/>
            <p:nvPr/>
          </p:nvSpPr>
          <p:spPr>
            <a:xfrm>
              <a:off x="3229726" y="3519946"/>
              <a:ext cx="0" cy="46015"/>
            </a:xfrm>
            <a:custGeom>
              <a:avLst/>
              <a:gdLst/>
              <a:ahLst/>
              <a:cxnLst/>
              <a:rect l="0" t="0" r="0" b="0"/>
              <a:pathLst>
                <a:path h="43432">
                  <a:moveTo>
                    <a:pt x="0" y="43432"/>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71" name="pl326">
              <a:extLst>
                <a:ext uri="{FF2B5EF4-FFF2-40B4-BE49-F238E27FC236}">
                  <a16:creationId xmlns:a16="http://schemas.microsoft.com/office/drawing/2014/main" id="{AA9E1F96-48CB-0439-3B2E-73175B34A7E1}"/>
                </a:ext>
              </a:extLst>
            </p:cNvPr>
            <p:cNvSpPr/>
            <p:nvPr/>
          </p:nvSpPr>
          <p:spPr>
            <a:xfrm>
              <a:off x="2128759" y="3722376"/>
              <a:ext cx="0" cy="23482"/>
            </a:xfrm>
            <a:custGeom>
              <a:avLst/>
              <a:gdLst/>
              <a:ahLst/>
              <a:cxnLst/>
              <a:rect l="0" t="0" r="0" b="0"/>
              <a:pathLst>
                <a:path h="22164">
                  <a:moveTo>
                    <a:pt x="0" y="22164"/>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72" name="pl327">
              <a:extLst>
                <a:ext uri="{FF2B5EF4-FFF2-40B4-BE49-F238E27FC236}">
                  <a16:creationId xmlns:a16="http://schemas.microsoft.com/office/drawing/2014/main" id="{DCBFC471-4C66-7AB5-D7D0-6D528BF545E8}"/>
                </a:ext>
              </a:extLst>
            </p:cNvPr>
            <p:cNvSpPr/>
            <p:nvPr/>
          </p:nvSpPr>
          <p:spPr>
            <a:xfrm>
              <a:off x="2610432" y="3611862"/>
              <a:ext cx="0" cy="50722"/>
            </a:xfrm>
            <a:custGeom>
              <a:avLst/>
              <a:gdLst/>
              <a:ahLst/>
              <a:cxnLst/>
              <a:rect l="0" t="0" r="0" b="0"/>
              <a:pathLst>
                <a:path h="47875">
                  <a:moveTo>
                    <a:pt x="0" y="47875"/>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73" name="pl328">
              <a:extLst>
                <a:ext uri="{FF2B5EF4-FFF2-40B4-BE49-F238E27FC236}">
                  <a16:creationId xmlns:a16="http://schemas.microsoft.com/office/drawing/2014/main" id="{DBE96594-183D-D8DB-99C5-B964D9207657}"/>
                </a:ext>
              </a:extLst>
            </p:cNvPr>
            <p:cNvSpPr/>
            <p:nvPr/>
          </p:nvSpPr>
          <p:spPr>
            <a:xfrm>
              <a:off x="3504967" y="3470320"/>
              <a:ext cx="0" cy="37159"/>
            </a:xfrm>
            <a:custGeom>
              <a:avLst/>
              <a:gdLst/>
              <a:ahLst/>
              <a:cxnLst/>
              <a:rect l="0" t="0" r="0" b="0"/>
              <a:pathLst>
                <a:path h="35073">
                  <a:moveTo>
                    <a:pt x="0" y="35073"/>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74" name="pl329">
              <a:extLst>
                <a:ext uri="{FF2B5EF4-FFF2-40B4-BE49-F238E27FC236}">
                  <a16:creationId xmlns:a16="http://schemas.microsoft.com/office/drawing/2014/main" id="{79B7DCE8-A8B7-551C-961F-018E64495392}"/>
                </a:ext>
              </a:extLst>
            </p:cNvPr>
            <p:cNvSpPr/>
            <p:nvPr/>
          </p:nvSpPr>
          <p:spPr>
            <a:xfrm>
              <a:off x="1647087" y="3885460"/>
              <a:ext cx="0" cy="26310"/>
            </a:xfrm>
            <a:custGeom>
              <a:avLst/>
              <a:gdLst/>
              <a:ahLst/>
              <a:cxnLst/>
              <a:rect l="0" t="0" r="0" b="0"/>
              <a:pathLst>
                <a:path h="24833">
                  <a:moveTo>
                    <a:pt x="0" y="24833"/>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75" name="pl330">
              <a:extLst>
                <a:ext uri="{FF2B5EF4-FFF2-40B4-BE49-F238E27FC236}">
                  <a16:creationId xmlns:a16="http://schemas.microsoft.com/office/drawing/2014/main" id="{B7AF8ED5-2B1D-A3F7-0654-81000336333C}"/>
                </a:ext>
              </a:extLst>
            </p:cNvPr>
            <p:cNvSpPr/>
            <p:nvPr/>
          </p:nvSpPr>
          <p:spPr>
            <a:xfrm>
              <a:off x="2472812" y="3655522"/>
              <a:ext cx="0" cy="34397"/>
            </a:xfrm>
            <a:custGeom>
              <a:avLst/>
              <a:gdLst/>
              <a:ahLst/>
              <a:cxnLst/>
              <a:rect l="0" t="0" r="0" b="0"/>
              <a:pathLst>
                <a:path h="32466">
                  <a:moveTo>
                    <a:pt x="0" y="32466"/>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76" name="pl331">
              <a:extLst>
                <a:ext uri="{FF2B5EF4-FFF2-40B4-BE49-F238E27FC236}">
                  <a16:creationId xmlns:a16="http://schemas.microsoft.com/office/drawing/2014/main" id="{7C3827AD-2041-023B-8022-22FBDE57E4E6}"/>
                </a:ext>
              </a:extLst>
            </p:cNvPr>
            <p:cNvSpPr/>
            <p:nvPr/>
          </p:nvSpPr>
          <p:spPr>
            <a:xfrm>
              <a:off x="3023295" y="3563703"/>
              <a:ext cx="0" cy="42941"/>
            </a:xfrm>
            <a:custGeom>
              <a:avLst/>
              <a:gdLst/>
              <a:ahLst/>
              <a:cxnLst/>
              <a:rect l="0" t="0" r="0" b="0"/>
              <a:pathLst>
                <a:path h="40531">
                  <a:moveTo>
                    <a:pt x="0" y="40531"/>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77" name="pl332">
              <a:extLst>
                <a:ext uri="{FF2B5EF4-FFF2-40B4-BE49-F238E27FC236}">
                  <a16:creationId xmlns:a16="http://schemas.microsoft.com/office/drawing/2014/main" id="{7111BB5B-5421-F0FD-20B5-CD5B1C4206CE}"/>
                </a:ext>
              </a:extLst>
            </p:cNvPr>
            <p:cNvSpPr/>
            <p:nvPr/>
          </p:nvSpPr>
          <p:spPr>
            <a:xfrm>
              <a:off x="2816863" y="3590581"/>
              <a:ext cx="0" cy="48483"/>
            </a:xfrm>
            <a:custGeom>
              <a:avLst/>
              <a:gdLst/>
              <a:ahLst/>
              <a:cxnLst/>
              <a:rect l="0" t="0" r="0" b="0"/>
              <a:pathLst>
                <a:path h="45762">
                  <a:moveTo>
                    <a:pt x="0" y="45762"/>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78" name="pl333">
              <a:extLst>
                <a:ext uri="{FF2B5EF4-FFF2-40B4-BE49-F238E27FC236}">
                  <a16:creationId xmlns:a16="http://schemas.microsoft.com/office/drawing/2014/main" id="{0A05B01E-8B81-E3DD-84D9-AC2F23AB747E}"/>
                </a:ext>
              </a:extLst>
            </p:cNvPr>
            <p:cNvSpPr/>
            <p:nvPr/>
          </p:nvSpPr>
          <p:spPr>
            <a:xfrm>
              <a:off x="2748053" y="3597818"/>
              <a:ext cx="0" cy="50780"/>
            </a:xfrm>
            <a:custGeom>
              <a:avLst/>
              <a:gdLst/>
              <a:ahLst/>
              <a:cxnLst/>
              <a:rect l="0" t="0" r="0" b="0"/>
              <a:pathLst>
                <a:path h="47930">
                  <a:moveTo>
                    <a:pt x="0" y="47930"/>
                  </a:moveTo>
                  <a:lnTo>
                    <a:pt x="0" y="0"/>
                  </a:lnTo>
                </a:path>
              </a:pathLst>
            </a:custGeom>
            <a:ln w="5420" cap="flat">
              <a:solidFill>
                <a:srgbClr val="00DF86">
                  <a:alpha val="100000"/>
                </a:srgbClr>
              </a:solidFill>
              <a:prstDash val="solid"/>
              <a:round/>
            </a:ln>
          </p:spPr>
          <p:txBody>
            <a:bodyPr/>
            <a:lstStyle/>
            <a:p>
              <a:pPr defTabSz="914400"/>
              <a:endParaRPr>
                <a:solidFill>
                  <a:srgbClr val="001965"/>
                </a:solidFill>
                <a:latin typeface="Avenir Next LT Pro"/>
              </a:endParaRPr>
            </a:p>
          </p:txBody>
        </p:sp>
        <p:sp>
          <p:nvSpPr>
            <p:cNvPr id="11379" name="pl334">
              <a:extLst>
                <a:ext uri="{FF2B5EF4-FFF2-40B4-BE49-F238E27FC236}">
                  <a16:creationId xmlns:a16="http://schemas.microsoft.com/office/drawing/2014/main" id="{030C5F60-5EB7-DC67-5A9C-C0E038D7F88D}"/>
                </a:ext>
              </a:extLst>
            </p:cNvPr>
            <p:cNvSpPr/>
            <p:nvPr/>
          </p:nvSpPr>
          <p:spPr>
            <a:xfrm>
              <a:off x="2197570" y="4216452"/>
              <a:ext cx="0" cy="33498"/>
            </a:xfrm>
            <a:custGeom>
              <a:avLst/>
              <a:gdLst/>
              <a:ahLst/>
              <a:cxnLst/>
              <a:rect l="0" t="0" r="0" b="0"/>
              <a:pathLst>
                <a:path h="31618">
                  <a:moveTo>
                    <a:pt x="0" y="31618"/>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380" name="pl335">
              <a:extLst>
                <a:ext uri="{FF2B5EF4-FFF2-40B4-BE49-F238E27FC236}">
                  <a16:creationId xmlns:a16="http://schemas.microsoft.com/office/drawing/2014/main" id="{F29BDF92-7DA9-77D4-4F36-422AA979A0B7}"/>
                </a:ext>
              </a:extLst>
            </p:cNvPr>
            <p:cNvSpPr/>
            <p:nvPr/>
          </p:nvSpPr>
          <p:spPr>
            <a:xfrm>
              <a:off x="1784708" y="4240430"/>
              <a:ext cx="0" cy="24141"/>
            </a:xfrm>
            <a:custGeom>
              <a:avLst/>
              <a:gdLst/>
              <a:ahLst/>
              <a:cxnLst/>
              <a:rect l="0" t="0" r="0" b="0"/>
              <a:pathLst>
                <a:path h="22786">
                  <a:moveTo>
                    <a:pt x="0" y="22786"/>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381" name="pl336">
              <a:extLst>
                <a:ext uri="{FF2B5EF4-FFF2-40B4-BE49-F238E27FC236}">
                  <a16:creationId xmlns:a16="http://schemas.microsoft.com/office/drawing/2014/main" id="{FAB525F3-D96E-E134-E29C-B289C3C5ADE5}"/>
                </a:ext>
              </a:extLst>
            </p:cNvPr>
            <p:cNvSpPr/>
            <p:nvPr/>
          </p:nvSpPr>
          <p:spPr>
            <a:xfrm>
              <a:off x="3436157" y="4074258"/>
              <a:ext cx="0" cy="46015"/>
            </a:xfrm>
            <a:custGeom>
              <a:avLst/>
              <a:gdLst/>
              <a:ahLst/>
              <a:cxnLst/>
              <a:rect l="0" t="0" r="0" b="0"/>
              <a:pathLst>
                <a:path h="43432">
                  <a:moveTo>
                    <a:pt x="0" y="43432"/>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382" name="pl337">
              <a:extLst>
                <a:ext uri="{FF2B5EF4-FFF2-40B4-BE49-F238E27FC236}">
                  <a16:creationId xmlns:a16="http://schemas.microsoft.com/office/drawing/2014/main" id="{4391899F-D34E-864B-4DDE-46D0BE8F4FC9}"/>
                </a:ext>
              </a:extLst>
            </p:cNvPr>
            <p:cNvSpPr/>
            <p:nvPr/>
          </p:nvSpPr>
          <p:spPr>
            <a:xfrm>
              <a:off x="2335190" y="4167243"/>
              <a:ext cx="0" cy="44566"/>
            </a:xfrm>
            <a:custGeom>
              <a:avLst/>
              <a:gdLst/>
              <a:ahLst/>
              <a:cxnLst/>
              <a:rect l="0" t="0" r="0" b="0"/>
              <a:pathLst>
                <a:path h="42065">
                  <a:moveTo>
                    <a:pt x="0" y="42065"/>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383" name="pl338">
              <a:extLst>
                <a:ext uri="{FF2B5EF4-FFF2-40B4-BE49-F238E27FC236}">
                  <a16:creationId xmlns:a16="http://schemas.microsoft.com/office/drawing/2014/main" id="{F6147238-6B9C-6C54-4B6C-6269DA7A52A8}"/>
                </a:ext>
              </a:extLst>
            </p:cNvPr>
            <p:cNvSpPr/>
            <p:nvPr/>
          </p:nvSpPr>
          <p:spPr>
            <a:xfrm>
              <a:off x="2954484" y="4091966"/>
              <a:ext cx="0" cy="35298"/>
            </a:xfrm>
            <a:custGeom>
              <a:avLst/>
              <a:gdLst/>
              <a:ahLst/>
              <a:cxnLst/>
              <a:rect l="0" t="0" r="0" b="0"/>
              <a:pathLst>
                <a:path h="33317">
                  <a:moveTo>
                    <a:pt x="0" y="33317"/>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384" name="pl339">
              <a:extLst>
                <a:ext uri="{FF2B5EF4-FFF2-40B4-BE49-F238E27FC236}">
                  <a16:creationId xmlns:a16="http://schemas.microsoft.com/office/drawing/2014/main" id="{320AA373-B472-1BAB-6698-EDFCC2D2E647}"/>
                </a:ext>
              </a:extLst>
            </p:cNvPr>
            <p:cNvSpPr/>
            <p:nvPr/>
          </p:nvSpPr>
          <p:spPr>
            <a:xfrm>
              <a:off x="3367346" y="4086340"/>
              <a:ext cx="0" cy="42195"/>
            </a:xfrm>
            <a:custGeom>
              <a:avLst/>
              <a:gdLst/>
              <a:ahLst/>
              <a:cxnLst/>
              <a:rect l="0" t="0" r="0" b="0"/>
              <a:pathLst>
                <a:path h="39827">
                  <a:moveTo>
                    <a:pt x="0" y="39827"/>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385" name="pl340">
              <a:extLst>
                <a:ext uri="{FF2B5EF4-FFF2-40B4-BE49-F238E27FC236}">
                  <a16:creationId xmlns:a16="http://schemas.microsoft.com/office/drawing/2014/main" id="{7F7B5389-C231-5819-264C-E219104E6940}"/>
                </a:ext>
              </a:extLst>
            </p:cNvPr>
            <p:cNvSpPr/>
            <p:nvPr/>
          </p:nvSpPr>
          <p:spPr>
            <a:xfrm>
              <a:off x="1371845" y="3900963"/>
              <a:ext cx="0" cy="0"/>
            </a:xfrm>
            <a:custGeom>
              <a:avLst/>
              <a:gdLst/>
              <a:ahLst/>
              <a:cxnLst/>
              <a:rect l="0" t="0" r="0" b="0"/>
              <a:pathLst>
                <a:path>
                  <a:moveTo>
                    <a:pt x="0" y="0"/>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386" name="pl341">
              <a:extLst>
                <a:ext uri="{FF2B5EF4-FFF2-40B4-BE49-F238E27FC236}">
                  <a16:creationId xmlns:a16="http://schemas.microsoft.com/office/drawing/2014/main" id="{C729CB6A-6809-2A66-28DB-D6DB9353E8DB}"/>
                </a:ext>
              </a:extLst>
            </p:cNvPr>
            <p:cNvSpPr/>
            <p:nvPr/>
          </p:nvSpPr>
          <p:spPr>
            <a:xfrm>
              <a:off x="2885673" y="4117289"/>
              <a:ext cx="0" cy="37946"/>
            </a:xfrm>
            <a:custGeom>
              <a:avLst/>
              <a:gdLst/>
              <a:ahLst/>
              <a:cxnLst/>
              <a:rect l="0" t="0" r="0" b="0"/>
              <a:pathLst>
                <a:path h="35816">
                  <a:moveTo>
                    <a:pt x="0" y="35816"/>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387" name="pl342">
              <a:extLst>
                <a:ext uri="{FF2B5EF4-FFF2-40B4-BE49-F238E27FC236}">
                  <a16:creationId xmlns:a16="http://schemas.microsoft.com/office/drawing/2014/main" id="{B155FFC0-4481-F26D-AA7E-ADCA86ABAC0E}"/>
                </a:ext>
              </a:extLst>
            </p:cNvPr>
            <p:cNvSpPr/>
            <p:nvPr/>
          </p:nvSpPr>
          <p:spPr>
            <a:xfrm>
              <a:off x="1922329" y="4223584"/>
              <a:ext cx="0" cy="40352"/>
            </a:xfrm>
            <a:custGeom>
              <a:avLst/>
              <a:gdLst/>
              <a:ahLst/>
              <a:cxnLst/>
              <a:rect l="0" t="0" r="0" b="0"/>
              <a:pathLst>
                <a:path h="38087">
                  <a:moveTo>
                    <a:pt x="0" y="38087"/>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388" name="pl343">
              <a:extLst>
                <a:ext uri="{FF2B5EF4-FFF2-40B4-BE49-F238E27FC236}">
                  <a16:creationId xmlns:a16="http://schemas.microsoft.com/office/drawing/2014/main" id="{5DF2C386-8535-754F-F472-A17800144EC4}"/>
                </a:ext>
              </a:extLst>
            </p:cNvPr>
            <p:cNvSpPr/>
            <p:nvPr/>
          </p:nvSpPr>
          <p:spPr>
            <a:xfrm>
              <a:off x="3298536" y="4079607"/>
              <a:ext cx="0" cy="47022"/>
            </a:xfrm>
            <a:custGeom>
              <a:avLst/>
              <a:gdLst/>
              <a:ahLst/>
              <a:cxnLst/>
              <a:rect l="0" t="0" r="0" b="0"/>
              <a:pathLst>
                <a:path h="44383">
                  <a:moveTo>
                    <a:pt x="0" y="44383"/>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389" name="pl344">
              <a:extLst>
                <a:ext uri="{FF2B5EF4-FFF2-40B4-BE49-F238E27FC236}">
                  <a16:creationId xmlns:a16="http://schemas.microsoft.com/office/drawing/2014/main" id="{F4AB63CB-B6A4-E369-6FF2-E8FF839A1BD1}"/>
                </a:ext>
              </a:extLst>
            </p:cNvPr>
            <p:cNvSpPr/>
            <p:nvPr/>
          </p:nvSpPr>
          <p:spPr>
            <a:xfrm>
              <a:off x="1578276" y="4151430"/>
              <a:ext cx="0" cy="23509"/>
            </a:xfrm>
            <a:custGeom>
              <a:avLst/>
              <a:gdLst/>
              <a:ahLst/>
              <a:cxnLst/>
              <a:rect l="0" t="0" r="0" b="0"/>
              <a:pathLst>
                <a:path h="22190">
                  <a:moveTo>
                    <a:pt x="0" y="22190"/>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390" name="pl345">
              <a:extLst>
                <a:ext uri="{FF2B5EF4-FFF2-40B4-BE49-F238E27FC236}">
                  <a16:creationId xmlns:a16="http://schemas.microsoft.com/office/drawing/2014/main" id="{347CFDAA-62A1-90BD-B21F-84345C0E3570}"/>
                </a:ext>
              </a:extLst>
            </p:cNvPr>
            <p:cNvSpPr/>
            <p:nvPr/>
          </p:nvSpPr>
          <p:spPr>
            <a:xfrm>
              <a:off x="1991139" y="4218335"/>
              <a:ext cx="0" cy="30344"/>
            </a:xfrm>
            <a:custGeom>
              <a:avLst/>
              <a:gdLst/>
              <a:ahLst/>
              <a:cxnLst/>
              <a:rect l="0" t="0" r="0" b="0"/>
              <a:pathLst>
                <a:path h="28641">
                  <a:moveTo>
                    <a:pt x="0" y="28641"/>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391" name="pl346">
              <a:extLst>
                <a:ext uri="{FF2B5EF4-FFF2-40B4-BE49-F238E27FC236}">
                  <a16:creationId xmlns:a16="http://schemas.microsoft.com/office/drawing/2014/main" id="{AE26BEAD-DFB9-A8F3-A5AA-3B12E77B4572}"/>
                </a:ext>
              </a:extLst>
            </p:cNvPr>
            <p:cNvSpPr/>
            <p:nvPr/>
          </p:nvSpPr>
          <p:spPr>
            <a:xfrm>
              <a:off x="1440656" y="4073483"/>
              <a:ext cx="0" cy="18184"/>
            </a:xfrm>
            <a:custGeom>
              <a:avLst/>
              <a:gdLst/>
              <a:ahLst/>
              <a:cxnLst/>
              <a:rect l="0" t="0" r="0" b="0"/>
              <a:pathLst>
                <a:path h="17163">
                  <a:moveTo>
                    <a:pt x="0" y="17163"/>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392" name="pl347">
              <a:extLst>
                <a:ext uri="{FF2B5EF4-FFF2-40B4-BE49-F238E27FC236}">
                  <a16:creationId xmlns:a16="http://schemas.microsoft.com/office/drawing/2014/main" id="{E29A7611-8AA8-9CA1-F652-DA3910D89AF8}"/>
                </a:ext>
              </a:extLst>
            </p:cNvPr>
            <p:cNvSpPr/>
            <p:nvPr/>
          </p:nvSpPr>
          <p:spPr>
            <a:xfrm>
              <a:off x="1509466" y="4159359"/>
              <a:ext cx="0" cy="20666"/>
            </a:xfrm>
            <a:custGeom>
              <a:avLst/>
              <a:gdLst/>
              <a:ahLst/>
              <a:cxnLst/>
              <a:rect l="0" t="0" r="0" b="0"/>
              <a:pathLst>
                <a:path h="19506">
                  <a:moveTo>
                    <a:pt x="0" y="19506"/>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393" name="pl348">
              <a:extLst>
                <a:ext uri="{FF2B5EF4-FFF2-40B4-BE49-F238E27FC236}">
                  <a16:creationId xmlns:a16="http://schemas.microsoft.com/office/drawing/2014/main" id="{E747982A-085D-649C-673A-10EBA8DB5A70}"/>
                </a:ext>
              </a:extLst>
            </p:cNvPr>
            <p:cNvSpPr/>
            <p:nvPr/>
          </p:nvSpPr>
          <p:spPr>
            <a:xfrm>
              <a:off x="2541622" y="4194190"/>
              <a:ext cx="0" cy="39869"/>
            </a:xfrm>
            <a:custGeom>
              <a:avLst/>
              <a:gdLst/>
              <a:ahLst/>
              <a:cxnLst/>
              <a:rect l="0" t="0" r="0" b="0"/>
              <a:pathLst>
                <a:path h="37631">
                  <a:moveTo>
                    <a:pt x="0" y="37631"/>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394" name="pl349">
              <a:extLst>
                <a:ext uri="{FF2B5EF4-FFF2-40B4-BE49-F238E27FC236}">
                  <a16:creationId xmlns:a16="http://schemas.microsoft.com/office/drawing/2014/main" id="{02165F2B-63C7-E8B2-F377-682745F0D1D4}"/>
                </a:ext>
              </a:extLst>
            </p:cNvPr>
            <p:cNvSpPr/>
            <p:nvPr/>
          </p:nvSpPr>
          <p:spPr>
            <a:xfrm>
              <a:off x="1715897" y="4233497"/>
              <a:ext cx="0" cy="18361"/>
            </a:xfrm>
            <a:custGeom>
              <a:avLst/>
              <a:gdLst/>
              <a:ahLst/>
              <a:cxnLst/>
              <a:rect l="0" t="0" r="0" b="0"/>
              <a:pathLst>
                <a:path h="17330">
                  <a:moveTo>
                    <a:pt x="0" y="17330"/>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395" name="pl350">
              <a:extLst>
                <a:ext uri="{FF2B5EF4-FFF2-40B4-BE49-F238E27FC236}">
                  <a16:creationId xmlns:a16="http://schemas.microsoft.com/office/drawing/2014/main" id="{67382B27-6F4B-994C-E133-DDA2AE514F71}"/>
                </a:ext>
              </a:extLst>
            </p:cNvPr>
            <p:cNvSpPr/>
            <p:nvPr/>
          </p:nvSpPr>
          <p:spPr>
            <a:xfrm>
              <a:off x="3160916" y="4090026"/>
              <a:ext cx="0" cy="43595"/>
            </a:xfrm>
            <a:custGeom>
              <a:avLst/>
              <a:gdLst/>
              <a:ahLst/>
              <a:cxnLst/>
              <a:rect l="0" t="0" r="0" b="0"/>
              <a:pathLst>
                <a:path h="41148">
                  <a:moveTo>
                    <a:pt x="0" y="41148"/>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396" name="pl351">
              <a:extLst>
                <a:ext uri="{FF2B5EF4-FFF2-40B4-BE49-F238E27FC236}">
                  <a16:creationId xmlns:a16="http://schemas.microsoft.com/office/drawing/2014/main" id="{726CE8C1-21EF-949B-3322-5F41EDBE13ED}"/>
                </a:ext>
              </a:extLst>
            </p:cNvPr>
            <p:cNvSpPr/>
            <p:nvPr/>
          </p:nvSpPr>
          <p:spPr>
            <a:xfrm>
              <a:off x="2679243" y="4166862"/>
              <a:ext cx="0" cy="36048"/>
            </a:xfrm>
            <a:custGeom>
              <a:avLst/>
              <a:gdLst/>
              <a:ahLst/>
              <a:cxnLst/>
              <a:rect l="0" t="0" r="0" b="0"/>
              <a:pathLst>
                <a:path h="34025">
                  <a:moveTo>
                    <a:pt x="0" y="34025"/>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397" name="pl352">
              <a:extLst>
                <a:ext uri="{FF2B5EF4-FFF2-40B4-BE49-F238E27FC236}">
                  <a16:creationId xmlns:a16="http://schemas.microsoft.com/office/drawing/2014/main" id="{000A0B46-331C-8EED-0A79-BB55580E54CD}"/>
                </a:ext>
              </a:extLst>
            </p:cNvPr>
            <p:cNvSpPr/>
            <p:nvPr/>
          </p:nvSpPr>
          <p:spPr>
            <a:xfrm>
              <a:off x="2266380" y="4215354"/>
              <a:ext cx="0" cy="29511"/>
            </a:xfrm>
            <a:custGeom>
              <a:avLst/>
              <a:gdLst/>
              <a:ahLst/>
              <a:cxnLst/>
              <a:rect l="0" t="0" r="0" b="0"/>
              <a:pathLst>
                <a:path h="27855">
                  <a:moveTo>
                    <a:pt x="0" y="27855"/>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398" name="pl353">
              <a:extLst>
                <a:ext uri="{FF2B5EF4-FFF2-40B4-BE49-F238E27FC236}">
                  <a16:creationId xmlns:a16="http://schemas.microsoft.com/office/drawing/2014/main" id="{C904C6C5-DDE0-06F9-FBEE-6B0429053286}"/>
                </a:ext>
              </a:extLst>
            </p:cNvPr>
            <p:cNvSpPr/>
            <p:nvPr/>
          </p:nvSpPr>
          <p:spPr>
            <a:xfrm>
              <a:off x="2059949" y="4216625"/>
              <a:ext cx="0" cy="31418"/>
            </a:xfrm>
            <a:custGeom>
              <a:avLst/>
              <a:gdLst/>
              <a:ahLst/>
              <a:cxnLst/>
              <a:rect l="0" t="0" r="0" b="0"/>
              <a:pathLst>
                <a:path h="29655">
                  <a:moveTo>
                    <a:pt x="0" y="29655"/>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399" name="pl354">
              <a:extLst>
                <a:ext uri="{FF2B5EF4-FFF2-40B4-BE49-F238E27FC236}">
                  <a16:creationId xmlns:a16="http://schemas.microsoft.com/office/drawing/2014/main" id="{281B7983-483C-424C-C957-713E86154EAA}"/>
                </a:ext>
              </a:extLst>
            </p:cNvPr>
            <p:cNvSpPr/>
            <p:nvPr/>
          </p:nvSpPr>
          <p:spPr>
            <a:xfrm>
              <a:off x="3092105" y="4104432"/>
              <a:ext cx="0" cy="53981"/>
            </a:xfrm>
            <a:custGeom>
              <a:avLst/>
              <a:gdLst/>
              <a:ahLst/>
              <a:cxnLst/>
              <a:rect l="0" t="0" r="0" b="0"/>
              <a:pathLst>
                <a:path h="50951">
                  <a:moveTo>
                    <a:pt x="0" y="50951"/>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400" name="pl355">
              <a:extLst>
                <a:ext uri="{FF2B5EF4-FFF2-40B4-BE49-F238E27FC236}">
                  <a16:creationId xmlns:a16="http://schemas.microsoft.com/office/drawing/2014/main" id="{5CC7C383-0C5E-B4EC-87DC-867F17010323}"/>
                </a:ext>
              </a:extLst>
            </p:cNvPr>
            <p:cNvSpPr/>
            <p:nvPr/>
          </p:nvSpPr>
          <p:spPr>
            <a:xfrm>
              <a:off x="2404002" y="4173833"/>
              <a:ext cx="0" cy="47511"/>
            </a:xfrm>
            <a:custGeom>
              <a:avLst/>
              <a:gdLst/>
              <a:ahLst/>
              <a:cxnLst/>
              <a:rect l="0" t="0" r="0" b="0"/>
              <a:pathLst>
                <a:path h="44844">
                  <a:moveTo>
                    <a:pt x="0" y="44844"/>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401" name="pl356">
              <a:extLst>
                <a:ext uri="{FF2B5EF4-FFF2-40B4-BE49-F238E27FC236}">
                  <a16:creationId xmlns:a16="http://schemas.microsoft.com/office/drawing/2014/main" id="{8DA9195F-A81C-83AE-5B6F-96DA27619E16}"/>
                </a:ext>
              </a:extLst>
            </p:cNvPr>
            <p:cNvSpPr/>
            <p:nvPr/>
          </p:nvSpPr>
          <p:spPr>
            <a:xfrm>
              <a:off x="1853518" y="4241649"/>
              <a:ext cx="0" cy="24194"/>
            </a:xfrm>
            <a:custGeom>
              <a:avLst/>
              <a:gdLst/>
              <a:ahLst/>
              <a:cxnLst/>
              <a:rect l="0" t="0" r="0" b="0"/>
              <a:pathLst>
                <a:path h="22836">
                  <a:moveTo>
                    <a:pt x="0" y="22836"/>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402" name="pl357">
              <a:extLst>
                <a:ext uri="{FF2B5EF4-FFF2-40B4-BE49-F238E27FC236}">
                  <a16:creationId xmlns:a16="http://schemas.microsoft.com/office/drawing/2014/main" id="{5074B0B4-E393-20A5-B7B1-F4D14DD9379E}"/>
                </a:ext>
              </a:extLst>
            </p:cNvPr>
            <p:cNvSpPr/>
            <p:nvPr/>
          </p:nvSpPr>
          <p:spPr>
            <a:xfrm>
              <a:off x="3229726" y="4063233"/>
              <a:ext cx="0" cy="44962"/>
            </a:xfrm>
            <a:custGeom>
              <a:avLst/>
              <a:gdLst/>
              <a:ahLst/>
              <a:cxnLst/>
              <a:rect l="0" t="0" r="0" b="0"/>
              <a:pathLst>
                <a:path h="42438">
                  <a:moveTo>
                    <a:pt x="0" y="42438"/>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403" name="pl358">
              <a:extLst>
                <a:ext uri="{FF2B5EF4-FFF2-40B4-BE49-F238E27FC236}">
                  <a16:creationId xmlns:a16="http://schemas.microsoft.com/office/drawing/2014/main" id="{CE87AFC8-126D-0E74-2783-84FA70887386}"/>
                </a:ext>
              </a:extLst>
            </p:cNvPr>
            <p:cNvSpPr/>
            <p:nvPr/>
          </p:nvSpPr>
          <p:spPr>
            <a:xfrm>
              <a:off x="2128759" y="4223105"/>
              <a:ext cx="0" cy="36380"/>
            </a:xfrm>
            <a:custGeom>
              <a:avLst/>
              <a:gdLst/>
              <a:ahLst/>
              <a:cxnLst/>
              <a:rect l="0" t="0" r="0" b="0"/>
              <a:pathLst>
                <a:path h="34338">
                  <a:moveTo>
                    <a:pt x="0" y="34338"/>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404" name="pl359">
              <a:extLst>
                <a:ext uri="{FF2B5EF4-FFF2-40B4-BE49-F238E27FC236}">
                  <a16:creationId xmlns:a16="http://schemas.microsoft.com/office/drawing/2014/main" id="{3F191EEF-8795-0C58-7D90-AD46C7154DF2}"/>
                </a:ext>
              </a:extLst>
            </p:cNvPr>
            <p:cNvSpPr/>
            <p:nvPr/>
          </p:nvSpPr>
          <p:spPr>
            <a:xfrm>
              <a:off x="2610432" y="4174717"/>
              <a:ext cx="0" cy="29464"/>
            </a:xfrm>
            <a:custGeom>
              <a:avLst/>
              <a:gdLst/>
              <a:ahLst/>
              <a:cxnLst/>
              <a:rect l="0" t="0" r="0" b="0"/>
              <a:pathLst>
                <a:path h="27810">
                  <a:moveTo>
                    <a:pt x="0" y="27810"/>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405" name="pl360">
              <a:extLst>
                <a:ext uri="{FF2B5EF4-FFF2-40B4-BE49-F238E27FC236}">
                  <a16:creationId xmlns:a16="http://schemas.microsoft.com/office/drawing/2014/main" id="{9C9D650B-68F8-F87D-3498-3BA7F1ECE8E8}"/>
                </a:ext>
              </a:extLst>
            </p:cNvPr>
            <p:cNvSpPr/>
            <p:nvPr/>
          </p:nvSpPr>
          <p:spPr>
            <a:xfrm>
              <a:off x="3504967" y="4031062"/>
              <a:ext cx="0" cy="49798"/>
            </a:xfrm>
            <a:custGeom>
              <a:avLst/>
              <a:gdLst/>
              <a:ahLst/>
              <a:cxnLst/>
              <a:rect l="0" t="0" r="0" b="0"/>
              <a:pathLst>
                <a:path h="47003">
                  <a:moveTo>
                    <a:pt x="0" y="47003"/>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406" name="pl361">
              <a:extLst>
                <a:ext uri="{FF2B5EF4-FFF2-40B4-BE49-F238E27FC236}">
                  <a16:creationId xmlns:a16="http://schemas.microsoft.com/office/drawing/2014/main" id="{108879BF-9957-B1F9-FFA8-8DE002C4FE58}"/>
                </a:ext>
              </a:extLst>
            </p:cNvPr>
            <p:cNvSpPr/>
            <p:nvPr/>
          </p:nvSpPr>
          <p:spPr>
            <a:xfrm>
              <a:off x="1647087" y="4197351"/>
              <a:ext cx="0" cy="16366"/>
            </a:xfrm>
            <a:custGeom>
              <a:avLst/>
              <a:gdLst/>
              <a:ahLst/>
              <a:cxnLst/>
              <a:rect l="0" t="0" r="0" b="0"/>
              <a:pathLst>
                <a:path h="15447">
                  <a:moveTo>
                    <a:pt x="0" y="15447"/>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407" name="pl362">
              <a:extLst>
                <a:ext uri="{FF2B5EF4-FFF2-40B4-BE49-F238E27FC236}">
                  <a16:creationId xmlns:a16="http://schemas.microsoft.com/office/drawing/2014/main" id="{A549970B-0EAC-A5B9-1E0B-EDB1594C7B66}"/>
                </a:ext>
              </a:extLst>
            </p:cNvPr>
            <p:cNvSpPr/>
            <p:nvPr/>
          </p:nvSpPr>
          <p:spPr>
            <a:xfrm>
              <a:off x="2472812" y="4177411"/>
              <a:ext cx="0" cy="40120"/>
            </a:xfrm>
            <a:custGeom>
              <a:avLst/>
              <a:gdLst/>
              <a:ahLst/>
              <a:cxnLst/>
              <a:rect l="0" t="0" r="0" b="0"/>
              <a:pathLst>
                <a:path h="37868">
                  <a:moveTo>
                    <a:pt x="0" y="37868"/>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408" name="pl363">
              <a:extLst>
                <a:ext uri="{FF2B5EF4-FFF2-40B4-BE49-F238E27FC236}">
                  <a16:creationId xmlns:a16="http://schemas.microsoft.com/office/drawing/2014/main" id="{BA30C630-8CC4-95E4-D402-A403B6360633}"/>
                </a:ext>
              </a:extLst>
            </p:cNvPr>
            <p:cNvSpPr/>
            <p:nvPr/>
          </p:nvSpPr>
          <p:spPr>
            <a:xfrm>
              <a:off x="3023295" y="4103502"/>
              <a:ext cx="0" cy="40926"/>
            </a:xfrm>
            <a:custGeom>
              <a:avLst/>
              <a:gdLst/>
              <a:ahLst/>
              <a:cxnLst/>
              <a:rect l="0" t="0" r="0" b="0"/>
              <a:pathLst>
                <a:path h="38629">
                  <a:moveTo>
                    <a:pt x="0" y="38629"/>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409" name="pl364">
              <a:extLst>
                <a:ext uri="{FF2B5EF4-FFF2-40B4-BE49-F238E27FC236}">
                  <a16:creationId xmlns:a16="http://schemas.microsoft.com/office/drawing/2014/main" id="{9492D08B-8D8A-39B8-3F4E-191C74E2394C}"/>
                </a:ext>
              </a:extLst>
            </p:cNvPr>
            <p:cNvSpPr/>
            <p:nvPr/>
          </p:nvSpPr>
          <p:spPr>
            <a:xfrm>
              <a:off x="2816863" y="4135021"/>
              <a:ext cx="0" cy="36105"/>
            </a:xfrm>
            <a:custGeom>
              <a:avLst/>
              <a:gdLst/>
              <a:ahLst/>
              <a:cxnLst/>
              <a:rect l="0" t="0" r="0" b="0"/>
              <a:pathLst>
                <a:path h="34079">
                  <a:moveTo>
                    <a:pt x="0" y="34079"/>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410" name="pl365">
              <a:extLst>
                <a:ext uri="{FF2B5EF4-FFF2-40B4-BE49-F238E27FC236}">
                  <a16:creationId xmlns:a16="http://schemas.microsoft.com/office/drawing/2014/main" id="{30387E53-391C-67A4-ED09-28F20F5CFE3B}"/>
                </a:ext>
              </a:extLst>
            </p:cNvPr>
            <p:cNvSpPr/>
            <p:nvPr/>
          </p:nvSpPr>
          <p:spPr>
            <a:xfrm>
              <a:off x="2748053" y="4173726"/>
              <a:ext cx="0" cy="33633"/>
            </a:xfrm>
            <a:custGeom>
              <a:avLst/>
              <a:gdLst/>
              <a:ahLst/>
              <a:cxnLst/>
              <a:rect l="0" t="0" r="0" b="0"/>
              <a:pathLst>
                <a:path h="31745">
                  <a:moveTo>
                    <a:pt x="0" y="31745"/>
                  </a:moveTo>
                  <a:lnTo>
                    <a:pt x="0" y="0"/>
                  </a:lnTo>
                </a:path>
              </a:pathLst>
            </a:custGeom>
            <a:ln w="5420" cap="flat">
              <a:solidFill>
                <a:srgbClr val="48D9E8">
                  <a:alpha val="100000"/>
                </a:srgbClr>
              </a:solidFill>
              <a:prstDash val="solid"/>
              <a:round/>
            </a:ln>
          </p:spPr>
          <p:txBody>
            <a:bodyPr/>
            <a:lstStyle/>
            <a:p>
              <a:pPr defTabSz="914400"/>
              <a:endParaRPr>
                <a:solidFill>
                  <a:srgbClr val="001965"/>
                </a:solidFill>
                <a:latin typeface="Avenir Next LT Pro"/>
              </a:endParaRPr>
            </a:p>
          </p:txBody>
        </p:sp>
        <p:sp>
          <p:nvSpPr>
            <p:cNvPr id="11411" name="pl366">
              <a:extLst>
                <a:ext uri="{FF2B5EF4-FFF2-40B4-BE49-F238E27FC236}">
                  <a16:creationId xmlns:a16="http://schemas.microsoft.com/office/drawing/2014/main" id="{5AEDE0EB-8310-9E91-3AB9-E239B5C74670}"/>
                </a:ext>
              </a:extLst>
            </p:cNvPr>
            <p:cNvSpPr/>
            <p:nvPr/>
          </p:nvSpPr>
          <p:spPr>
            <a:xfrm>
              <a:off x="2197570" y="4202009"/>
              <a:ext cx="0" cy="42221"/>
            </a:xfrm>
            <a:custGeom>
              <a:avLst/>
              <a:gdLst/>
              <a:ahLst/>
              <a:cxnLst/>
              <a:rect l="0" t="0" r="0" b="0"/>
              <a:pathLst>
                <a:path h="39851">
                  <a:moveTo>
                    <a:pt x="0" y="39851"/>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12" name="pl367">
              <a:extLst>
                <a:ext uri="{FF2B5EF4-FFF2-40B4-BE49-F238E27FC236}">
                  <a16:creationId xmlns:a16="http://schemas.microsoft.com/office/drawing/2014/main" id="{1BC66144-2793-E258-E1B5-AF484C091196}"/>
                </a:ext>
              </a:extLst>
            </p:cNvPr>
            <p:cNvSpPr/>
            <p:nvPr/>
          </p:nvSpPr>
          <p:spPr>
            <a:xfrm>
              <a:off x="1784708" y="4255378"/>
              <a:ext cx="0" cy="102002"/>
            </a:xfrm>
            <a:custGeom>
              <a:avLst/>
              <a:gdLst/>
              <a:ahLst/>
              <a:cxnLst/>
              <a:rect l="0" t="0" r="0" b="0"/>
              <a:pathLst>
                <a:path h="96277">
                  <a:moveTo>
                    <a:pt x="0" y="96277"/>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13" name="pl368">
              <a:extLst>
                <a:ext uri="{FF2B5EF4-FFF2-40B4-BE49-F238E27FC236}">
                  <a16:creationId xmlns:a16="http://schemas.microsoft.com/office/drawing/2014/main" id="{D1F38ECA-D733-DC5F-36EB-97D8D03AE1D4}"/>
                </a:ext>
              </a:extLst>
            </p:cNvPr>
            <p:cNvSpPr/>
            <p:nvPr/>
          </p:nvSpPr>
          <p:spPr>
            <a:xfrm>
              <a:off x="3436157" y="4136198"/>
              <a:ext cx="0" cy="52092"/>
            </a:xfrm>
            <a:custGeom>
              <a:avLst/>
              <a:gdLst/>
              <a:ahLst/>
              <a:cxnLst/>
              <a:rect l="0" t="0" r="0" b="0"/>
              <a:pathLst>
                <a:path h="49168">
                  <a:moveTo>
                    <a:pt x="0" y="49168"/>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14" name="pl369">
              <a:extLst>
                <a:ext uri="{FF2B5EF4-FFF2-40B4-BE49-F238E27FC236}">
                  <a16:creationId xmlns:a16="http://schemas.microsoft.com/office/drawing/2014/main" id="{BF7EA9F0-CF30-8E0A-C760-E71D3603D45C}"/>
                </a:ext>
              </a:extLst>
            </p:cNvPr>
            <p:cNvSpPr/>
            <p:nvPr/>
          </p:nvSpPr>
          <p:spPr>
            <a:xfrm>
              <a:off x="2335190" y="4156702"/>
              <a:ext cx="0" cy="41122"/>
            </a:xfrm>
            <a:custGeom>
              <a:avLst/>
              <a:gdLst/>
              <a:ahLst/>
              <a:cxnLst/>
              <a:rect l="0" t="0" r="0" b="0"/>
              <a:pathLst>
                <a:path h="38814">
                  <a:moveTo>
                    <a:pt x="0" y="38814"/>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15" name="pl370">
              <a:extLst>
                <a:ext uri="{FF2B5EF4-FFF2-40B4-BE49-F238E27FC236}">
                  <a16:creationId xmlns:a16="http://schemas.microsoft.com/office/drawing/2014/main" id="{3FF9AE45-0B43-239E-296D-E2664E9325BF}"/>
                </a:ext>
              </a:extLst>
            </p:cNvPr>
            <p:cNvSpPr/>
            <p:nvPr/>
          </p:nvSpPr>
          <p:spPr>
            <a:xfrm>
              <a:off x="2954484" y="4181521"/>
              <a:ext cx="0" cy="50631"/>
            </a:xfrm>
            <a:custGeom>
              <a:avLst/>
              <a:gdLst/>
              <a:ahLst/>
              <a:cxnLst/>
              <a:rect l="0" t="0" r="0" b="0"/>
              <a:pathLst>
                <a:path h="47789">
                  <a:moveTo>
                    <a:pt x="0" y="47789"/>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16" name="pl371">
              <a:extLst>
                <a:ext uri="{FF2B5EF4-FFF2-40B4-BE49-F238E27FC236}">
                  <a16:creationId xmlns:a16="http://schemas.microsoft.com/office/drawing/2014/main" id="{AC6823E3-6639-92B9-1086-F2398C07709A}"/>
                </a:ext>
              </a:extLst>
            </p:cNvPr>
            <p:cNvSpPr/>
            <p:nvPr/>
          </p:nvSpPr>
          <p:spPr>
            <a:xfrm>
              <a:off x="3367346" y="4171460"/>
              <a:ext cx="0" cy="48613"/>
            </a:xfrm>
            <a:custGeom>
              <a:avLst/>
              <a:gdLst/>
              <a:ahLst/>
              <a:cxnLst/>
              <a:rect l="0" t="0" r="0" b="0"/>
              <a:pathLst>
                <a:path h="45885">
                  <a:moveTo>
                    <a:pt x="0" y="45885"/>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17" name="pl372">
              <a:extLst>
                <a:ext uri="{FF2B5EF4-FFF2-40B4-BE49-F238E27FC236}">
                  <a16:creationId xmlns:a16="http://schemas.microsoft.com/office/drawing/2014/main" id="{1E9A2A2F-68FD-C6F4-2419-3F45762AE1D1}"/>
                </a:ext>
              </a:extLst>
            </p:cNvPr>
            <p:cNvSpPr/>
            <p:nvPr/>
          </p:nvSpPr>
          <p:spPr>
            <a:xfrm>
              <a:off x="1371845" y="3900963"/>
              <a:ext cx="0" cy="0"/>
            </a:xfrm>
            <a:custGeom>
              <a:avLst/>
              <a:gdLst/>
              <a:ahLst/>
              <a:cxnLst/>
              <a:rect l="0" t="0" r="0" b="0"/>
              <a:pathLst>
                <a:path>
                  <a:moveTo>
                    <a:pt x="0" y="0"/>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18" name="pl373">
              <a:extLst>
                <a:ext uri="{FF2B5EF4-FFF2-40B4-BE49-F238E27FC236}">
                  <a16:creationId xmlns:a16="http://schemas.microsoft.com/office/drawing/2014/main" id="{E3CB926B-3EF7-47BC-D5E5-45F0D6A50774}"/>
                </a:ext>
              </a:extLst>
            </p:cNvPr>
            <p:cNvSpPr/>
            <p:nvPr/>
          </p:nvSpPr>
          <p:spPr>
            <a:xfrm>
              <a:off x="2885673" y="4145676"/>
              <a:ext cx="0" cy="50242"/>
            </a:xfrm>
            <a:custGeom>
              <a:avLst/>
              <a:gdLst/>
              <a:ahLst/>
              <a:cxnLst/>
              <a:rect l="0" t="0" r="0" b="0"/>
              <a:pathLst>
                <a:path h="47422">
                  <a:moveTo>
                    <a:pt x="0" y="47422"/>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19" name="pl374">
              <a:extLst>
                <a:ext uri="{FF2B5EF4-FFF2-40B4-BE49-F238E27FC236}">
                  <a16:creationId xmlns:a16="http://schemas.microsoft.com/office/drawing/2014/main" id="{4A2EEB92-CD46-4A26-F7D6-7CF2DA84602E}"/>
                </a:ext>
              </a:extLst>
            </p:cNvPr>
            <p:cNvSpPr/>
            <p:nvPr/>
          </p:nvSpPr>
          <p:spPr>
            <a:xfrm>
              <a:off x="1922329" y="4210163"/>
              <a:ext cx="0" cy="39787"/>
            </a:xfrm>
            <a:custGeom>
              <a:avLst/>
              <a:gdLst/>
              <a:ahLst/>
              <a:cxnLst/>
              <a:rect l="0" t="0" r="0" b="0"/>
              <a:pathLst>
                <a:path h="37554">
                  <a:moveTo>
                    <a:pt x="0" y="37554"/>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20" name="pl375">
              <a:extLst>
                <a:ext uri="{FF2B5EF4-FFF2-40B4-BE49-F238E27FC236}">
                  <a16:creationId xmlns:a16="http://schemas.microsoft.com/office/drawing/2014/main" id="{CECCABA9-253B-02B8-56F5-D6B0989DA91E}"/>
                </a:ext>
              </a:extLst>
            </p:cNvPr>
            <p:cNvSpPr/>
            <p:nvPr/>
          </p:nvSpPr>
          <p:spPr>
            <a:xfrm>
              <a:off x="3298536" y="4136875"/>
              <a:ext cx="0" cy="55864"/>
            </a:xfrm>
            <a:custGeom>
              <a:avLst/>
              <a:gdLst/>
              <a:ahLst/>
              <a:cxnLst/>
              <a:rect l="0" t="0" r="0" b="0"/>
              <a:pathLst>
                <a:path h="52729">
                  <a:moveTo>
                    <a:pt x="0" y="52729"/>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21" name="pl376">
              <a:extLst>
                <a:ext uri="{FF2B5EF4-FFF2-40B4-BE49-F238E27FC236}">
                  <a16:creationId xmlns:a16="http://schemas.microsoft.com/office/drawing/2014/main" id="{C7DA910E-B69F-61A2-FE95-E74697A71905}"/>
                </a:ext>
              </a:extLst>
            </p:cNvPr>
            <p:cNvSpPr/>
            <p:nvPr/>
          </p:nvSpPr>
          <p:spPr>
            <a:xfrm>
              <a:off x="1578276" y="4234476"/>
              <a:ext cx="0" cy="35179"/>
            </a:xfrm>
            <a:custGeom>
              <a:avLst/>
              <a:gdLst/>
              <a:ahLst/>
              <a:cxnLst/>
              <a:rect l="0" t="0" r="0" b="0"/>
              <a:pathLst>
                <a:path h="33205">
                  <a:moveTo>
                    <a:pt x="0" y="33205"/>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22" name="pl377">
              <a:extLst>
                <a:ext uri="{FF2B5EF4-FFF2-40B4-BE49-F238E27FC236}">
                  <a16:creationId xmlns:a16="http://schemas.microsoft.com/office/drawing/2014/main" id="{007CD395-33C3-5056-FF99-0AE990174D13}"/>
                </a:ext>
              </a:extLst>
            </p:cNvPr>
            <p:cNvSpPr/>
            <p:nvPr/>
          </p:nvSpPr>
          <p:spPr>
            <a:xfrm>
              <a:off x="1991139" y="4171411"/>
              <a:ext cx="0" cy="44212"/>
            </a:xfrm>
            <a:custGeom>
              <a:avLst/>
              <a:gdLst/>
              <a:ahLst/>
              <a:cxnLst/>
              <a:rect l="0" t="0" r="0" b="0"/>
              <a:pathLst>
                <a:path h="41731">
                  <a:moveTo>
                    <a:pt x="0" y="41731"/>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23" name="pl378">
              <a:extLst>
                <a:ext uri="{FF2B5EF4-FFF2-40B4-BE49-F238E27FC236}">
                  <a16:creationId xmlns:a16="http://schemas.microsoft.com/office/drawing/2014/main" id="{8C06E8BD-0F9E-E71F-63D0-EE10775BF8FF}"/>
                </a:ext>
              </a:extLst>
            </p:cNvPr>
            <p:cNvSpPr/>
            <p:nvPr/>
          </p:nvSpPr>
          <p:spPr>
            <a:xfrm>
              <a:off x="1440656" y="4119285"/>
              <a:ext cx="0" cy="25142"/>
            </a:xfrm>
            <a:custGeom>
              <a:avLst/>
              <a:gdLst/>
              <a:ahLst/>
              <a:cxnLst/>
              <a:rect l="0" t="0" r="0" b="0"/>
              <a:pathLst>
                <a:path h="23731">
                  <a:moveTo>
                    <a:pt x="0" y="23731"/>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24" name="pl379">
              <a:extLst>
                <a:ext uri="{FF2B5EF4-FFF2-40B4-BE49-F238E27FC236}">
                  <a16:creationId xmlns:a16="http://schemas.microsoft.com/office/drawing/2014/main" id="{F8BC7A1C-5E23-56D2-2F9D-288747F1806A}"/>
                </a:ext>
              </a:extLst>
            </p:cNvPr>
            <p:cNvSpPr/>
            <p:nvPr/>
          </p:nvSpPr>
          <p:spPr>
            <a:xfrm>
              <a:off x="1509466" y="4176245"/>
              <a:ext cx="0" cy="27301"/>
            </a:xfrm>
            <a:custGeom>
              <a:avLst/>
              <a:gdLst/>
              <a:ahLst/>
              <a:cxnLst/>
              <a:rect l="0" t="0" r="0" b="0"/>
              <a:pathLst>
                <a:path h="25769">
                  <a:moveTo>
                    <a:pt x="0" y="25769"/>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25" name="pl380">
              <a:extLst>
                <a:ext uri="{FF2B5EF4-FFF2-40B4-BE49-F238E27FC236}">
                  <a16:creationId xmlns:a16="http://schemas.microsoft.com/office/drawing/2014/main" id="{C6214FBC-4F11-A973-0B01-763AB3F1DAC7}"/>
                </a:ext>
              </a:extLst>
            </p:cNvPr>
            <p:cNvSpPr/>
            <p:nvPr/>
          </p:nvSpPr>
          <p:spPr>
            <a:xfrm>
              <a:off x="2541622" y="4202954"/>
              <a:ext cx="0" cy="50175"/>
            </a:xfrm>
            <a:custGeom>
              <a:avLst/>
              <a:gdLst/>
              <a:ahLst/>
              <a:cxnLst/>
              <a:rect l="0" t="0" r="0" b="0"/>
              <a:pathLst>
                <a:path h="47359">
                  <a:moveTo>
                    <a:pt x="0" y="47359"/>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26" name="pl381">
              <a:extLst>
                <a:ext uri="{FF2B5EF4-FFF2-40B4-BE49-F238E27FC236}">
                  <a16:creationId xmlns:a16="http://schemas.microsoft.com/office/drawing/2014/main" id="{4BD81AC5-4D14-F19C-3559-14F2748ED9F2}"/>
                </a:ext>
              </a:extLst>
            </p:cNvPr>
            <p:cNvSpPr/>
            <p:nvPr/>
          </p:nvSpPr>
          <p:spPr>
            <a:xfrm>
              <a:off x="1715897" y="4208996"/>
              <a:ext cx="0" cy="43496"/>
            </a:xfrm>
            <a:custGeom>
              <a:avLst/>
              <a:gdLst/>
              <a:ahLst/>
              <a:cxnLst/>
              <a:rect l="0" t="0" r="0" b="0"/>
              <a:pathLst>
                <a:path h="41055">
                  <a:moveTo>
                    <a:pt x="0" y="41055"/>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27" name="pl382">
              <a:extLst>
                <a:ext uri="{FF2B5EF4-FFF2-40B4-BE49-F238E27FC236}">
                  <a16:creationId xmlns:a16="http://schemas.microsoft.com/office/drawing/2014/main" id="{3E7A2ED7-D7C1-D4F1-0B07-59C57C944095}"/>
                </a:ext>
              </a:extLst>
            </p:cNvPr>
            <p:cNvSpPr/>
            <p:nvPr/>
          </p:nvSpPr>
          <p:spPr>
            <a:xfrm>
              <a:off x="3160916" y="4172734"/>
              <a:ext cx="0" cy="51789"/>
            </a:xfrm>
            <a:custGeom>
              <a:avLst/>
              <a:gdLst/>
              <a:ahLst/>
              <a:cxnLst/>
              <a:rect l="0" t="0" r="0" b="0"/>
              <a:pathLst>
                <a:path h="48882">
                  <a:moveTo>
                    <a:pt x="0" y="48882"/>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28" name="pl383">
              <a:extLst>
                <a:ext uri="{FF2B5EF4-FFF2-40B4-BE49-F238E27FC236}">
                  <a16:creationId xmlns:a16="http://schemas.microsoft.com/office/drawing/2014/main" id="{0D9C8E44-4F41-AEE8-5870-7CADB7CB004B}"/>
                </a:ext>
              </a:extLst>
            </p:cNvPr>
            <p:cNvSpPr/>
            <p:nvPr/>
          </p:nvSpPr>
          <p:spPr>
            <a:xfrm>
              <a:off x="2679243" y="4196164"/>
              <a:ext cx="0" cy="46793"/>
            </a:xfrm>
            <a:custGeom>
              <a:avLst/>
              <a:gdLst/>
              <a:ahLst/>
              <a:cxnLst/>
              <a:rect l="0" t="0" r="0" b="0"/>
              <a:pathLst>
                <a:path h="44167">
                  <a:moveTo>
                    <a:pt x="0" y="44167"/>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29" name="pl384">
              <a:extLst>
                <a:ext uri="{FF2B5EF4-FFF2-40B4-BE49-F238E27FC236}">
                  <a16:creationId xmlns:a16="http://schemas.microsoft.com/office/drawing/2014/main" id="{1F482327-3BA9-6B6D-760D-77BA1A2856D3}"/>
                </a:ext>
              </a:extLst>
            </p:cNvPr>
            <p:cNvSpPr/>
            <p:nvPr/>
          </p:nvSpPr>
          <p:spPr>
            <a:xfrm>
              <a:off x="2266380" y="4156906"/>
              <a:ext cx="0" cy="42826"/>
            </a:xfrm>
            <a:custGeom>
              <a:avLst/>
              <a:gdLst/>
              <a:ahLst/>
              <a:cxnLst/>
              <a:rect l="0" t="0" r="0" b="0"/>
              <a:pathLst>
                <a:path h="40422">
                  <a:moveTo>
                    <a:pt x="0" y="40422"/>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30" name="pl385">
              <a:extLst>
                <a:ext uri="{FF2B5EF4-FFF2-40B4-BE49-F238E27FC236}">
                  <a16:creationId xmlns:a16="http://schemas.microsoft.com/office/drawing/2014/main" id="{6C797E40-DF9E-A61D-613E-38B502CC46AB}"/>
                </a:ext>
              </a:extLst>
            </p:cNvPr>
            <p:cNvSpPr/>
            <p:nvPr/>
          </p:nvSpPr>
          <p:spPr>
            <a:xfrm>
              <a:off x="2059949" y="4206182"/>
              <a:ext cx="0" cy="54575"/>
            </a:xfrm>
            <a:custGeom>
              <a:avLst/>
              <a:gdLst/>
              <a:ahLst/>
              <a:cxnLst/>
              <a:rect l="0" t="0" r="0" b="0"/>
              <a:pathLst>
                <a:path h="51512">
                  <a:moveTo>
                    <a:pt x="0" y="51512"/>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31" name="pl386">
              <a:extLst>
                <a:ext uri="{FF2B5EF4-FFF2-40B4-BE49-F238E27FC236}">
                  <a16:creationId xmlns:a16="http://schemas.microsoft.com/office/drawing/2014/main" id="{C93BBEFE-1DDD-E130-A919-FAB4D446ABFE}"/>
                </a:ext>
              </a:extLst>
            </p:cNvPr>
            <p:cNvSpPr/>
            <p:nvPr/>
          </p:nvSpPr>
          <p:spPr>
            <a:xfrm>
              <a:off x="3092105" y="4187371"/>
              <a:ext cx="0" cy="46687"/>
            </a:xfrm>
            <a:custGeom>
              <a:avLst/>
              <a:gdLst/>
              <a:ahLst/>
              <a:cxnLst/>
              <a:rect l="0" t="0" r="0" b="0"/>
              <a:pathLst>
                <a:path h="44067">
                  <a:moveTo>
                    <a:pt x="0" y="44067"/>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32" name="pl387">
              <a:extLst>
                <a:ext uri="{FF2B5EF4-FFF2-40B4-BE49-F238E27FC236}">
                  <a16:creationId xmlns:a16="http://schemas.microsoft.com/office/drawing/2014/main" id="{2782D6E1-9C25-22BA-495F-72E153AD4009}"/>
                </a:ext>
              </a:extLst>
            </p:cNvPr>
            <p:cNvSpPr/>
            <p:nvPr/>
          </p:nvSpPr>
          <p:spPr>
            <a:xfrm>
              <a:off x="2404002" y="4197459"/>
              <a:ext cx="0" cy="48677"/>
            </a:xfrm>
            <a:custGeom>
              <a:avLst/>
              <a:gdLst/>
              <a:ahLst/>
              <a:cxnLst/>
              <a:rect l="0" t="0" r="0" b="0"/>
              <a:pathLst>
                <a:path h="45945">
                  <a:moveTo>
                    <a:pt x="0" y="45945"/>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33" name="pl388">
              <a:extLst>
                <a:ext uri="{FF2B5EF4-FFF2-40B4-BE49-F238E27FC236}">
                  <a16:creationId xmlns:a16="http://schemas.microsoft.com/office/drawing/2014/main" id="{DF5A99D1-FDA8-960A-AD87-FB0541C62688}"/>
                </a:ext>
              </a:extLst>
            </p:cNvPr>
            <p:cNvSpPr/>
            <p:nvPr/>
          </p:nvSpPr>
          <p:spPr>
            <a:xfrm>
              <a:off x="1853518" y="4209602"/>
              <a:ext cx="0" cy="41619"/>
            </a:xfrm>
            <a:custGeom>
              <a:avLst/>
              <a:gdLst/>
              <a:ahLst/>
              <a:cxnLst/>
              <a:rect l="0" t="0" r="0" b="0"/>
              <a:pathLst>
                <a:path h="39283">
                  <a:moveTo>
                    <a:pt x="0" y="39283"/>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34" name="pl389">
              <a:extLst>
                <a:ext uri="{FF2B5EF4-FFF2-40B4-BE49-F238E27FC236}">
                  <a16:creationId xmlns:a16="http://schemas.microsoft.com/office/drawing/2014/main" id="{57C232A3-D746-D933-FF1B-40D0EC6369F4}"/>
                </a:ext>
              </a:extLst>
            </p:cNvPr>
            <p:cNvSpPr/>
            <p:nvPr/>
          </p:nvSpPr>
          <p:spPr>
            <a:xfrm>
              <a:off x="3229726" y="4142989"/>
              <a:ext cx="0" cy="58014"/>
            </a:xfrm>
            <a:custGeom>
              <a:avLst/>
              <a:gdLst/>
              <a:ahLst/>
              <a:cxnLst/>
              <a:rect l="0" t="0" r="0" b="0"/>
              <a:pathLst>
                <a:path h="54758">
                  <a:moveTo>
                    <a:pt x="0" y="54758"/>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35" name="pl390">
              <a:extLst>
                <a:ext uri="{FF2B5EF4-FFF2-40B4-BE49-F238E27FC236}">
                  <a16:creationId xmlns:a16="http://schemas.microsoft.com/office/drawing/2014/main" id="{9C6F7F2C-D36F-8DFD-8BB7-641DA46FE6AC}"/>
                </a:ext>
              </a:extLst>
            </p:cNvPr>
            <p:cNvSpPr/>
            <p:nvPr/>
          </p:nvSpPr>
          <p:spPr>
            <a:xfrm>
              <a:off x="2128759" y="4218191"/>
              <a:ext cx="0" cy="44473"/>
            </a:xfrm>
            <a:custGeom>
              <a:avLst/>
              <a:gdLst/>
              <a:ahLst/>
              <a:cxnLst/>
              <a:rect l="0" t="0" r="0" b="0"/>
              <a:pathLst>
                <a:path h="41977">
                  <a:moveTo>
                    <a:pt x="0" y="41977"/>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36" name="pl391">
              <a:extLst>
                <a:ext uri="{FF2B5EF4-FFF2-40B4-BE49-F238E27FC236}">
                  <a16:creationId xmlns:a16="http://schemas.microsoft.com/office/drawing/2014/main" id="{EA9508B5-C94F-5240-4CF4-39495658C60D}"/>
                </a:ext>
              </a:extLst>
            </p:cNvPr>
            <p:cNvSpPr/>
            <p:nvPr/>
          </p:nvSpPr>
          <p:spPr>
            <a:xfrm>
              <a:off x="2610432" y="4201003"/>
              <a:ext cx="0" cy="40682"/>
            </a:xfrm>
            <a:custGeom>
              <a:avLst/>
              <a:gdLst/>
              <a:ahLst/>
              <a:cxnLst/>
              <a:rect l="0" t="0" r="0" b="0"/>
              <a:pathLst>
                <a:path h="38399">
                  <a:moveTo>
                    <a:pt x="0" y="38399"/>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37" name="pl392">
              <a:extLst>
                <a:ext uri="{FF2B5EF4-FFF2-40B4-BE49-F238E27FC236}">
                  <a16:creationId xmlns:a16="http://schemas.microsoft.com/office/drawing/2014/main" id="{7C602E22-FD30-5682-FA37-5F3287BF8C0A}"/>
                </a:ext>
              </a:extLst>
            </p:cNvPr>
            <p:cNvSpPr/>
            <p:nvPr/>
          </p:nvSpPr>
          <p:spPr>
            <a:xfrm>
              <a:off x="3504967" y="4157610"/>
              <a:ext cx="0" cy="49749"/>
            </a:xfrm>
            <a:custGeom>
              <a:avLst/>
              <a:gdLst/>
              <a:ahLst/>
              <a:cxnLst/>
              <a:rect l="0" t="0" r="0" b="0"/>
              <a:pathLst>
                <a:path h="46957">
                  <a:moveTo>
                    <a:pt x="0" y="46957"/>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38" name="pl393">
              <a:extLst>
                <a:ext uri="{FF2B5EF4-FFF2-40B4-BE49-F238E27FC236}">
                  <a16:creationId xmlns:a16="http://schemas.microsoft.com/office/drawing/2014/main" id="{0A81D3F9-AAC9-B896-22E8-27CCF7DE54A4}"/>
                </a:ext>
              </a:extLst>
            </p:cNvPr>
            <p:cNvSpPr/>
            <p:nvPr/>
          </p:nvSpPr>
          <p:spPr>
            <a:xfrm>
              <a:off x="1647087" y="4208892"/>
              <a:ext cx="0" cy="35337"/>
            </a:xfrm>
            <a:custGeom>
              <a:avLst/>
              <a:gdLst/>
              <a:ahLst/>
              <a:cxnLst/>
              <a:rect l="0" t="0" r="0" b="0"/>
              <a:pathLst>
                <a:path h="33354">
                  <a:moveTo>
                    <a:pt x="0" y="33354"/>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39" name="pl394">
              <a:extLst>
                <a:ext uri="{FF2B5EF4-FFF2-40B4-BE49-F238E27FC236}">
                  <a16:creationId xmlns:a16="http://schemas.microsoft.com/office/drawing/2014/main" id="{CFA3E587-92C8-2CE6-DFCE-BE0F9685F878}"/>
                </a:ext>
              </a:extLst>
            </p:cNvPr>
            <p:cNvSpPr/>
            <p:nvPr/>
          </p:nvSpPr>
          <p:spPr>
            <a:xfrm>
              <a:off x="2472812" y="4182010"/>
              <a:ext cx="0" cy="52047"/>
            </a:xfrm>
            <a:custGeom>
              <a:avLst/>
              <a:gdLst/>
              <a:ahLst/>
              <a:cxnLst/>
              <a:rect l="0" t="0" r="0" b="0"/>
              <a:pathLst>
                <a:path h="49126">
                  <a:moveTo>
                    <a:pt x="0" y="49126"/>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40" name="pl395">
              <a:extLst>
                <a:ext uri="{FF2B5EF4-FFF2-40B4-BE49-F238E27FC236}">
                  <a16:creationId xmlns:a16="http://schemas.microsoft.com/office/drawing/2014/main" id="{952294B4-2BBE-9030-9CE4-43F72977F7CA}"/>
                </a:ext>
              </a:extLst>
            </p:cNvPr>
            <p:cNvSpPr/>
            <p:nvPr/>
          </p:nvSpPr>
          <p:spPr>
            <a:xfrm>
              <a:off x="3023295" y="4177324"/>
              <a:ext cx="0" cy="50377"/>
            </a:xfrm>
            <a:custGeom>
              <a:avLst/>
              <a:gdLst/>
              <a:ahLst/>
              <a:cxnLst/>
              <a:rect l="0" t="0" r="0" b="0"/>
              <a:pathLst>
                <a:path h="47550">
                  <a:moveTo>
                    <a:pt x="0" y="47550"/>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41" name="pl396">
              <a:extLst>
                <a:ext uri="{FF2B5EF4-FFF2-40B4-BE49-F238E27FC236}">
                  <a16:creationId xmlns:a16="http://schemas.microsoft.com/office/drawing/2014/main" id="{34CA936A-3366-4656-B3E1-FEA9162D470B}"/>
                </a:ext>
              </a:extLst>
            </p:cNvPr>
            <p:cNvSpPr/>
            <p:nvPr/>
          </p:nvSpPr>
          <p:spPr>
            <a:xfrm>
              <a:off x="2816863" y="4175605"/>
              <a:ext cx="0" cy="48919"/>
            </a:xfrm>
            <a:custGeom>
              <a:avLst/>
              <a:gdLst/>
              <a:ahLst/>
              <a:cxnLst/>
              <a:rect l="0" t="0" r="0" b="0"/>
              <a:pathLst>
                <a:path h="46173">
                  <a:moveTo>
                    <a:pt x="0" y="46173"/>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42" name="pl397">
              <a:extLst>
                <a:ext uri="{FF2B5EF4-FFF2-40B4-BE49-F238E27FC236}">
                  <a16:creationId xmlns:a16="http://schemas.microsoft.com/office/drawing/2014/main" id="{3F5EC6A5-C374-38BE-B2B1-4D047F22F618}"/>
                </a:ext>
              </a:extLst>
            </p:cNvPr>
            <p:cNvSpPr/>
            <p:nvPr/>
          </p:nvSpPr>
          <p:spPr>
            <a:xfrm>
              <a:off x="2748053" y="4203023"/>
              <a:ext cx="0" cy="51378"/>
            </a:xfrm>
            <a:custGeom>
              <a:avLst/>
              <a:gdLst/>
              <a:ahLst/>
              <a:cxnLst/>
              <a:rect l="0" t="0" r="0" b="0"/>
              <a:pathLst>
                <a:path h="48494">
                  <a:moveTo>
                    <a:pt x="0" y="48494"/>
                  </a:moveTo>
                  <a:lnTo>
                    <a:pt x="0" y="0"/>
                  </a:lnTo>
                </a:path>
              </a:pathLst>
            </a:custGeom>
            <a:ln w="5420" cap="flat">
              <a:solidFill>
                <a:srgbClr val="745DAD">
                  <a:alpha val="100000"/>
                </a:srgbClr>
              </a:solidFill>
              <a:prstDash val="solid"/>
              <a:round/>
            </a:ln>
          </p:spPr>
          <p:txBody>
            <a:bodyPr/>
            <a:lstStyle/>
            <a:p>
              <a:pPr defTabSz="914400"/>
              <a:endParaRPr>
                <a:solidFill>
                  <a:srgbClr val="001965"/>
                </a:solidFill>
                <a:latin typeface="Avenir Next LT Pro"/>
              </a:endParaRPr>
            </a:p>
          </p:txBody>
        </p:sp>
        <p:sp>
          <p:nvSpPr>
            <p:cNvPr id="11443" name="pl398">
              <a:extLst>
                <a:ext uri="{FF2B5EF4-FFF2-40B4-BE49-F238E27FC236}">
                  <a16:creationId xmlns:a16="http://schemas.microsoft.com/office/drawing/2014/main" id="{AC4E62DC-AC21-7857-53E3-69BFF756A959}"/>
                </a:ext>
              </a:extLst>
            </p:cNvPr>
            <p:cNvSpPr/>
            <p:nvPr/>
          </p:nvSpPr>
          <p:spPr>
            <a:xfrm>
              <a:off x="2197570" y="4145828"/>
              <a:ext cx="0" cy="44369"/>
            </a:xfrm>
            <a:custGeom>
              <a:avLst/>
              <a:gdLst/>
              <a:ahLst/>
              <a:cxnLst/>
              <a:rect l="0" t="0" r="0" b="0"/>
              <a:pathLst>
                <a:path h="41879">
                  <a:moveTo>
                    <a:pt x="0" y="41879"/>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44" name="pl399">
              <a:extLst>
                <a:ext uri="{FF2B5EF4-FFF2-40B4-BE49-F238E27FC236}">
                  <a16:creationId xmlns:a16="http://schemas.microsoft.com/office/drawing/2014/main" id="{1C7FAD1A-1534-A64E-E210-3578BBBC8FD2}"/>
                </a:ext>
              </a:extLst>
            </p:cNvPr>
            <p:cNvSpPr/>
            <p:nvPr/>
          </p:nvSpPr>
          <p:spPr>
            <a:xfrm>
              <a:off x="1784708" y="4031453"/>
              <a:ext cx="0" cy="28611"/>
            </a:xfrm>
            <a:custGeom>
              <a:avLst/>
              <a:gdLst/>
              <a:ahLst/>
              <a:cxnLst/>
              <a:rect l="0" t="0" r="0" b="0"/>
              <a:pathLst>
                <a:path h="27005">
                  <a:moveTo>
                    <a:pt x="0" y="27005"/>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45" name="pl400">
              <a:extLst>
                <a:ext uri="{FF2B5EF4-FFF2-40B4-BE49-F238E27FC236}">
                  <a16:creationId xmlns:a16="http://schemas.microsoft.com/office/drawing/2014/main" id="{185D5142-E9A9-C44A-05D7-B3C6CFA04F37}"/>
                </a:ext>
              </a:extLst>
            </p:cNvPr>
            <p:cNvSpPr/>
            <p:nvPr/>
          </p:nvSpPr>
          <p:spPr>
            <a:xfrm>
              <a:off x="3436157" y="4220558"/>
              <a:ext cx="0" cy="63719"/>
            </a:xfrm>
            <a:custGeom>
              <a:avLst/>
              <a:gdLst/>
              <a:ahLst/>
              <a:cxnLst/>
              <a:rect l="0" t="0" r="0" b="0"/>
              <a:pathLst>
                <a:path h="60143">
                  <a:moveTo>
                    <a:pt x="0" y="60143"/>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46" name="pl401">
              <a:extLst>
                <a:ext uri="{FF2B5EF4-FFF2-40B4-BE49-F238E27FC236}">
                  <a16:creationId xmlns:a16="http://schemas.microsoft.com/office/drawing/2014/main" id="{812663E6-F8AA-CAEC-657C-021406569D9E}"/>
                </a:ext>
              </a:extLst>
            </p:cNvPr>
            <p:cNvSpPr/>
            <p:nvPr/>
          </p:nvSpPr>
          <p:spPr>
            <a:xfrm>
              <a:off x="2335190" y="4200231"/>
              <a:ext cx="0" cy="34463"/>
            </a:xfrm>
            <a:custGeom>
              <a:avLst/>
              <a:gdLst/>
              <a:ahLst/>
              <a:cxnLst/>
              <a:rect l="0" t="0" r="0" b="0"/>
              <a:pathLst>
                <a:path h="32529">
                  <a:moveTo>
                    <a:pt x="0" y="32529"/>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47" name="pl402">
              <a:extLst>
                <a:ext uri="{FF2B5EF4-FFF2-40B4-BE49-F238E27FC236}">
                  <a16:creationId xmlns:a16="http://schemas.microsoft.com/office/drawing/2014/main" id="{A0BA3EEF-7782-C503-0A56-8F861709085D}"/>
                </a:ext>
              </a:extLst>
            </p:cNvPr>
            <p:cNvSpPr/>
            <p:nvPr/>
          </p:nvSpPr>
          <p:spPr>
            <a:xfrm>
              <a:off x="2954484" y="4172840"/>
              <a:ext cx="0" cy="44056"/>
            </a:xfrm>
            <a:custGeom>
              <a:avLst/>
              <a:gdLst/>
              <a:ahLst/>
              <a:cxnLst/>
              <a:rect l="0" t="0" r="0" b="0"/>
              <a:pathLst>
                <a:path h="41583">
                  <a:moveTo>
                    <a:pt x="0" y="41583"/>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48" name="pl403">
              <a:extLst>
                <a:ext uri="{FF2B5EF4-FFF2-40B4-BE49-F238E27FC236}">
                  <a16:creationId xmlns:a16="http://schemas.microsoft.com/office/drawing/2014/main" id="{4BE068A4-DDDC-FF3A-9911-CD137B575A55}"/>
                </a:ext>
              </a:extLst>
            </p:cNvPr>
            <p:cNvSpPr/>
            <p:nvPr/>
          </p:nvSpPr>
          <p:spPr>
            <a:xfrm>
              <a:off x="3367346" y="4239333"/>
              <a:ext cx="0" cy="50029"/>
            </a:xfrm>
            <a:custGeom>
              <a:avLst/>
              <a:gdLst/>
              <a:ahLst/>
              <a:cxnLst/>
              <a:rect l="0" t="0" r="0" b="0"/>
              <a:pathLst>
                <a:path h="47221">
                  <a:moveTo>
                    <a:pt x="0" y="47221"/>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49" name="pl404">
              <a:extLst>
                <a:ext uri="{FF2B5EF4-FFF2-40B4-BE49-F238E27FC236}">
                  <a16:creationId xmlns:a16="http://schemas.microsoft.com/office/drawing/2014/main" id="{D20541DF-1012-3F82-D46B-F2014C80245B}"/>
                </a:ext>
              </a:extLst>
            </p:cNvPr>
            <p:cNvSpPr/>
            <p:nvPr/>
          </p:nvSpPr>
          <p:spPr>
            <a:xfrm>
              <a:off x="1371845" y="3900963"/>
              <a:ext cx="0" cy="0"/>
            </a:xfrm>
            <a:custGeom>
              <a:avLst/>
              <a:gdLst/>
              <a:ahLst/>
              <a:cxnLst/>
              <a:rect l="0" t="0" r="0" b="0"/>
              <a:pathLst>
                <a:path>
                  <a:moveTo>
                    <a:pt x="0" y="0"/>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50" name="pl405">
              <a:extLst>
                <a:ext uri="{FF2B5EF4-FFF2-40B4-BE49-F238E27FC236}">
                  <a16:creationId xmlns:a16="http://schemas.microsoft.com/office/drawing/2014/main" id="{C9658D53-673A-B2E6-2AEE-A0DF54FC2D07}"/>
                </a:ext>
              </a:extLst>
            </p:cNvPr>
            <p:cNvSpPr/>
            <p:nvPr/>
          </p:nvSpPr>
          <p:spPr>
            <a:xfrm>
              <a:off x="2885673" y="4187444"/>
              <a:ext cx="0" cy="34536"/>
            </a:xfrm>
            <a:custGeom>
              <a:avLst/>
              <a:gdLst/>
              <a:ahLst/>
              <a:cxnLst/>
              <a:rect l="0" t="0" r="0" b="0"/>
              <a:pathLst>
                <a:path h="32598">
                  <a:moveTo>
                    <a:pt x="0" y="32598"/>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51" name="pl406">
              <a:extLst>
                <a:ext uri="{FF2B5EF4-FFF2-40B4-BE49-F238E27FC236}">
                  <a16:creationId xmlns:a16="http://schemas.microsoft.com/office/drawing/2014/main" id="{6752E1CD-191F-C57E-D7C1-91A606EA201D}"/>
                </a:ext>
              </a:extLst>
            </p:cNvPr>
            <p:cNvSpPr/>
            <p:nvPr/>
          </p:nvSpPr>
          <p:spPr>
            <a:xfrm>
              <a:off x="1922329" y="4076512"/>
              <a:ext cx="0" cy="31681"/>
            </a:xfrm>
            <a:custGeom>
              <a:avLst/>
              <a:gdLst/>
              <a:ahLst/>
              <a:cxnLst/>
              <a:rect l="0" t="0" r="0" b="0"/>
              <a:pathLst>
                <a:path h="29903">
                  <a:moveTo>
                    <a:pt x="0" y="29903"/>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52" name="pl407">
              <a:extLst>
                <a:ext uri="{FF2B5EF4-FFF2-40B4-BE49-F238E27FC236}">
                  <a16:creationId xmlns:a16="http://schemas.microsoft.com/office/drawing/2014/main" id="{258FAD9B-A846-413F-E07B-D51A1F0B6AC9}"/>
                </a:ext>
              </a:extLst>
            </p:cNvPr>
            <p:cNvSpPr/>
            <p:nvPr/>
          </p:nvSpPr>
          <p:spPr>
            <a:xfrm>
              <a:off x="3298536" y="4201354"/>
              <a:ext cx="0" cy="51138"/>
            </a:xfrm>
            <a:custGeom>
              <a:avLst/>
              <a:gdLst/>
              <a:ahLst/>
              <a:cxnLst/>
              <a:rect l="0" t="0" r="0" b="0"/>
              <a:pathLst>
                <a:path h="48268">
                  <a:moveTo>
                    <a:pt x="0" y="48268"/>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53" name="pl408">
              <a:extLst>
                <a:ext uri="{FF2B5EF4-FFF2-40B4-BE49-F238E27FC236}">
                  <a16:creationId xmlns:a16="http://schemas.microsoft.com/office/drawing/2014/main" id="{AD5D2FDA-3346-868E-2251-754AA8608B2D}"/>
                </a:ext>
              </a:extLst>
            </p:cNvPr>
            <p:cNvSpPr/>
            <p:nvPr/>
          </p:nvSpPr>
          <p:spPr>
            <a:xfrm>
              <a:off x="1578276" y="3983453"/>
              <a:ext cx="0" cy="17947"/>
            </a:xfrm>
            <a:custGeom>
              <a:avLst/>
              <a:gdLst/>
              <a:ahLst/>
              <a:cxnLst/>
              <a:rect l="0" t="0" r="0" b="0"/>
              <a:pathLst>
                <a:path h="16940">
                  <a:moveTo>
                    <a:pt x="0" y="16940"/>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54" name="pl409">
              <a:extLst>
                <a:ext uri="{FF2B5EF4-FFF2-40B4-BE49-F238E27FC236}">
                  <a16:creationId xmlns:a16="http://schemas.microsoft.com/office/drawing/2014/main" id="{3CA13F78-2288-B860-51F7-78EE932472F2}"/>
                </a:ext>
              </a:extLst>
            </p:cNvPr>
            <p:cNvSpPr/>
            <p:nvPr/>
          </p:nvSpPr>
          <p:spPr>
            <a:xfrm>
              <a:off x="1991139" y="4089943"/>
              <a:ext cx="0" cy="37957"/>
            </a:xfrm>
            <a:custGeom>
              <a:avLst/>
              <a:gdLst/>
              <a:ahLst/>
              <a:cxnLst/>
              <a:rect l="0" t="0" r="0" b="0"/>
              <a:pathLst>
                <a:path h="35827">
                  <a:moveTo>
                    <a:pt x="0" y="35827"/>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55" name="pl410">
              <a:extLst>
                <a:ext uri="{FF2B5EF4-FFF2-40B4-BE49-F238E27FC236}">
                  <a16:creationId xmlns:a16="http://schemas.microsoft.com/office/drawing/2014/main" id="{64A23EEF-72EA-D645-D3CB-97C9568C2805}"/>
                </a:ext>
              </a:extLst>
            </p:cNvPr>
            <p:cNvSpPr/>
            <p:nvPr/>
          </p:nvSpPr>
          <p:spPr>
            <a:xfrm>
              <a:off x="1440656" y="3918257"/>
              <a:ext cx="0" cy="12583"/>
            </a:xfrm>
            <a:custGeom>
              <a:avLst/>
              <a:gdLst/>
              <a:ahLst/>
              <a:cxnLst/>
              <a:rect l="0" t="0" r="0" b="0"/>
              <a:pathLst>
                <a:path h="11877">
                  <a:moveTo>
                    <a:pt x="0" y="11877"/>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56" name="pl411">
              <a:extLst>
                <a:ext uri="{FF2B5EF4-FFF2-40B4-BE49-F238E27FC236}">
                  <a16:creationId xmlns:a16="http://schemas.microsoft.com/office/drawing/2014/main" id="{499320EC-3A3A-3699-01C2-69F40B4D2B97}"/>
                </a:ext>
              </a:extLst>
            </p:cNvPr>
            <p:cNvSpPr/>
            <p:nvPr/>
          </p:nvSpPr>
          <p:spPr>
            <a:xfrm>
              <a:off x="1509466" y="3911668"/>
              <a:ext cx="0" cy="17901"/>
            </a:xfrm>
            <a:custGeom>
              <a:avLst/>
              <a:gdLst/>
              <a:ahLst/>
              <a:cxnLst/>
              <a:rect l="0" t="0" r="0" b="0"/>
              <a:pathLst>
                <a:path h="16896">
                  <a:moveTo>
                    <a:pt x="0" y="16896"/>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57" name="pl412">
              <a:extLst>
                <a:ext uri="{FF2B5EF4-FFF2-40B4-BE49-F238E27FC236}">
                  <a16:creationId xmlns:a16="http://schemas.microsoft.com/office/drawing/2014/main" id="{440F829F-B1E9-1CC4-2A75-23C5271ED108}"/>
                </a:ext>
              </a:extLst>
            </p:cNvPr>
            <p:cNvSpPr/>
            <p:nvPr/>
          </p:nvSpPr>
          <p:spPr>
            <a:xfrm>
              <a:off x="2541622" y="4231868"/>
              <a:ext cx="0" cy="32704"/>
            </a:xfrm>
            <a:custGeom>
              <a:avLst/>
              <a:gdLst/>
              <a:ahLst/>
              <a:cxnLst/>
              <a:rect l="0" t="0" r="0" b="0"/>
              <a:pathLst>
                <a:path h="30868">
                  <a:moveTo>
                    <a:pt x="0" y="30868"/>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58" name="pl413">
              <a:extLst>
                <a:ext uri="{FF2B5EF4-FFF2-40B4-BE49-F238E27FC236}">
                  <a16:creationId xmlns:a16="http://schemas.microsoft.com/office/drawing/2014/main" id="{CCB63EFF-8C12-BB70-1CB0-33C41A6C7752}"/>
                </a:ext>
              </a:extLst>
            </p:cNvPr>
            <p:cNvSpPr/>
            <p:nvPr/>
          </p:nvSpPr>
          <p:spPr>
            <a:xfrm>
              <a:off x="1715897" y="4017621"/>
              <a:ext cx="0" cy="30184"/>
            </a:xfrm>
            <a:custGeom>
              <a:avLst/>
              <a:gdLst/>
              <a:ahLst/>
              <a:cxnLst/>
              <a:rect l="0" t="0" r="0" b="0"/>
              <a:pathLst>
                <a:path h="28490">
                  <a:moveTo>
                    <a:pt x="0" y="28490"/>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59" name="pl414">
              <a:extLst>
                <a:ext uri="{FF2B5EF4-FFF2-40B4-BE49-F238E27FC236}">
                  <a16:creationId xmlns:a16="http://schemas.microsoft.com/office/drawing/2014/main" id="{4BE4BBD6-BC48-765D-8726-B14B7559E4CC}"/>
                </a:ext>
              </a:extLst>
            </p:cNvPr>
            <p:cNvSpPr/>
            <p:nvPr/>
          </p:nvSpPr>
          <p:spPr>
            <a:xfrm>
              <a:off x="3160916" y="4217102"/>
              <a:ext cx="0" cy="50011"/>
            </a:xfrm>
            <a:custGeom>
              <a:avLst/>
              <a:gdLst/>
              <a:ahLst/>
              <a:cxnLst/>
              <a:rect l="0" t="0" r="0" b="0"/>
              <a:pathLst>
                <a:path h="47204">
                  <a:moveTo>
                    <a:pt x="0" y="47204"/>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60" name="pl415">
              <a:extLst>
                <a:ext uri="{FF2B5EF4-FFF2-40B4-BE49-F238E27FC236}">
                  <a16:creationId xmlns:a16="http://schemas.microsoft.com/office/drawing/2014/main" id="{3588574D-8FFC-75B8-5656-A9D617CDA702}"/>
                </a:ext>
              </a:extLst>
            </p:cNvPr>
            <p:cNvSpPr/>
            <p:nvPr/>
          </p:nvSpPr>
          <p:spPr>
            <a:xfrm>
              <a:off x="2679243" y="4195771"/>
              <a:ext cx="0" cy="44008"/>
            </a:xfrm>
            <a:custGeom>
              <a:avLst/>
              <a:gdLst/>
              <a:ahLst/>
              <a:cxnLst/>
              <a:rect l="0" t="0" r="0" b="0"/>
              <a:pathLst>
                <a:path h="41538">
                  <a:moveTo>
                    <a:pt x="0" y="41538"/>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61" name="pl416">
              <a:extLst>
                <a:ext uri="{FF2B5EF4-FFF2-40B4-BE49-F238E27FC236}">
                  <a16:creationId xmlns:a16="http://schemas.microsoft.com/office/drawing/2014/main" id="{76A35790-C9FE-5FDA-C8DB-7040F594AA83}"/>
                </a:ext>
              </a:extLst>
            </p:cNvPr>
            <p:cNvSpPr/>
            <p:nvPr/>
          </p:nvSpPr>
          <p:spPr>
            <a:xfrm>
              <a:off x="2266380" y="4170129"/>
              <a:ext cx="0" cy="37231"/>
            </a:xfrm>
            <a:custGeom>
              <a:avLst/>
              <a:gdLst/>
              <a:ahLst/>
              <a:cxnLst/>
              <a:rect l="0" t="0" r="0" b="0"/>
              <a:pathLst>
                <a:path h="35141">
                  <a:moveTo>
                    <a:pt x="0" y="35141"/>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62" name="pl417">
              <a:extLst>
                <a:ext uri="{FF2B5EF4-FFF2-40B4-BE49-F238E27FC236}">
                  <a16:creationId xmlns:a16="http://schemas.microsoft.com/office/drawing/2014/main" id="{99838E57-530E-6B10-1E45-36A455EE6198}"/>
                </a:ext>
              </a:extLst>
            </p:cNvPr>
            <p:cNvSpPr/>
            <p:nvPr/>
          </p:nvSpPr>
          <p:spPr>
            <a:xfrm>
              <a:off x="2059949" y="4138801"/>
              <a:ext cx="0" cy="35504"/>
            </a:xfrm>
            <a:custGeom>
              <a:avLst/>
              <a:gdLst/>
              <a:ahLst/>
              <a:cxnLst/>
              <a:rect l="0" t="0" r="0" b="0"/>
              <a:pathLst>
                <a:path h="33511">
                  <a:moveTo>
                    <a:pt x="0" y="33511"/>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63" name="pl418">
              <a:extLst>
                <a:ext uri="{FF2B5EF4-FFF2-40B4-BE49-F238E27FC236}">
                  <a16:creationId xmlns:a16="http://schemas.microsoft.com/office/drawing/2014/main" id="{AAE0470A-A3C0-C6F9-DC46-D55BD507E930}"/>
                </a:ext>
              </a:extLst>
            </p:cNvPr>
            <p:cNvSpPr/>
            <p:nvPr/>
          </p:nvSpPr>
          <p:spPr>
            <a:xfrm>
              <a:off x="3092105" y="4214991"/>
              <a:ext cx="0" cy="45766"/>
            </a:xfrm>
            <a:custGeom>
              <a:avLst/>
              <a:gdLst/>
              <a:ahLst/>
              <a:cxnLst/>
              <a:rect l="0" t="0" r="0" b="0"/>
              <a:pathLst>
                <a:path h="43197">
                  <a:moveTo>
                    <a:pt x="0" y="43197"/>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64" name="pl419">
              <a:extLst>
                <a:ext uri="{FF2B5EF4-FFF2-40B4-BE49-F238E27FC236}">
                  <a16:creationId xmlns:a16="http://schemas.microsoft.com/office/drawing/2014/main" id="{844163BF-220A-2066-1CF3-DB4C86C13F1E}"/>
                </a:ext>
              </a:extLst>
            </p:cNvPr>
            <p:cNvSpPr/>
            <p:nvPr/>
          </p:nvSpPr>
          <p:spPr>
            <a:xfrm>
              <a:off x="2404002" y="4181183"/>
              <a:ext cx="0" cy="36984"/>
            </a:xfrm>
            <a:custGeom>
              <a:avLst/>
              <a:gdLst/>
              <a:ahLst/>
              <a:cxnLst/>
              <a:rect l="0" t="0" r="0" b="0"/>
              <a:pathLst>
                <a:path h="34908">
                  <a:moveTo>
                    <a:pt x="0" y="34908"/>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65" name="pl420">
              <a:extLst>
                <a:ext uri="{FF2B5EF4-FFF2-40B4-BE49-F238E27FC236}">
                  <a16:creationId xmlns:a16="http://schemas.microsoft.com/office/drawing/2014/main" id="{668FD30A-4746-E12E-DD96-8EA3F739AF08}"/>
                </a:ext>
              </a:extLst>
            </p:cNvPr>
            <p:cNvSpPr/>
            <p:nvPr/>
          </p:nvSpPr>
          <p:spPr>
            <a:xfrm>
              <a:off x="1853518" y="4060717"/>
              <a:ext cx="0" cy="30313"/>
            </a:xfrm>
            <a:custGeom>
              <a:avLst/>
              <a:gdLst/>
              <a:ahLst/>
              <a:cxnLst/>
              <a:rect l="0" t="0" r="0" b="0"/>
              <a:pathLst>
                <a:path h="28612">
                  <a:moveTo>
                    <a:pt x="0" y="28612"/>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66" name="pl421">
              <a:extLst>
                <a:ext uri="{FF2B5EF4-FFF2-40B4-BE49-F238E27FC236}">
                  <a16:creationId xmlns:a16="http://schemas.microsoft.com/office/drawing/2014/main" id="{B2184EED-FCF7-6F4C-8EAC-E4AB57F7C525}"/>
                </a:ext>
              </a:extLst>
            </p:cNvPr>
            <p:cNvSpPr/>
            <p:nvPr/>
          </p:nvSpPr>
          <p:spPr>
            <a:xfrm>
              <a:off x="3229726" y="4188423"/>
              <a:ext cx="0" cy="50084"/>
            </a:xfrm>
            <a:custGeom>
              <a:avLst/>
              <a:gdLst/>
              <a:ahLst/>
              <a:cxnLst/>
              <a:rect l="0" t="0" r="0" b="0"/>
              <a:pathLst>
                <a:path h="47273">
                  <a:moveTo>
                    <a:pt x="0" y="47273"/>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67" name="pl422">
              <a:extLst>
                <a:ext uri="{FF2B5EF4-FFF2-40B4-BE49-F238E27FC236}">
                  <a16:creationId xmlns:a16="http://schemas.microsoft.com/office/drawing/2014/main" id="{BC87A1E8-BAC5-3B76-186C-618C4E1A30CE}"/>
                </a:ext>
              </a:extLst>
            </p:cNvPr>
            <p:cNvSpPr/>
            <p:nvPr/>
          </p:nvSpPr>
          <p:spPr>
            <a:xfrm>
              <a:off x="2128759" y="4119819"/>
              <a:ext cx="0" cy="43044"/>
            </a:xfrm>
            <a:custGeom>
              <a:avLst/>
              <a:gdLst/>
              <a:ahLst/>
              <a:cxnLst/>
              <a:rect l="0" t="0" r="0" b="0"/>
              <a:pathLst>
                <a:path h="40628">
                  <a:moveTo>
                    <a:pt x="0" y="40628"/>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68" name="pl423">
              <a:extLst>
                <a:ext uri="{FF2B5EF4-FFF2-40B4-BE49-F238E27FC236}">
                  <a16:creationId xmlns:a16="http://schemas.microsoft.com/office/drawing/2014/main" id="{A06DDA30-DD3A-692A-1B97-654E1686312E}"/>
                </a:ext>
              </a:extLst>
            </p:cNvPr>
            <p:cNvSpPr/>
            <p:nvPr/>
          </p:nvSpPr>
          <p:spPr>
            <a:xfrm>
              <a:off x="2610432" y="4189807"/>
              <a:ext cx="0" cy="45523"/>
            </a:xfrm>
            <a:custGeom>
              <a:avLst/>
              <a:gdLst/>
              <a:ahLst/>
              <a:cxnLst/>
              <a:rect l="0" t="0" r="0" b="0"/>
              <a:pathLst>
                <a:path h="42968">
                  <a:moveTo>
                    <a:pt x="0" y="42968"/>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69" name="pl424">
              <a:extLst>
                <a:ext uri="{FF2B5EF4-FFF2-40B4-BE49-F238E27FC236}">
                  <a16:creationId xmlns:a16="http://schemas.microsoft.com/office/drawing/2014/main" id="{D784AC94-A3FD-8FF6-2B82-11CF8856C9B7}"/>
                </a:ext>
              </a:extLst>
            </p:cNvPr>
            <p:cNvSpPr/>
            <p:nvPr/>
          </p:nvSpPr>
          <p:spPr>
            <a:xfrm>
              <a:off x="3504967" y="4179933"/>
              <a:ext cx="0" cy="69382"/>
            </a:xfrm>
            <a:custGeom>
              <a:avLst/>
              <a:gdLst/>
              <a:ahLst/>
              <a:cxnLst/>
              <a:rect l="0" t="0" r="0" b="0"/>
              <a:pathLst>
                <a:path h="65488">
                  <a:moveTo>
                    <a:pt x="0" y="65488"/>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70" name="pl425">
              <a:extLst>
                <a:ext uri="{FF2B5EF4-FFF2-40B4-BE49-F238E27FC236}">
                  <a16:creationId xmlns:a16="http://schemas.microsoft.com/office/drawing/2014/main" id="{AAB984EE-7DEF-A1EF-AB45-F85435134FEA}"/>
                </a:ext>
              </a:extLst>
            </p:cNvPr>
            <p:cNvSpPr/>
            <p:nvPr/>
          </p:nvSpPr>
          <p:spPr>
            <a:xfrm>
              <a:off x="1647087" y="4004896"/>
              <a:ext cx="0" cy="22568"/>
            </a:xfrm>
            <a:custGeom>
              <a:avLst/>
              <a:gdLst/>
              <a:ahLst/>
              <a:cxnLst/>
              <a:rect l="0" t="0" r="0" b="0"/>
              <a:pathLst>
                <a:path h="21301">
                  <a:moveTo>
                    <a:pt x="0" y="21301"/>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71" name="pl426">
              <a:extLst>
                <a:ext uri="{FF2B5EF4-FFF2-40B4-BE49-F238E27FC236}">
                  <a16:creationId xmlns:a16="http://schemas.microsoft.com/office/drawing/2014/main" id="{6BD73132-56FA-7CD2-6247-F7D34DE964CF}"/>
                </a:ext>
              </a:extLst>
            </p:cNvPr>
            <p:cNvSpPr/>
            <p:nvPr/>
          </p:nvSpPr>
          <p:spPr>
            <a:xfrm>
              <a:off x="2472812" y="4222212"/>
              <a:ext cx="0" cy="48081"/>
            </a:xfrm>
            <a:custGeom>
              <a:avLst/>
              <a:gdLst/>
              <a:ahLst/>
              <a:cxnLst/>
              <a:rect l="0" t="0" r="0" b="0"/>
              <a:pathLst>
                <a:path h="45382">
                  <a:moveTo>
                    <a:pt x="0" y="45382"/>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72" name="pl427">
              <a:extLst>
                <a:ext uri="{FF2B5EF4-FFF2-40B4-BE49-F238E27FC236}">
                  <a16:creationId xmlns:a16="http://schemas.microsoft.com/office/drawing/2014/main" id="{729A0051-3EAF-580B-BEE4-61F3F5F2E27C}"/>
                </a:ext>
              </a:extLst>
            </p:cNvPr>
            <p:cNvSpPr/>
            <p:nvPr/>
          </p:nvSpPr>
          <p:spPr>
            <a:xfrm>
              <a:off x="3023295" y="4203281"/>
              <a:ext cx="0" cy="42854"/>
            </a:xfrm>
            <a:custGeom>
              <a:avLst/>
              <a:gdLst/>
              <a:ahLst/>
              <a:cxnLst/>
              <a:rect l="0" t="0" r="0" b="0"/>
              <a:pathLst>
                <a:path h="40449">
                  <a:moveTo>
                    <a:pt x="0" y="40449"/>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73" name="pl428">
              <a:extLst>
                <a:ext uri="{FF2B5EF4-FFF2-40B4-BE49-F238E27FC236}">
                  <a16:creationId xmlns:a16="http://schemas.microsoft.com/office/drawing/2014/main" id="{11C4B295-CEAF-5F35-E692-BAC5F509B0B8}"/>
                </a:ext>
              </a:extLst>
            </p:cNvPr>
            <p:cNvSpPr/>
            <p:nvPr/>
          </p:nvSpPr>
          <p:spPr>
            <a:xfrm>
              <a:off x="2816863" y="4231881"/>
              <a:ext cx="0" cy="37775"/>
            </a:xfrm>
            <a:custGeom>
              <a:avLst/>
              <a:gdLst/>
              <a:ahLst/>
              <a:cxnLst/>
              <a:rect l="0" t="0" r="0" b="0"/>
              <a:pathLst>
                <a:path h="35655">
                  <a:moveTo>
                    <a:pt x="0" y="35655"/>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74" name="pl429">
              <a:extLst>
                <a:ext uri="{FF2B5EF4-FFF2-40B4-BE49-F238E27FC236}">
                  <a16:creationId xmlns:a16="http://schemas.microsoft.com/office/drawing/2014/main" id="{EE488969-42CA-0A82-0F7C-E8469595D5B1}"/>
                </a:ext>
              </a:extLst>
            </p:cNvPr>
            <p:cNvSpPr/>
            <p:nvPr/>
          </p:nvSpPr>
          <p:spPr>
            <a:xfrm>
              <a:off x="2748053" y="4221378"/>
              <a:ext cx="0" cy="42558"/>
            </a:xfrm>
            <a:custGeom>
              <a:avLst/>
              <a:gdLst/>
              <a:ahLst/>
              <a:cxnLst/>
              <a:rect l="0" t="0" r="0" b="0"/>
              <a:pathLst>
                <a:path h="40169">
                  <a:moveTo>
                    <a:pt x="0" y="40169"/>
                  </a:moveTo>
                  <a:lnTo>
                    <a:pt x="0" y="0"/>
                  </a:lnTo>
                </a:path>
              </a:pathLst>
            </a:custGeom>
            <a:ln w="5420" cap="flat">
              <a:solidFill>
                <a:srgbClr val="F3F44D">
                  <a:alpha val="100000"/>
                </a:srgbClr>
              </a:solidFill>
              <a:prstDash val="solid"/>
              <a:round/>
            </a:ln>
          </p:spPr>
          <p:txBody>
            <a:bodyPr/>
            <a:lstStyle/>
            <a:p>
              <a:pPr defTabSz="914400"/>
              <a:endParaRPr>
                <a:solidFill>
                  <a:srgbClr val="001965"/>
                </a:solidFill>
                <a:latin typeface="Avenir Next LT Pro"/>
              </a:endParaRPr>
            </a:p>
          </p:txBody>
        </p:sp>
        <p:sp>
          <p:nvSpPr>
            <p:cNvPr id="11475" name="pl430">
              <a:extLst>
                <a:ext uri="{FF2B5EF4-FFF2-40B4-BE49-F238E27FC236}">
                  <a16:creationId xmlns:a16="http://schemas.microsoft.com/office/drawing/2014/main" id="{4C28859E-B5C6-DA6B-C634-52032C6CF4F4}"/>
                </a:ext>
              </a:extLst>
            </p:cNvPr>
            <p:cNvSpPr/>
            <p:nvPr/>
          </p:nvSpPr>
          <p:spPr>
            <a:xfrm>
              <a:off x="2197570" y="4175554"/>
              <a:ext cx="0" cy="40706"/>
            </a:xfrm>
            <a:custGeom>
              <a:avLst/>
              <a:gdLst/>
              <a:ahLst/>
              <a:cxnLst/>
              <a:rect l="0" t="0" r="0" b="0"/>
              <a:pathLst>
                <a:path h="38421">
                  <a:moveTo>
                    <a:pt x="0" y="38421"/>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76" name="pl431">
              <a:extLst>
                <a:ext uri="{FF2B5EF4-FFF2-40B4-BE49-F238E27FC236}">
                  <a16:creationId xmlns:a16="http://schemas.microsoft.com/office/drawing/2014/main" id="{10E91A12-566A-6411-6E25-5593AE239D3E}"/>
                </a:ext>
              </a:extLst>
            </p:cNvPr>
            <p:cNvSpPr/>
            <p:nvPr/>
          </p:nvSpPr>
          <p:spPr>
            <a:xfrm>
              <a:off x="1784708" y="4236326"/>
              <a:ext cx="0" cy="40323"/>
            </a:xfrm>
            <a:custGeom>
              <a:avLst/>
              <a:gdLst/>
              <a:ahLst/>
              <a:cxnLst/>
              <a:rect l="0" t="0" r="0" b="0"/>
              <a:pathLst>
                <a:path h="38060">
                  <a:moveTo>
                    <a:pt x="0" y="38060"/>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77" name="pl432">
              <a:extLst>
                <a:ext uri="{FF2B5EF4-FFF2-40B4-BE49-F238E27FC236}">
                  <a16:creationId xmlns:a16="http://schemas.microsoft.com/office/drawing/2014/main" id="{3B50E811-031A-0B28-02B5-BD7DCF26C811}"/>
                </a:ext>
              </a:extLst>
            </p:cNvPr>
            <p:cNvSpPr/>
            <p:nvPr/>
          </p:nvSpPr>
          <p:spPr>
            <a:xfrm>
              <a:off x="3436157" y="4115921"/>
              <a:ext cx="0" cy="59654"/>
            </a:xfrm>
            <a:custGeom>
              <a:avLst/>
              <a:gdLst/>
              <a:ahLst/>
              <a:cxnLst/>
              <a:rect l="0" t="0" r="0" b="0"/>
              <a:pathLst>
                <a:path h="56306">
                  <a:moveTo>
                    <a:pt x="0" y="56306"/>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78" name="pl433">
              <a:extLst>
                <a:ext uri="{FF2B5EF4-FFF2-40B4-BE49-F238E27FC236}">
                  <a16:creationId xmlns:a16="http://schemas.microsoft.com/office/drawing/2014/main" id="{1C7159D8-7CA6-6278-6C6C-F1E0E0827A4B}"/>
                </a:ext>
              </a:extLst>
            </p:cNvPr>
            <p:cNvSpPr/>
            <p:nvPr/>
          </p:nvSpPr>
          <p:spPr>
            <a:xfrm>
              <a:off x="2335190" y="4163859"/>
              <a:ext cx="0" cy="37780"/>
            </a:xfrm>
            <a:custGeom>
              <a:avLst/>
              <a:gdLst/>
              <a:ahLst/>
              <a:cxnLst/>
              <a:rect l="0" t="0" r="0" b="0"/>
              <a:pathLst>
                <a:path h="35660">
                  <a:moveTo>
                    <a:pt x="0" y="35660"/>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79" name="pl434">
              <a:extLst>
                <a:ext uri="{FF2B5EF4-FFF2-40B4-BE49-F238E27FC236}">
                  <a16:creationId xmlns:a16="http://schemas.microsoft.com/office/drawing/2014/main" id="{03807CE3-5C99-6E12-29E3-8542F7359F15}"/>
                </a:ext>
              </a:extLst>
            </p:cNvPr>
            <p:cNvSpPr/>
            <p:nvPr/>
          </p:nvSpPr>
          <p:spPr>
            <a:xfrm>
              <a:off x="2954484" y="4150273"/>
              <a:ext cx="0" cy="37381"/>
            </a:xfrm>
            <a:custGeom>
              <a:avLst/>
              <a:gdLst/>
              <a:ahLst/>
              <a:cxnLst/>
              <a:rect l="0" t="0" r="0" b="0"/>
              <a:pathLst>
                <a:path h="35283">
                  <a:moveTo>
                    <a:pt x="0" y="35283"/>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80" name="pl435">
              <a:extLst>
                <a:ext uri="{FF2B5EF4-FFF2-40B4-BE49-F238E27FC236}">
                  <a16:creationId xmlns:a16="http://schemas.microsoft.com/office/drawing/2014/main" id="{AEC706AF-5695-27C4-E1F5-CA8247C5B90D}"/>
                </a:ext>
              </a:extLst>
            </p:cNvPr>
            <p:cNvSpPr/>
            <p:nvPr/>
          </p:nvSpPr>
          <p:spPr>
            <a:xfrm>
              <a:off x="3367346" y="4161202"/>
              <a:ext cx="0" cy="60777"/>
            </a:xfrm>
            <a:custGeom>
              <a:avLst/>
              <a:gdLst/>
              <a:ahLst/>
              <a:cxnLst/>
              <a:rect l="0" t="0" r="0" b="0"/>
              <a:pathLst>
                <a:path h="57366">
                  <a:moveTo>
                    <a:pt x="0" y="57366"/>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81" name="pl436">
              <a:extLst>
                <a:ext uri="{FF2B5EF4-FFF2-40B4-BE49-F238E27FC236}">
                  <a16:creationId xmlns:a16="http://schemas.microsoft.com/office/drawing/2014/main" id="{7EB3CBAE-0415-5A2A-CFF5-C02CFC4A4013}"/>
                </a:ext>
              </a:extLst>
            </p:cNvPr>
            <p:cNvSpPr/>
            <p:nvPr/>
          </p:nvSpPr>
          <p:spPr>
            <a:xfrm>
              <a:off x="1371845" y="3900963"/>
              <a:ext cx="0" cy="0"/>
            </a:xfrm>
            <a:custGeom>
              <a:avLst/>
              <a:gdLst/>
              <a:ahLst/>
              <a:cxnLst/>
              <a:rect l="0" t="0" r="0" b="0"/>
              <a:pathLst>
                <a:path>
                  <a:moveTo>
                    <a:pt x="0" y="0"/>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82" name="pl437">
              <a:extLst>
                <a:ext uri="{FF2B5EF4-FFF2-40B4-BE49-F238E27FC236}">
                  <a16:creationId xmlns:a16="http://schemas.microsoft.com/office/drawing/2014/main" id="{B505A805-2DB5-5C98-538D-D144B087C0D4}"/>
                </a:ext>
              </a:extLst>
            </p:cNvPr>
            <p:cNvSpPr/>
            <p:nvPr/>
          </p:nvSpPr>
          <p:spPr>
            <a:xfrm>
              <a:off x="2885673" y="4103008"/>
              <a:ext cx="0" cy="41419"/>
            </a:xfrm>
            <a:custGeom>
              <a:avLst/>
              <a:gdLst/>
              <a:ahLst/>
              <a:cxnLst/>
              <a:rect l="0" t="0" r="0" b="0"/>
              <a:pathLst>
                <a:path h="39094">
                  <a:moveTo>
                    <a:pt x="0" y="39094"/>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83" name="pl438">
              <a:extLst>
                <a:ext uri="{FF2B5EF4-FFF2-40B4-BE49-F238E27FC236}">
                  <a16:creationId xmlns:a16="http://schemas.microsoft.com/office/drawing/2014/main" id="{E0610AAB-A265-3406-1192-F35CBCE3D18C}"/>
                </a:ext>
              </a:extLst>
            </p:cNvPr>
            <p:cNvSpPr/>
            <p:nvPr/>
          </p:nvSpPr>
          <p:spPr>
            <a:xfrm>
              <a:off x="1922329" y="4229593"/>
              <a:ext cx="0" cy="23536"/>
            </a:xfrm>
            <a:custGeom>
              <a:avLst/>
              <a:gdLst/>
              <a:ahLst/>
              <a:cxnLst/>
              <a:rect l="0" t="0" r="0" b="0"/>
              <a:pathLst>
                <a:path h="22215">
                  <a:moveTo>
                    <a:pt x="0" y="22215"/>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84" name="pl439">
              <a:extLst>
                <a:ext uri="{FF2B5EF4-FFF2-40B4-BE49-F238E27FC236}">
                  <a16:creationId xmlns:a16="http://schemas.microsoft.com/office/drawing/2014/main" id="{99CFF2CE-9A61-425F-91A4-35AE1661A734}"/>
                </a:ext>
              </a:extLst>
            </p:cNvPr>
            <p:cNvSpPr/>
            <p:nvPr/>
          </p:nvSpPr>
          <p:spPr>
            <a:xfrm>
              <a:off x="3298536" y="4154438"/>
              <a:ext cx="0" cy="48473"/>
            </a:xfrm>
            <a:custGeom>
              <a:avLst/>
              <a:gdLst/>
              <a:ahLst/>
              <a:cxnLst/>
              <a:rect l="0" t="0" r="0" b="0"/>
              <a:pathLst>
                <a:path h="45752">
                  <a:moveTo>
                    <a:pt x="0" y="45752"/>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85" name="pl440">
              <a:extLst>
                <a:ext uri="{FF2B5EF4-FFF2-40B4-BE49-F238E27FC236}">
                  <a16:creationId xmlns:a16="http://schemas.microsoft.com/office/drawing/2014/main" id="{7817384B-BB65-2FF2-6551-2F74793C7447}"/>
                </a:ext>
              </a:extLst>
            </p:cNvPr>
            <p:cNvSpPr/>
            <p:nvPr/>
          </p:nvSpPr>
          <p:spPr>
            <a:xfrm>
              <a:off x="1578276" y="4162835"/>
              <a:ext cx="0" cy="24819"/>
            </a:xfrm>
            <a:custGeom>
              <a:avLst/>
              <a:gdLst/>
              <a:ahLst/>
              <a:cxnLst/>
              <a:rect l="0" t="0" r="0" b="0"/>
              <a:pathLst>
                <a:path h="23426">
                  <a:moveTo>
                    <a:pt x="0" y="23426"/>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86" name="pl441">
              <a:extLst>
                <a:ext uri="{FF2B5EF4-FFF2-40B4-BE49-F238E27FC236}">
                  <a16:creationId xmlns:a16="http://schemas.microsoft.com/office/drawing/2014/main" id="{380F556D-F9D9-1EA9-4CAC-0DC4F2A2FCA7}"/>
                </a:ext>
              </a:extLst>
            </p:cNvPr>
            <p:cNvSpPr/>
            <p:nvPr/>
          </p:nvSpPr>
          <p:spPr>
            <a:xfrm>
              <a:off x="1991139" y="4208154"/>
              <a:ext cx="0" cy="39889"/>
            </a:xfrm>
            <a:custGeom>
              <a:avLst/>
              <a:gdLst/>
              <a:ahLst/>
              <a:cxnLst/>
              <a:rect l="0" t="0" r="0" b="0"/>
              <a:pathLst>
                <a:path h="37650">
                  <a:moveTo>
                    <a:pt x="0" y="37650"/>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87" name="pl442">
              <a:extLst>
                <a:ext uri="{FF2B5EF4-FFF2-40B4-BE49-F238E27FC236}">
                  <a16:creationId xmlns:a16="http://schemas.microsoft.com/office/drawing/2014/main" id="{5D7D3DC3-FA1E-5FDF-3036-8B9C25205073}"/>
                </a:ext>
              </a:extLst>
            </p:cNvPr>
            <p:cNvSpPr/>
            <p:nvPr/>
          </p:nvSpPr>
          <p:spPr>
            <a:xfrm>
              <a:off x="1440656" y="3974290"/>
              <a:ext cx="0" cy="17574"/>
            </a:xfrm>
            <a:custGeom>
              <a:avLst/>
              <a:gdLst/>
              <a:ahLst/>
              <a:cxnLst/>
              <a:rect l="0" t="0" r="0" b="0"/>
              <a:pathLst>
                <a:path h="16588">
                  <a:moveTo>
                    <a:pt x="0" y="16588"/>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88" name="pl443">
              <a:extLst>
                <a:ext uri="{FF2B5EF4-FFF2-40B4-BE49-F238E27FC236}">
                  <a16:creationId xmlns:a16="http://schemas.microsoft.com/office/drawing/2014/main" id="{C5A13F0D-94D5-16D3-263B-2FD328F66866}"/>
                </a:ext>
              </a:extLst>
            </p:cNvPr>
            <p:cNvSpPr/>
            <p:nvPr/>
          </p:nvSpPr>
          <p:spPr>
            <a:xfrm>
              <a:off x="1509466" y="4100976"/>
              <a:ext cx="0" cy="18659"/>
            </a:xfrm>
            <a:custGeom>
              <a:avLst/>
              <a:gdLst/>
              <a:ahLst/>
              <a:cxnLst/>
              <a:rect l="0" t="0" r="0" b="0"/>
              <a:pathLst>
                <a:path h="17612">
                  <a:moveTo>
                    <a:pt x="0" y="17612"/>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89" name="pl444">
              <a:extLst>
                <a:ext uri="{FF2B5EF4-FFF2-40B4-BE49-F238E27FC236}">
                  <a16:creationId xmlns:a16="http://schemas.microsoft.com/office/drawing/2014/main" id="{18401354-E2E6-C40F-3A14-546A937847DE}"/>
                </a:ext>
              </a:extLst>
            </p:cNvPr>
            <p:cNvSpPr/>
            <p:nvPr/>
          </p:nvSpPr>
          <p:spPr>
            <a:xfrm>
              <a:off x="2541622" y="4160042"/>
              <a:ext cx="0" cy="46682"/>
            </a:xfrm>
            <a:custGeom>
              <a:avLst/>
              <a:gdLst/>
              <a:ahLst/>
              <a:cxnLst/>
              <a:rect l="0" t="0" r="0" b="0"/>
              <a:pathLst>
                <a:path h="44062">
                  <a:moveTo>
                    <a:pt x="0" y="44062"/>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90" name="pl445">
              <a:extLst>
                <a:ext uri="{FF2B5EF4-FFF2-40B4-BE49-F238E27FC236}">
                  <a16:creationId xmlns:a16="http://schemas.microsoft.com/office/drawing/2014/main" id="{4BA0B49A-B5BF-61CE-F112-6D051A048C99}"/>
                </a:ext>
              </a:extLst>
            </p:cNvPr>
            <p:cNvSpPr/>
            <p:nvPr/>
          </p:nvSpPr>
          <p:spPr>
            <a:xfrm>
              <a:off x="1715897" y="4235169"/>
              <a:ext cx="0" cy="29402"/>
            </a:xfrm>
            <a:custGeom>
              <a:avLst/>
              <a:gdLst/>
              <a:ahLst/>
              <a:cxnLst/>
              <a:rect l="0" t="0" r="0" b="0"/>
              <a:pathLst>
                <a:path h="27752">
                  <a:moveTo>
                    <a:pt x="0" y="27752"/>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91" name="pl446">
              <a:extLst>
                <a:ext uri="{FF2B5EF4-FFF2-40B4-BE49-F238E27FC236}">
                  <a16:creationId xmlns:a16="http://schemas.microsoft.com/office/drawing/2014/main" id="{A0671906-8FCD-F1AF-E607-AEA6EEEE3AFE}"/>
                </a:ext>
              </a:extLst>
            </p:cNvPr>
            <p:cNvSpPr/>
            <p:nvPr/>
          </p:nvSpPr>
          <p:spPr>
            <a:xfrm>
              <a:off x="3160916" y="4110880"/>
              <a:ext cx="0" cy="67239"/>
            </a:xfrm>
            <a:custGeom>
              <a:avLst/>
              <a:gdLst/>
              <a:ahLst/>
              <a:cxnLst/>
              <a:rect l="0" t="0" r="0" b="0"/>
              <a:pathLst>
                <a:path h="63465">
                  <a:moveTo>
                    <a:pt x="0" y="63465"/>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92" name="pl447">
              <a:extLst>
                <a:ext uri="{FF2B5EF4-FFF2-40B4-BE49-F238E27FC236}">
                  <a16:creationId xmlns:a16="http://schemas.microsoft.com/office/drawing/2014/main" id="{A18080F4-48FC-D320-CCB2-BF60361D103E}"/>
                </a:ext>
              </a:extLst>
            </p:cNvPr>
            <p:cNvSpPr/>
            <p:nvPr/>
          </p:nvSpPr>
          <p:spPr>
            <a:xfrm>
              <a:off x="2679243" y="4141308"/>
              <a:ext cx="0" cy="43804"/>
            </a:xfrm>
            <a:custGeom>
              <a:avLst/>
              <a:gdLst/>
              <a:ahLst/>
              <a:cxnLst/>
              <a:rect l="0" t="0" r="0" b="0"/>
              <a:pathLst>
                <a:path h="41345">
                  <a:moveTo>
                    <a:pt x="0" y="41345"/>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93" name="pl448">
              <a:extLst>
                <a:ext uri="{FF2B5EF4-FFF2-40B4-BE49-F238E27FC236}">
                  <a16:creationId xmlns:a16="http://schemas.microsoft.com/office/drawing/2014/main" id="{8851348E-9EC1-D8E3-AD12-CFA714DCB0D7}"/>
                </a:ext>
              </a:extLst>
            </p:cNvPr>
            <p:cNvSpPr/>
            <p:nvPr/>
          </p:nvSpPr>
          <p:spPr>
            <a:xfrm>
              <a:off x="2266380" y="4162243"/>
              <a:ext cx="0" cy="39396"/>
            </a:xfrm>
            <a:custGeom>
              <a:avLst/>
              <a:gdLst/>
              <a:ahLst/>
              <a:cxnLst/>
              <a:rect l="0" t="0" r="0" b="0"/>
              <a:pathLst>
                <a:path h="37185">
                  <a:moveTo>
                    <a:pt x="0" y="37185"/>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94" name="pl449">
              <a:extLst>
                <a:ext uri="{FF2B5EF4-FFF2-40B4-BE49-F238E27FC236}">
                  <a16:creationId xmlns:a16="http://schemas.microsoft.com/office/drawing/2014/main" id="{568F8C4C-1441-DCD5-80B3-BA4D796D3613}"/>
                </a:ext>
              </a:extLst>
            </p:cNvPr>
            <p:cNvSpPr/>
            <p:nvPr/>
          </p:nvSpPr>
          <p:spPr>
            <a:xfrm>
              <a:off x="2059949" y="4213584"/>
              <a:ext cx="0" cy="38273"/>
            </a:xfrm>
            <a:custGeom>
              <a:avLst/>
              <a:gdLst/>
              <a:ahLst/>
              <a:cxnLst/>
              <a:rect l="0" t="0" r="0" b="0"/>
              <a:pathLst>
                <a:path h="36125">
                  <a:moveTo>
                    <a:pt x="0" y="36125"/>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95" name="pl450">
              <a:extLst>
                <a:ext uri="{FF2B5EF4-FFF2-40B4-BE49-F238E27FC236}">
                  <a16:creationId xmlns:a16="http://schemas.microsoft.com/office/drawing/2014/main" id="{BB021095-46C1-B334-6E99-3506A91F9013}"/>
                </a:ext>
              </a:extLst>
            </p:cNvPr>
            <p:cNvSpPr/>
            <p:nvPr/>
          </p:nvSpPr>
          <p:spPr>
            <a:xfrm>
              <a:off x="3092105" y="4133215"/>
              <a:ext cx="0" cy="48718"/>
            </a:xfrm>
            <a:custGeom>
              <a:avLst/>
              <a:gdLst/>
              <a:ahLst/>
              <a:cxnLst/>
              <a:rect l="0" t="0" r="0" b="0"/>
              <a:pathLst>
                <a:path h="45984">
                  <a:moveTo>
                    <a:pt x="0" y="45984"/>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96" name="pl451">
              <a:extLst>
                <a:ext uri="{FF2B5EF4-FFF2-40B4-BE49-F238E27FC236}">
                  <a16:creationId xmlns:a16="http://schemas.microsoft.com/office/drawing/2014/main" id="{60D7E74C-4618-6A27-EE4D-C2599E1AE347}"/>
                </a:ext>
              </a:extLst>
            </p:cNvPr>
            <p:cNvSpPr/>
            <p:nvPr/>
          </p:nvSpPr>
          <p:spPr>
            <a:xfrm>
              <a:off x="2404002" y="4141748"/>
              <a:ext cx="0" cy="33828"/>
            </a:xfrm>
            <a:custGeom>
              <a:avLst/>
              <a:gdLst/>
              <a:ahLst/>
              <a:cxnLst/>
              <a:rect l="0" t="0" r="0" b="0"/>
              <a:pathLst>
                <a:path h="31929">
                  <a:moveTo>
                    <a:pt x="0" y="31929"/>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97" name="pl452">
              <a:extLst>
                <a:ext uri="{FF2B5EF4-FFF2-40B4-BE49-F238E27FC236}">
                  <a16:creationId xmlns:a16="http://schemas.microsoft.com/office/drawing/2014/main" id="{68445799-4024-24B6-546C-2AC117FDE7EE}"/>
                </a:ext>
              </a:extLst>
            </p:cNvPr>
            <p:cNvSpPr/>
            <p:nvPr/>
          </p:nvSpPr>
          <p:spPr>
            <a:xfrm>
              <a:off x="1853518" y="4238441"/>
              <a:ext cx="0" cy="31215"/>
            </a:xfrm>
            <a:custGeom>
              <a:avLst/>
              <a:gdLst/>
              <a:ahLst/>
              <a:cxnLst/>
              <a:rect l="0" t="0" r="0" b="0"/>
              <a:pathLst>
                <a:path h="29463">
                  <a:moveTo>
                    <a:pt x="0" y="29463"/>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98" name="pl453">
              <a:extLst>
                <a:ext uri="{FF2B5EF4-FFF2-40B4-BE49-F238E27FC236}">
                  <a16:creationId xmlns:a16="http://schemas.microsoft.com/office/drawing/2014/main" id="{7AB8D89A-E673-7C43-81C9-CA1D4EBC313D}"/>
                </a:ext>
              </a:extLst>
            </p:cNvPr>
            <p:cNvSpPr/>
            <p:nvPr/>
          </p:nvSpPr>
          <p:spPr>
            <a:xfrm>
              <a:off x="3229726" y="3950727"/>
              <a:ext cx="0" cy="133947"/>
            </a:xfrm>
            <a:custGeom>
              <a:avLst/>
              <a:gdLst/>
              <a:ahLst/>
              <a:cxnLst/>
              <a:rect l="0" t="0" r="0" b="0"/>
              <a:pathLst>
                <a:path h="126429">
                  <a:moveTo>
                    <a:pt x="0" y="126429"/>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499" name="pl454">
              <a:extLst>
                <a:ext uri="{FF2B5EF4-FFF2-40B4-BE49-F238E27FC236}">
                  <a16:creationId xmlns:a16="http://schemas.microsoft.com/office/drawing/2014/main" id="{009972B9-C0CF-5C7C-993F-E8A41EBEF104}"/>
                </a:ext>
              </a:extLst>
            </p:cNvPr>
            <p:cNvSpPr/>
            <p:nvPr/>
          </p:nvSpPr>
          <p:spPr>
            <a:xfrm>
              <a:off x="2128759" y="4218534"/>
              <a:ext cx="0" cy="34594"/>
            </a:xfrm>
            <a:custGeom>
              <a:avLst/>
              <a:gdLst/>
              <a:ahLst/>
              <a:cxnLst/>
              <a:rect l="0" t="0" r="0" b="0"/>
              <a:pathLst>
                <a:path h="32652">
                  <a:moveTo>
                    <a:pt x="0" y="32652"/>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500" name="pl455">
              <a:extLst>
                <a:ext uri="{FF2B5EF4-FFF2-40B4-BE49-F238E27FC236}">
                  <a16:creationId xmlns:a16="http://schemas.microsoft.com/office/drawing/2014/main" id="{B8634EE9-6FF3-C39A-94B8-201E71BAD50A}"/>
                </a:ext>
              </a:extLst>
            </p:cNvPr>
            <p:cNvSpPr/>
            <p:nvPr/>
          </p:nvSpPr>
          <p:spPr>
            <a:xfrm>
              <a:off x="2610432" y="4131288"/>
              <a:ext cx="0" cy="37294"/>
            </a:xfrm>
            <a:custGeom>
              <a:avLst/>
              <a:gdLst/>
              <a:ahLst/>
              <a:cxnLst/>
              <a:rect l="0" t="0" r="0" b="0"/>
              <a:pathLst>
                <a:path h="35201">
                  <a:moveTo>
                    <a:pt x="0" y="35201"/>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501" name="pl456">
              <a:extLst>
                <a:ext uri="{FF2B5EF4-FFF2-40B4-BE49-F238E27FC236}">
                  <a16:creationId xmlns:a16="http://schemas.microsoft.com/office/drawing/2014/main" id="{9D5FE3A4-2269-57A0-DAB6-9FBA5AA25DC8}"/>
                </a:ext>
              </a:extLst>
            </p:cNvPr>
            <p:cNvSpPr/>
            <p:nvPr/>
          </p:nvSpPr>
          <p:spPr>
            <a:xfrm>
              <a:off x="3504967" y="4082072"/>
              <a:ext cx="0" cy="61084"/>
            </a:xfrm>
            <a:custGeom>
              <a:avLst/>
              <a:gdLst/>
              <a:ahLst/>
              <a:cxnLst/>
              <a:rect l="0" t="0" r="0" b="0"/>
              <a:pathLst>
                <a:path h="57656">
                  <a:moveTo>
                    <a:pt x="0" y="57656"/>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502" name="pl457">
              <a:extLst>
                <a:ext uri="{FF2B5EF4-FFF2-40B4-BE49-F238E27FC236}">
                  <a16:creationId xmlns:a16="http://schemas.microsoft.com/office/drawing/2014/main" id="{1A146741-7111-43AA-B15B-D44CB05C01B1}"/>
                </a:ext>
              </a:extLst>
            </p:cNvPr>
            <p:cNvSpPr/>
            <p:nvPr/>
          </p:nvSpPr>
          <p:spPr>
            <a:xfrm>
              <a:off x="1647087" y="4194220"/>
              <a:ext cx="0" cy="27761"/>
            </a:xfrm>
            <a:custGeom>
              <a:avLst/>
              <a:gdLst/>
              <a:ahLst/>
              <a:cxnLst/>
              <a:rect l="0" t="0" r="0" b="0"/>
              <a:pathLst>
                <a:path h="26203">
                  <a:moveTo>
                    <a:pt x="0" y="26203"/>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503" name="pl458">
              <a:extLst>
                <a:ext uri="{FF2B5EF4-FFF2-40B4-BE49-F238E27FC236}">
                  <a16:creationId xmlns:a16="http://schemas.microsoft.com/office/drawing/2014/main" id="{59BA30C3-7956-2A83-708E-AF84BC94C9AF}"/>
                </a:ext>
              </a:extLst>
            </p:cNvPr>
            <p:cNvSpPr/>
            <p:nvPr/>
          </p:nvSpPr>
          <p:spPr>
            <a:xfrm>
              <a:off x="2472812" y="4146246"/>
              <a:ext cx="0" cy="38865"/>
            </a:xfrm>
            <a:custGeom>
              <a:avLst/>
              <a:gdLst/>
              <a:ahLst/>
              <a:cxnLst/>
              <a:rect l="0" t="0" r="0" b="0"/>
              <a:pathLst>
                <a:path h="36684">
                  <a:moveTo>
                    <a:pt x="0" y="36684"/>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504" name="pl459">
              <a:extLst>
                <a:ext uri="{FF2B5EF4-FFF2-40B4-BE49-F238E27FC236}">
                  <a16:creationId xmlns:a16="http://schemas.microsoft.com/office/drawing/2014/main" id="{AE86A88C-A879-222E-CC26-FEB1F0EDF5EE}"/>
                </a:ext>
              </a:extLst>
            </p:cNvPr>
            <p:cNvSpPr/>
            <p:nvPr/>
          </p:nvSpPr>
          <p:spPr>
            <a:xfrm>
              <a:off x="3023295" y="4134984"/>
              <a:ext cx="0" cy="45678"/>
            </a:xfrm>
            <a:custGeom>
              <a:avLst/>
              <a:gdLst/>
              <a:ahLst/>
              <a:cxnLst/>
              <a:rect l="0" t="0" r="0" b="0"/>
              <a:pathLst>
                <a:path h="43114">
                  <a:moveTo>
                    <a:pt x="0" y="43114"/>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505" name="pl460">
              <a:extLst>
                <a:ext uri="{FF2B5EF4-FFF2-40B4-BE49-F238E27FC236}">
                  <a16:creationId xmlns:a16="http://schemas.microsoft.com/office/drawing/2014/main" id="{627D1E47-FF98-C5D5-E7F4-164A524DCB8E}"/>
                </a:ext>
              </a:extLst>
            </p:cNvPr>
            <p:cNvSpPr/>
            <p:nvPr/>
          </p:nvSpPr>
          <p:spPr>
            <a:xfrm>
              <a:off x="2816863" y="4087674"/>
              <a:ext cx="0" cy="52940"/>
            </a:xfrm>
            <a:custGeom>
              <a:avLst/>
              <a:gdLst/>
              <a:ahLst/>
              <a:cxnLst/>
              <a:rect l="0" t="0" r="0" b="0"/>
              <a:pathLst>
                <a:path h="49969">
                  <a:moveTo>
                    <a:pt x="0" y="49969"/>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506" name="pl461">
              <a:extLst>
                <a:ext uri="{FF2B5EF4-FFF2-40B4-BE49-F238E27FC236}">
                  <a16:creationId xmlns:a16="http://schemas.microsoft.com/office/drawing/2014/main" id="{A6B9F6A0-6B9F-0945-A298-485A6C8B3E1A}"/>
                </a:ext>
              </a:extLst>
            </p:cNvPr>
            <p:cNvSpPr/>
            <p:nvPr/>
          </p:nvSpPr>
          <p:spPr>
            <a:xfrm>
              <a:off x="2748053" y="4141496"/>
              <a:ext cx="0" cy="37257"/>
            </a:xfrm>
            <a:custGeom>
              <a:avLst/>
              <a:gdLst/>
              <a:ahLst/>
              <a:cxnLst/>
              <a:rect l="0" t="0" r="0" b="0"/>
              <a:pathLst>
                <a:path h="35166">
                  <a:moveTo>
                    <a:pt x="0" y="35166"/>
                  </a:moveTo>
                  <a:lnTo>
                    <a:pt x="0" y="0"/>
                  </a:lnTo>
                </a:path>
              </a:pathLst>
            </a:custGeom>
            <a:ln w="5420" cap="flat">
              <a:solidFill>
                <a:srgbClr val="48B0D8">
                  <a:alpha val="100000"/>
                </a:srgbClr>
              </a:solidFill>
              <a:prstDash val="solid"/>
              <a:round/>
            </a:ln>
          </p:spPr>
          <p:txBody>
            <a:bodyPr/>
            <a:lstStyle/>
            <a:p>
              <a:pPr defTabSz="914400"/>
              <a:endParaRPr>
                <a:solidFill>
                  <a:srgbClr val="001965"/>
                </a:solidFill>
                <a:latin typeface="Avenir Next LT Pro"/>
              </a:endParaRPr>
            </a:p>
          </p:txBody>
        </p:sp>
        <p:sp>
          <p:nvSpPr>
            <p:cNvPr id="11507" name="pl462">
              <a:extLst>
                <a:ext uri="{FF2B5EF4-FFF2-40B4-BE49-F238E27FC236}">
                  <a16:creationId xmlns:a16="http://schemas.microsoft.com/office/drawing/2014/main" id="{AE11AFC4-E693-BE66-4BF4-D403D2B5963E}"/>
                </a:ext>
              </a:extLst>
            </p:cNvPr>
            <p:cNvSpPr/>
            <p:nvPr/>
          </p:nvSpPr>
          <p:spPr>
            <a:xfrm>
              <a:off x="2197570" y="4196707"/>
              <a:ext cx="0" cy="33536"/>
            </a:xfrm>
            <a:custGeom>
              <a:avLst/>
              <a:gdLst/>
              <a:ahLst/>
              <a:cxnLst/>
              <a:rect l="0" t="0" r="0" b="0"/>
              <a:pathLst>
                <a:path h="31654">
                  <a:moveTo>
                    <a:pt x="0" y="31654"/>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08" name="pl463">
              <a:extLst>
                <a:ext uri="{FF2B5EF4-FFF2-40B4-BE49-F238E27FC236}">
                  <a16:creationId xmlns:a16="http://schemas.microsoft.com/office/drawing/2014/main" id="{1F36FF48-738F-87F3-6967-9ABD11B10E36}"/>
                </a:ext>
              </a:extLst>
            </p:cNvPr>
            <p:cNvSpPr/>
            <p:nvPr/>
          </p:nvSpPr>
          <p:spPr>
            <a:xfrm>
              <a:off x="1784708" y="4368383"/>
              <a:ext cx="0" cy="20146"/>
            </a:xfrm>
            <a:custGeom>
              <a:avLst/>
              <a:gdLst/>
              <a:ahLst/>
              <a:cxnLst/>
              <a:rect l="0" t="0" r="0" b="0"/>
              <a:pathLst>
                <a:path h="19015">
                  <a:moveTo>
                    <a:pt x="0" y="19015"/>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09" name="pl464">
              <a:extLst>
                <a:ext uri="{FF2B5EF4-FFF2-40B4-BE49-F238E27FC236}">
                  <a16:creationId xmlns:a16="http://schemas.microsoft.com/office/drawing/2014/main" id="{52E99312-5BBF-F7D9-60CA-47A1F7049DCD}"/>
                </a:ext>
              </a:extLst>
            </p:cNvPr>
            <p:cNvSpPr/>
            <p:nvPr/>
          </p:nvSpPr>
          <p:spPr>
            <a:xfrm>
              <a:off x="3436157" y="3994734"/>
              <a:ext cx="0" cy="44171"/>
            </a:xfrm>
            <a:custGeom>
              <a:avLst/>
              <a:gdLst/>
              <a:ahLst/>
              <a:cxnLst/>
              <a:rect l="0" t="0" r="0" b="0"/>
              <a:pathLst>
                <a:path h="41692">
                  <a:moveTo>
                    <a:pt x="0" y="41692"/>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10" name="pl465">
              <a:extLst>
                <a:ext uri="{FF2B5EF4-FFF2-40B4-BE49-F238E27FC236}">
                  <a16:creationId xmlns:a16="http://schemas.microsoft.com/office/drawing/2014/main" id="{933B609C-A2EF-8169-056A-A0C308B15D32}"/>
                </a:ext>
              </a:extLst>
            </p:cNvPr>
            <p:cNvSpPr/>
            <p:nvPr/>
          </p:nvSpPr>
          <p:spPr>
            <a:xfrm>
              <a:off x="2335190" y="4154571"/>
              <a:ext cx="0" cy="55332"/>
            </a:xfrm>
            <a:custGeom>
              <a:avLst/>
              <a:gdLst/>
              <a:ahLst/>
              <a:cxnLst/>
              <a:rect l="0" t="0" r="0" b="0"/>
              <a:pathLst>
                <a:path h="52226">
                  <a:moveTo>
                    <a:pt x="0" y="52226"/>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11" name="pl466">
              <a:extLst>
                <a:ext uri="{FF2B5EF4-FFF2-40B4-BE49-F238E27FC236}">
                  <a16:creationId xmlns:a16="http://schemas.microsoft.com/office/drawing/2014/main" id="{FF03C15F-B060-1BD7-E83D-E23EAD080467}"/>
                </a:ext>
              </a:extLst>
            </p:cNvPr>
            <p:cNvSpPr/>
            <p:nvPr/>
          </p:nvSpPr>
          <p:spPr>
            <a:xfrm>
              <a:off x="2954484" y="4121987"/>
              <a:ext cx="0" cy="43418"/>
            </a:xfrm>
            <a:custGeom>
              <a:avLst/>
              <a:gdLst/>
              <a:ahLst/>
              <a:cxnLst/>
              <a:rect l="0" t="0" r="0" b="0"/>
              <a:pathLst>
                <a:path h="40981">
                  <a:moveTo>
                    <a:pt x="0" y="40981"/>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12" name="pl467">
              <a:extLst>
                <a:ext uri="{FF2B5EF4-FFF2-40B4-BE49-F238E27FC236}">
                  <a16:creationId xmlns:a16="http://schemas.microsoft.com/office/drawing/2014/main" id="{C9B81B7C-EAE8-DEE8-33B6-DC404797C76B}"/>
                </a:ext>
              </a:extLst>
            </p:cNvPr>
            <p:cNvSpPr/>
            <p:nvPr/>
          </p:nvSpPr>
          <p:spPr>
            <a:xfrm>
              <a:off x="3367346" y="4050807"/>
              <a:ext cx="0" cy="47216"/>
            </a:xfrm>
            <a:custGeom>
              <a:avLst/>
              <a:gdLst/>
              <a:ahLst/>
              <a:cxnLst/>
              <a:rect l="0" t="0" r="0" b="0"/>
              <a:pathLst>
                <a:path h="44566">
                  <a:moveTo>
                    <a:pt x="0" y="44566"/>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13" name="pl468">
              <a:extLst>
                <a:ext uri="{FF2B5EF4-FFF2-40B4-BE49-F238E27FC236}">
                  <a16:creationId xmlns:a16="http://schemas.microsoft.com/office/drawing/2014/main" id="{55DE3E31-E54B-92BB-DBC4-8BB581E6F49C}"/>
                </a:ext>
              </a:extLst>
            </p:cNvPr>
            <p:cNvSpPr/>
            <p:nvPr/>
          </p:nvSpPr>
          <p:spPr>
            <a:xfrm>
              <a:off x="1371845" y="3900963"/>
              <a:ext cx="0" cy="0"/>
            </a:xfrm>
            <a:custGeom>
              <a:avLst/>
              <a:gdLst/>
              <a:ahLst/>
              <a:cxnLst/>
              <a:rect l="0" t="0" r="0" b="0"/>
              <a:pathLst>
                <a:path>
                  <a:moveTo>
                    <a:pt x="0" y="0"/>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14" name="pl469">
              <a:extLst>
                <a:ext uri="{FF2B5EF4-FFF2-40B4-BE49-F238E27FC236}">
                  <a16:creationId xmlns:a16="http://schemas.microsoft.com/office/drawing/2014/main" id="{360432BC-ED8C-B7D5-0378-64BED1514760}"/>
                </a:ext>
              </a:extLst>
            </p:cNvPr>
            <p:cNvSpPr/>
            <p:nvPr/>
          </p:nvSpPr>
          <p:spPr>
            <a:xfrm>
              <a:off x="2885673" y="4085197"/>
              <a:ext cx="0" cy="32533"/>
            </a:xfrm>
            <a:custGeom>
              <a:avLst/>
              <a:gdLst/>
              <a:ahLst/>
              <a:cxnLst/>
              <a:rect l="0" t="0" r="0" b="0"/>
              <a:pathLst>
                <a:path h="30707">
                  <a:moveTo>
                    <a:pt x="0" y="30707"/>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15" name="pl470">
              <a:extLst>
                <a:ext uri="{FF2B5EF4-FFF2-40B4-BE49-F238E27FC236}">
                  <a16:creationId xmlns:a16="http://schemas.microsoft.com/office/drawing/2014/main" id="{9ED486B1-E426-E2A8-AE00-366EB7368FAA}"/>
                </a:ext>
              </a:extLst>
            </p:cNvPr>
            <p:cNvSpPr/>
            <p:nvPr/>
          </p:nvSpPr>
          <p:spPr>
            <a:xfrm>
              <a:off x="1922329" y="4320928"/>
              <a:ext cx="0" cy="26917"/>
            </a:xfrm>
            <a:custGeom>
              <a:avLst/>
              <a:gdLst/>
              <a:ahLst/>
              <a:cxnLst/>
              <a:rect l="0" t="0" r="0" b="0"/>
              <a:pathLst>
                <a:path h="25406">
                  <a:moveTo>
                    <a:pt x="0" y="25406"/>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16" name="pl471">
              <a:extLst>
                <a:ext uri="{FF2B5EF4-FFF2-40B4-BE49-F238E27FC236}">
                  <a16:creationId xmlns:a16="http://schemas.microsoft.com/office/drawing/2014/main" id="{AC59BD36-58B6-5EF2-26FC-327FF4556403}"/>
                </a:ext>
              </a:extLst>
            </p:cNvPr>
            <p:cNvSpPr/>
            <p:nvPr/>
          </p:nvSpPr>
          <p:spPr>
            <a:xfrm>
              <a:off x="3298536" y="4078472"/>
              <a:ext cx="0" cy="38622"/>
            </a:xfrm>
            <a:custGeom>
              <a:avLst/>
              <a:gdLst/>
              <a:ahLst/>
              <a:cxnLst/>
              <a:rect l="0" t="0" r="0" b="0"/>
              <a:pathLst>
                <a:path h="36454">
                  <a:moveTo>
                    <a:pt x="0" y="36454"/>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17" name="pl472">
              <a:extLst>
                <a:ext uri="{FF2B5EF4-FFF2-40B4-BE49-F238E27FC236}">
                  <a16:creationId xmlns:a16="http://schemas.microsoft.com/office/drawing/2014/main" id="{4E27B058-7510-91B2-E549-2676EEE73950}"/>
                </a:ext>
              </a:extLst>
            </p:cNvPr>
            <p:cNvSpPr/>
            <p:nvPr/>
          </p:nvSpPr>
          <p:spPr>
            <a:xfrm>
              <a:off x="1578276" y="4267824"/>
              <a:ext cx="0" cy="12003"/>
            </a:xfrm>
            <a:custGeom>
              <a:avLst/>
              <a:gdLst/>
              <a:ahLst/>
              <a:cxnLst/>
              <a:rect l="0" t="0" r="0" b="0"/>
              <a:pathLst>
                <a:path h="11329">
                  <a:moveTo>
                    <a:pt x="0" y="11329"/>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18" name="pl473">
              <a:extLst>
                <a:ext uri="{FF2B5EF4-FFF2-40B4-BE49-F238E27FC236}">
                  <a16:creationId xmlns:a16="http://schemas.microsoft.com/office/drawing/2014/main" id="{BCE5AE94-9273-A8F5-3395-5A71B43B8D3C}"/>
                </a:ext>
              </a:extLst>
            </p:cNvPr>
            <p:cNvSpPr/>
            <p:nvPr/>
          </p:nvSpPr>
          <p:spPr>
            <a:xfrm>
              <a:off x="1991139" y="4318269"/>
              <a:ext cx="0" cy="13684"/>
            </a:xfrm>
            <a:custGeom>
              <a:avLst/>
              <a:gdLst/>
              <a:ahLst/>
              <a:cxnLst/>
              <a:rect l="0" t="0" r="0" b="0"/>
              <a:pathLst>
                <a:path h="12916">
                  <a:moveTo>
                    <a:pt x="0" y="12916"/>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19" name="pl474">
              <a:extLst>
                <a:ext uri="{FF2B5EF4-FFF2-40B4-BE49-F238E27FC236}">
                  <a16:creationId xmlns:a16="http://schemas.microsoft.com/office/drawing/2014/main" id="{2100319B-9C93-D4B9-DE01-676E5A319262}"/>
                </a:ext>
              </a:extLst>
            </p:cNvPr>
            <p:cNvSpPr/>
            <p:nvPr/>
          </p:nvSpPr>
          <p:spPr>
            <a:xfrm>
              <a:off x="1440656" y="3976996"/>
              <a:ext cx="0" cy="18683"/>
            </a:xfrm>
            <a:custGeom>
              <a:avLst/>
              <a:gdLst/>
              <a:ahLst/>
              <a:cxnLst/>
              <a:rect l="0" t="0" r="0" b="0"/>
              <a:pathLst>
                <a:path h="17634">
                  <a:moveTo>
                    <a:pt x="0" y="17634"/>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20" name="pl475">
              <a:extLst>
                <a:ext uri="{FF2B5EF4-FFF2-40B4-BE49-F238E27FC236}">
                  <a16:creationId xmlns:a16="http://schemas.microsoft.com/office/drawing/2014/main" id="{69503510-0EEE-102C-E5E9-32720F1624AF}"/>
                </a:ext>
              </a:extLst>
            </p:cNvPr>
            <p:cNvSpPr/>
            <p:nvPr/>
          </p:nvSpPr>
          <p:spPr>
            <a:xfrm>
              <a:off x="1509466" y="4055219"/>
              <a:ext cx="0" cy="48524"/>
            </a:xfrm>
            <a:custGeom>
              <a:avLst/>
              <a:gdLst/>
              <a:ahLst/>
              <a:cxnLst/>
              <a:rect l="0" t="0" r="0" b="0"/>
              <a:pathLst>
                <a:path h="45801">
                  <a:moveTo>
                    <a:pt x="0" y="45801"/>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21" name="pl476">
              <a:extLst>
                <a:ext uri="{FF2B5EF4-FFF2-40B4-BE49-F238E27FC236}">
                  <a16:creationId xmlns:a16="http://schemas.microsoft.com/office/drawing/2014/main" id="{BD02F226-5C4C-E48E-202C-FDC5AD4B0866}"/>
                </a:ext>
              </a:extLst>
            </p:cNvPr>
            <p:cNvSpPr/>
            <p:nvPr/>
          </p:nvSpPr>
          <p:spPr>
            <a:xfrm>
              <a:off x="2541622" y="4168191"/>
              <a:ext cx="0" cy="37897"/>
            </a:xfrm>
            <a:custGeom>
              <a:avLst/>
              <a:gdLst/>
              <a:ahLst/>
              <a:cxnLst/>
              <a:rect l="0" t="0" r="0" b="0"/>
              <a:pathLst>
                <a:path h="35770">
                  <a:moveTo>
                    <a:pt x="0" y="35770"/>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22" name="pl477">
              <a:extLst>
                <a:ext uri="{FF2B5EF4-FFF2-40B4-BE49-F238E27FC236}">
                  <a16:creationId xmlns:a16="http://schemas.microsoft.com/office/drawing/2014/main" id="{C9F64799-7214-8629-D6E0-4134A93EFEF2}"/>
                </a:ext>
              </a:extLst>
            </p:cNvPr>
            <p:cNvSpPr/>
            <p:nvPr/>
          </p:nvSpPr>
          <p:spPr>
            <a:xfrm>
              <a:off x="1715897" y="4371795"/>
              <a:ext cx="0" cy="21819"/>
            </a:xfrm>
            <a:custGeom>
              <a:avLst/>
              <a:gdLst/>
              <a:ahLst/>
              <a:cxnLst/>
              <a:rect l="0" t="0" r="0" b="0"/>
              <a:pathLst>
                <a:path h="20594">
                  <a:moveTo>
                    <a:pt x="0" y="20594"/>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23" name="pl478">
              <a:extLst>
                <a:ext uri="{FF2B5EF4-FFF2-40B4-BE49-F238E27FC236}">
                  <a16:creationId xmlns:a16="http://schemas.microsoft.com/office/drawing/2014/main" id="{6B966C8D-530B-9AFB-23CB-E3C8CC437940}"/>
                </a:ext>
              </a:extLst>
            </p:cNvPr>
            <p:cNvSpPr/>
            <p:nvPr/>
          </p:nvSpPr>
          <p:spPr>
            <a:xfrm>
              <a:off x="3160916" y="4055751"/>
              <a:ext cx="0" cy="42273"/>
            </a:xfrm>
            <a:custGeom>
              <a:avLst/>
              <a:gdLst/>
              <a:ahLst/>
              <a:cxnLst/>
              <a:rect l="0" t="0" r="0" b="0"/>
              <a:pathLst>
                <a:path h="39900">
                  <a:moveTo>
                    <a:pt x="0" y="39900"/>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24" name="pl479">
              <a:extLst>
                <a:ext uri="{FF2B5EF4-FFF2-40B4-BE49-F238E27FC236}">
                  <a16:creationId xmlns:a16="http://schemas.microsoft.com/office/drawing/2014/main" id="{BF5E1E05-2209-4BEF-9FA5-51E57F575D67}"/>
                </a:ext>
              </a:extLst>
            </p:cNvPr>
            <p:cNvSpPr/>
            <p:nvPr/>
          </p:nvSpPr>
          <p:spPr>
            <a:xfrm>
              <a:off x="2679243" y="4110312"/>
              <a:ext cx="0" cy="32843"/>
            </a:xfrm>
            <a:custGeom>
              <a:avLst/>
              <a:gdLst/>
              <a:ahLst/>
              <a:cxnLst/>
              <a:rect l="0" t="0" r="0" b="0"/>
              <a:pathLst>
                <a:path h="31000">
                  <a:moveTo>
                    <a:pt x="0" y="31000"/>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25" name="pl480">
              <a:extLst>
                <a:ext uri="{FF2B5EF4-FFF2-40B4-BE49-F238E27FC236}">
                  <a16:creationId xmlns:a16="http://schemas.microsoft.com/office/drawing/2014/main" id="{F0292AF0-3DDD-F741-4F8C-DE05AF57C88B}"/>
                </a:ext>
              </a:extLst>
            </p:cNvPr>
            <p:cNvSpPr/>
            <p:nvPr/>
          </p:nvSpPr>
          <p:spPr>
            <a:xfrm>
              <a:off x="2266380" y="4194927"/>
              <a:ext cx="0" cy="41038"/>
            </a:xfrm>
            <a:custGeom>
              <a:avLst/>
              <a:gdLst/>
              <a:ahLst/>
              <a:cxnLst/>
              <a:rect l="0" t="0" r="0" b="0"/>
              <a:pathLst>
                <a:path h="38735">
                  <a:moveTo>
                    <a:pt x="0" y="38735"/>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26" name="pl481">
              <a:extLst>
                <a:ext uri="{FF2B5EF4-FFF2-40B4-BE49-F238E27FC236}">
                  <a16:creationId xmlns:a16="http://schemas.microsoft.com/office/drawing/2014/main" id="{3927EA90-F90C-74E0-7FED-F6C299B34750}"/>
                </a:ext>
              </a:extLst>
            </p:cNvPr>
            <p:cNvSpPr/>
            <p:nvPr/>
          </p:nvSpPr>
          <p:spPr>
            <a:xfrm>
              <a:off x="2059949" y="4306923"/>
              <a:ext cx="0" cy="29480"/>
            </a:xfrm>
            <a:custGeom>
              <a:avLst/>
              <a:gdLst/>
              <a:ahLst/>
              <a:cxnLst/>
              <a:rect l="0" t="0" r="0" b="0"/>
              <a:pathLst>
                <a:path h="27825">
                  <a:moveTo>
                    <a:pt x="0" y="27825"/>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27" name="pl482">
              <a:extLst>
                <a:ext uri="{FF2B5EF4-FFF2-40B4-BE49-F238E27FC236}">
                  <a16:creationId xmlns:a16="http://schemas.microsoft.com/office/drawing/2014/main" id="{E72C2D4E-C3A4-E30C-9E04-31AE0259DD65}"/>
                </a:ext>
              </a:extLst>
            </p:cNvPr>
            <p:cNvSpPr/>
            <p:nvPr/>
          </p:nvSpPr>
          <p:spPr>
            <a:xfrm>
              <a:off x="3092105" y="4084747"/>
              <a:ext cx="0" cy="37431"/>
            </a:xfrm>
            <a:custGeom>
              <a:avLst/>
              <a:gdLst/>
              <a:ahLst/>
              <a:cxnLst/>
              <a:rect l="0" t="0" r="0" b="0"/>
              <a:pathLst>
                <a:path h="35330">
                  <a:moveTo>
                    <a:pt x="0" y="35330"/>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28" name="pl483">
              <a:extLst>
                <a:ext uri="{FF2B5EF4-FFF2-40B4-BE49-F238E27FC236}">
                  <a16:creationId xmlns:a16="http://schemas.microsoft.com/office/drawing/2014/main" id="{9A77A037-109C-ACD3-3F24-95D87A2C5E42}"/>
                </a:ext>
              </a:extLst>
            </p:cNvPr>
            <p:cNvSpPr/>
            <p:nvPr/>
          </p:nvSpPr>
          <p:spPr>
            <a:xfrm>
              <a:off x="2404002" y="4157543"/>
              <a:ext cx="0" cy="43460"/>
            </a:xfrm>
            <a:custGeom>
              <a:avLst/>
              <a:gdLst/>
              <a:ahLst/>
              <a:cxnLst/>
              <a:rect l="0" t="0" r="0" b="0"/>
              <a:pathLst>
                <a:path h="41021">
                  <a:moveTo>
                    <a:pt x="0" y="41021"/>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29" name="pl484">
              <a:extLst>
                <a:ext uri="{FF2B5EF4-FFF2-40B4-BE49-F238E27FC236}">
                  <a16:creationId xmlns:a16="http://schemas.microsoft.com/office/drawing/2014/main" id="{98826E7C-A391-5407-88B4-14838D5B8315}"/>
                </a:ext>
              </a:extLst>
            </p:cNvPr>
            <p:cNvSpPr/>
            <p:nvPr/>
          </p:nvSpPr>
          <p:spPr>
            <a:xfrm>
              <a:off x="1853518" y="4327337"/>
              <a:ext cx="0" cy="33222"/>
            </a:xfrm>
            <a:custGeom>
              <a:avLst/>
              <a:gdLst/>
              <a:ahLst/>
              <a:cxnLst/>
              <a:rect l="0" t="0" r="0" b="0"/>
              <a:pathLst>
                <a:path h="31357">
                  <a:moveTo>
                    <a:pt x="0" y="31357"/>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30" name="pl485">
              <a:extLst>
                <a:ext uri="{FF2B5EF4-FFF2-40B4-BE49-F238E27FC236}">
                  <a16:creationId xmlns:a16="http://schemas.microsoft.com/office/drawing/2014/main" id="{DC06D133-CBFA-1A74-6DA1-6E3863EF7DB2}"/>
                </a:ext>
              </a:extLst>
            </p:cNvPr>
            <p:cNvSpPr/>
            <p:nvPr/>
          </p:nvSpPr>
          <p:spPr>
            <a:xfrm>
              <a:off x="3229726" y="4088553"/>
              <a:ext cx="0" cy="34261"/>
            </a:xfrm>
            <a:custGeom>
              <a:avLst/>
              <a:gdLst/>
              <a:ahLst/>
              <a:cxnLst/>
              <a:rect l="0" t="0" r="0" b="0"/>
              <a:pathLst>
                <a:path h="32338">
                  <a:moveTo>
                    <a:pt x="0" y="32338"/>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31" name="pl486">
              <a:extLst>
                <a:ext uri="{FF2B5EF4-FFF2-40B4-BE49-F238E27FC236}">
                  <a16:creationId xmlns:a16="http://schemas.microsoft.com/office/drawing/2014/main" id="{7A8713D6-A09F-E90C-2576-016A5FC5BEC8}"/>
                </a:ext>
              </a:extLst>
            </p:cNvPr>
            <p:cNvSpPr/>
            <p:nvPr/>
          </p:nvSpPr>
          <p:spPr>
            <a:xfrm>
              <a:off x="2128759" y="4246198"/>
              <a:ext cx="0" cy="38079"/>
            </a:xfrm>
            <a:custGeom>
              <a:avLst/>
              <a:gdLst/>
              <a:ahLst/>
              <a:cxnLst/>
              <a:rect l="0" t="0" r="0" b="0"/>
              <a:pathLst>
                <a:path h="35942">
                  <a:moveTo>
                    <a:pt x="0" y="35942"/>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32" name="pl487">
              <a:extLst>
                <a:ext uri="{FF2B5EF4-FFF2-40B4-BE49-F238E27FC236}">
                  <a16:creationId xmlns:a16="http://schemas.microsoft.com/office/drawing/2014/main" id="{110202AF-D785-042A-27A7-887B27134B0E}"/>
                </a:ext>
              </a:extLst>
            </p:cNvPr>
            <p:cNvSpPr/>
            <p:nvPr/>
          </p:nvSpPr>
          <p:spPr>
            <a:xfrm>
              <a:off x="2610432" y="4138061"/>
              <a:ext cx="0" cy="40694"/>
            </a:xfrm>
            <a:custGeom>
              <a:avLst/>
              <a:gdLst/>
              <a:ahLst/>
              <a:cxnLst/>
              <a:rect l="0" t="0" r="0" b="0"/>
              <a:pathLst>
                <a:path h="38410">
                  <a:moveTo>
                    <a:pt x="0" y="38410"/>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33" name="pl488">
              <a:extLst>
                <a:ext uri="{FF2B5EF4-FFF2-40B4-BE49-F238E27FC236}">
                  <a16:creationId xmlns:a16="http://schemas.microsoft.com/office/drawing/2014/main" id="{53445EB0-0475-E071-0352-CA52C7E6630B}"/>
                </a:ext>
              </a:extLst>
            </p:cNvPr>
            <p:cNvSpPr/>
            <p:nvPr/>
          </p:nvSpPr>
          <p:spPr>
            <a:xfrm>
              <a:off x="3504967" y="4023108"/>
              <a:ext cx="0" cy="39318"/>
            </a:xfrm>
            <a:custGeom>
              <a:avLst/>
              <a:gdLst/>
              <a:ahLst/>
              <a:cxnLst/>
              <a:rect l="0" t="0" r="0" b="0"/>
              <a:pathLst>
                <a:path h="37111">
                  <a:moveTo>
                    <a:pt x="0" y="37111"/>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34" name="pl489">
              <a:extLst>
                <a:ext uri="{FF2B5EF4-FFF2-40B4-BE49-F238E27FC236}">
                  <a16:creationId xmlns:a16="http://schemas.microsoft.com/office/drawing/2014/main" id="{831EECB2-437B-DCBB-A9DB-E91A092C3D97}"/>
                </a:ext>
              </a:extLst>
            </p:cNvPr>
            <p:cNvSpPr/>
            <p:nvPr/>
          </p:nvSpPr>
          <p:spPr>
            <a:xfrm>
              <a:off x="1647087" y="4319786"/>
              <a:ext cx="0" cy="19159"/>
            </a:xfrm>
            <a:custGeom>
              <a:avLst/>
              <a:gdLst/>
              <a:ahLst/>
              <a:cxnLst/>
              <a:rect l="0" t="0" r="0" b="0"/>
              <a:pathLst>
                <a:path h="18084">
                  <a:moveTo>
                    <a:pt x="0" y="18084"/>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35" name="pl490">
              <a:extLst>
                <a:ext uri="{FF2B5EF4-FFF2-40B4-BE49-F238E27FC236}">
                  <a16:creationId xmlns:a16="http://schemas.microsoft.com/office/drawing/2014/main" id="{BE2A103B-6B12-B0FC-387C-7FE7CE18B356}"/>
                </a:ext>
              </a:extLst>
            </p:cNvPr>
            <p:cNvSpPr/>
            <p:nvPr/>
          </p:nvSpPr>
          <p:spPr>
            <a:xfrm>
              <a:off x="2472812" y="4160626"/>
              <a:ext cx="0" cy="39106"/>
            </a:xfrm>
            <a:custGeom>
              <a:avLst/>
              <a:gdLst/>
              <a:ahLst/>
              <a:cxnLst/>
              <a:rect l="0" t="0" r="0" b="0"/>
              <a:pathLst>
                <a:path h="36911">
                  <a:moveTo>
                    <a:pt x="0" y="36911"/>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36" name="pl491">
              <a:extLst>
                <a:ext uri="{FF2B5EF4-FFF2-40B4-BE49-F238E27FC236}">
                  <a16:creationId xmlns:a16="http://schemas.microsoft.com/office/drawing/2014/main" id="{8585FABE-F752-827A-6406-D00B71ED1DEE}"/>
                </a:ext>
              </a:extLst>
            </p:cNvPr>
            <p:cNvSpPr/>
            <p:nvPr/>
          </p:nvSpPr>
          <p:spPr>
            <a:xfrm>
              <a:off x="3023295" y="4080041"/>
              <a:ext cx="0" cy="42774"/>
            </a:xfrm>
            <a:custGeom>
              <a:avLst/>
              <a:gdLst/>
              <a:ahLst/>
              <a:cxnLst/>
              <a:rect l="0" t="0" r="0" b="0"/>
              <a:pathLst>
                <a:path h="40373">
                  <a:moveTo>
                    <a:pt x="0" y="40373"/>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37" name="pl492">
              <a:extLst>
                <a:ext uri="{FF2B5EF4-FFF2-40B4-BE49-F238E27FC236}">
                  <a16:creationId xmlns:a16="http://schemas.microsoft.com/office/drawing/2014/main" id="{340E5275-8EF7-1BCE-69A9-0BBC632FFCE0}"/>
                </a:ext>
              </a:extLst>
            </p:cNvPr>
            <p:cNvSpPr/>
            <p:nvPr/>
          </p:nvSpPr>
          <p:spPr>
            <a:xfrm>
              <a:off x="2816863" y="4106258"/>
              <a:ext cx="0" cy="38169"/>
            </a:xfrm>
            <a:custGeom>
              <a:avLst/>
              <a:gdLst/>
              <a:ahLst/>
              <a:cxnLst/>
              <a:rect l="0" t="0" r="0" b="0"/>
              <a:pathLst>
                <a:path h="36027">
                  <a:moveTo>
                    <a:pt x="0" y="36027"/>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38" name="pl493">
              <a:extLst>
                <a:ext uri="{FF2B5EF4-FFF2-40B4-BE49-F238E27FC236}">
                  <a16:creationId xmlns:a16="http://schemas.microsoft.com/office/drawing/2014/main" id="{EC22D9E3-6034-4F26-63AF-C1F3804E66C3}"/>
                </a:ext>
              </a:extLst>
            </p:cNvPr>
            <p:cNvSpPr/>
            <p:nvPr/>
          </p:nvSpPr>
          <p:spPr>
            <a:xfrm>
              <a:off x="2748053" y="4124769"/>
              <a:ext cx="0" cy="40001"/>
            </a:xfrm>
            <a:custGeom>
              <a:avLst/>
              <a:gdLst/>
              <a:ahLst/>
              <a:cxnLst/>
              <a:rect l="0" t="0" r="0" b="0"/>
              <a:pathLst>
                <a:path h="37756">
                  <a:moveTo>
                    <a:pt x="0" y="37756"/>
                  </a:moveTo>
                  <a:lnTo>
                    <a:pt x="0" y="0"/>
                  </a:lnTo>
                </a:path>
              </a:pathLst>
            </a:custGeom>
            <a:ln w="5420" cap="flat">
              <a:solidFill>
                <a:srgbClr val="2878FF">
                  <a:alpha val="100000"/>
                </a:srgbClr>
              </a:solidFill>
              <a:prstDash val="solid"/>
              <a:round/>
            </a:ln>
          </p:spPr>
          <p:txBody>
            <a:bodyPr/>
            <a:lstStyle/>
            <a:p>
              <a:pPr defTabSz="914400"/>
              <a:endParaRPr>
                <a:solidFill>
                  <a:srgbClr val="001965"/>
                </a:solidFill>
                <a:latin typeface="Avenir Next LT Pro"/>
              </a:endParaRPr>
            </a:p>
          </p:txBody>
        </p:sp>
        <p:sp>
          <p:nvSpPr>
            <p:cNvPr id="11539" name="pl494">
              <a:extLst>
                <a:ext uri="{FF2B5EF4-FFF2-40B4-BE49-F238E27FC236}">
                  <a16:creationId xmlns:a16="http://schemas.microsoft.com/office/drawing/2014/main" id="{B7C4EA84-E5F9-1D1A-470F-DBC5499CD8BE}"/>
                </a:ext>
              </a:extLst>
            </p:cNvPr>
            <p:cNvSpPr/>
            <p:nvPr/>
          </p:nvSpPr>
          <p:spPr>
            <a:xfrm>
              <a:off x="2197570" y="4154179"/>
              <a:ext cx="0" cy="44281"/>
            </a:xfrm>
            <a:custGeom>
              <a:avLst/>
              <a:gdLst/>
              <a:ahLst/>
              <a:cxnLst/>
              <a:rect l="0" t="0" r="0" b="0"/>
              <a:pathLst>
                <a:path h="41796">
                  <a:moveTo>
                    <a:pt x="0" y="41796"/>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40" name="pl495">
              <a:extLst>
                <a:ext uri="{FF2B5EF4-FFF2-40B4-BE49-F238E27FC236}">
                  <a16:creationId xmlns:a16="http://schemas.microsoft.com/office/drawing/2014/main" id="{ED01988E-E3FC-1804-12D0-47CC71D3AE06}"/>
                </a:ext>
              </a:extLst>
            </p:cNvPr>
            <p:cNvSpPr/>
            <p:nvPr/>
          </p:nvSpPr>
          <p:spPr>
            <a:xfrm>
              <a:off x="1784708" y="4103869"/>
              <a:ext cx="0" cy="35473"/>
            </a:xfrm>
            <a:custGeom>
              <a:avLst/>
              <a:gdLst/>
              <a:ahLst/>
              <a:cxnLst/>
              <a:rect l="0" t="0" r="0" b="0"/>
              <a:pathLst>
                <a:path h="33482">
                  <a:moveTo>
                    <a:pt x="0" y="33482"/>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41" name="pl496">
              <a:extLst>
                <a:ext uri="{FF2B5EF4-FFF2-40B4-BE49-F238E27FC236}">
                  <a16:creationId xmlns:a16="http://schemas.microsoft.com/office/drawing/2014/main" id="{6BC81819-7CD8-0D76-D553-DF8628059BB1}"/>
                </a:ext>
              </a:extLst>
            </p:cNvPr>
            <p:cNvSpPr/>
            <p:nvPr/>
          </p:nvSpPr>
          <p:spPr>
            <a:xfrm>
              <a:off x="3436157" y="4185100"/>
              <a:ext cx="0" cy="73114"/>
            </a:xfrm>
            <a:custGeom>
              <a:avLst/>
              <a:gdLst/>
              <a:ahLst/>
              <a:cxnLst/>
              <a:rect l="0" t="0" r="0" b="0"/>
              <a:pathLst>
                <a:path h="69010">
                  <a:moveTo>
                    <a:pt x="0" y="69010"/>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42" name="pl497">
              <a:extLst>
                <a:ext uri="{FF2B5EF4-FFF2-40B4-BE49-F238E27FC236}">
                  <a16:creationId xmlns:a16="http://schemas.microsoft.com/office/drawing/2014/main" id="{35BED556-A330-93FF-172A-F155BA5FC92B}"/>
                </a:ext>
              </a:extLst>
            </p:cNvPr>
            <p:cNvSpPr/>
            <p:nvPr/>
          </p:nvSpPr>
          <p:spPr>
            <a:xfrm>
              <a:off x="2335190" y="4174462"/>
              <a:ext cx="0" cy="41162"/>
            </a:xfrm>
            <a:custGeom>
              <a:avLst/>
              <a:gdLst/>
              <a:ahLst/>
              <a:cxnLst/>
              <a:rect l="0" t="0" r="0" b="0"/>
              <a:pathLst>
                <a:path h="38852">
                  <a:moveTo>
                    <a:pt x="0" y="38852"/>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43" name="pl498">
              <a:extLst>
                <a:ext uri="{FF2B5EF4-FFF2-40B4-BE49-F238E27FC236}">
                  <a16:creationId xmlns:a16="http://schemas.microsoft.com/office/drawing/2014/main" id="{7E7062DB-C323-BC9A-6971-DDFB18CCEB7D}"/>
                </a:ext>
              </a:extLst>
            </p:cNvPr>
            <p:cNvSpPr/>
            <p:nvPr/>
          </p:nvSpPr>
          <p:spPr>
            <a:xfrm>
              <a:off x="2954484" y="4204287"/>
              <a:ext cx="0" cy="67276"/>
            </a:xfrm>
            <a:custGeom>
              <a:avLst/>
              <a:gdLst/>
              <a:ahLst/>
              <a:cxnLst/>
              <a:rect l="0" t="0" r="0" b="0"/>
              <a:pathLst>
                <a:path h="63500">
                  <a:moveTo>
                    <a:pt x="0" y="63500"/>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44" name="pl499">
              <a:extLst>
                <a:ext uri="{FF2B5EF4-FFF2-40B4-BE49-F238E27FC236}">
                  <a16:creationId xmlns:a16="http://schemas.microsoft.com/office/drawing/2014/main" id="{2F995CAA-E12D-D377-BD02-9A2AB13BB701}"/>
                </a:ext>
              </a:extLst>
            </p:cNvPr>
            <p:cNvSpPr/>
            <p:nvPr/>
          </p:nvSpPr>
          <p:spPr>
            <a:xfrm>
              <a:off x="3367346" y="4197379"/>
              <a:ext cx="0" cy="75456"/>
            </a:xfrm>
            <a:custGeom>
              <a:avLst/>
              <a:gdLst/>
              <a:ahLst/>
              <a:cxnLst/>
              <a:rect l="0" t="0" r="0" b="0"/>
              <a:pathLst>
                <a:path h="71221">
                  <a:moveTo>
                    <a:pt x="0" y="71221"/>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45" name="pl500">
              <a:extLst>
                <a:ext uri="{FF2B5EF4-FFF2-40B4-BE49-F238E27FC236}">
                  <a16:creationId xmlns:a16="http://schemas.microsoft.com/office/drawing/2014/main" id="{6CA673F0-6D91-DC6F-37A9-DF97403C5BB1}"/>
                </a:ext>
              </a:extLst>
            </p:cNvPr>
            <p:cNvSpPr/>
            <p:nvPr/>
          </p:nvSpPr>
          <p:spPr>
            <a:xfrm>
              <a:off x="1371845" y="3900963"/>
              <a:ext cx="0" cy="0"/>
            </a:xfrm>
            <a:custGeom>
              <a:avLst/>
              <a:gdLst/>
              <a:ahLst/>
              <a:cxnLst/>
              <a:rect l="0" t="0" r="0" b="0"/>
              <a:pathLst>
                <a:path>
                  <a:moveTo>
                    <a:pt x="0" y="0"/>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46" name="pl501">
              <a:extLst>
                <a:ext uri="{FF2B5EF4-FFF2-40B4-BE49-F238E27FC236}">
                  <a16:creationId xmlns:a16="http://schemas.microsoft.com/office/drawing/2014/main" id="{898A5E4A-E61F-14B2-D908-E7C98A69A578}"/>
                </a:ext>
              </a:extLst>
            </p:cNvPr>
            <p:cNvSpPr/>
            <p:nvPr/>
          </p:nvSpPr>
          <p:spPr>
            <a:xfrm>
              <a:off x="2885673" y="4194314"/>
              <a:ext cx="0" cy="66443"/>
            </a:xfrm>
            <a:custGeom>
              <a:avLst/>
              <a:gdLst/>
              <a:ahLst/>
              <a:cxnLst/>
              <a:rect l="0" t="0" r="0" b="0"/>
              <a:pathLst>
                <a:path h="62714">
                  <a:moveTo>
                    <a:pt x="0" y="62714"/>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47" name="pl502">
              <a:extLst>
                <a:ext uri="{FF2B5EF4-FFF2-40B4-BE49-F238E27FC236}">
                  <a16:creationId xmlns:a16="http://schemas.microsoft.com/office/drawing/2014/main" id="{5E226C69-775F-FEF4-0A20-9B7E78EDC9EC}"/>
                </a:ext>
              </a:extLst>
            </p:cNvPr>
            <p:cNvSpPr/>
            <p:nvPr/>
          </p:nvSpPr>
          <p:spPr>
            <a:xfrm>
              <a:off x="1922329" y="4083905"/>
              <a:ext cx="0" cy="41453"/>
            </a:xfrm>
            <a:custGeom>
              <a:avLst/>
              <a:gdLst/>
              <a:ahLst/>
              <a:cxnLst/>
              <a:rect l="0" t="0" r="0" b="0"/>
              <a:pathLst>
                <a:path h="39126">
                  <a:moveTo>
                    <a:pt x="0" y="39126"/>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48" name="pl503">
              <a:extLst>
                <a:ext uri="{FF2B5EF4-FFF2-40B4-BE49-F238E27FC236}">
                  <a16:creationId xmlns:a16="http://schemas.microsoft.com/office/drawing/2014/main" id="{656BC066-CFE6-E1EA-3163-D815D6DC2BD0}"/>
                </a:ext>
              </a:extLst>
            </p:cNvPr>
            <p:cNvSpPr/>
            <p:nvPr/>
          </p:nvSpPr>
          <p:spPr>
            <a:xfrm>
              <a:off x="3298536" y="4203981"/>
              <a:ext cx="0" cy="77753"/>
            </a:xfrm>
            <a:custGeom>
              <a:avLst/>
              <a:gdLst/>
              <a:ahLst/>
              <a:cxnLst/>
              <a:rect l="0" t="0" r="0" b="0"/>
              <a:pathLst>
                <a:path h="73389">
                  <a:moveTo>
                    <a:pt x="0" y="73389"/>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49" name="pl504">
              <a:extLst>
                <a:ext uri="{FF2B5EF4-FFF2-40B4-BE49-F238E27FC236}">
                  <a16:creationId xmlns:a16="http://schemas.microsoft.com/office/drawing/2014/main" id="{C1D9F0B9-DF98-CA22-2B5B-3C1F311ABFB5}"/>
                </a:ext>
              </a:extLst>
            </p:cNvPr>
            <p:cNvSpPr/>
            <p:nvPr/>
          </p:nvSpPr>
          <p:spPr>
            <a:xfrm>
              <a:off x="1578276" y="3977050"/>
              <a:ext cx="0" cy="33250"/>
            </a:xfrm>
            <a:custGeom>
              <a:avLst/>
              <a:gdLst/>
              <a:ahLst/>
              <a:cxnLst/>
              <a:rect l="0" t="0" r="0" b="0"/>
              <a:pathLst>
                <a:path h="31384">
                  <a:moveTo>
                    <a:pt x="0" y="31384"/>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50" name="pl505">
              <a:extLst>
                <a:ext uri="{FF2B5EF4-FFF2-40B4-BE49-F238E27FC236}">
                  <a16:creationId xmlns:a16="http://schemas.microsoft.com/office/drawing/2014/main" id="{FDE4F7CB-F9B0-4515-A7CF-047AB3AD2769}"/>
                </a:ext>
              </a:extLst>
            </p:cNvPr>
            <p:cNvSpPr/>
            <p:nvPr/>
          </p:nvSpPr>
          <p:spPr>
            <a:xfrm>
              <a:off x="1991139" y="4120061"/>
              <a:ext cx="0" cy="49794"/>
            </a:xfrm>
            <a:custGeom>
              <a:avLst/>
              <a:gdLst/>
              <a:ahLst/>
              <a:cxnLst/>
              <a:rect l="0" t="0" r="0" b="0"/>
              <a:pathLst>
                <a:path h="46999">
                  <a:moveTo>
                    <a:pt x="0" y="46999"/>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51" name="pl506">
              <a:extLst>
                <a:ext uri="{FF2B5EF4-FFF2-40B4-BE49-F238E27FC236}">
                  <a16:creationId xmlns:a16="http://schemas.microsoft.com/office/drawing/2014/main" id="{0DF87ABC-6FE9-598E-BBF9-7FEE98E672F3}"/>
                </a:ext>
              </a:extLst>
            </p:cNvPr>
            <p:cNvSpPr/>
            <p:nvPr/>
          </p:nvSpPr>
          <p:spPr>
            <a:xfrm>
              <a:off x="1440656" y="3891908"/>
              <a:ext cx="0" cy="23040"/>
            </a:xfrm>
            <a:custGeom>
              <a:avLst/>
              <a:gdLst/>
              <a:ahLst/>
              <a:cxnLst/>
              <a:rect l="0" t="0" r="0" b="0"/>
              <a:pathLst>
                <a:path h="21747">
                  <a:moveTo>
                    <a:pt x="0" y="21747"/>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52" name="pl507">
              <a:extLst>
                <a:ext uri="{FF2B5EF4-FFF2-40B4-BE49-F238E27FC236}">
                  <a16:creationId xmlns:a16="http://schemas.microsoft.com/office/drawing/2014/main" id="{AF421F1C-578D-D520-AB41-8C47B3B546D9}"/>
                </a:ext>
              </a:extLst>
            </p:cNvPr>
            <p:cNvSpPr/>
            <p:nvPr/>
          </p:nvSpPr>
          <p:spPr>
            <a:xfrm>
              <a:off x="1509466" y="3922762"/>
              <a:ext cx="0" cy="34140"/>
            </a:xfrm>
            <a:custGeom>
              <a:avLst/>
              <a:gdLst/>
              <a:ahLst/>
              <a:cxnLst/>
              <a:rect l="0" t="0" r="0" b="0"/>
              <a:pathLst>
                <a:path h="32224">
                  <a:moveTo>
                    <a:pt x="0" y="32224"/>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53" name="pl508">
              <a:extLst>
                <a:ext uri="{FF2B5EF4-FFF2-40B4-BE49-F238E27FC236}">
                  <a16:creationId xmlns:a16="http://schemas.microsoft.com/office/drawing/2014/main" id="{7B774A44-AA1F-A0E4-64AE-F07E30D7DA9E}"/>
                </a:ext>
              </a:extLst>
            </p:cNvPr>
            <p:cNvSpPr/>
            <p:nvPr/>
          </p:nvSpPr>
          <p:spPr>
            <a:xfrm>
              <a:off x="2541622" y="4179470"/>
              <a:ext cx="0" cy="62216"/>
            </a:xfrm>
            <a:custGeom>
              <a:avLst/>
              <a:gdLst/>
              <a:ahLst/>
              <a:cxnLst/>
              <a:rect l="0" t="0" r="0" b="0"/>
              <a:pathLst>
                <a:path h="58724">
                  <a:moveTo>
                    <a:pt x="0" y="58724"/>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54" name="pl509">
              <a:extLst>
                <a:ext uri="{FF2B5EF4-FFF2-40B4-BE49-F238E27FC236}">
                  <a16:creationId xmlns:a16="http://schemas.microsoft.com/office/drawing/2014/main" id="{FA41E40E-1C4C-B5EB-59B0-2747488BDF44}"/>
                </a:ext>
              </a:extLst>
            </p:cNvPr>
            <p:cNvSpPr/>
            <p:nvPr/>
          </p:nvSpPr>
          <p:spPr>
            <a:xfrm>
              <a:off x="1715897" y="4089077"/>
              <a:ext cx="0" cy="29922"/>
            </a:xfrm>
            <a:custGeom>
              <a:avLst/>
              <a:gdLst/>
              <a:ahLst/>
              <a:cxnLst/>
              <a:rect l="0" t="0" r="0" b="0"/>
              <a:pathLst>
                <a:path h="28243">
                  <a:moveTo>
                    <a:pt x="0" y="28243"/>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55" name="pl510">
              <a:extLst>
                <a:ext uri="{FF2B5EF4-FFF2-40B4-BE49-F238E27FC236}">
                  <a16:creationId xmlns:a16="http://schemas.microsoft.com/office/drawing/2014/main" id="{592547A4-4EE9-304D-793B-DDA456852F0D}"/>
                </a:ext>
              </a:extLst>
            </p:cNvPr>
            <p:cNvSpPr/>
            <p:nvPr/>
          </p:nvSpPr>
          <p:spPr>
            <a:xfrm>
              <a:off x="3160916" y="4179475"/>
              <a:ext cx="0" cy="76832"/>
            </a:xfrm>
            <a:custGeom>
              <a:avLst/>
              <a:gdLst/>
              <a:ahLst/>
              <a:cxnLst/>
              <a:rect l="0" t="0" r="0" b="0"/>
              <a:pathLst>
                <a:path h="72520">
                  <a:moveTo>
                    <a:pt x="0" y="72520"/>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56" name="pl511">
              <a:extLst>
                <a:ext uri="{FF2B5EF4-FFF2-40B4-BE49-F238E27FC236}">
                  <a16:creationId xmlns:a16="http://schemas.microsoft.com/office/drawing/2014/main" id="{D1378DA8-45B3-E8DA-8415-FC65F4A1A03E}"/>
                </a:ext>
              </a:extLst>
            </p:cNvPr>
            <p:cNvSpPr/>
            <p:nvPr/>
          </p:nvSpPr>
          <p:spPr>
            <a:xfrm>
              <a:off x="2679243" y="4204407"/>
              <a:ext cx="0" cy="60164"/>
            </a:xfrm>
            <a:custGeom>
              <a:avLst/>
              <a:gdLst/>
              <a:ahLst/>
              <a:cxnLst/>
              <a:rect l="0" t="0" r="0" b="0"/>
              <a:pathLst>
                <a:path h="56787">
                  <a:moveTo>
                    <a:pt x="0" y="56787"/>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57" name="pl512">
              <a:extLst>
                <a:ext uri="{FF2B5EF4-FFF2-40B4-BE49-F238E27FC236}">
                  <a16:creationId xmlns:a16="http://schemas.microsoft.com/office/drawing/2014/main" id="{D70CEB8C-31BF-92E0-AA95-7FE300757CDF}"/>
                </a:ext>
              </a:extLst>
            </p:cNvPr>
            <p:cNvSpPr/>
            <p:nvPr/>
          </p:nvSpPr>
          <p:spPr>
            <a:xfrm>
              <a:off x="2266380" y="4145635"/>
              <a:ext cx="0" cy="54733"/>
            </a:xfrm>
            <a:custGeom>
              <a:avLst/>
              <a:gdLst/>
              <a:ahLst/>
              <a:cxnLst/>
              <a:rect l="0" t="0" r="0" b="0"/>
              <a:pathLst>
                <a:path h="51661">
                  <a:moveTo>
                    <a:pt x="0" y="51661"/>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58" name="pl513">
              <a:extLst>
                <a:ext uri="{FF2B5EF4-FFF2-40B4-BE49-F238E27FC236}">
                  <a16:creationId xmlns:a16="http://schemas.microsoft.com/office/drawing/2014/main" id="{7E4C3E55-75C7-102C-D5F5-0C3FFAA262D2}"/>
                </a:ext>
              </a:extLst>
            </p:cNvPr>
            <p:cNvSpPr/>
            <p:nvPr/>
          </p:nvSpPr>
          <p:spPr>
            <a:xfrm>
              <a:off x="2059949" y="4122985"/>
              <a:ext cx="0" cy="32249"/>
            </a:xfrm>
            <a:custGeom>
              <a:avLst/>
              <a:gdLst/>
              <a:ahLst/>
              <a:cxnLst/>
              <a:rect l="0" t="0" r="0" b="0"/>
              <a:pathLst>
                <a:path h="30439">
                  <a:moveTo>
                    <a:pt x="0" y="30439"/>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59" name="pl514">
              <a:extLst>
                <a:ext uri="{FF2B5EF4-FFF2-40B4-BE49-F238E27FC236}">
                  <a16:creationId xmlns:a16="http://schemas.microsoft.com/office/drawing/2014/main" id="{8CEFC542-1685-A1D2-AF74-F4F369AFB3A1}"/>
                </a:ext>
              </a:extLst>
            </p:cNvPr>
            <p:cNvSpPr/>
            <p:nvPr/>
          </p:nvSpPr>
          <p:spPr>
            <a:xfrm>
              <a:off x="3092105" y="4193694"/>
              <a:ext cx="0" cy="60706"/>
            </a:xfrm>
            <a:custGeom>
              <a:avLst/>
              <a:gdLst/>
              <a:ahLst/>
              <a:cxnLst/>
              <a:rect l="0" t="0" r="0" b="0"/>
              <a:pathLst>
                <a:path h="57299">
                  <a:moveTo>
                    <a:pt x="0" y="57299"/>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60" name="pl515">
              <a:extLst>
                <a:ext uri="{FF2B5EF4-FFF2-40B4-BE49-F238E27FC236}">
                  <a16:creationId xmlns:a16="http://schemas.microsoft.com/office/drawing/2014/main" id="{E9A4D749-999D-B587-8AFC-96C23B35E3CB}"/>
                </a:ext>
              </a:extLst>
            </p:cNvPr>
            <p:cNvSpPr/>
            <p:nvPr/>
          </p:nvSpPr>
          <p:spPr>
            <a:xfrm>
              <a:off x="2404002" y="4153392"/>
              <a:ext cx="0" cy="42526"/>
            </a:xfrm>
            <a:custGeom>
              <a:avLst/>
              <a:gdLst/>
              <a:ahLst/>
              <a:cxnLst/>
              <a:rect l="0" t="0" r="0" b="0"/>
              <a:pathLst>
                <a:path h="40139">
                  <a:moveTo>
                    <a:pt x="0" y="40139"/>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61" name="pl516">
              <a:extLst>
                <a:ext uri="{FF2B5EF4-FFF2-40B4-BE49-F238E27FC236}">
                  <a16:creationId xmlns:a16="http://schemas.microsoft.com/office/drawing/2014/main" id="{841D5787-5928-94C6-98A6-6055E663CD5B}"/>
                </a:ext>
              </a:extLst>
            </p:cNvPr>
            <p:cNvSpPr/>
            <p:nvPr/>
          </p:nvSpPr>
          <p:spPr>
            <a:xfrm>
              <a:off x="1853518" y="4116619"/>
              <a:ext cx="0" cy="28444"/>
            </a:xfrm>
            <a:custGeom>
              <a:avLst/>
              <a:gdLst/>
              <a:ahLst/>
              <a:cxnLst/>
              <a:rect l="0" t="0" r="0" b="0"/>
              <a:pathLst>
                <a:path h="26848">
                  <a:moveTo>
                    <a:pt x="0" y="26848"/>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62" name="pl517">
              <a:extLst>
                <a:ext uri="{FF2B5EF4-FFF2-40B4-BE49-F238E27FC236}">
                  <a16:creationId xmlns:a16="http://schemas.microsoft.com/office/drawing/2014/main" id="{BFF0F8D4-991A-EDD0-0EB0-74BA73F9BBFE}"/>
                </a:ext>
              </a:extLst>
            </p:cNvPr>
            <p:cNvSpPr/>
            <p:nvPr/>
          </p:nvSpPr>
          <p:spPr>
            <a:xfrm>
              <a:off x="3229726" y="4195510"/>
              <a:ext cx="0" cy="81774"/>
            </a:xfrm>
            <a:custGeom>
              <a:avLst/>
              <a:gdLst/>
              <a:ahLst/>
              <a:cxnLst/>
              <a:rect l="0" t="0" r="0" b="0"/>
              <a:pathLst>
                <a:path h="77184">
                  <a:moveTo>
                    <a:pt x="0" y="77184"/>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63" name="pl518">
              <a:extLst>
                <a:ext uri="{FF2B5EF4-FFF2-40B4-BE49-F238E27FC236}">
                  <a16:creationId xmlns:a16="http://schemas.microsoft.com/office/drawing/2014/main" id="{0374EEFC-B47C-1DCF-CF36-3C566269B3D0}"/>
                </a:ext>
              </a:extLst>
            </p:cNvPr>
            <p:cNvSpPr/>
            <p:nvPr/>
          </p:nvSpPr>
          <p:spPr>
            <a:xfrm>
              <a:off x="2128759" y="4139924"/>
              <a:ext cx="0" cy="34380"/>
            </a:xfrm>
            <a:custGeom>
              <a:avLst/>
              <a:gdLst/>
              <a:ahLst/>
              <a:cxnLst/>
              <a:rect l="0" t="0" r="0" b="0"/>
              <a:pathLst>
                <a:path h="32450">
                  <a:moveTo>
                    <a:pt x="0" y="32450"/>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64" name="pl519">
              <a:extLst>
                <a:ext uri="{FF2B5EF4-FFF2-40B4-BE49-F238E27FC236}">
                  <a16:creationId xmlns:a16="http://schemas.microsoft.com/office/drawing/2014/main" id="{E936D909-E0DD-A7AB-37A5-072E8ACAB6AB}"/>
                </a:ext>
              </a:extLst>
            </p:cNvPr>
            <p:cNvSpPr/>
            <p:nvPr/>
          </p:nvSpPr>
          <p:spPr>
            <a:xfrm>
              <a:off x="2610432" y="4169263"/>
              <a:ext cx="0" cy="55896"/>
            </a:xfrm>
            <a:custGeom>
              <a:avLst/>
              <a:gdLst/>
              <a:ahLst/>
              <a:cxnLst/>
              <a:rect l="0" t="0" r="0" b="0"/>
              <a:pathLst>
                <a:path h="52759">
                  <a:moveTo>
                    <a:pt x="0" y="52759"/>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65" name="pl520">
              <a:extLst>
                <a:ext uri="{FF2B5EF4-FFF2-40B4-BE49-F238E27FC236}">
                  <a16:creationId xmlns:a16="http://schemas.microsoft.com/office/drawing/2014/main" id="{A71A572F-DACF-857D-7476-FFA6119D0C64}"/>
                </a:ext>
              </a:extLst>
            </p:cNvPr>
            <p:cNvSpPr/>
            <p:nvPr/>
          </p:nvSpPr>
          <p:spPr>
            <a:xfrm>
              <a:off x="3504967" y="4134257"/>
              <a:ext cx="0" cy="64203"/>
            </a:xfrm>
            <a:custGeom>
              <a:avLst/>
              <a:gdLst/>
              <a:ahLst/>
              <a:cxnLst/>
              <a:rect l="0" t="0" r="0" b="0"/>
              <a:pathLst>
                <a:path h="60600">
                  <a:moveTo>
                    <a:pt x="0" y="60600"/>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66" name="pl521">
              <a:extLst>
                <a:ext uri="{FF2B5EF4-FFF2-40B4-BE49-F238E27FC236}">
                  <a16:creationId xmlns:a16="http://schemas.microsoft.com/office/drawing/2014/main" id="{11C7301B-F093-0258-8859-E202303D8ACB}"/>
                </a:ext>
              </a:extLst>
            </p:cNvPr>
            <p:cNvSpPr/>
            <p:nvPr/>
          </p:nvSpPr>
          <p:spPr>
            <a:xfrm>
              <a:off x="1647087" y="4027801"/>
              <a:ext cx="0" cy="32717"/>
            </a:xfrm>
            <a:custGeom>
              <a:avLst/>
              <a:gdLst/>
              <a:ahLst/>
              <a:cxnLst/>
              <a:rect l="0" t="0" r="0" b="0"/>
              <a:pathLst>
                <a:path h="30881">
                  <a:moveTo>
                    <a:pt x="0" y="30881"/>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67" name="pl522">
              <a:extLst>
                <a:ext uri="{FF2B5EF4-FFF2-40B4-BE49-F238E27FC236}">
                  <a16:creationId xmlns:a16="http://schemas.microsoft.com/office/drawing/2014/main" id="{B3CED2A0-2343-5303-AE89-F84CFC61A894}"/>
                </a:ext>
              </a:extLst>
            </p:cNvPr>
            <p:cNvSpPr/>
            <p:nvPr/>
          </p:nvSpPr>
          <p:spPr>
            <a:xfrm>
              <a:off x="2472812" y="4169866"/>
              <a:ext cx="0" cy="57199"/>
            </a:xfrm>
            <a:custGeom>
              <a:avLst/>
              <a:gdLst/>
              <a:ahLst/>
              <a:cxnLst/>
              <a:rect l="0" t="0" r="0" b="0"/>
              <a:pathLst>
                <a:path h="53989">
                  <a:moveTo>
                    <a:pt x="0" y="53989"/>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68" name="pl523">
              <a:extLst>
                <a:ext uri="{FF2B5EF4-FFF2-40B4-BE49-F238E27FC236}">
                  <a16:creationId xmlns:a16="http://schemas.microsoft.com/office/drawing/2014/main" id="{E09A6C60-6474-82A2-31DB-24FFEA580BD0}"/>
                </a:ext>
              </a:extLst>
            </p:cNvPr>
            <p:cNvSpPr/>
            <p:nvPr/>
          </p:nvSpPr>
          <p:spPr>
            <a:xfrm>
              <a:off x="3023295" y="4215075"/>
              <a:ext cx="0" cy="74286"/>
            </a:xfrm>
            <a:custGeom>
              <a:avLst/>
              <a:gdLst/>
              <a:ahLst/>
              <a:cxnLst/>
              <a:rect l="0" t="0" r="0" b="0"/>
              <a:pathLst>
                <a:path h="70117">
                  <a:moveTo>
                    <a:pt x="0" y="70117"/>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69" name="pl524">
              <a:extLst>
                <a:ext uri="{FF2B5EF4-FFF2-40B4-BE49-F238E27FC236}">
                  <a16:creationId xmlns:a16="http://schemas.microsoft.com/office/drawing/2014/main" id="{1C615953-0B89-8D55-4720-E0741A56E851}"/>
                </a:ext>
              </a:extLst>
            </p:cNvPr>
            <p:cNvSpPr/>
            <p:nvPr/>
          </p:nvSpPr>
          <p:spPr>
            <a:xfrm>
              <a:off x="2816863" y="4233061"/>
              <a:ext cx="0" cy="56938"/>
            </a:xfrm>
            <a:custGeom>
              <a:avLst/>
              <a:gdLst/>
              <a:ahLst/>
              <a:cxnLst/>
              <a:rect l="0" t="0" r="0" b="0"/>
              <a:pathLst>
                <a:path h="53742">
                  <a:moveTo>
                    <a:pt x="0" y="53742"/>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70" name="pl525">
              <a:extLst>
                <a:ext uri="{FF2B5EF4-FFF2-40B4-BE49-F238E27FC236}">
                  <a16:creationId xmlns:a16="http://schemas.microsoft.com/office/drawing/2014/main" id="{3DC62743-C2D0-1D42-FDDF-FA98AA71DB2C}"/>
                </a:ext>
              </a:extLst>
            </p:cNvPr>
            <p:cNvSpPr/>
            <p:nvPr/>
          </p:nvSpPr>
          <p:spPr>
            <a:xfrm>
              <a:off x="2748053" y="4195413"/>
              <a:ext cx="0" cy="59623"/>
            </a:xfrm>
            <a:custGeom>
              <a:avLst/>
              <a:gdLst/>
              <a:ahLst/>
              <a:cxnLst/>
              <a:rect l="0" t="0" r="0" b="0"/>
              <a:pathLst>
                <a:path h="56277">
                  <a:moveTo>
                    <a:pt x="0" y="56277"/>
                  </a:moveTo>
                  <a:lnTo>
                    <a:pt x="0" y="0"/>
                  </a:lnTo>
                </a:path>
              </a:pathLst>
            </a:custGeom>
            <a:ln w="5420" cap="flat">
              <a:solidFill>
                <a:srgbClr val="E2B22C">
                  <a:alpha val="100000"/>
                </a:srgbClr>
              </a:solidFill>
              <a:prstDash val="solid"/>
              <a:round/>
            </a:ln>
          </p:spPr>
          <p:txBody>
            <a:bodyPr/>
            <a:lstStyle/>
            <a:p>
              <a:pPr defTabSz="914400"/>
              <a:endParaRPr>
                <a:solidFill>
                  <a:srgbClr val="001965"/>
                </a:solidFill>
                <a:latin typeface="Avenir Next LT Pro"/>
              </a:endParaRPr>
            </a:p>
          </p:txBody>
        </p:sp>
        <p:sp>
          <p:nvSpPr>
            <p:cNvPr id="11571" name="pl526">
              <a:extLst>
                <a:ext uri="{FF2B5EF4-FFF2-40B4-BE49-F238E27FC236}">
                  <a16:creationId xmlns:a16="http://schemas.microsoft.com/office/drawing/2014/main" id="{82AB0A86-DED7-39D6-36A4-C1109F7A9026}"/>
                </a:ext>
              </a:extLst>
            </p:cNvPr>
            <p:cNvSpPr/>
            <p:nvPr/>
          </p:nvSpPr>
          <p:spPr>
            <a:xfrm>
              <a:off x="1265189" y="3900963"/>
              <a:ext cx="2346434" cy="0"/>
            </a:xfrm>
            <a:custGeom>
              <a:avLst/>
              <a:gdLst/>
              <a:ahLst/>
              <a:cxnLst/>
              <a:rect l="0" t="0" r="0" b="0"/>
              <a:pathLst>
                <a:path w="2160000">
                  <a:moveTo>
                    <a:pt x="0" y="0"/>
                  </a:moveTo>
                  <a:lnTo>
                    <a:pt x="2160000" y="0"/>
                  </a:lnTo>
                  <a:lnTo>
                    <a:pt x="2160000" y="0"/>
                  </a:lnTo>
                </a:path>
              </a:pathLst>
            </a:custGeom>
            <a:ln w="5420" cap="flat">
              <a:solidFill>
                <a:srgbClr val="001965">
                  <a:alpha val="100000"/>
                </a:srgbClr>
              </a:solidFill>
              <a:prstDash val="dash"/>
              <a:round/>
            </a:ln>
          </p:spPr>
          <p:txBody>
            <a:bodyPr/>
            <a:lstStyle/>
            <a:p>
              <a:pPr defTabSz="914400"/>
              <a:endParaRPr>
                <a:solidFill>
                  <a:srgbClr val="001965"/>
                </a:solidFill>
                <a:latin typeface="Avenir Next LT Pro"/>
              </a:endParaRPr>
            </a:p>
          </p:txBody>
        </p:sp>
        <p:sp>
          <p:nvSpPr>
            <p:cNvPr id="11572" name="pl527">
              <a:extLst>
                <a:ext uri="{FF2B5EF4-FFF2-40B4-BE49-F238E27FC236}">
                  <a16:creationId xmlns:a16="http://schemas.microsoft.com/office/drawing/2014/main" id="{BCE3F7B7-1060-93DD-F3CA-12A48AD00699}"/>
                </a:ext>
              </a:extLst>
            </p:cNvPr>
            <p:cNvSpPr/>
            <p:nvPr/>
          </p:nvSpPr>
          <p:spPr>
            <a:xfrm>
              <a:off x="1265189" y="3392421"/>
              <a:ext cx="0" cy="1525626"/>
            </a:xfrm>
            <a:custGeom>
              <a:avLst/>
              <a:gdLst/>
              <a:ahLst/>
              <a:cxnLst/>
              <a:rect l="0" t="0" r="0" b="0"/>
              <a:pathLst>
                <a:path h="1439999">
                  <a:moveTo>
                    <a:pt x="0" y="1439999"/>
                  </a:moveTo>
                  <a:lnTo>
                    <a:pt x="0"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1573" name="tx528">
              <a:extLst>
                <a:ext uri="{FF2B5EF4-FFF2-40B4-BE49-F238E27FC236}">
                  <a16:creationId xmlns:a16="http://schemas.microsoft.com/office/drawing/2014/main" id="{EE2153DE-EC31-A604-AF0A-9F97A2B617C6}"/>
                </a:ext>
              </a:extLst>
            </p:cNvPr>
            <p:cNvSpPr/>
            <p:nvPr/>
          </p:nvSpPr>
          <p:spPr>
            <a:xfrm>
              <a:off x="1056500" y="4880267"/>
              <a:ext cx="115225" cy="72076"/>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80</a:t>
              </a:r>
            </a:p>
          </p:txBody>
        </p:sp>
        <p:sp>
          <p:nvSpPr>
            <p:cNvPr id="11574" name="tx529">
              <a:extLst>
                <a:ext uri="{FF2B5EF4-FFF2-40B4-BE49-F238E27FC236}">
                  <a16:creationId xmlns:a16="http://schemas.microsoft.com/office/drawing/2014/main" id="{EAFBAD3F-A86A-C117-B936-9534AE759DA9}"/>
                </a:ext>
              </a:extLst>
            </p:cNvPr>
            <p:cNvSpPr/>
            <p:nvPr/>
          </p:nvSpPr>
          <p:spPr>
            <a:xfrm>
              <a:off x="1056500" y="4371724"/>
              <a:ext cx="115225" cy="72076"/>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90</a:t>
              </a:r>
            </a:p>
          </p:txBody>
        </p:sp>
        <p:sp>
          <p:nvSpPr>
            <p:cNvPr id="11575" name="tx530">
              <a:extLst>
                <a:ext uri="{FF2B5EF4-FFF2-40B4-BE49-F238E27FC236}">
                  <a16:creationId xmlns:a16="http://schemas.microsoft.com/office/drawing/2014/main" id="{71587A29-4622-FF0C-CAF2-86FC2A7FE0C3}"/>
                </a:ext>
              </a:extLst>
            </p:cNvPr>
            <p:cNvSpPr/>
            <p:nvPr/>
          </p:nvSpPr>
          <p:spPr>
            <a:xfrm>
              <a:off x="998887" y="3863182"/>
              <a:ext cx="172838" cy="72076"/>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100</a:t>
              </a:r>
            </a:p>
          </p:txBody>
        </p:sp>
        <p:sp>
          <p:nvSpPr>
            <p:cNvPr id="11576" name="tx531">
              <a:extLst>
                <a:ext uri="{FF2B5EF4-FFF2-40B4-BE49-F238E27FC236}">
                  <a16:creationId xmlns:a16="http://schemas.microsoft.com/office/drawing/2014/main" id="{837C5C49-D059-DBDD-BCFA-B2EC4A7FCD50}"/>
                </a:ext>
              </a:extLst>
            </p:cNvPr>
            <p:cNvSpPr/>
            <p:nvPr/>
          </p:nvSpPr>
          <p:spPr>
            <a:xfrm>
              <a:off x="998887" y="3354639"/>
              <a:ext cx="172838" cy="72076"/>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110</a:t>
              </a:r>
            </a:p>
          </p:txBody>
        </p:sp>
        <p:sp>
          <p:nvSpPr>
            <p:cNvPr id="11577" name="pl532">
              <a:extLst>
                <a:ext uri="{FF2B5EF4-FFF2-40B4-BE49-F238E27FC236}">
                  <a16:creationId xmlns:a16="http://schemas.microsoft.com/office/drawing/2014/main" id="{43174AB2-8238-754D-E2EB-57B8641AABAD}"/>
                </a:ext>
              </a:extLst>
            </p:cNvPr>
            <p:cNvSpPr/>
            <p:nvPr/>
          </p:nvSpPr>
          <p:spPr>
            <a:xfrm>
              <a:off x="1196466" y="4918048"/>
              <a:ext cx="6872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1578" name="pl533">
              <a:extLst>
                <a:ext uri="{FF2B5EF4-FFF2-40B4-BE49-F238E27FC236}">
                  <a16:creationId xmlns:a16="http://schemas.microsoft.com/office/drawing/2014/main" id="{59ABB77D-4D0B-417F-0A94-E80AD3444452}"/>
                </a:ext>
              </a:extLst>
            </p:cNvPr>
            <p:cNvSpPr/>
            <p:nvPr/>
          </p:nvSpPr>
          <p:spPr>
            <a:xfrm>
              <a:off x="1196466" y="4409506"/>
              <a:ext cx="6872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1579" name="pl534">
              <a:extLst>
                <a:ext uri="{FF2B5EF4-FFF2-40B4-BE49-F238E27FC236}">
                  <a16:creationId xmlns:a16="http://schemas.microsoft.com/office/drawing/2014/main" id="{82AD2786-ECF9-2CB0-48C6-DEAB7ADFF362}"/>
                </a:ext>
              </a:extLst>
            </p:cNvPr>
            <p:cNvSpPr/>
            <p:nvPr/>
          </p:nvSpPr>
          <p:spPr>
            <a:xfrm>
              <a:off x="1196466" y="3900963"/>
              <a:ext cx="6872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1580" name="pl535">
              <a:extLst>
                <a:ext uri="{FF2B5EF4-FFF2-40B4-BE49-F238E27FC236}">
                  <a16:creationId xmlns:a16="http://schemas.microsoft.com/office/drawing/2014/main" id="{2AE6B263-7BB1-E7CD-2B9F-2FBC78ED58E5}"/>
                </a:ext>
              </a:extLst>
            </p:cNvPr>
            <p:cNvSpPr/>
            <p:nvPr/>
          </p:nvSpPr>
          <p:spPr>
            <a:xfrm>
              <a:off x="1196466" y="3392421"/>
              <a:ext cx="6872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1581" name="pl536">
              <a:extLst>
                <a:ext uri="{FF2B5EF4-FFF2-40B4-BE49-F238E27FC236}">
                  <a16:creationId xmlns:a16="http://schemas.microsoft.com/office/drawing/2014/main" id="{F7FCEC01-8F9C-3C8B-8820-A51B641DF359}"/>
                </a:ext>
              </a:extLst>
            </p:cNvPr>
            <p:cNvSpPr/>
            <p:nvPr/>
          </p:nvSpPr>
          <p:spPr>
            <a:xfrm>
              <a:off x="1265189" y="4918048"/>
              <a:ext cx="2346434" cy="0"/>
            </a:xfrm>
            <a:custGeom>
              <a:avLst/>
              <a:gdLst/>
              <a:ahLst/>
              <a:cxnLst/>
              <a:rect l="0" t="0" r="0" b="0"/>
              <a:pathLst>
                <a:path w="2160000">
                  <a:moveTo>
                    <a:pt x="0" y="0"/>
                  </a:moveTo>
                  <a:lnTo>
                    <a:pt x="2160000"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1582" name="pl537">
              <a:extLst>
                <a:ext uri="{FF2B5EF4-FFF2-40B4-BE49-F238E27FC236}">
                  <a16:creationId xmlns:a16="http://schemas.microsoft.com/office/drawing/2014/main" id="{01A2D49E-D369-011A-2635-AABE1FDAC2BB}"/>
                </a:ext>
              </a:extLst>
            </p:cNvPr>
            <p:cNvSpPr/>
            <p:nvPr/>
          </p:nvSpPr>
          <p:spPr>
            <a:xfrm>
              <a:off x="1371845" y="4918048"/>
              <a:ext cx="0" cy="67024"/>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1583" name="pl538">
              <a:extLst>
                <a:ext uri="{FF2B5EF4-FFF2-40B4-BE49-F238E27FC236}">
                  <a16:creationId xmlns:a16="http://schemas.microsoft.com/office/drawing/2014/main" id="{CA496E4F-78B8-2307-D30B-A9CF430D03AD}"/>
                </a:ext>
              </a:extLst>
            </p:cNvPr>
            <p:cNvSpPr/>
            <p:nvPr/>
          </p:nvSpPr>
          <p:spPr>
            <a:xfrm>
              <a:off x="1715897" y="4918048"/>
              <a:ext cx="0" cy="67024"/>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1584" name="pl539">
              <a:extLst>
                <a:ext uri="{FF2B5EF4-FFF2-40B4-BE49-F238E27FC236}">
                  <a16:creationId xmlns:a16="http://schemas.microsoft.com/office/drawing/2014/main" id="{8E7EA0A3-9B74-FABF-074C-0B43EDF2645D}"/>
                </a:ext>
              </a:extLst>
            </p:cNvPr>
            <p:cNvSpPr/>
            <p:nvPr/>
          </p:nvSpPr>
          <p:spPr>
            <a:xfrm>
              <a:off x="2059949" y="4918048"/>
              <a:ext cx="0" cy="67024"/>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1585" name="pl540">
              <a:extLst>
                <a:ext uri="{FF2B5EF4-FFF2-40B4-BE49-F238E27FC236}">
                  <a16:creationId xmlns:a16="http://schemas.microsoft.com/office/drawing/2014/main" id="{1009F625-3724-BEF5-C586-2798CEE8770B}"/>
                </a:ext>
              </a:extLst>
            </p:cNvPr>
            <p:cNvSpPr/>
            <p:nvPr/>
          </p:nvSpPr>
          <p:spPr>
            <a:xfrm>
              <a:off x="2404002" y="4918048"/>
              <a:ext cx="0" cy="67024"/>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1586" name="pl541">
              <a:extLst>
                <a:ext uri="{FF2B5EF4-FFF2-40B4-BE49-F238E27FC236}">
                  <a16:creationId xmlns:a16="http://schemas.microsoft.com/office/drawing/2014/main" id="{6E27F557-69C9-AD7C-A0F1-E6705D122321}"/>
                </a:ext>
              </a:extLst>
            </p:cNvPr>
            <p:cNvSpPr/>
            <p:nvPr/>
          </p:nvSpPr>
          <p:spPr>
            <a:xfrm>
              <a:off x="2748053" y="4918048"/>
              <a:ext cx="0" cy="67024"/>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1587" name="pl542">
              <a:extLst>
                <a:ext uri="{FF2B5EF4-FFF2-40B4-BE49-F238E27FC236}">
                  <a16:creationId xmlns:a16="http://schemas.microsoft.com/office/drawing/2014/main" id="{510E845A-29D6-7053-E772-4058FF1D459D}"/>
                </a:ext>
              </a:extLst>
            </p:cNvPr>
            <p:cNvSpPr/>
            <p:nvPr/>
          </p:nvSpPr>
          <p:spPr>
            <a:xfrm>
              <a:off x="3092105" y="4918048"/>
              <a:ext cx="0" cy="67024"/>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1588" name="pl543">
              <a:extLst>
                <a:ext uri="{FF2B5EF4-FFF2-40B4-BE49-F238E27FC236}">
                  <a16:creationId xmlns:a16="http://schemas.microsoft.com/office/drawing/2014/main" id="{0A76AD09-32B1-3142-7D38-33D49D994A83}"/>
                </a:ext>
              </a:extLst>
            </p:cNvPr>
            <p:cNvSpPr/>
            <p:nvPr/>
          </p:nvSpPr>
          <p:spPr>
            <a:xfrm>
              <a:off x="3436157" y="4918048"/>
              <a:ext cx="0" cy="67024"/>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defTabSz="914400"/>
              <a:endParaRPr>
                <a:solidFill>
                  <a:srgbClr val="001965"/>
                </a:solidFill>
                <a:latin typeface="Avenir Next LT Pro"/>
              </a:endParaRPr>
            </a:p>
          </p:txBody>
        </p:sp>
        <p:sp>
          <p:nvSpPr>
            <p:cNvPr id="11589" name="tx544">
              <a:extLst>
                <a:ext uri="{FF2B5EF4-FFF2-40B4-BE49-F238E27FC236}">
                  <a16:creationId xmlns:a16="http://schemas.microsoft.com/office/drawing/2014/main" id="{748891FB-67A5-A669-45C1-4B4B59AF041C}"/>
                </a:ext>
              </a:extLst>
            </p:cNvPr>
            <p:cNvSpPr/>
            <p:nvPr/>
          </p:nvSpPr>
          <p:spPr>
            <a:xfrm>
              <a:off x="1343039" y="5040453"/>
              <a:ext cx="57613" cy="68589"/>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1</a:t>
              </a:r>
            </a:p>
          </p:txBody>
        </p:sp>
        <p:sp>
          <p:nvSpPr>
            <p:cNvPr id="11590" name="tx545">
              <a:extLst>
                <a:ext uri="{FF2B5EF4-FFF2-40B4-BE49-F238E27FC236}">
                  <a16:creationId xmlns:a16="http://schemas.microsoft.com/office/drawing/2014/main" id="{E6212DB0-E42F-4271-33BA-C02A6E08F560}"/>
                </a:ext>
              </a:extLst>
            </p:cNvPr>
            <p:cNvSpPr/>
            <p:nvPr/>
          </p:nvSpPr>
          <p:spPr>
            <a:xfrm>
              <a:off x="1687091" y="5038709"/>
              <a:ext cx="57613" cy="70332"/>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6</a:t>
              </a:r>
            </a:p>
          </p:txBody>
        </p:sp>
        <p:sp>
          <p:nvSpPr>
            <p:cNvPr id="11591" name="tx546">
              <a:extLst>
                <a:ext uri="{FF2B5EF4-FFF2-40B4-BE49-F238E27FC236}">
                  <a16:creationId xmlns:a16="http://schemas.microsoft.com/office/drawing/2014/main" id="{140FF827-C7C7-A087-6D2E-AAD1960C4B68}"/>
                </a:ext>
              </a:extLst>
            </p:cNvPr>
            <p:cNvSpPr/>
            <p:nvPr/>
          </p:nvSpPr>
          <p:spPr>
            <a:xfrm>
              <a:off x="2002337" y="5040453"/>
              <a:ext cx="115225" cy="68589"/>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11</a:t>
              </a:r>
            </a:p>
          </p:txBody>
        </p:sp>
        <p:sp>
          <p:nvSpPr>
            <p:cNvPr id="11592" name="tx547">
              <a:extLst>
                <a:ext uri="{FF2B5EF4-FFF2-40B4-BE49-F238E27FC236}">
                  <a16:creationId xmlns:a16="http://schemas.microsoft.com/office/drawing/2014/main" id="{DE55EAAC-EF08-91BA-BFA6-DC0D486CF570}"/>
                </a:ext>
              </a:extLst>
            </p:cNvPr>
            <p:cNvSpPr/>
            <p:nvPr/>
          </p:nvSpPr>
          <p:spPr>
            <a:xfrm>
              <a:off x="2346388" y="5038709"/>
              <a:ext cx="115225" cy="70332"/>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16</a:t>
              </a:r>
            </a:p>
          </p:txBody>
        </p:sp>
        <p:sp>
          <p:nvSpPr>
            <p:cNvPr id="11593" name="tx548">
              <a:extLst>
                <a:ext uri="{FF2B5EF4-FFF2-40B4-BE49-F238E27FC236}">
                  <a16:creationId xmlns:a16="http://schemas.microsoft.com/office/drawing/2014/main" id="{5147FE6E-6E61-AD3D-BCA5-F4CBC51794D3}"/>
                </a:ext>
              </a:extLst>
            </p:cNvPr>
            <p:cNvSpPr/>
            <p:nvPr/>
          </p:nvSpPr>
          <p:spPr>
            <a:xfrm>
              <a:off x="2690440" y="5038709"/>
              <a:ext cx="115225" cy="70332"/>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21</a:t>
              </a:r>
            </a:p>
          </p:txBody>
        </p:sp>
        <p:sp>
          <p:nvSpPr>
            <p:cNvPr id="11594" name="tx549">
              <a:extLst>
                <a:ext uri="{FF2B5EF4-FFF2-40B4-BE49-F238E27FC236}">
                  <a16:creationId xmlns:a16="http://schemas.microsoft.com/office/drawing/2014/main" id="{4008CFEF-DBB9-C932-9042-629E98FFA9D8}"/>
                </a:ext>
              </a:extLst>
            </p:cNvPr>
            <p:cNvSpPr/>
            <p:nvPr/>
          </p:nvSpPr>
          <p:spPr>
            <a:xfrm>
              <a:off x="3034492" y="5036966"/>
              <a:ext cx="115225" cy="72076"/>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26</a:t>
              </a:r>
            </a:p>
          </p:txBody>
        </p:sp>
        <p:sp>
          <p:nvSpPr>
            <p:cNvPr id="11595" name="tx550">
              <a:extLst>
                <a:ext uri="{FF2B5EF4-FFF2-40B4-BE49-F238E27FC236}">
                  <a16:creationId xmlns:a16="http://schemas.microsoft.com/office/drawing/2014/main" id="{D5AEF73F-795C-9978-0413-75F18AAAA69B}"/>
                </a:ext>
              </a:extLst>
            </p:cNvPr>
            <p:cNvSpPr/>
            <p:nvPr/>
          </p:nvSpPr>
          <p:spPr>
            <a:xfrm>
              <a:off x="3378544" y="5036966"/>
              <a:ext cx="115225" cy="72076"/>
            </a:xfrm>
            <a:prstGeom prst="rect">
              <a:avLst/>
            </a:prstGeom>
            <a:noFill/>
          </p:spPr>
          <p:txBody>
            <a:bodyPr wrap="none" lIns="0" tIns="0" rIns="0" bIns="0" anchor="ctr" anchorCtr="1"/>
            <a:lstStyle/>
            <a:p>
              <a:pPr defTabSz="914400">
                <a:lnSpc>
                  <a:spcPts val="720"/>
                </a:lnSpc>
              </a:pPr>
              <a:r>
                <a:rPr sz="900">
                  <a:solidFill>
                    <a:srgbClr val="001965">
                      <a:alpha val="100000"/>
                    </a:srgbClr>
                  </a:solidFill>
                  <a:latin typeface="Avenir Next LT Pro"/>
                  <a:cs typeface="Avenir Next LT Pro"/>
                </a:rPr>
                <a:t>31</a:t>
              </a:r>
            </a:p>
          </p:txBody>
        </p:sp>
        <p:sp>
          <p:nvSpPr>
            <p:cNvPr id="11596" name="tx551">
              <a:extLst>
                <a:ext uri="{FF2B5EF4-FFF2-40B4-BE49-F238E27FC236}">
                  <a16:creationId xmlns:a16="http://schemas.microsoft.com/office/drawing/2014/main" id="{A178C9F1-F500-6BCF-C66F-7313765A81B3}"/>
                </a:ext>
              </a:extLst>
            </p:cNvPr>
            <p:cNvSpPr/>
            <p:nvPr/>
          </p:nvSpPr>
          <p:spPr>
            <a:xfrm>
              <a:off x="2161459" y="5166828"/>
              <a:ext cx="569919" cy="120611"/>
            </a:xfrm>
            <a:prstGeom prst="rect">
              <a:avLst/>
            </a:prstGeom>
            <a:noFill/>
          </p:spPr>
          <p:txBody>
            <a:bodyPr wrap="none" lIns="0" tIns="0" rIns="0" bIns="0" anchor="ctr" anchorCtr="1"/>
            <a:lstStyle/>
            <a:p>
              <a:pPr defTabSz="914400">
                <a:lnSpc>
                  <a:spcPts val="900"/>
                </a:lnSpc>
              </a:pPr>
              <a:r>
                <a:rPr sz="1100" b="1">
                  <a:solidFill>
                    <a:srgbClr val="001965">
                      <a:alpha val="100000"/>
                    </a:srgbClr>
                  </a:solidFill>
                  <a:latin typeface="Avenir Next LT Pro"/>
                  <a:cs typeface="Avenir Next LT Pro"/>
                </a:rPr>
                <a:t>Study day</a:t>
              </a:r>
            </a:p>
          </p:txBody>
        </p:sp>
        <p:sp>
          <p:nvSpPr>
            <p:cNvPr id="11597" name="tx552">
              <a:extLst>
                <a:ext uri="{FF2B5EF4-FFF2-40B4-BE49-F238E27FC236}">
                  <a16:creationId xmlns:a16="http://schemas.microsoft.com/office/drawing/2014/main" id="{C4261AC9-6BD9-D268-8865-3F8F1C004469}"/>
                </a:ext>
              </a:extLst>
            </p:cNvPr>
            <p:cNvSpPr/>
            <p:nvPr/>
          </p:nvSpPr>
          <p:spPr>
            <a:xfrm rot="16200000">
              <a:off x="476845" y="4091242"/>
              <a:ext cx="931959" cy="132088"/>
            </a:xfrm>
            <a:prstGeom prst="rect">
              <a:avLst/>
            </a:prstGeom>
            <a:noFill/>
          </p:spPr>
          <p:txBody>
            <a:bodyPr wrap="none" lIns="0" tIns="0" rIns="0" bIns="0" anchor="ctr" anchorCtr="1"/>
            <a:lstStyle/>
            <a:p>
              <a:pPr defTabSz="914400">
                <a:lnSpc>
                  <a:spcPts val="900"/>
                </a:lnSpc>
              </a:pPr>
              <a:r>
                <a:rPr lang="en-GB" sz="1100" b="1">
                  <a:solidFill>
                    <a:srgbClr val="001965">
                      <a:alpha val="100000"/>
                    </a:srgbClr>
                  </a:solidFill>
                  <a:latin typeface="Avenir Next LT Pro"/>
                  <a:cs typeface="Avenir Next LT Pro"/>
                </a:rPr>
                <a:t>Relative b</a:t>
              </a:r>
              <a:r>
                <a:rPr sz="1100" b="1" err="1">
                  <a:solidFill>
                    <a:srgbClr val="001965">
                      <a:alpha val="100000"/>
                    </a:srgbClr>
                  </a:solidFill>
                  <a:latin typeface="Avenir Next LT Pro"/>
                  <a:cs typeface="Avenir Next LT Pro"/>
                </a:rPr>
                <a:t>ody</a:t>
              </a:r>
              <a:r>
                <a:rPr sz="1100" b="1">
                  <a:solidFill>
                    <a:srgbClr val="001965">
                      <a:alpha val="100000"/>
                    </a:srgbClr>
                  </a:solidFill>
                  <a:latin typeface="Avenir Next LT Pro"/>
                  <a:cs typeface="Avenir Next LT Pro"/>
                </a:rPr>
                <a:t> weight (%)</a:t>
              </a:r>
            </a:p>
          </p:txBody>
        </p:sp>
      </p:grpSp>
      <p:sp>
        <p:nvSpPr>
          <p:cNvPr id="11598" name="rc553">
            <a:extLst>
              <a:ext uri="{FF2B5EF4-FFF2-40B4-BE49-F238E27FC236}">
                <a16:creationId xmlns:a16="http://schemas.microsoft.com/office/drawing/2014/main" id="{EE986159-7FED-B31F-D8FE-39FC30E03C8E}"/>
              </a:ext>
            </a:extLst>
          </p:cNvPr>
          <p:cNvSpPr/>
          <p:nvPr/>
        </p:nvSpPr>
        <p:spPr>
          <a:xfrm>
            <a:off x="3735325" y="3045279"/>
            <a:ext cx="1582827" cy="2219911"/>
          </a:xfrm>
          <a:prstGeom prst="rect">
            <a:avLst/>
          </a:prstGeom>
        </p:spPr>
        <p:txBody>
          <a:bodyPr/>
          <a:lstStyle/>
          <a:p>
            <a:pPr defTabSz="914400"/>
            <a:endParaRPr>
              <a:solidFill>
                <a:srgbClr val="001965"/>
              </a:solidFill>
              <a:latin typeface="Avenir Next LT Pro"/>
            </a:endParaRPr>
          </a:p>
        </p:txBody>
      </p:sp>
      <p:sp>
        <p:nvSpPr>
          <p:cNvPr id="11599" name="rc554">
            <a:extLst>
              <a:ext uri="{FF2B5EF4-FFF2-40B4-BE49-F238E27FC236}">
                <a16:creationId xmlns:a16="http://schemas.microsoft.com/office/drawing/2014/main" id="{ACF37D3C-7A5F-5A91-FB3D-AE80AC1F51C1}"/>
              </a:ext>
            </a:extLst>
          </p:cNvPr>
          <p:cNvSpPr/>
          <p:nvPr/>
        </p:nvSpPr>
        <p:spPr>
          <a:xfrm>
            <a:off x="3797176" y="3165923"/>
            <a:ext cx="238397" cy="232506"/>
          </a:xfrm>
          <a:prstGeom prst="rect">
            <a:avLst/>
          </a:prstGeom>
        </p:spPr>
        <p:txBody>
          <a:bodyPr/>
          <a:lstStyle/>
          <a:p>
            <a:pPr defTabSz="914400"/>
            <a:endParaRPr>
              <a:solidFill>
                <a:srgbClr val="001965"/>
              </a:solidFill>
              <a:latin typeface="Avenir Next LT Pro"/>
            </a:endParaRPr>
          </a:p>
        </p:txBody>
      </p:sp>
      <p:sp>
        <p:nvSpPr>
          <p:cNvPr id="11602" name="rc557">
            <a:extLst>
              <a:ext uri="{FF2B5EF4-FFF2-40B4-BE49-F238E27FC236}">
                <a16:creationId xmlns:a16="http://schemas.microsoft.com/office/drawing/2014/main" id="{650DE24D-98B0-04C5-19F6-BD6179A54C03}"/>
              </a:ext>
            </a:extLst>
          </p:cNvPr>
          <p:cNvSpPr/>
          <p:nvPr/>
        </p:nvSpPr>
        <p:spPr>
          <a:xfrm>
            <a:off x="3797176" y="3398429"/>
            <a:ext cx="238397" cy="232506"/>
          </a:xfrm>
          <a:prstGeom prst="rect">
            <a:avLst/>
          </a:prstGeom>
        </p:spPr>
        <p:txBody>
          <a:bodyPr/>
          <a:lstStyle/>
          <a:p>
            <a:pPr defTabSz="914400"/>
            <a:endParaRPr>
              <a:solidFill>
                <a:srgbClr val="001965"/>
              </a:solidFill>
              <a:latin typeface="Avenir Next LT Pro"/>
            </a:endParaRPr>
          </a:p>
        </p:txBody>
      </p:sp>
      <p:sp>
        <p:nvSpPr>
          <p:cNvPr id="11605" name="rc560">
            <a:extLst>
              <a:ext uri="{FF2B5EF4-FFF2-40B4-BE49-F238E27FC236}">
                <a16:creationId xmlns:a16="http://schemas.microsoft.com/office/drawing/2014/main" id="{DEB8E85E-F9FA-068D-20B4-08A3E6615BF8}"/>
              </a:ext>
            </a:extLst>
          </p:cNvPr>
          <p:cNvSpPr/>
          <p:nvPr/>
        </p:nvSpPr>
        <p:spPr>
          <a:xfrm>
            <a:off x="3797176" y="3630935"/>
            <a:ext cx="238397" cy="232506"/>
          </a:xfrm>
          <a:prstGeom prst="rect">
            <a:avLst/>
          </a:prstGeom>
        </p:spPr>
        <p:txBody>
          <a:bodyPr/>
          <a:lstStyle/>
          <a:p>
            <a:pPr defTabSz="914400"/>
            <a:endParaRPr>
              <a:solidFill>
                <a:srgbClr val="001965"/>
              </a:solidFill>
              <a:latin typeface="Avenir Next LT Pro"/>
            </a:endParaRPr>
          </a:p>
        </p:txBody>
      </p:sp>
      <p:sp>
        <p:nvSpPr>
          <p:cNvPr id="11608" name="rc563">
            <a:extLst>
              <a:ext uri="{FF2B5EF4-FFF2-40B4-BE49-F238E27FC236}">
                <a16:creationId xmlns:a16="http://schemas.microsoft.com/office/drawing/2014/main" id="{F9697D7E-E0BA-2787-4A25-CCF5E88112A6}"/>
              </a:ext>
            </a:extLst>
          </p:cNvPr>
          <p:cNvSpPr/>
          <p:nvPr/>
        </p:nvSpPr>
        <p:spPr>
          <a:xfrm>
            <a:off x="3797176" y="3863440"/>
            <a:ext cx="238397" cy="232506"/>
          </a:xfrm>
          <a:prstGeom prst="rect">
            <a:avLst/>
          </a:prstGeom>
        </p:spPr>
        <p:txBody>
          <a:bodyPr/>
          <a:lstStyle/>
          <a:p>
            <a:pPr defTabSz="914400"/>
            <a:endParaRPr>
              <a:solidFill>
                <a:srgbClr val="001965"/>
              </a:solidFill>
              <a:latin typeface="Avenir Next LT Pro"/>
            </a:endParaRPr>
          </a:p>
        </p:txBody>
      </p:sp>
      <p:sp>
        <p:nvSpPr>
          <p:cNvPr id="11611" name="rc566">
            <a:extLst>
              <a:ext uri="{FF2B5EF4-FFF2-40B4-BE49-F238E27FC236}">
                <a16:creationId xmlns:a16="http://schemas.microsoft.com/office/drawing/2014/main" id="{8DBB1636-3301-D1BB-36DB-4B608DD276A4}"/>
              </a:ext>
            </a:extLst>
          </p:cNvPr>
          <p:cNvSpPr/>
          <p:nvPr/>
        </p:nvSpPr>
        <p:spPr>
          <a:xfrm>
            <a:off x="3797176" y="4095946"/>
            <a:ext cx="238397" cy="232505"/>
          </a:xfrm>
          <a:prstGeom prst="rect">
            <a:avLst/>
          </a:prstGeom>
        </p:spPr>
        <p:txBody>
          <a:bodyPr/>
          <a:lstStyle/>
          <a:p>
            <a:pPr defTabSz="914400"/>
            <a:endParaRPr>
              <a:solidFill>
                <a:srgbClr val="001965"/>
              </a:solidFill>
              <a:latin typeface="Avenir Next LT Pro"/>
            </a:endParaRPr>
          </a:p>
        </p:txBody>
      </p:sp>
      <p:sp>
        <p:nvSpPr>
          <p:cNvPr id="11614" name="rc569">
            <a:extLst>
              <a:ext uri="{FF2B5EF4-FFF2-40B4-BE49-F238E27FC236}">
                <a16:creationId xmlns:a16="http://schemas.microsoft.com/office/drawing/2014/main" id="{2B6F3CF4-F391-39F0-349E-7D3A5E45F5A2}"/>
              </a:ext>
            </a:extLst>
          </p:cNvPr>
          <p:cNvSpPr/>
          <p:nvPr/>
        </p:nvSpPr>
        <p:spPr>
          <a:xfrm>
            <a:off x="3797176" y="4328451"/>
            <a:ext cx="238397" cy="292139"/>
          </a:xfrm>
          <a:prstGeom prst="rect">
            <a:avLst/>
          </a:prstGeom>
        </p:spPr>
        <p:txBody>
          <a:bodyPr/>
          <a:lstStyle/>
          <a:p>
            <a:pPr defTabSz="914400"/>
            <a:endParaRPr>
              <a:solidFill>
                <a:srgbClr val="001965"/>
              </a:solidFill>
              <a:latin typeface="Avenir Next LT Pro"/>
            </a:endParaRPr>
          </a:p>
        </p:txBody>
      </p:sp>
      <p:sp>
        <p:nvSpPr>
          <p:cNvPr id="11617" name="rc572">
            <a:extLst>
              <a:ext uri="{FF2B5EF4-FFF2-40B4-BE49-F238E27FC236}">
                <a16:creationId xmlns:a16="http://schemas.microsoft.com/office/drawing/2014/main" id="{0A5EF869-B0A7-E2C3-58B5-3CD153E578E9}"/>
              </a:ext>
            </a:extLst>
          </p:cNvPr>
          <p:cNvSpPr/>
          <p:nvPr/>
        </p:nvSpPr>
        <p:spPr>
          <a:xfrm>
            <a:off x="3797176" y="4620590"/>
            <a:ext cx="238397" cy="292139"/>
          </a:xfrm>
          <a:prstGeom prst="rect">
            <a:avLst/>
          </a:prstGeom>
        </p:spPr>
        <p:txBody>
          <a:bodyPr/>
          <a:lstStyle/>
          <a:p>
            <a:pPr defTabSz="914400"/>
            <a:endParaRPr>
              <a:solidFill>
                <a:srgbClr val="001965"/>
              </a:solidFill>
              <a:latin typeface="Avenir Next LT Pro"/>
            </a:endParaRPr>
          </a:p>
        </p:txBody>
      </p:sp>
      <p:sp>
        <p:nvSpPr>
          <p:cNvPr id="11620" name="rc575">
            <a:extLst>
              <a:ext uri="{FF2B5EF4-FFF2-40B4-BE49-F238E27FC236}">
                <a16:creationId xmlns:a16="http://schemas.microsoft.com/office/drawing/2014/main" id="{6F147A12-FA3D-244C-FE83-0F156715A1D5}"/>
              </a:ext>
            </a:extLst>
          </p:cNvPr>
          <p:cNvSpPr/>
          <p:nvPr/>
        </p:nvSpPr>
        <p:spPr>
          <a:xfrm>
            <a:off x="3797176" y="4912730"/>
            <a:ext cx="238397" cy="292139"/>
          </a:xfrm>
          <a:prstGeom prst="rect">
            <a:avLst/>
          </a:prstGeom>
        </p:spPr>
        <p:txBody>
          <a:bodyPr/>
          <a:lstStyle/>
          <a:p>
            <a:pPr defTabSz="914400"/>
            <a:endParaRPr>
              <a:solidFill>
                <a:srgbClr val="001965"/>
              </a:solidFill>
              <a:latin typeface="Avenir Next LT Pro"/>
            </a:endParaRPr>
          </a:p>
        </p:txBody>
      </p:sp>
      <p:sp>
        <p:nvSpPr>
          <p:cNvPr id="2" name="Rounded Rectangle 44">
            <a:extLst>
              <a:ext uri="{FF2B5EF4-FFF2-40B4-BE49-F238E27FC236}">
                <a16:creationId xmlns:a16="http://schemas.microsoft.com/office/drawing/2014/main" id="{21C60EB4-0C52-6A39-2ABC-81D57DA730EC}"/>
              </a:ext>
            </a:extLst>
          </p:cNvPr>
          <p:cNvSpPr/>
          <p:nvPr/>
        </p:nvSpPr>
        <p:spPr>
          <a:xfrm>
            <a:off x="566180" y="142571"/>
            <a:ext cx="912669" cy="288000"/>
          </a:xfrm>
          <a:prstGeom prst="roundRect">
            <a:avLst>
              <a:gd name="adj" fmla="val 50000"/>
            </a:avLst>
          </a:prstGeom>
          <a:solidFill>
            <a:schemeClr val="tx2">
              <a:alpha val="49757"/>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1965"/>
                </a:solidFill>
                <a:effectLst/>
                <a:uLnTx/>
                <a:uFillTx/>
                <a:latin typeface="Avenir Next LT Pro Demi" panose="020B0504020202020204" pitchFamily="34" charset="77"/>
                <a:ea typeface="+mn-ea"/>
                <a:cs typeface="+mn-cs"/>
              </a:rPr>
              <a:t>UCN2</a:t>
            </a:r>
          </a:p>
        </p:txBody>
      </p:sp>
    </p:spTree>
    <p:extLst>
      <p:ext uri="{BB962C8B-B14F-4D97-AF65-F5344CB8AC3E}">
        <p14:creationId xmlns:p14="http://schemas.microsoft.com/office/powerpoint/2010/main" val="779466664"/>
      </p:ext>
    </p:extLst>
  </p:cSld>
  <p:clrMapOvr>
    <a:masterClrMapping/>
  </p:clrMapOvr>
  <p:transition spd="slow">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2A3658-C6DF-0EFD-2839-158A21D01A51}"/>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D95BE1-4B2E-06E2-1D84-6DD38CCA2ED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3DD95BE1-4B2E-06E2-1D84-6DD38CCA2E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1AEF4754-DFA3-EEF0-D5A6-582908344921}"/>
              </a:ext>
            </a:extLst>
          </p:cNvPr>
          <p:cNvSpPr/>
          <p:nvPr/>
        </p:nvSpPr>
        <p:spPr>
          <a:xfrm>
            <a:off x="6926168" y="1481924"/>
            <a:ext cx="5308822" cy="5397735"/>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7686E8D8-A0C5-F9C1-0DF3-B26DC17C4D9A}"/>
              </a:ext>
            </a:extLst>
          </p:cNvPr>
          <p:cNvSpPr/>
          <p:nvPr/>
        </p:nvSpPr>
        <p:spPr>
          <a:xfrm>
            <a:off x="7676484" y="3376039"/>
            <a:ext cx="3957536" cy="30605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Arrow: Pentagon 200">
            <a:extLst>
              <a:ext uri="{FF2B5EF4-FFF2-40B4-BE49-F238E27FC236}">
                <a16:creationId xmlns:a16="http://schemas.microsoft.com/office/drawing/2014/main" id="{DDA8FDD7-A956-5F18-D62A-CB5E21BB5B9C}"/>
              </a:ext>
            </a:extLst>
          </p:cNvPr>
          <p:cNvSpPr/>
          <p:nvPr/>
        </p:nvSpPr>
        <p:spPr>
          <a:xfrm>
            <a:off x="1" y="1468708"/>
            <a:ext cx="7039190" cy="5389293"/>
          </a:xfrm>
          <a:prstGeom prst="homePlate">
            <a:avLst>
              <a:gd name="adj" fmla="val 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Triangle 16">
            <a:extLst>
              <a:ext uri="{FF2B5EF4-FFF2-40B4-BE49-F238E27FC236}">
                <a16:creationId xmlns:a16="http://schemas.microsoft.com/office/drawing/2014/main" id="{629E55D4-BCA1-D801-5546-E36BB1FC2958}"/>
              </a:ext>
            </a:extLst>
          </p:cNvPr>
          <p:cNvSpPr/>
          <p:nvPr/>
        </p:nvSpPr>
        <p:spPr>
          <a:xfrm rot="5400000">
            <a:off x="6551030" y="3951408"/>
            <a:ext cx="1189885" cy="458769"/>
          </a:xfrm>
          <a:prstGeom prst="triangle">
            <a:avLst>
              <a:gd name="adj" fmla="val 47522"/>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Title 2">
            <a:extLst>
              <a:ext uri="{FF2B5EF4-FFF2-40B4-BE49-F238E27FC236}">
                <a16:creationId xmlns:a16="http://schemas.microsoft.com/office/drawing/2014/main" id="{3AB2B940-3FFA-D5A0-FBA3-573339407577}"/>
              </a:ext>
            </a:extLst>
          </p:cNvPr>
          <p:cNvSpPr txBox="1">
            <a:spLocks/>
          </p:cNvSpPr>
          <p:nvPr/>
        </p:nvSpPr>
        <p:spPr>
          <a:xfrm>
            <a:off x="565459" y="552715"/>
            <a:ext cx="10098869" cy="720197"/>
          </a:xfrm>
          <a:prstGeom prst="rect">
            <a:avLst/>
          </a:prstGeom>
        </p:spPr>
        <p:txBody>
          <a:bodyPr vert="horz" wrap="square" lIns="0" tIns="0" rIns="0" bIns="0" rtlCol="0" anchor="t" anchorCtr="0">
            <a:spAutoFit/>
          </a:bodyPr>
          <a:lstStyle>
            <a:lvl1pPr algn="l" defTabSz="914377" rtl="0" eaLnBrk="1" latinLnBrk="0" hangingPunct="1">
              <a:lnSpc>
                <a:spcPct val="90000"/>
              </a:lnSpc>
              <a:spcBef>
                <a:spcPct val="0"/>
              </a:spcBef>
              <a:buNone/>
              <a:defRPr sz="3000" b="1" i="0" kern="1200">
                <a:solidFill>
                  <a:schemeClr val="tx2"/>
                </a:solidFill>
                <a:latin typeface="Avenir Next LT Pro" panose="020B0504020202020204" pitchFamily="34" charset="77"/>
                <a:ea typeface="Avenir Next LT Pro" panose="020B0504020202020204" pitchFamily="34" charset="77"/>
                <a:cs typeface="Avenir Next LT Pro" panose="020B0504020202020204" pitchFamily="34" charset="77"/>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600" b="1" i="0" u="none" strike="noStrike" kern="1200" cap="none" spc="0" normalizeH="0" baseline="0" noProof="0">
                <a:ln>
                  <a:noFill/>
                </a:ln>
                <a:solidFill>
                  <a:srgbClr val="001965"/>
                </a:solidFill>
                <a:effectLst/>
                <a:uLnTx/>
                <a:uFillTx/>
                <a:latin typeface="Avenir Next LT Pro" panose="020B0504020202020204" pitchFamily="34" charset="77"/>
              </a:rPr>
              <a:t>Our advanced 3D imaging confirms</a:t>
            </a:r>
            <a:r>
              <a:rPr kumimoji="0" lang="en-DK" sz="2600" b="1" i="0" u="none" strike="noStrike" kern="1200" cap="none" spc="0" normalizeH="0" baseline="0" noProof="0">
                <a:ln>
                  <a:noFill/>
                </a:ln>
                <a:solidFill>
                  <a:srgbClr val="001965"/>
                </a:solidFill>
                <a:effectLst/>
                <a:uLnTx/>
                <a:uFillTx/>
                <a:latin typeface="Avenir Next LT Pro" panose="020B0504020202020204" pitchFamily="34" charset="77"/>
              </a:rPr>
              <a:t> direct beneficial </a:t>
            </a:r>
            <a:r>
              <a:rPr kumimoji="0" lang="en-US" sz="2600" b="1" i="0" u="none" strike="noStrike" kern="1200" cap="none" spc="0" normalizeH="0" baseline="0" noProof="0">
                <a:ln>
                  <a:noFill/>
                </a:ln>
                <a:solidFill>
                  <a:srgbClr val="001965"/>
                </a:solidFill>
                <a:effectLst/>
                <a:uLnTx/>
                <a:uFillTx/>
                <a:latin typeface="Avenir Next LT Pro" panose="020B0504020202020204" pitchFamily="34" charset="77"/>
              </a:rPr>
              <a:t>UCN2-driven muscle growth</a:t>
            </a:r>
            <a:endParaRPr kumimoji="0" lang="en-US" sz="2600" b="1" i="0" u="none" strike="noStrike" kern="1200" cap="none" spc="0" normalizeH="0" baseline="0" noProof="0">
              <a:ln>
                <a:noFill/>
              </a:ln>
              <a:solidFill>
                <a:srgbClr val="2878FF"/>
              </a:solidFill>
              <a:effectLst/>
              <a:uLnTx/>
              <a:uFillTx/>
              <a:latin typeface="Avenir Next LT Pro" panose="020B0504020202020204" pitchFamily="34" charset="77"/>
            </a:endParaRPr>
          </a:p>
        </p:txBody>
      </p:sp>
      <p:sp>
        <p:nvSpPr>
          <p:cNvPr id="137" name="Rectangle 136">
            <a:extLst>
              <a:ext uri="{FF2B5EF4-FFF2-40B4-BE49-F238E27FC236}">
                <a16:creationId xmlns:a16="http://schemas.microsoft.com/office/drawing/2014/main" id="{3204486E-14A9-842E-C583-FD62A506589B}"/>
              </a:ext>
            </a:extLst>
          </p:cNvPr>
          <p:cNvSpPr/>
          <p:nvPr/>
        </p:nvSpPr>
        <p:spPr>
          <a:xfrm>
            <a:off x="559569" y="2204915"/>
            <a:ext cx="6171245" cy="4231703"/>
          </a:xfrm>
          <a:prstGeom prst="rect">
            <a:avLst/>
          </a:prstGeom>
          <a:solidFill>
            <a:schemeClr val="bg1"/>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lIns="4356000" tIns="144000" rIns="108000" bIns="144000" rtlCol="0" anchor="t"/>
          <a:lstStyle/>
          <a:p>
            <a:pPr marL="0" marR="0" lvl="0" indent="0" algn="ctr" defTabSz="914446"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endParaRPr>
          </a:p>
          <a:p>
            <a:pPr marL="0" marR="0" lvl="0" indent="0" algn="ctr" defTabSz="914446"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endParaRPr>
          </a:p>
          <a:p>
            <a:pPr marL="0" marR="0" lvl="0" indent="0" algn="ctr" defTabSz="914446"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endParaRPr>
          </a:p>
          <a:p>
            <a:pPr marL="0" marR="0" lvl="0" indent="0" algn="ctr" defTabSz="914446"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endParaRPr>
          </a:p>
          <a:p>
            <a:pPr marL="0" marR="0" lvl="0" indent="0" algn="ctr" defTabSz="914446"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endParaRPr>
          </a:p>
          <a:p>
            <a:pPr marL="0" marR="0" lvl="0" indent="0" algn="ctr" defTabSz="914446" rtl="0" eaLnBrk="1" fontAlgn="auto" latinLnBrk="0" hangingPunct="1">
              <a:lnSpc>
                <a:spcPct val="100000"/>
              </a:lnSpc>
              <a:spcBef>
                <a:spcPts val="0"/>
              </a:spcBef>
              <a:spcAft>
                <a:spcPts val="1800"/>
              </a:spcAft>
              <a:buClrTx/>
              <a:buSzTx/>
              <a:buFontTx/>
              <a:buNone/>
              <a:tabLst/>
              <a:defRPr/>
            </a:pPr>
            <a:endParaRPr kumimoji="0" lang="en-US"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endParaRPr>
          </a:p>
          <a:p>
            <a:pPr marL="0" marR="0" lvl="0" indent="0" algn="ctr" defTabSz="914446" rtl="0" eaLnBrk="1" fontAlgn="auto" latinLnBrk="0" hangingPunct="1">
              <a:lnSpc>
                <a:spcPct val="100000"/>
              </a:lnSpc>
              <a:spcBef>
                <a:spcPts val="0"/>
              </a:spcBef>
              <a:spcAft>
                <a:spcPts val="1800"/>
              </a:spcAft>
              <a:buClrTx/>
              <a:buSzTx/>
              <a:buFontTx/>
              <a:buNone/>
              <a:tabLst/>
              <a:defRPr/>
            </a:pPr>
            <a:endParaRPr kumimoji="0" lang="en-US"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endParaRPr>
          </a:p>
        </p:txBody>
      </p:sp>
      <p:grpSp>
        <p:nvGrpSpPr>
          <p:cNvPr id="23" name="Group 22">
            <a:extLst>
              <a:ext uri="{FF2B5EF4-FFF2-40B4-BE49-F238E27FC236}">
                <a16:creationId xmlns:a16="http://schemas.microsoft.com/office/drawing/2014/main" id="{52F099FC-8578-38D3-673E-8E582CB90DEE}"/>
              </a:ext>
            </a:extLst>
          </p:cNvPr>
          <p:cNvGrpSpPr/>
          <p:nvPr/>
        </p:nvGrpSpPr>
        <p:grpSpPr>
          <a:xfrm>
            <a:off x="5346906" y="4525196"/>
            <a:ext cx="828000" cy="828000"/>
            <a:chOff x="5401988" y="4428273"/>
            <a:chExt cx="828000" cy="828000"/>
          </a:xfrm>
        </p:grpSpPr>
        <p:sp>
          <p:nvSpPr>
            <p:cNvPr id="12" name="Oval 11">
              <a:extLst>
                <a:ext uri="{FF2B5EF4-FFF2-40B4-BE49-F238E27FC236}">
                  <a16:creationId xmlns:a16="http://schemas.microsoft.com/office/drawing/2014/main" id="{2225567D-5594-B88D-6262-3147AD8D9205}"/>
                </a:ext>
              </a:extLst>
            </p:cNvPr>
            <p:cNvSpPr>
              <a:spLocks noChangeAspect="1"/>
            </p:cNvSpPr>
            <p:nvPr/>
          </p:nvSpPr>
          <p:spPr>
            <a:xfrm>
              <a:off x="5401988" y="4428273"/>
              <a:ext cx="828000" cy="8280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11.4">
              <a:extLst>
                <a:ext uri="{FF2B5EF4-FFF2-40B4-BE49-F238E27FC236}">
                  <a16:creationId xmlns:a16="http://schemas.microsoft.com/office/drawing/2014/main" id="{6866DF5A-18F3-86CB-9CA0-3FBD242EA752}"/>
                </a:ext>
              </a:extLst>
            </p:cNvPr>
            <p:cNvSpPr/>
            <p:nvPr/>
          </p:nvSpPr>
          <p:spPr>
            <a:xfrm>
              <a:off x="5597342" y="4536966"/>
              <a:ext cx="422640" cy="517744"/>
            </a:xfrm>
            <a:custGeom>
              <a:avLst/>
              <a:gdLst/>
              <a:ahLst/>
              <a:cxnLst/>
              <a:rect l="0" t="0" r="0" b="0"/>
              <a:pathLst>
                <a:path w="497624" h="609600">
                  <a:moveTo>
                    <a:pt x="390232" y="535457"/>
                  </a:moveTo>
                  <a:cubicBezTo>
                    <a:pt x="398500" y="531787"/>
                    <a:pt x="406819" y="527837"/>
                    <a:pt x="415251" y="523265"/>
                  </a:cubicBezTo>
                  <a:cubicBezTo>
                    <a:pt x="421424" y="519925"/>
                    <a:pt x="423710" y="512216"/>
                    <a:pt x="420382" y="506044"/>
                  </a:cubicBezTo>
                  <a:cubicBezTo>
                    <a:pt x="417042" y="499884"/>
                    <a:pt x="409321" y="497585"/>
                    <a:pt x="403174" y="500938"/>
                  </a:cubicBezTo>
                  <a:cubicBezTo>
                    <a:pt x="302513" y="555434"/>
                    <a:pt x="219125" y="538683"/>
                    <a:pt x="148843" y="518731"/>
                  </a:cubicBezTo>
                  <a:cubicBezTo>
                    <a:pt x="83134" y="500037"/>
                    <a:pt x="42976" y="479577"/>
                    <a:pt x="28130" y="469747"/>
                  </a:cubicBezTo>
                  <a:cubicBezTo>
                    <a:pt x="53035" y="389445"/>
                    <a:pt x="156273" y="126949"/>
                    <a:pt x="200621" y="60959"/>
                  </a:cubicBezTo>
                  <a:cubicBezTo>
                    <a:pt x="240398" y="46647"/>
                    <a:pt x="306031" y="25400"/>
                    <a:pt x="324345" y="25400"/>
                  </a:cubicBezTo>
                  <a:cubicBezTo>
                    <a:pt x="334784" y="26250"/>
                    <a:pt x="369061" y="65404"/>
                    <a:pt x="369061" y="88900"/>
                  </a:cubicBezTo>
                  <a:cubicBezTo>
                    <a:pt x="369061" y="95186"/>
                    <a:pt x="367080" y="97154"/>
                    <a:pt x="366420" y="97789"/>
                  </a:cubicBezTo>
                  <a:cubicBezTo>
                    <a:pt x="362165" y="101955"/>
                    <a:pt x="351472" y="101688"/>
                    <a:pt x="346341" y="101638"/>
                  </a:cubicBezTo>
                  <a:lnTo>
                    <a:pt x="305562" y="101600"/>
                  </a:lnTo>
                  <a:cubicBezTo>
                    <a:pt x="303720" y="101600"/>
                    <a:pt x="299415" y="101206"/>
                    <a:pt x="299415" y="97510"/>
                  </a:cubicBezTo>
                  <a:cubicBezTo>
                    <a:pt x="299415" y="96634"/>
                    <a:pt x="299085" y="95846"/>
                    <a:pt x="298919" y="95021"/>
                  </a:cubicBezTo>
                  <a:lnTo>
                    <a:pt x="319811" y="78473"/>
                  </a:lnTo>
                  <a:lnTo>
                    <a:pt x="337985" y="87566"/>
                  </a:lnTo>
                  <a:cubicBezTo>
                    <a:pt x="344258" y="90690"/>
                    <a:pt x="351904" y="88150"/>
                    <a:pt x="355028" y="81889"/>
                  </a:cubicBezTo>
                  <a:cubicBezTo>
                    <a:pt x="358165" y="75603"/>
                    <a:pt x="355625" y="67983"/>
                    <a:pt x="349351" y="64846"/>
                  </a:cubicBezTo>
                  <a:lnTo>
                    <a:pt x="323951" y="52146"/>
                  </a:lnTo>
                  <a:cubicBezTo>
                    <a:pt x="319531" y="49949"/>
                    <a:pt x="314248" y="50482"/>
                    <a:pt x="310375" y="53543"/>
                  </a:cubicBezTo>
                  <a:lnTo>
                    <a:pt x="238074" y="110807"/>
                  </a:lnTo>
                  <a:lnTo>
                    <a:pt x="207594" y="95567"/>
                  </a:lnTo>
                  <a:cubicBezTo>
                    <a:pt x="201320" y="92443"/>
                    <a:pt x="193700" y="94970"/>
                    <a:pt x="190563" y="101244"/>
                  </a:cubicBezTo>
                  <a:cubicBezTo>
                    <a:pt x="187413" y="107518"/>
                    <a:pt x="189966" y="115150"/>
                    <a:pt x="196240" y="118287"/>
                  </a:cubicBezTo>
                  <a:lnTo>
                    <a:pt x="215239" y="127787"/>
                  </a:lnTo>
                  <a:cubicBezTo>
                    <a:pt x="191122" y="181216"/>
                    <a:pt x="195694" y="229882"/>
                    <a:pt x="200190" y="277012"/>
                  </a:cubicBezTo>
                  <a:cubicBezTo>
                    <a:pt x="205181" y="329069"/>
                    <a:pt x="209892" y="378256"/>
                    <a:pt x="172808" y="429247"/>
                  </a:cubicBezTo>
                  <a:cubicBezTo>
                    <a:pt x="168668" y="434911"/>
                    <a:pt x="169938" y="442849"/>
                    <a:pt x="175602" y="446989"/>
                  </a:cubicBezTo>
                  <a:cubicBezTo>
                    <a:pt x="177863" y="448627"/>
                    <a:pt x="180479" y="449414"/>
                    <a:pt x="183057" y="449414"/>
                  </a:cubicBezTo>
                  <a:cubicBezTo>
                    <a:pt x="186982" y="449414"/>
                    <a:pt x="190855" y="447598"/>
                    <a:pt x="193344" y="444182"/>
                  </a:cubicBezTo>
                  <a:cubicBezTo>
                    <a:pt x="236092" y="385419"/>
                    <a:pt x="230708" y="329069"/>
                    <a:pt x="225501" y="274586"/>
                  </a:cubicBezTo>
                  <a:cubicBezTo>
                    <a:pt x="221106" y="228866"/>
                    <a:pt x="217271" y="185508"/>
                    <a:pt x="238594" y="138239"/>
                  </a:cubicBezTo>
                  <a:cubicBezTo>
                    <a:pt x="238937" y="138264"/>
                    <a:pt x="239267" y="138480"/>
                    <a:pt x="239610" y="138480"/>
                  </a:cubicBezTo>
                  <a:cubicBezTo>
                    <a:pt x="242417" y="138480"/>
                    <a:pt x="245198" y="137541"/>
                    <a:pt x="247497" y="135737"/>
                  </a:cubicBezTo>
                  <a:lnTo>
                    <a:pt x="277837" y="111709"/>
                  </a:lnTo>
                  <a:cubicBezTo>
                    <a:pt x="283044" y="120929"/>
                    <a:pt x="293204" y="127000"/>
                    <a:pt x="305562" y="127000"/>
                  </a:cubicBezTo>
                  <a:lnTo>
                    <a:pt x="343661" y="127000"/>
                  </a:lnTo>
                  <a:lnTo>
                    <a:pt x="345846" y="127038"/>
                  </a:lnTo>
                  <a:cubicBezTo>
                    <a:pt x="354456" y="127139"/>
                    <a:pt x="372338" y="127558"/>
                    <a:pt x="384200" y="115925"/>
                  </a:cubicBezTo>
                  <a:cubicBezTo>
                    <a:pt x="391020" y="109258"/>
                    <a:pt x="394461" y="100164"/>
                    <a:pt x="394461" y="88900"/>
                  </a:cubicBezTo>
                  <a:cubicBezTo>
                    <a:pt x="394461" y="54838"/>
                    <a:pt x="351256" y="0"/>
                    <a:pt x="324421" y="0"/>
                  </a:cubicBezTo>
                  <a:cubicBezTo>
                    <a:pt x="294766" y="0"/>
                    <a:pt x="198983" y="34518"/>
                    <a:pt x="188150" y="38468"/>
                  </a:cubicBezTo>
                  <a:cubicBezTo>
                    <a:pt x="185737" y="39331"/>
                    <a:pt x="183654" y="40919"/>
                    <a:pt x="182156" y="43014"/>
                  </a:cubicBezTo>
                  <a:cubicBezTo>
                    <a:pt x="132918" y="111937"/>
                    <a:pt x="19342" y="407619"/>
                    <a:pt x="1257" y="470916"/>
                  </a:cubicBezTo>
                  <a:cubicBezTo>
                    <a:pt x="0" y="475348"/>
                    <a:pt x="1219" y="480123"/>
                    <a:pt x="4483" y="483387"/>
                  </a:cubicBezTo>
                  <a:cubicBezTo>
                    <a:pt x="18503" y="497395"/>
                    <a:pt x="71424" y="523125"/>
                    <a:pt x="141909" y="543166"/>
                  </a:cubicBezTo>
                  <a:cubicBezTo>
                    <a:pt x="170484" y="551294"/>
                    <a:pt x="212001" y="563079"/>
                    <a:pt x="262178" y="563079"/>
                  </a:cubicBezTo>
                  <a:cubicBezTo>
                    <a:pt x="293674" y="563079"/>
                    <a:pt x="328637" y="558228"/>
                    <a:pt x="365874" y="545109"/>
                  </a:cubicBezTo>
                  <a:cubicBezTo>
                    <a:pt x="382282" y="568426"/>
                    <a:pt x="399770" y="586765"/>
                    <a:pt x="424586" y="606793"/>
                  </a:cubicBezTo>
                  <a:cubicBezTo>
                    <a:pt x="426935" y="608685"/>
                    <a:pt x="429768" y="609600"/>
                    <a:pt x="432561" y="609600"/>
                  </a:cubicBezTo>
                  <a:cubicBezTo>
                    <a:pt x="436257" y="609600"/>
                    <a:pt x="439927" y="607987"/>
                    <a:pt x="442455" y="604875"/>
                  </a:cubicBezTo>
                  <a:cubicBezTo>
                    <a:pt x="446849" y="599427"/>
                    <a:pt x="445998" y="591426"/>
                    <a:pt x="440537" y="587019"/>
                  </a:cubicBezTo>
                  <a:cubicBezTo>
                    <a:pt x="419506" y="570052"/>
                    <a:pt x="404241" y="554443"/>
                    <a:pt x="390232" y="535457"/>
                  </a:cubicBezTo>
                  <a:close/>
                  <a:moveTo>
                    <a:pt x="303974" y="469036"/>
                  </a:moveTo>
                  <a:cubicBezTo>
                    <a:pt x="330835" y="469036"/>
                    <a:pt x="359041" y="460248"/>
                    <a:pt x="388302" y="442696"/>
                  </a:cubicBezTo>
                  <a:cubicBezTo>
                    <a:pt x="394322" y="439089"/>
                    <a:pt x="396265" y="431279"/>
                    <a:pt x="392658" y="425272"/>
                  </a:cubicBezTo>
                  <a:cubicBezTo>
                    <a:pt x="389039" y="419252"/>
                    <a:pt x="381241" y="417309"/>
                    <a:pt x="375234" y="420916"/>
                  </a:cubicBezTo>
                  <a:cubicBezTo>
                    <a:pt x="332651" y="446455"/>
                    <a:pt x="295084" y="450456"/>
                    <a:pt x="260438" y="433146"/>
                  </a:cubicBezTo>
                  <a:cubicBezTo>
                    <a:pt x="254152" y="430022"/>
                    <a:pt x="246545" y="432549"/>
                    <a:pt x="243408" y="438823"/>
                  </a:cubicBezTo>
                  <a:cubicBezTo>
                    <a:pt x="240271" y="445096"/>
                    <a:pt x="242811" y="452729"/>
                    <a:pt x="249085" y="455866"/>
                  </a:cubicBezTo>
                  <a:cubicBezTo>
                    <a:pt x="266674" y="464642"/>
                    <a:pt x="284975" y="469036"/>
                    <a:pt x="303974" y="469036"/>
                  </a:cubicBezTo>
                  <a:close/>
                  <a:moveTo>
                    <a:pt x="495414" y="313486"/>
                  </a:moveTo>
                  <a:cubicBezTo>
                    <a:pt x="493204" y="306844"/>
                    <a:pt x="486028" y="303212"/>
                    <a:pt x="479348" y="305460"/>
                  </a:cubicBezTo>
                  <a:cubicBezTo>
                    <a:pt x="443953" y="317258"/>
                    <a:pt x="425564" y="335775"/>
                    <a:pt x="409536" y="352323"/>
                  </a:cubicBezTo>
                  <a:cubicBezTo>
                    <a:pt x="383082" y="332193"/>
                    <a:pt x="343446" y="313855"/>
                    <a:pt x="303479" y="320548"/>
                  </a:cubicBezTo>
                  <a:cubicBezTo>
                    <a:pt x="281825" y="324154"/>
                    <a:pt x="264833" y="332066"/>
                    <a:pt x="246684" y="347002"/>
                  </a:cubicBezTo>
                  <a:cubicBezTo>
                    <a:pt x="241274" y="351459"/>
                    <a:pt x="240499" y="359460"/>
                    <a:pt x="244970" y="364883"/>
                  </a:cubicBezTo>
                  <a:cubicBezTo>
                    <a:pt x="249415" y="370306"/>
                    <a:pt x="257416" y="371081"/>
                    <a:pt x="262839" y="366623"/>
                  </a:cubicBezTo>
                  <a:cubicBezTo>
                    <a:pt x="277482" y="354545"/>
                    <a:pt x="290487" y="348462"/>
                    <a:pt x="307644" y="345592"/>
                  </a:cubicBezTo>
                  <a:cubicBezTo>
                    <a:pt x="356958" y="337400"/>
                    <a:pt x="409143" y="380187"/>
                    <a:pt x="416686" y="395287"/>
                  </a:cubicBezTo>
                  <a:cubicBezTo>
                    <a:pt x="418922" y="399745"/>
                    <a:pt x="423418" y="402310"/>
                    <a:pt x="428078" y="402310"/>
                  </a:cubicBezTo>
                  <a:cubicBezTo>
                    <a:pt x="429971" y="402310"/>
                    <a:pt x="431914" y="401878"/>
                    <a:pt x="433730" y="400977"/>
                  </a:cubicBezTo>
                  <a:cubicBezTo>
                    <a:pt x="440004" y="397840"/>
                    <a:pt x="442556" y="390207"/>
                    <a:pt x="439407" y="383933"/>
                  </a:cubicBezTo>
                  <a:cubicBezTo>
                    <a:pt x="437337" y="379768"/>
                    <a:pt x="433565" y="374688"/>
                    <a:pt x="428498" y="369252"/>
                  </a:cubicBezTo>
                  <a:cubicBezTo>
                    <a:pt x="443522" y="353771"/>
                    <a:pt x="458266" y="339255"/>
                    <a:pt x="487387" y="329552"/>
                  </a:cubicBezTo>
                  <a:cubicBezTo>
                    <a:pt x="494029" y="327342"/>
                    <a:pt x="497624" y="320141"/>
                    <a:pt x="495414" y="313486"/>
                  </a:cubicBezTo>
                  <a:close/>
                  <a:moveTo>
                    <a:pt x="169163" y="368490"/>
                  </a:moveTo>
                  <a:cubicBezTo>
                    <a:pt x="162687" y="365747"/>
                    <a:pt x="155244" y="368782"/>
                    <a:pt x="152514" y="375246"/>
                  </a:cubicBezTo>
                  <a:cubicBezTo>
                    <a:pt x="142849" y="398208"/>
                    <a:pt x="132841" y="408330"/>
                    <a:pt x="112902" y="415328"/>
                  </a:cubicBezTo>
                  <a:cubicBezTo>
                    <a:pt x="106286" y="417639"/>
                    <a:pt x="102806" y="424891"/>
                    <a:pt x="105130" y="431507"/>
                  </a:cubicBezTo>
                  <a:cubicBezTo>
                    <a:pt x="106959" y="436740"/>
                    <a:pt x="111861" y="440004"/>
                    <a:pt x="117106" y="440004"/>
                  </a:cubicBezTo>
                  <a:cubicBezTo>
                    <a:pt x="118516" y="440004"/>
                    <a:pt x="119926" y="439775"/>
                    <a:pt x="121310" y="439280"/>
                  </a:cubicBezTo>
                  <a:cubicBezTo>
                    <a:pt x="148145" y="429869"/>
                    <a:pt x="163461" y="414680"/>
                    <a:pt x="175933" y="385127"/>
                  </a:cubicBezTo>
                  <a:cubicBezTo>
                    <a:pt x="178663" y="378663"/>
                    <a:pt x="175628" y="371208"/>
                    <a:pt x="169163" y="368490"/>
                  </a:cubicBezTo>
                  <a:close/>
                  <a:moveTo>
                    <a:pt x="263740" y="270421"/>
                  </a:moveTo>
                  <a:cubicBezTo>
                    <a:pt x="258787" y="265468"/>
                    <a:pt x="250748" y="265468"/>
                    <a:pt x="245783" y="270421"/>
                  </a:cubicBezTo>
                  <a:cubicBezTo>
                    <a:pt x="240830" y="275386"/>
                    <a:pt x="240830" y="283425"/>
                    <a:pt x="245783" y="288378"/>
                  </a:cubicBezTo>
                  <a:lnTo>
                    <a:pt x="258483" y="301078"/>
                  </a:lnTo>
                  <a:cubicBezTo>
                    <a:pt x="260972" y="303568"/>
                    <a:pt x="264210" y="304800"/>
                    <a:pt x="267462" y="304800"/>
                  </a:cubicBezTo>
                  <a:cubicBezTo>
                    <a:pt x="270713" y="304800"/>
                    <a:pt x="273964" y="303568"/>
                    <a:pt x="276440" y="301078"/>
                  </a:cubicBezTo>
                  <a:cubicBezTo>
                    <a:pt x="281406" y="296125"/>
                    <a:pt x="281406" y="288086"/>
                    <a:pt x="276440" y="283121"/>
                  </a:cubicBezTo>
                  <a:close/>
                  <a:moveTo>
                    <a:pt x="385483" y="257721"/>
                  </a:moveTo>
                  <a:lnTo>
                    <a:pt x="360083" y="283121"/>
                  </a:lnTo>
                  <a:cubicBezTo>
                    <a:pt x="355130" y="288086"/>
                    <a:pt x="355130" y="296125"/>
                    <a:pt x="360083" y="301078"/>
                  </a:cubicBezTo>
                  <a:cubicBezTo>
                    <a:pt x="362572" y="303568"/>
                    <a:pt x="365810" y="304800"/>
                    <a:pt x="369061" y="304800"/>
                  </a:cubicBezTo>
                  <a:cubicBezTo>
                    <a:pt x="372313" y="304800"/>
                    <a:pt x="375564" y="303568"/>
                    <a:pt x="378040" y="301078"/>
                  </a:cubicBezTo>
                  <a:lnTo>
                    <a:pt x="403440" y="275678"/>
                  </a:lnTo>
                  <a:cubicBezTo>
                    <a:pt x="408406" y="270725"/>
                    <a:pt x="408406" y="262686"/>
                    <a:pt x="403440" y="257721"/>
                  </a:cubicBezTo>
                  <a:cubicBezTo>
                    <a:pt x="398487" y="252768"/>
                    <a:pt x="390448" y="252768"/>
                    <a:pt x="385483" y="257721"/>
                  </a:cubicBezTo>
                  <a:close/>
                  <a:moveTo>
                    <a:pt x="305562" y="241719"/>
                  </a:moveTo>
                  <a:lnTo>
                    <a:pt x="305562" y="279400"/>
                  </a:lnTo>
                  <a:cubicBezTo>
                    <a:pt x="305562" y="286423"/>
                    <a:pt x="311251" y="292100"/>
                    <a:pt x="318262" y="292100"/>
                  </a:cubicBezTo>
                  <a:cubicBezTo>
                    <a:pt x="325285" y="292100"/>
                    <a:pt x="330962" y="286423"/>
                    <a:pt x="330962" y="279400"/>
                  </a:cubicBezTo>
                  <a:lnTo>
                    <a:pt x="330962" y="241719"/>
                  </a:lnTo>
                  <a:cubicBezTo>
                    <a:pt x="330962" y="234696"/>
                    <a:pt x="325285" y="229019"/>
                    <a:pt x="318262" y="229019"/>
                  </a:cubicBezTo>
                  <a:cubicBezTo>
                    <a:pt x="311251" y="229019"/>
                    <a:pt x="305562" y="234696"/>
                    <a:pt x="305562" y="241719"/>
                  </a:cubicBezTo>
                  <a:close/>
                </a:path>
              </a:pathLst>
            </a:custGeom>
            <a:solidFill>
              <a:schemeClr val="bg1"/>
            </a:solidFill>
            <a:ln w="12700" cap="flat" cmpd="sng">
              <a:noFill/>
              <a:prstDash val="solid"/>
              <a:miter lim="800000"/>
            </a:ln>
          </p:spPr>
          <p:txBody>
            <a:bodyPr wrap="square" anchor="ctr">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080" b="0" i="0" u="none" strike="noStrike" kern="1200" cap="none" spc="0" normalizeH="0" baseline="0" noProof="0">
                <a:ln>
                  <a:noFill/>
                </a:ln>
                <a:solidFill>
                  <a:srgbClr val="001965"/>
                </a:solidFill>
                <a:effectLst/>
                <a:uLnTx/>
                <a:uFillTx/>
                <a:latin typeface="Calibri" panose="020F0502020204030204"/>
                <a:ea typeface="+mn-ea"/>
                <a:cs typeface="+mn-cs"/>
              </a:endParaRPr>
            </a:p>
          </p:txBody>
        </p:sp>
      </p:grpSp>
      <p:grpSp>
        <p:nvGrpSpPr>
          <p:cNvPr id="24" name="Group 23">
            <a:extLst>
              <a:ext uri="{FF2B5EF4-FFF2-40B4-BE49-F238E27FC236}">
                <a16:creationId xmlns:a16="http://schemas.microsoft.com/office/drawing/2014/main" id="{3BB2F7E0-4EC8-08B5-2B1E-067214C53290}"/>
              </a:ext>
            </a:extLst>
          </p:cNvPr>
          <p:cNvGrpSpPr/>
          <p:nvPr/>
        </p:nvGrpSpPr>
        <p:grpSpPr>
          <a:xfrm>
            <a:off x="5339067" y="2636881"/>
            <a:ext cx="828000" cy="828000"/>
            <a:chOff x="5329131" y="2790262"/>
            <a:chExt cx="828000" cy="828000"/>
          </a:xfrm>
        </p:grpSpPr>
        <p:sp>
          <p:nvSpPr>
            <p:cNvPr id="10" name="Oval 9">
              <a:extLst>
                <a:ext uri="{FF2B5EF4-FFF2-40B4-BE49-F238E27FC236}">
                  <a16:creationId xmlns:a16="http://schemas.microsoft.com/office/drawing/2014/main" id="{B8F3D75C-DC57-19B6-89E8-940E286E44F2}"/>
                </a:ext>
              </a:extLst>
            </p:cNvPr>
            <p:cNvSpPr>
              <a:spLocks noChangeAspect="1"/>
            </p:cNvSpPr>
            <p:nvPr/>
          </p:nvSpPr>
          <p:spPr>
            <a:xfrm>
              <a:off x="5329131" y="2790262"/>
              <a:ext cx="828000" cy="8280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11.13">
              <a:extLst>
                <a:ext uri="{FF2B5EF4-FFF2-40B4-BE49-F238E27FC236}">
                  <a16:creationId xmlns:a16="http://schemas.microsoft.com/office/drawing/2014/main" id="{1EF4645C-DEA9-39C9-A839-DA64BD5C48FF}"/>
                </a:ext>
              </a:extLst>
            </p:cNvPr>
            <p:cNvSpPr/>
            <p:nvPr/>
          </p:nvSpPr>
          <p:spPr>
            <a:xfrm>
              <a:off x="5555623" y="2965218"/>
              <a:ext cx="434768" cy="453670"/>
            </a:xfrm>
            <a:custGeom>
              <a:avLst/>
              <a:gdLst/>
              <a:ahLst/>
              <a:cxnLst/>
              <a:rect l="0" t="0" r="0" b="0"/>
              <a:pathLst>
                <a:path w="584200" h="609600">
                  <a:moveTo>
                    <a:pt x="569315" y="522884"/>
                  </a:moveTo>
                  <a:lnTo>
                    <a:pt x="556615" y="510184"/>
                  </a:lnTo>
                  <a:lnTo>
                    <a:pt x="482600" y="436168"/>
                  </a:lnTo>
                  <a:lnTo>
                    <a:pt x="482600" y="12700"/>
                  </a:lnTo>
                  <a:cubicBezTo>
                    <a:pt x="482600" y="5676"/>
                    <a:pt x="476923" y="0"/>
                    <a:pt x="469900" y="0"/>
                  </a:cubicBezTo>
                  <a:lnTo>
                    <a:pt x="101600" y="0"/>
                  </a:lnTo>
                  <a:cubicBezTo>
                    <a:pt x="98221" y="0"/>
                    <a:pt x="94995" y="1333"/>
                    <a:pt x="92621" y="3721"/>
                  </a:cubicBezTo>
                  <a:lnTo>
                    <a:pt x="3721" y="92621"/>
                  </a:lnTo>
                  <a:cubicBezTo>
                    <a:pt x="1295" y="95046"/>
                    <a:pt x="126" y="98298"/>
                    <a:pt x="126" y="101600"/>
                  </a:cubicBezTo>
                  <a:lnTo>
                    <a:pt x="0" y="101600"/>
                  </a:lnTo>
                  <a:lnTo>
                    <a:pt x="0" y="596900"/>
                  </a:lnTo>
                  <a:cubicBezTo>
                    <a:pt x="0" y="603923"/>
                    <a:pt x="5676" y="609600"/>
                    <a:pt x="12700" y="609600"/>
                  </a:cubicBezTo>
                  <a:lnTo>
                    <a:pt x="469900" y="609600"/>
                  </a:lnTo>
                  <a:cubicBezTo>
                    <a:pt x="476923" y="609600"/>
                    <a:pt x="482600" y="603923"/>
                    <a:pt x="482600" y="596900"/>
                  </a:cubicBezTo>
                  <a:lnTo>
                    <a:pt x="482600" y="579831"/>
                  </a:lnTo>
                  <a:lnTo>
                    <a:pt x="497484" y="594715"/>
                  </a:lnTo>
                  <a:cubicBezTo>
                    <a:pt x="507072" y="604316"/>
                    <a:pt x="519836" y="609600"/>
                    <a:pt x="533400" y="609600"/>
                  </a:cubicBezTo>
                  <a:cubicBezTo>
                    <a:pt x="546963" y="609600"/>
                    <a:pt x="559727" y="604316"/>
                    <a:pt x="569315" y="594715"/>
                  </a:cubicBezTo>
                  <a:cubicBezTo>
                    <a:pt x="578916" y="585127"/>
                    <a:pt x="584200" y="572363"/>
                    <a:pt x="584200" y="558800"/>
                  </a:cubicBezTo>
                  <a:cubicBezTo>
                    <a:pt x="584200" y="545236"/>
                    <a:pt x="578916" y="532472"/>
                    <a:pt x="569315" y="522884"/>
                  </a:cubicBezTo>
                  <a:close/>
                  <a:moveTo>
                    <a:pt x="457200" y="584200"/>
                  </a:moveTo>
                  <a:lnTo>
                    <a:pt x="25400" y="584200"/>
                  </a:lnTo>
                  <a:lnTo>
                    <a:pt x="25400" y="114300"/>
                  </a:lnTo>
                  <a:lnTo>
                    <a:pt x="101600" y="114300"/>
                  </a:lnTo>
                  <a:cubicBezTo>
                    <a:pt x="108623" y="114300"/>
                    <a:pt x="114300" y="108623"/>
                    <a:pt x="114300" y="101600"/>
                  </a:cubicBezTo>
                  <a:lnTo>
                    <a:pt x="114300" y="25400"/>
                  </a:lnTo>
                  <a:lnTo>
                    <a:pt x="457200" y="25400"/>
                  </a:lnTo>
                  <a:lnTo>
                    <a:pt x="457200" y="410768"/>
                  </a:lnTo>
                  <a:lnTo>
                    <a:pt x="440778" y="394347"/>
                  </a:lnTo>
                  <a:cubicBezTo>
                    <a:pt x="435813" y="389382"/>
                    <a:pt x="427786" y="389382"/>
                    <a:pt x="422821" y="394347"/>
                  </a:cubicBezTo>
                  <a:lnTo>
                    <a:pt x="404863" y="412305"/>
                  </a:lnTo>
                  <a:lnTo>
                    <a:pt x="384492" y="391934"/>
                  </a:lnTo>
                  <a:cubicBezTo>
                    <a:pt x="413854" y="358406"/>
                    <a:pt x="431800" y="314655"/>
                    <a:pt x="431800" y="266700"/>
                  </a:cubicBezTo>
                  <a:cubicBezTo>
                    <a:pt x="431800" y="161658"/>
                    <a:pt x="346341" y="76200"/>
                    <a:pt x="241300" y="76200"/>
                  </a:cubicBezTo>
                  <a:cubicBezTo>
                    <a:pt x="136258" y="76200"/>
                    <a:pt x="50800" y="161658"/>
                    <a:pt x="50800" y="266700"/>
                  </a:cubicBezTo>
                  <a:cubicBezTo>
                    <a:pt x="50800" y="371741"/>
                    <a:pt x="136258" y="457200"/>
                    <a:pt x="241300" y="457200"/>
                  </a:cubicBezTo>
                  <a:cubicBezTo>
                    <a:pt x="289255" y="457200"/>
                    <a:pt x="333019" y="439254"/>
                    <a:pt x="366534" y="409892"/>
                  </a:cubicBezTo>
                  <a:lnTo>
                    <a:pt x="386905" y="430263"/>
                  </a:lnTo>
                  <a:lnTo>
                    <a:pt x="368947" y="448221"/>
                  </a:lnTo>
                  <a:cubicBezTo>
                    <a:pt x="366560" y="450596"/>
                    <a:pt x="365226" y="453821"/>
                    <a:pt x="365226" y="457200"/>
                  </a:cubicBezTo>
                  <a:cubicBezTo>
                    <a:pt x="365226" y="460578"/>
                    <a:pt x="366560" y="463803"/>
                    <a:pt x="368947" y="466178"/>
                  </a:cubicBezTo>
                  <a:lnTo>
                    <a:pt x="457200" y="554431"/>
                  </a:lnTo>
                  <a:close/>
                  <a:moveTo>
                    <a:pt x="241300" y="431800"/>
                  </a:moveTo>
                  <a:cubicBezTo>
                    <a:pt x="150266" y="431800"/>
                    <a:pt x="76200" y="357733"/>
                    <a:pt x="76200" y="266700"/>
                  </a:cubicBezTo>
                  <a:cubicBezTo>
                    <a:pt x="76200" y="175666"/>
                    <a:pt x="150266" y="101600"/>
                    <a:pt x="241300" y="101600"/>
                  </a:cubicBezTo>
                  <a:cubicBezTo>
                    <a:pt x="332333" y="101600"/>
                    <a:pt x="406400" y="175666"/>
                    <a:pt x="406400" y="266700"/>
                  </a:cubicBezTo>
                  <a:cubicBezTo>
                    <a:pt x="406400" y="357733"/>
                    <a:pt x="332333" y="431800"/>
                    <a:pt x="241300" y="431800"/>
                  </a:cubicBezTo>
                  <a:close/>
                  <a:moveTo>
                    <a:pt x="190500" y="165100"/>
                  </a:moveTo>
                  <a:cubicBezTo>
                    <a:pt x="183476" y="165100"/>
                    <a:pt x="177800" y="170776"/>
                    <a:pt x="177800" y="177800"/>
                  </a:cubicBezTo>
                  <a:lnTo>
                    <a:pt x="177800" y="355600"/>
                  </a:lnTo>
                  <a:cubicBezTo>
                    <a:pt x="177800" y="362623"/>
                    <a:pt x="183476" y="368300"/>
                    <a:pt x="190500" y="368300"/>
                  </a:cubicBezTo>
                  <a:cubicBezTo>
                    <a:pt x="197523" y="368300"/>
                    <a:pt x="203200" y="362623"/>
                    <a:pt x="203200" y="355600"/>
                  </a:cubicBezTo>
                  <a:lnTo>
                    <a:pt x="203200" y="177800"/>
                  </a:lnTo>
                  <a:cubicBezTo>
                    <a:pt x="203200" y="170776"/>
                    <a:pt x="197523" y="165100"/>
                    <a:pt x="190500" y="165100"/>
                  </a:cubicBezTo>
                  <a:close/>
                  <a:moveTo>
                    <a:pt x="241300" y="165100"/>
                  </a:moveTo>
                  <a:cubicBezTo>
                    <a:pt x="234276" y="165100"/>
                    <a:pt x="228600" y="170776"/>
                    <a:pt x="228600" y="177800"/>
                  </a:cubicBezTo>
                  <a:lnTo>
                    <a:pt x="228600" y="355600"/>
                  </a:lnTo>
                  <a:cubicBezTo>
                    <a:pt x="228600" y="362623"/>
                    <a:pt x="234276" y="368300"/>
                    <a:pt x="241300" y="368300"/>
                  </a:cubicBezTo>
                  <a:cubicBezTo>
                    <a:pt x="248323" y="368300"/>
                    <a:pt x="254000" y="362623"/>
                    <a:pt x="254000" y="355600"/>
                  </a:cubicBezTo>
                  <a:lnTo>
                    <a:pt x="254000" y="177800"/>
                  </a:lnTo>
                  <a:cubicBezTo>
                    <a:pt x="254000" y="170776"/>
                    <a:pt x="248323" y="165100"/>
                    <a:pt x="241300" y="165100"/>
                  </a:cubicBezTo>
                  <a:close/>
                  <a:moveTo>
                    <a:pt x="551357" y="576757"/>
                  </a:moveTo>
                  <a:cubicBezTo>
                    <a:pt x="541756" y="586359"/>
                    <a:pt x="525043" y="586359"/>
                    <a:pt x="515442" y="576757"/>
                  </a:cubicBezTo>
                  <a:lnTo>
                    <a:pt x="511721" y="573036"/>
                  </a:lnTo>
                  <a:lnTo>
                    <a:pt x="547636" y="537121"/>
                  </a:lnTo>
                  <a:lnTo>
                    <a:pt x="551357" y="540842"/>
                  </a:lnTo>
                  <a:cubicBezTo>
                    <a:pt x="556158" y="545642"/>
                    <a:pt x="558800" y="552018"/>
                    <a:pt x="558800" y="558800"/>
                  </a:cubicBezTo>
                  <a:cubicBezTo>
                    <a:pt x="558800" y="565581"/>
                    <a:pt x="556158" y="571957"/>
                    <a:pt x="551357" y="576757"/>
                  </a:cubicBezTo>
                  <a:close/>
                  <a:moveTo>
                    <a:pt x="493763" y="555078"/>
                  </a:moveTo>
                  <a:lnTo>
                    <a:pt x="395884" y="457200"/>
                  </a:lnTo>
                  <a:lnTo>
                    <a:pt x="431800" y="421284"/>
                  </a:lnTo>
                  <a:lnTo>
                    <a:pt x="529678" y="519163"/>
                  </a:lnTo>
                  <a:close/>
                  <a:moveTo>
                    <a:pt x="139700" y="292100"/>
                  </a:moveTo>
                  <a:cubicBezTo>
                    <a:pt x="132676" y="292100"/>
                    <a:pt x="127000" y="297776"/>
                    <a:pt x="127000" y="304800"/>
                  </a:cubicBezTo>
                  <a:lnTo>
                    <a:pt x="127000" y="355600"/>
                  </a:lnTo>
                  <a:cubicBezTo>
                    <a:pt x="127000" y="362623"/>
                    <a:pt x="132676" y="368300"/>
                    <a:pt x="139700" y="368300"/>
                  </a:cubicBezTo>
                  <a:cubicBezTo>
                    <a:pt x="146723" y="368300"/>
                    <a:pt x="152400" y="362623"/>
                    <a:pt x="152400" y="355600"/>
                  </a:cubicBezTo>
                  <a:lnTo>
                    <a:pt x="152400" y="304800"/>
                  </a:lnTo>
                  <a:cubicBezTo>
                    <a:pt x="152400" y="297776"/>
                    <a:pt x="146723" y="292100"/>
                    <a:pt x="139700" y="292100"/>
                  </a:cubicBezTo>
                  <a:close/>
                  <a:moveTo>
                    <a:pt x="292100" y="254000"/>
                  </a:moveTo>
                  <a:cubicBezTo>
                    <a:pt x="285076" y="254000"/>
                    <a:pt x="279400" y="259676"/>
                    <a:pt x="279400" y="266700"/>
                  </a:cubicBezTo>
                  <a:lnTo>
                    <a:pt x="279400" y="355600"/>
                  </a:lnTo>
                  <a:cubicBezTo>
                    <a:pt x="279400" y="362623"/>
                    <a:pt x="285076" y="368300"/>
                    <a:pt x="292100" y="368300"/>
                  </a:cubicBezTo>
                  <a:cubicBezTo>
                    <a:pt x="299123" y="368300"/>
                    <a:pt x="304800" y="362623"/>
                    <a:pt x="304800" y="355600"/>
                  </a:cubicBezTo>
                  <a:lnTo>
                    <a:pt x="304800" y="266700"/>
                  </a:lnTo>
                  <a:cubicBezTo>
                    <a:pt x="304800" y="259676"/>
                    <a:pt x="299123" y="254000"/>
                    <a:pt x="292100" y="254000"/>
                  </a:cubicBezTo>
                  <a:close/>
                  <a:moveTo>
                    <a:pt x="88900" y="43357"/>
                  </a:moveTo>
                  <a:lnTo>
                    <a:pt x="88900" y="88900"/>
                  </a:lnTo>
                  <a:lnTo>
                    <a:pt x="43357" y="88900"/>
                  </a:lnTo>
                  <a:close/>
                  <a:moveTo>
                    <a:pt x="342900" y="215900"/>
                  </a:moveTo>
                  <a:cubicBezTo>
                    <a:pt x="335876" y="215900"/>
                    <a:pt x="330200" y="221576"/>
                    <a:pt x="330200" y="228600"/>
                  </a:cubicBezTo>
                  <a:lnTo>
                    <a:pt x="330200" y="355600"/>
                  </a:lnTo>
                  <a:cubicBezTo>
                    <a:pt x="330200" y="362623"/>
                    <a:pt x="335876" y="368300"/>
                    <a:pt x="342900" y="368300"/>
                  </a:cubicBezTo>
                  <a:cubicBezTo>
                    <a:pt x="349923" y="368300"/>
                    <a:pt x="355600" y="362623"/>
                    <a:pt x="355600" y="355600"/>
                  </a:cubicBezTo>
                  <a:lnTo>
                    <a:pt x="355600" y="228600"/>
                  </a:lnTo>
                  <a:cubicBezTo>
                    <a:pt x="355600" y="221576"/>
                    <a:pt x="349923" y="215900"/>
                    <a:pt x="342900" y="215900"/>
                  </a:cubicBezTo>
                  <a:close/>
                </a:path>
              </a:pathLst>
            </a:custGeom>
            <a:solidFill>
              <a:schemeClr val="bg1"/>
            </a:solidFill>
            <a:ln w="12700" cap="flat" cmpd="sng">
              <a:noFill/>
              <a:prstDash val="solid"/>
              <a:miter lim="800000"/>
            </a:ln>
          </p:spPr>
          <p:txBody>
            <a:bodyPr wrap="square" anchor="ctr">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080" b="0" i="0" u="none" strike="noStrike" kern="1200" cap="none" spc="0" normalizeH="0" baseline="0" noProof="0">
                <a:ln>
                  <a:noFill/>
                </a:ln>
                <a:solidFill>
                  <a:srgbClr val="001965"/>
                </a:solidFill>
                <a:effectLst/>
                <a:uLnTx/>
                <a:uFillTx/>
                <a:latin typeface="Calibri" panose="020F0502020204030204"/>
                <a:ea typeface="+mn-ea"/>
                <a:cs typeface="+mn-cs"/>
              </a:endParaRPr>
            </a:p>
          </p:txBody>
        </p:sp>
      </p:grpSp>
      <p:pic>
        <p:nvPicPr>
          <p:cNvPr id="2" name="Picture 1">
            <a:extLst>
              <a:ext uri="{FF2B5EF4-FFF2-40B4-BE49-F238E27FC236}">
                <a16:creationId xmlns:a16="http://schemas.microsoft.com/office/drawing/2014/main" id="{2A2DF8D9-6E16-997A-A480-A8DEFDFD4D7C}"/>
              </a:ext>
            </a:extLst>
          </p:cNvPr>
          <p:cNvPicPr>
            <a:picLocks noChangeAspect="1"/>
          </p:cNvPicPr>
          <p:nvPr/>
        </p:nvPicPr>
        <p:blipFill>
          <a:blip r:embed="rId6"/>
          <a:stretch>
            <a:fillRect/>
          </a:stretch>
        </p:blipFill>
        <p:spPr>
          <a:xfrm>
            <a:off x="648300" y="2474228"/>
            <a:ext cx="4222638" cy="3693076"/>
          </a:xfrm>
          <a:prstGeom prst="rect">
            <a:avLst/>
          </a:prstGeom>
        </p:spPr>
      </p:pic>
      <p:sp>
        <p:nvSpPr>
          <p:cNvPr id="14" name="TextBox 13">
            <a:extLst>
              <a:ext uri="{FF2B5EF4-FFF2-40B4-BE49-F238E27FC236}">
                <a16:creationId xmlns:a16="http://schemas.microsoft.com/office/drawing/2014/main" id="{9989EB68-2BAD-B921-8863-4D70FF9EB92B}"/>
              </a:ext>
            </a:extLst>
          </p:cNvPr>
          <p:cNvSpPr txBox="1"/>
          <p:nvPr/>
        </p:nvSpPr>
        <p:spPr>
          <a:xfrm>
            <a:off x="4821074" y="3503238"/>
            <a:ext cx="1871676" cy="830997"/>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rPr>
              <a:t>Delivers high-resolution, quantitative tissue data using </a:t>
            </a:r>
            <a:br>
              <a:rPr kumimoji="0" lang="en-US"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rPr>
            </a:br>
            <a:r>
              <a:rPr kumimoji="0" lang="en-US" sz="1200" b="1" i="0" u="none" strike="noStrike" kern="1200" cap="none" spc="0" normalizeH="0" baseline="0" noProof="0">
                <a:ln>
                  <a:noFill/>
                </a:ln>
                <a:solidFill>
                  <a:srgbClr val="001965">
                    <a:lumMod val="100000"/>
                  </a:srgbClr>
                </a:solidFill>
                <a:effectLst/>
                <a:uLnTx/>
                <a:uFillTx/>
                <a:latin typeface="Avenir Next LT Pro Demi" panose="020B0504020202020204" pitchFamily="34" charset="77"/>
                <a:ea typeface="+mn-ea"/>
                <a:cs typeface="+mn-cs"/>
              </a:rPr>
              <a:t>AI and automation</a:t>
            </a:r>
          </a:p>
        </p:txBody>
      </p:sp>
      <p:sp>
        <p:nvSpPr>
          <p:cNvPr id="15" name="TextBox 14">
            <a:extLst>
              <a:ext uri="{FF2B5EF4-FFF2-40B4-BE49-F238E27FC236}">
                <a16:creationId xmlns:a16="http://schemas.microsoft.com/office/drawing/2014/main" id="{C4ACB767-9CC7-E210-BDE3-26144DB5605E}"/>
              </a:ext>
            </a:extLst>
          </p:cNvPr>
          <p:cNvSpPr txBox="1"/>
          <p:nvPr/>
        </p:nvSpPr>
        <p:spPr>
          <a:xfrm>
            <a:off x="4948720" y="5360579"/>
            <a:ext cx="1595303" cy="830997"/>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rPr>
              <a:t>Enables </a:t>
            </a:r>
            <a:r>
              <a:rPr kumimoji="0" lang="en-US" sz="1200" b="1" i="0" u="none" strike="noStrike" kern="1200" cap="none" spc="0" normalizeH="0" baseline="0" noProof="0">
                <a:ln>
                  <a:noFill/>
                </a:ln>
                <a:solidFill>
                  <a:srgbClr val="001965">
                    <a:lumMod val="100000"/>
                  </a:srgbClr>
                </a:solidFill>
                <a:effectLst/>
                <a:uLnTx/>
                <a:uFillTx/>
                <a:latin typeface="Avenir Next LT Pro Demi" panose="020B0504020202020204" pitchFamily="34" charset="77"/>
                <a:ea typeface="+mn-ea"/>
                <a:cs typeface="+mn-cs"/>
              </a:rPr>
              <a:t>rapid, large-scale analysis </a:t>
            </a:r>
            <a:r>
              <a:rPr kumimoji="0" lang="en-US" sz="1200" b="0" i="0" u="none" strike="noStrike" kern="1200" cap="none" spc="0" normalizeH="0" baseline="0" noProof="0">
                <a:ln>
                  <a:noFill/>
                </a:ln>
                <a:solidFill>
                  <a:srgbClr val="001965">
                    <a:lumMod val="100000"/>
                  </a:srgbClr>
                </a:solidFill>
                <a:effectLst/>
                <a:uLnTx/>
                <a:uFillTx/>
                <a:latin typeface="Avenir Next LT Pro" panose="020B0504020202020204" pitchFamily="34" charset="0"/>
                <a:ea typeface="+mn-ea"/>
                <a:cs typeface="+mn-cs"/>
              </a:rPr>
              <a:t>of changes like muscle growth</a:t>
            </a:r>
          </a:p>
        </p:txBody>
      </p:sp>
      <p:sp>
        <p:nvSpPr>
          <p:cNvPr id="16" name="Triangle 15">
            <a:extLst>
              <a:ext uri="{FF2B5EF4-FFF2-40B4-BE49-F238E27FC236}">
                <a16:creationId xmlns:a16="http://schemas.microsoft.com/office/drawing/2014/main" id="{12E019E0-9585-0A3E-78B0-FF42A454322E}"/>
              </a:ext>
            </a:extLst>
          </p:cNvPr>
          <p:cNvSpPr/>
          <p:nvPr/>
        </p:nvSpPr>
        <p:spPr>
          <a:xfrm rot="5400000">
            <a:off x="6458236" y="4023048"/>
            <a:ext cx="818268" cy="315489"/>
          </a:xfrm>
          <a:prstGeom prst="triangle">
            <a:avLst>
              <a:gd name="adj" fmla="val 4752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4300B60D-B6B3-D3A0-9F30-56AC50C730B0}"/>
              </a:ext>
            </a:extLst>
          </p:cNvPr>
          <p:cNvSpPr/>
          <p:nvPr/>
        </p:nvSpPr>
        <p:spPr>
          <a:xfrm>
            <a:off x="554128" y="1878322"/>
            <a:ext cx="6171245" cy="33890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27BB9554-E621-4D9C-682A-276FCE66809C}"/>
              </a:ext>
            </a:extLst>
          </p:cNvPr>
          <p:cNvSpPr txBox="1">
            <a:spLocks/>
          </p:cNvSpPr>
          <p:nvPr/>
        </p:nvSpPr>
        <p:spPr>
          <a:xfrm>
            <a:off x="713520" y="1912935"/>
            <a:ext cx="5918029" cy="257368"/>
          </a:xfrm>
          <a:prstGeom prst="rect">
            <a:avLst/>
          </a:prstGeom>
          <a:noFill/>
        </p:spPr>
        <p:txBody>
          <a:bodyPr wrap="square" lIns="0" tIns="36000" rIns="0" bIns="36000">
            <a:spAutoFit/>
          </a:bodyPr>
          <a:lstStyle/>
          <a:p>
            <a:pPr marL="0" marR="0" lvl="0" indent="0" algn="ctr" defTabSz="914446"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err="1">
                <a:ln>
                  <a:noFill/>
                </a:ln>
                <a:solidFill>
                  <a:srgbClr val="FFFFFF"/>
                </a:solidFill>
                <a:effectLst/>
                <a:uLnTx/>
                <a:uFillTx/>
                <a:latin typeface="Avenir Next LT Pro Demi" panose="020B0504020202020204" pitchFamily="34" charset="77"/>
                <a:ea typeface="+mn-ea"/>
                <a:cs typeface="+mn-cs"/>
              </a:rPr>
              <a:t>Gubra’s</a:t>
            </a:r>
            <a:r>
              <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3D imaging technology for skeletal muscle analysis</a:t>
            </a:r>
          </a:p>
        </p:txBody>
      </p:sp>
      <p:sp>
        <p:nvSpPr>
          <p:cNvPr id="94" name="tx34">
            <a:extLst>
              <a:ext uri="{FF2B5EF4-FFF2-40B4-BE49-F238E27FC236}">
                <a16:creationId xmlns:a16="http://schemas.microsoft.com/office/drawing/2014/main" id="{E8D06C2C-4E0D-5C54-3B0C-E0FD309FB4FF}"/>
              </a:ext>
            </a:extLst>
          </p:cNvPr>
          <p:cNvSpPr/>
          <p:nvPr/>
        </p:nvSpPr>
        <p:spPr>
          <a:xfrm rot="18900000">
            <a:off x="8483146" y="5912528"/>
            <a:ext cx="649465" cy="63378"/>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105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Vehicle</a:t>
            </a:r>
          </a:p>
        </p:txBody>
      </p:sp>
      <p:sp>
        <p:nvSpPr>
          <p:cNvPr id="95" name="tx35">
            <a:extLst>
              <a:ext uri="{FF2B5EF4-FFF2-40B4-BE49-F238E27FC236}">
                <a16:creationId xmlns:a16="http://schemas.microsoft.com/office/drawing/2014/main" id="{FC628ED4-80CA-756C-8ADD-60AB07A542B1}"/>
              </a:ext>
            </a:extLst>
          </p:cNvPr>
          <p:cNvSpPr/>
          <p:nvPr/>
        </p:nvSpPr>
        <p:spPr>
          <a:xfrm rot="18900000">
            <a:off x="9038662" y="5969883"/>
            <a:ext cx="844688" cy="82194"/>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105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GUB-UCN2</a:t>
            </a:r>
          </a:p>
        </p:txBody>
      </p:sp>
      <p:sp>
        <p:nvSpPr>
          <p:cNvPr id="96" name="tx36">
            <a:extLst>
              <a:ext uri="{FF2B5EF4-FFF2-40B4-BE49-F238E27FC236}">
                <a16:creationId xmlns:a16="http://schemas.microsoft.com/office/drawing/2014/main" id="{5565BBE4-BAFE-4650-B52E-D537BC97EEB9}"/>
              </a:ext>
            </a:extLst>
          </p:cNvPr>
          <p:cNvSpPr/>
          <p:nvPr/>
        </p:nvSpPr>
        <p:spPr>
          <a:xfrm rot="18900000">
            <a:off x="9815496" y="5968323"/>
            <a:ext cx="688162" cy="82194"/>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105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Semaglutide</a:t>
            </a:r>
          </a:p>
        </p:txBody>
      </p:sp>
      <p:sp>
        <p:nvSpPr>
          <p:cNvPr id="97" name="tx38">
            <a:extLst>
              <a:ext uri="{FF2B5EF4-FFF2-40B4-BE49-F238E27FC236}">
                <a16:creationId xmlns:a16="http://schemas.microsoft.com/office/drawing/2014/main" id="{83EF1179-8086-E56C-49FD-1EE26C2F1C00}"/>
              </a:ext>
            </a:extLst>
          </p:cNvPr>
          <p:cNvSpPr/>
          <p:nvPr/>
        </p:nvSpPr>
        <p:spPr>
          <a:xfrm rot="18900000">
            <a:off x="10572511" y="5999770"/>
            <a:ext cx="721327" cy="82194"/>
          </a:xfrm>
          <a:prstGeom prst="rect">
            <a:avLst/>
          </a:prstGeom>
          <a:noFill/>
        </p:spPr>
        <p:txBody>
          <a:bodyPr wrap="none" lIns="0" tIns="0" rIns="0" bIns="0" anchor="ctr" anchorCtr="1"/>
          <a:lstStyle/>
          <a:p>
            <a:pPr marL="0" marR="0" lvl="0" indent="0" algn="ctr" defTabSz="914446" rtl="0" eaLnBrk="1" fontAlgn="auto" latinLnBrk="0" hangingPunct="1">
              <a:lnSpc>
                <a:spcPts val="720"/>
              </a:lnSpc>
              <a:spcBef>
                <a:spcPts val="0"/>
              </a:spcBef>
              <a:spcAft>
                <a:spcPts val="0"/>
              </a:spcAft>
              <a:buClrTx/>
              <a:buSzTx/>
              <a:buFontTx/>
              <a:buNone/>
              <a:tabLst/>
              <a:defRPr/>
            </a:pPr>
            <a:r>
              <a:rPr kumimoji="0" sz="105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GUB-UCN2</a:t>
            </a:r>
            <a:br>
              <a:rPr kumimoji="0" sz="105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br>
            <a:br>
              <a:rPr kumimoji="0" sz="105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br>
            <a:r>
              <a:rPr kumimoji="0" sz="105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a:t>
            </a:r>
            <a:r>
              <a:rPr kumimoji="0" lang="en-GB" sz="105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Semaglutide</a:t>
            </a:r>
            <a:endParaRPr kumimoji="0" sz="1050" b="0" i="0" u="none" strike="noStrike" kern="1200" cap="none" spc="0" normalizeH="0" baseline="0" noProof="0">
              <a:ln>
                <a:noFill/>
              </a:ln>
              <a:solidFill>
                <a:srgbClr val="001965">
                  <a:alpha val="100000"/>
                </a:srgbClr>
              </a:solidFill>
              <a:effectLst/>
              <a:uLnTx/>
              <a:uFillTx/>
              <a:latin typeface="Avenir Next LT Pro"/>
              <a:ea typeface="+mn-ea"/>
              <a:cs typeface="Avenir Next LT Pro"/>
            </a:endParaRPr>
          </a:p>
        </p:txBody>
      </p:sp>
      <p:sp>
        <p:nvSpPr>
          <p:cNvPr id="100" name="legend 1">
            <a:extLst>
              <a:ext uri="{FF2B5EF4-FFF2-40B4-BE49-F238E27FC236}">
                <a16:creationId xmlns:a16="http://schemas.microsoft.com/office/drawing/2014/main" id="{607BE2F4-AF24-F554-37AA-F228CE0A5BC9}"/>
              </a:ext>
            </a:extLst>
          </p:cNvPr>
          <p:cNvSpPr txBox="1">
            <a:spLocks/>
          </p:cNvSpPr>
          <p:nvPr/>
        </p:nvSpPr>
        <p:spPr>
          <a:xfrm>
            <a:off x="7676486" y="6547288"/>
            <a:ext cx="3587591" cy="169277"/>
          </a:xfrm>
          <a:prstGeom prst="rect">
            <a:avLst/>
          </a:prstGeom>
        </p:spPr>
        <p:txBody>
          <a:bodyPr vert="horz" wrap="square" lIns="0" tIns="0" rIns="0" bIns="0" rtlCol="0">
            <a:spAutoFit/>
          </a:bodyPr>
          <a:lstStyle>
            <a:lvl1pPr marL="0" indent="0" algn="ctr" defTabSz="914377" rtl="0" eaLnBrk="1" latinLnBrk="0" hangingPunct="1">
              <a:lnSpc>
                <a:spcPct val="100000"/>
              </a:lnSpc>
              <a:spcBef>
                <a:spcPts val="1000"/>
              </a:spcBef>
              <a:buClr>
                <a:schemeClr val="accent2"/>
              </a:buClr>
              <a:buFont typeface="LucidaGrande" charset="0"/>
              <a:buNone/>
              <a:defRPr sz="1100" b="0" i="0" kern="1200">
                <a:solidFill>
                  <a:schemeClr val="tx1"/>
                </a:solidFill>
                <a:latin typeface="Avenir Next LT Pro" panose="020B0504020202020204" pitchFamily="34" charset="77"/>
                <a:ea typeface="+mn-ea"/>
                <a:cs typeface="+mn-cs"/>
              </a:defRPr>
            </a:lvl1pPr>
            <a:lvl2pPr marL="457189" indent="0" algn="l" defTabSz="914377" rtl="0" eaLnBrk="1" latinLnBrk="0" hangingPunct="1">
              <a:lnSpc>
                <a:spcPct val="90000"/>
              </a:lnSpc>
              <a:spcBef>
                <a:spcPts val="500"/>
              </a:spcBef>
              <a:buClr>
                <a:schemeClr val="accent2"/>
              </a:buClr>
              <a:buFont typeface="Arial" panose="020B0604020202020204" pitchFamily="34" charset="0"/>
              <a:buNone/>
              <a:defRPr sz="1600" b="0" i="0" kern="1200">
                <a:solidFill>
                  <a:schemeClr val="tx1"/>
                </a:solidFill>
                <a:latin typeface="Avenir Next LT Pro" panose="020B0504020202020204" pitchFamily="34" charset="77"/>
                <a:ea typeface="+mn-ea"/>
                <a:cs typeface="+mn-cs"/>
              </a:defRPr>
            </a:lvl2pPr>
            <a:lvl3pPr marL="914377" indent="0" algn="l" defTabSz="914377" rtl="0" eaLnBrk="1" latinLnBrk="0" hangingPunct="1">
              <a:lnSpc>
                <a:spcPct val="90000"/>
              </a:lnSpc>
              <a:spcBef>
                <a:spcPts val="500"/>
              </a:spcBef>
              <a:buClr>
                <a:schemeClr val="accent2"/>
              </a:buClr>
              <a:buFont typeface="Arial" panose="020B0604020202020204" pitchFamily="34" charset="0"/>
              <a:buNone/>
              <a:defRPr sz="1600" b="0" i="0" kern="1200">
                <a:solidFill>
                  <a:schemeClr val="tx1"/>
                </a:solidFill>
                <a:latin typeface="Avenir Next LT Pro" panose="020B0504020202020204" pitchFamily="34" charset="77"/>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
                <a:srgbClr val="00DF86"/>
              </a:buClr>
              <a:buSzTx/>
              <a:buFont typeface="LucidaGrande" charset="0"/>
              <a:buNone/>
              <a:tabLst/>
              <a:defRPr/>
            </a:pPr>
            <a:r>
              <a:rPr kumimoji="0" lang="en-US" sz="1100" b="0" i="0" u="none" strike="noStrike" kern="1200" cap="none" spc="0" normalizeH="0" baseline="0" noProof="0">
                <a:ln>
                  <a:noFill/>
                </a:ln>
                <a:solidFill>
                  <a:srgbClr val="001965"/>
                </a:solidFill>
                <a:effectLst/>
                <a:uLnTx/>
                <a:uFillTx/>
                <a:latin typeface="Avenir Next LT Pro" panose="020B0504020202020204" pitchFamily="34" charset="77"/>
                <a:ea typeface="+mn-ea"/>
                <a:cs typeface="+mn-cs"/>
              </a:rPr>
              <a:t>*: P &lt; 0.05, **: P &lt; 0.01 compared to Vehicle + Vehicle</a:t>
            </a:r>
          </a:p>
        </p:txBody>
      </p:sp>
      <p:pic>
        <p:nvPicPr>
          <p:cNvPr id="4" name="Picture 3">
            <a:extLst>
              <a:ext uri="{FF2B5EF4-FFF2-40B4-BE49-F238E27FC236}">
                <a16:creationId xmlns:a16="http://schemas.microsoft.com/office/drawing/2014/main" id="{2B46DBCA-62B0-9E79-3503-8F14BE9E9945}"/>
              </a:ext>
            </a:extLst>
          </p:cNvPr>
          <p:cNvPicPr>
            <a:picLocks noChangeAspect="1"/>
          </p:cNvPicPr>
          <p:nvPr/>
        </p:nvPicPr>
        <p:blipFill>
          <a:blip r:embed="rId7"/>
          <a:srcRect b="33102"/>
          <a:stretch>
            <a:fillRect/>
          </a:stretch>
        </p:blipFill>
        <p:spPr>
          <a:xfrm>
            <a:off x="7743702" y="3192944"/>
            <a:ext cx="3857881" cy="2523934"/>
          </a:xfrm>
          <a:prstGeom prst="rect">
            <a:avLst/>
          </a:prstGeom>
        </p:spPr>
      </p:pic>
      <p:sp>
        <p:nvSpPr>
          <p:cNvPr id="5" name="Rectangle 4">
            <a:extLst>
              <a:ext uri="{FF2B5EF4-FFF2-40B4-BE49-F238E27FC236}">
                <a16:creationId xmlns:a16="http://schemas.microsoft.com/office/drawing/2014/main" id="{DABFEB55-90E2-B1FA-7A2D-40FB610725DB}"/>
              </a:ext>
            </a:extLst>
          </p:cNvPr>
          <p:cNvSpPr/>
          <p:nvPr/>
        </p:nvSpPr>
        <p:spPr>
          <a:xfrm>
            <a:off x="8826752" y="3376038"/>
            <a:ext cx="2253618" cy="41688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99" name="Group 98">
            <a:extLst>
              <a:ext uri="{FF2B5EF4-FFF2-40B4-BE49-F238E27FC236}">
                <a16:creationId xmlns:a16="http://schemas.microsoft.com/office/drawing/2014/main" id="{0329B65B-D9B5-3A21-0BE1-DFC6B0CB9FD9}"/>
              </a:ext>
            </a:extLst>
          </p:cNvPr>
          <p:cNvGrpSpPr/>
          <p:nvPr/>
        </p:nvGrpSpPr>
        <p:grpSpPr>
          <a:xfrm>
            <a:off x="7676484" y="1830333"/>
            <a:ext cx="3957536" cy="1545705"/>
            <a:chOff x="7676484" y="1830333"/>
            <a:chExt cx="3957536" cy="1545705"/>
          </a:xfrm>
        </p:grpSpPr>
        <p:sp>
          <p:nvSpPr>
            <p:cNvPr id="133" name="Rectangle: Rounded Corners 132">
              <a:extLst>
                <a:ext uri="{FF2B5EF4-FFF2-40B4-BE49-F238E27FC236}">
                  <a16:creationId xmlns:a16="http://schemas.microsoft.com/office/drawing/2014/main" id="{740B6F7C-8D53-EE17-BE3E-8C733A24F798}"/>
                </a:ext>
              </a:extLst>
            </p:cNvPr>
            <p:cNvSpPr/>
            <p:nvPr/>
          </p:nvSpPr>
          <p:spPr>
            <a:xfrm>
              <a:off x="7676484" y="2093606"/>
              <a:ext cx="3957536" cy="1282432"/>
            </a:xfrm>
            <a:prstGeom prst="roundRect">
              <a:avLst>
                <a:gd name="adj" fmla="val 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252000" rIns="72000" bIns="7200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100000"/>
                    </a:srgbClr>
                  </a:solidFill>
                  <a:effectLst/>
                  <a:uLnTx/>
                  <a:uFillTx/>
                  <a:latin typeface="Avenir Next LT Pro Demi" panose="020B0504020202020204" pitchFamily="34" charset="77"/>
                  <a:ea typeface="+mn-ea"/>
                  <a:cs typeface="+mn-cs"/>
                </a:rPr>
                <a:t>GUB-UCN2 increases total muscle volume </a:t>
              </a:r>
              <a:r>
                <a:rPr kumimoji="0" lang="en-US" sz="1200" b="0" i="0" u="none" strike="noStrike" kern="1200" cap="none" spc="0" normalizeH="0" baseline="0" noProof="0">
                  <a:ln>
                    <a:noFill/>
                  </a:ln>
                  <a:solidFill>
                    <a:srgbClr val="FFFFFF">
                      <a:lumMod val="100000"/>
                    </a:srgbClr>
                  </a:solidFill>
                  <a:effectLst/>
                  <a:uLnTx/>
                  <a:uFillTx/>
                  <a:latin typeface="Avenir Next LT Pro" panose="020B0504020202020204" pitchFamily="34" charset="0"/>
                  <a:ea typeface="+mn-ea"/>
                  <a:cs typeface="+mn-cs"/>
                </a:rPr>
                <a:t>in </a:t>
              </a:r>
              <a:br>
                <a:rPr kumimoji="0" lang="en-US" sz="1200" b="0" i="0" u="none" strike="noStrike" kern="1200" cap="none" spc="0" normalizeH="0" baseline="0" noProof="0">
                  <a:ln>
                    <a:noFill/>
                  </a:ln>
                  <a:solidFill>
                    <a:srgbClr val="FFFFFF">
                      <a:lumMod val="100000"/>
                    </a:srgbClr>
                  </a:solidFill>
                  <a:effectLst/>
                  <a:uLnTx/>
                  <a:uFillTx/>
                  <a:latin typeface="Avenir Next LT Pro" panose="020B0504020202020204" pitchFamily="34" charset="0"/>
                  <a:ea typeface="+mn-ea"/>
                  <a:cs typeface="+mn-cs"/>
                </a:rPr>
              </a:br>
              <a:r>
                <a:rPr kumimoji="0" lang="en-US" sz="1200" b="0" i="0" u="none" strike="noStrike" kern="1200" cap="none" spc="0" normalizeH="0" baseline="0" noProof="0">
                  <a:ln>
                    <a:noFill/>
                  </a:ln>
                  <a:solidFill>
                    <a:srgbClr val="FFFFFF">
                      <a:lumMod val="100000"/>
                    </a:srgbClr>
                  </a:solidFill>
                  <a:effectLst/>
                  <a:uLnTx/>
                  <a:uFillTx/>
                  <a:latin typeface="Avenir Next LT Pro" panose="020B0504020202020204" pitchFamily="34" charset="0"/>
                  <a:ea typeface="+mn-ea"/>
                  <a:cs typeface="+mn-cs"/>
                </a:rPr>
                <a:t>hindleg from</a:t>
              </a:r>
              <a:r>
                <a:rPr kumimoji="0" lang="en-DK" sz="1200" b="0" i="0" u="none" strike="noStrike" kern="1200" cap="none" spc="0" normalizeH="0" baseline="0" noProof="0">
                  <a:ln>
                    <a:noFill/>
                  </a:ln>
                  <a:solidFill>
                    <a:srgbClr val="FFFFFF">
                      <a:lumMod val="100000"/>
                    </a:srgbClr>
                  </a:solidFill>
                  <a:effectLst/>
                  <a:uLnTx/>
                  <a:uFillTx/>
                  <a:latin typeface="Avenir Next LT Pro" panose="020B0504020202020204" pitchFamily="34" charset="0"/>
                  <a:ea typeface="+mn-ea"/>
                  <a:cs typeface="+mn-cs"/>
                </a:rPr>
                <a:t> </a:t>
              </a:r>
              <a:r>
                <a:rPr kumimoji="0" lang="en-US" sz="1200" b="0" i="0" u="none" strike="noStrike" kern="1200" cap="none" spc="0" normalizeH="0" baseline="0" noProof="0">
                  <a:ln>
                    <a:noFill/>
                  </a:ln>
                  <a:solidFill>
                    <a:srgbClr val="FFFFFF">
                      <a:lumMod val="100000"/>
                    </a:srgbClr>
                  </a:solidFill>
                  <a:effectLst/>
                  <a:uLnTx/>
                  <a:uFillTx/>
                  <a:latin typeface="Avenir Next LT Pro" panose="020B0504020202020204" pitchFamily="34" charset="0"/>
                  <a:ea typeface="+mn-ea"/>
                  <a:cs typeface="+mn-cs"/>
                </a:rPr>
                <a:t>aged </a:t>
              </a:r>
              <a:r>
                <a:rPr kumimoji="0" lang="en-DK" sz="1200" b="0" i="0" u="none" strike="noStrike" kern="1200" cap="none" spc="0" normalizeH="0" baseline="0" noProof="0">
                  <a:ln>
                    <a:noFill/>
                  </a:ln>
                  <a:solidFill>
                    <a:srgbClr val="FFFFFF">
                      <a:lumMod val="100000"/>
                    </a:srgbClr>
                  </a:solidFill>
                  <a:effectLst/>
                  <a:uLnTx/>
                  <a:uFillTx/>
                  <a:latin typeface="Avenir Next LT Pro" panose="020B0504020202020204" pitchFamily="34" charset="0"/>
                  <a:ea typeface="+mn-ea"/>
                  <a:cs typeface="+mn-cs"/>
                </a:rPr>
                <a:t>diet-induced obese</a:t>
              </a:r>
              <a:r>
                <a:rPr kumimoji="0" lang="en-US" sz="1200" b="0" i="0" u="none" strike="noStrike" kern="1200" cap="none" spc="0" normalizeH="0" baseline="0" noProof="0">
                  <a:ln>
                    <a:noFill/>
                  </a:ln>
                  <a:solidFill>
                    <a:srgbClr val="FFFFFF">
                      <a:lumMod val="100000"/>
                    </a:srgbClr>
                  </a:solidFill>
                  <a:effectLst/>
                  <a:uLnTx/>
                  <a:uFillTx/>
                  <a:latin typeface="Avenir Next LT Pro" panose="020B0504020202020204" pitchFamily="34" charset="0"/>
                  <a:ea typeface="+mn-ea"/>
                  <a:cs typeface="+mn-cs"/>
                </a:rPr>
                <a:t> rats</a:t>
              </a:r>
              <a:r>
                <a:rPr kumimoji="0" lang="en-DK" sz="1200" b="0" i="0" u="none" strike="noStrike" kern="1200" cap="none" spc="0" normalizeH="0" baseline="0" noProof="0">
                  <a:ln>
                    <a:noFill/>
                  </a:ln>
                  <a:solidFill>
                    <a:srgbClr val="FFFFFF">
                      <a:lumMod val="100000"/>
                    </a:srgbClr>
                  </a:solidFill>
                  <a:effectLst/>
                  <a:uLnTx/>
                  <a:uFillTx/>
                  <a:latin typeface="Avenir Next LT Pro" panose="020B0504020202020204" pitchFamily="34" charset="0"/>
                  <a:ea typeface="+mn-ea"/>
                  <a:cs typeface="+mn-cs"/>
                </a:rPr>
                <a:t> both as </a:t>
              </a:r>
              <a:r>
                <a:rPr kumimoji="0" lang="en-DK" sz="1200" b="1" i="0" u="none" strike="noStrike" kern="1200" cap="none" spc="0" normalizeH="0" baseline="0" noProof="0">
                  <a:ln>
                    <a:noFill/>
                  </a:ln>
                  <a:solidFill>
                    <a:srgbClr val="FFFFFF">
                      <a:lumMod val="100000"/>
                    </a:srgbClr>
                  </a:solidFill>
                  <a:effectLst/>
                  <a:uLnTx/>
                  <a:uFillTx/>
                  <a:latin typeface="Avenir Next LT Pro Demi" panose="020B0504020202020204" pitchFamily="34" charset="77"/>
                  <a:ea typeface="+mn-ea"/>
                  <a:cs typeface="+mn-cs"/>
                </a:rPr>
                <a:t>monotherapy and in combination with semaglutide</a:t>
              </a:r>
            </a:p>
          </p:txBody>
        </p:sp>
        <p:sp>
          <p:nvSpPr>
            <p:cNvPr id="27" name="Oval 26">
              <a:extLst>
                <a:ext uri="{FF2B5EF4-FFF2-40B4-BE49-F238E27FC236}">
                  <a16:creationId xmlns:a16="http://schemas.microsoft.com/office/drawing/2014/main" id="{E65F533A-B885-CF7C-D96F-8159D60ECBF1}"/>
                </a:ext>
              </a:extLst>
            </p:cNvPr>
            <p:cNvSpPr/>
            <p:nvPr/>
          </p:nvSpPr>
          <p:spPr>
            <a:xfrm>
              <a:off x="9315283" y="1830333"/>
              <a:ext cx="679939" cy="679939"/>
            </a:xfrm>
            <a:prstGeom prst="ellipse">
              <a:avLst/>
            </a:prstGeom>
            <a:solidFill>
              <a:schemeClr val="tx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5" name="Graphic 24" descr="Lights On with solid fill">
              <a:extLst>
                <a:ext uri="{FF2B5EF4-FFF2-40B4-BE49-F238E27FC236}">
                  <a16:creationId xmlns:a16="http://schemas.microsoft.com/office/drawing/2014/main" id="{CDDB08A0-4973-0547-810D-AB4E39A274CB}"/>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9427565" y="1942614"/>
              <a:ext cx="455375" cy="455375"/>
            </a:xfrm>
            <a:prstGeom prst="rect">
              <a:avLst/>
            </a:prstGeom>
            <a:extLst>
              <a:ext uri="{91240B29-F687-4F45-9708-019B960494DF}">
                <a14:hiddenLine xmlns:a14="http://schemas.microsoft.com/office/drawing/2010/main" w="13758" cap="flat">
                  <a:solidFill>
                    <a:srgbClr val="FFFFFF"/>
                  </a:solidFill>
                  <a:prstDash val="solid"/>
                  <a:miter/>
                </a14:hiddenLine>
              </a:ext>
            </a:extLst>
          </p:spPr>
        </p:pic>
      </p:grpSp>
      <p:sp>
        <p:nvSpPr>
          <p:cNvPr id="3" name="Rounded Rectangle 44">
            <a:extLst>
              <a:ext uri="{FF2B5EF4-FFF2-40B4-BE49-F238E27FC236}">
                <a16:creationId xmlns:a16="http://schemas.microsoft.com/office/drawing/2014/main" id="{040DA61D-E0CF-9D0E-C362-02879C701662}"/>
              </a:ext>
            </a:extLst>
          </p:cNvPr>
          <p:cNvSpPr/>
          <p:nvPr/>
        </p:nvSpPr>
        <p:spPr>
          <a:xfrm>
            <a:off x="566180" y="142571"/>
            <a:ext cx="912669" cy="288000"/>
          </a:xfrm>
          <a:prstGeom prst="roundRect">
            <a:avLst>
              <a:gd name="adj" fmla="val 50000"/>
            </a:avLst>
          </a:prstGeom>
          <a:solidFill>
            <a:schemeClr val="tx2">
              <a:alpha val="49757"/>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1965"/>
                </a:solidFill>
                <a:effectLst/>
                <a:uLnTx/>
                <a:uFillTx/>
                <a:latin typeface="Avenir Next LT Pro Demi" panose="020B0504020202020204" pitchFamily="34" charset="77"/>
                <a:ea typeface="+mn-ea"/>
                <a:cs typeface="+mn-cs"/>
              </a:rPr>
              <a:t>UCN2</a:t>
            </a:r>
          </a:p>
        </p:txBody>
      </p:sp>
    </p:spTree>
    <p:extLst>
      <p:ext uri="{BB962C8B-B14F-4D97-AF65-F5344CB8AC3E}">
        <p14:creationId xmlns:p14="http://schemas.microsoft.com/office/powerpoint/2010/main" val="998800623"/>
      </p:ext>
    </p:extLst>
  </p:cSld>
  <p:clrMapOvr>
    <a:masterClrMapping/>
  </p:clrMapOvr>
  <p:transition spd="slow">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67D9F-EABF-9D77-A704-09D4C5F8D957}"/>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353888-659F-DECF-458E-FE0077DDA5BC}"/>
              </a:ext>
            </a:extLst>
          </p:cNvPr>
          <p:cNvGraphicFramePr>
            <a:graphicFrameLocks/>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D9353888-659F-DECF-458E-FE0077DDA5BC}"/>
                          </a:ext>
                        </a:extLst>
                      </p:cNvPr>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11" name="Title 2">
            <a:extLst>
              <a:ext uri="{FF2B5EF4-FFF2-40B4-BE49-F238E27FC236}">
                <a16:creationId xmlns:a16="http://schemas.microsoft.com/office/drawing/2014/main" id="{AD0F7082-0D3C-6B52-FF69-72102C2D0DAB}"/>
              </a:ext>
            </a:extLst>
          </p:cNvPr>
          <p:cNvSpPr txBox="1">
            <a:spLocks/>
          </p:cNvSpPr>
          <p:nvPr/>
        </p:nvSpPr>
        <p:spPr>
          <a:xfrm>
            <a:off x="566180" y="553091"/>
            <a:ext cx="10097554" cy="720103"/>
          </a:xfrm>
          <a:prstGeom prst="rect">
            <a:avLst/>
          </a:prstGeom>
        </p:spPr>
        <p:txBody>
          <a:bodyPr vert="horz" lIns="0" tIns="0" rIns="0" bIns="0" rtlCol="0" anchor="t" anchorCtr="0">
            <a:spAutoFit/>
          </a:bodyPr>
          <a:lstStyle>
            <a:lvl1pPr algn="l" defTabSz="914377" rtl="0" eaLnBrk="1" latinLnBrk="0" hangingPunct="1">
              <a:lnSpc>
                <a:spcPct val="90000"/>
              </a:lnSpc>
              <a:spcBef>
                <a:spcPct val="0"/>
              </a:spcBef>
              <a:buNone/>
              <a:defRPr sz="3000" b="1" i="0" kern="1200">
                <a:solidFill>
                  <a:schemeClr val="tx2"/>
                </a:solidFill>
                <a:latin typeface="Avenir Next LT Pro" panose="020B0504020202020204" pitchFamily="34" charset="77"/>
                <a:ea typeface="Avenir Next LT Pro" panose="020B0504020202020204" pitchFamily="34" charset="77"/>
                <a:cs typeface="Avenir Next LT Pro" panose="020B0504020202020204" pitchFamily="34" charset="77"/>
              </a:defRPr>
            </a:lvl1pPr>
          </a:lstStyle>
          <a:p>
            <a:pPr marL="0" marR="0" lvl="0" indent="0" algn="l" defTabSz="914286" rtl="0" eaLnBrk="1" fontAlgn="auto" latinLnBrk="0" hangingPunct="1">
              <a:lnSpc>
                <a:spcPct val="90000"/>
              </a:lnSpc>
              <a:spcBef>
                <a:spcPct val="0"/>
              </a:spcBef>
              <a:spcAft>
                <a:spcPts val="0"/>
              </a:spcAft>
              <a:buClrTx/>
              <a:buSzTx/>
              <a:buFontTx/>
              <a:buNone/>
              <a:tabLst/>
              <a:defRPr/>
            </a:pPr>
            <a:r>
              <a:rPr kumimoji="0" lang="en-US" sz="2600" b="1" i="0" u="none" strike="noStrike" kern="1200" cap="none" spc="0" normalizeH="0" baseline="0" noProof="0">
                <a:ln>
                  <a:noFill/>
                </a:ln>
                <a:solidFill>
                  <a:srgbClr val="001965"/>
                </a:solidFill>
                <a:effectLst/>
                <a:uLnTx/>
                <a:uFillTx/>
                <a:latin typeface="Avenir Next LT Pro" panose="020B0504020202020204" pitchFamily="34" charset="77"/>
              </a:rPr>
              <a:t>In addition to improving body composition, UCN2 demonstrates clear cardiac benefits in preclinical models</a:t>
            </a:r>
            <a:endParaRPr kumimoji="0" lang="en-US" sz="2600" b="1" i="0" u="none" strike="noStrike" kern="1200" cap="none" spc="0" normalizeH="0" baseline="0" noProof="0">
              <a:ln>
                <a:noFill/>
              </a:ln>
              <a:solidFill>
                <a:srgbClr val="2878FF"/>
              </a:solidFill>
              <a:effectLst/>
              <a:uLnTx/>
              <a:uFillTx/>
              <a:latin typeface="Avenir Next LT Pro" panose="020B0504020202020204" pitchFamily="34" charset="77"/>
            </a:endParaRPr>
          </a:p>
        </p:txBody>
      </p:sp>
      <p:sp>
        <p:nvSpPr>
          <p:cNvPr id="6032" name="Title 2">
            <a:extLst>
              <a:ext uri="{FF2B5EF4-FFF2-40B4-BE49-F238E27FC236}">
                <a16:creationId xmlns:a16="http://schemas.microsoft.com/office/drawing/2014/main" id="{62E54653-C46D-1A2B-0758-49ADCC9BFEB9}"/>
              </a:ext>
            </a:extLst>
          </p:cNvPr>
          <p:cNvSpPr txBox="1">
            <a:spLocks/>
          </p:cNvSpPr>
          <p:nvPr/>
        </p:nvSpPr>
        <p:spPr>
          <a:xfrm>
            <a:off x="566177" y="6290935"/>
            <a:ext cx="10798594" cy="249267"/>
          </a:xfrm>
          <a:prstGeom prst="rect">
            <a:avLst/>
          </a:prstGeom>
        </p:spPr>
        <p:txBody>
          <a:bodyPr vert="horz" wrap="square" lIns="0" tIns="0" rIns="0" bIns="0" rtlCol="0" anchor="t" anchorCtr="0">
            <a:spAutoFit/>
          </a:bodyPr>
          <a:lstStyle>
            <a:lvl1pPr algn="l" defTabSz="914377" rtl="0" eaLnBrk="1" latinLnBrk="0" hangingPunct="1">
              <a:lnSpc>
                <a:spcPct val="90000"/>
              </a:lnSpc>
              <a:spcBef>
                <a:spcPct val="0"/>
              </a:spcBef>
              <a:buNone/>
              <a:defRPr sz="3000" kern="1200">
                <a:solidFill>
                  <a:schemeClr val="accent1"/>
                </a:solidFill>
                <a:latin typeface="Georgia" charset="0"/>
                <a:ea typeface="Georgia" charset="0"/>
                <a:cs typeface="Georgia" charset="0"/>
              </a:defRPr>
            </a:lvl1pPr>
          </a:lstStyle>
          <a:p>
            <a:pPr marL="0" marR="0" lvl="0" indent="0" algn="l" defTabSz="914286" rtl="0" eaLnBrk="1" fontAlgn="auto" latinLnBrk="0" hangingPunct="1">
              <a:lnSpc>
                <a:spcPct val="9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1965"/>
                </a:solidFill>
                <a:effectLst/>
                <a:uLnTx/>
                <a:uFillTx/>
                <a:latin typeface="Avenir Next LT Pro"/>
              </a:rPr>
              <a:t>*:  P &lt; 0.05, **: P &lt; 0.01,***: P &lt; 0.001 compared to Vehicle</a:t>
            </a:r>
            <a:r>
              <a:rPr kumimoji="0" lang="en-DK" sz="900" b="0" i="0" u="none" strike="noStrike" kern="1200" cap="none" spc="0" normalizeH="0" baseline="0" noProof="0">
                <a:ln>
                  <a:noFill/>
                </a:ln>
                <a:solidFill>
                  <a:srgbClr val="001965"/>
                </a:solidFill>
                <a:effectLst/>
                <a:uLnTx/>
                <a:uFillTx/>
                <a:latin typeface="Avenir Next LT Pro"/>
              </a:rPr>
              <a:t>; </a:t>
            </a:r>
            <a:r>
              <a:rPr kumimoji="0" lang="en-US" sz="900" b="0" i="0" u="none" strike="noStrike" kern="1200" cap="none" spc="0" normalizeH="0" baseline="0" noProof="0">
                <a:ln>
                  <a:noFill/>
                </a:ln>
                <a:solidFill>
                  <a:srgbClr val="001965"/>
                </a:solidFill>
                <a:effectLst/>
                <a:uLnTx/>
                <a:uFillTx/>
                <a:latin typeface="Avenir Next LT Pro"/>
              </a:rPr>
              <a:t>Treatment started 4 weeks after LAD ligation and continued for 8 weeks</a:t>
            </a:r>
            <a:br>
              <a:rPr kumimoji="0" lang="en-DK" sz="900" b="0" i="0" u="none" strike="noStrike" kern="1200" cap="none" spc="0" normalizeH="0" baseline="0" noProof="0">
                <a:ln>
                  <a:noFill/>
                </a:ln>
                <a:solidFill>
                  <a:srgbClr val="001965"/>
                </a:solidFill>
                <a:effectLst/>
                <a:uLnTx/>
                <a:uFillTx/>
                <a:latin typeface="Avenir Next LT Pro"/>
              </a:rPr>
            </a:br>
            <a:r>
              <a:rPr kumimoji="0" lang="en-US" sz="900" b="0" i="0" u="none" strike="noStrike" kern="1200" cap="none" spc="0" normalizeH="0" baseline="0" noProof="0">
                <a:ln>
                  <a:noFill/>
                </a:ln>
                <a:solidFill>
                  <a:srgbClr val="001965"/>
                </a:solidFill>
                <a:effectLst/>
                <a:uLnTx/>
                <a:uFillTx/>
                <a:latin typeface="Avenir Next LT Pro"/>
              </a:rPr>
              <a:t>A</a:t>
            </a:r>
            <a:r>
              <a:rPr kumimoji="0" lang="en-DK" sz="900" b="0" i="0" u="none" strike="noStrike" kern="1200" cap="none" spc="0" normalizeH="0" baseline="0" noProof="0">
                <a:ln>
                  <a:noFill/>
                </a:ln>
                <a:solidFill>
                  <a:srgbClr val="001965"/>
                </a:solidFill>
                <a:effectLst/>
                <a:uLnTx/>
                <a:uFillTx/>
                <a:latin typeface="Avenir Next LT Pro"/>
              </a:rPr>
              <a:t>+L+S = </a:t>
            </a:r>
            <a:r>
              <a:rPr kumimoji="0" lang="en-US" sz="900" b="0" i="0" u="none" strike="noStrike" kern="1200" cap="none" spc="0" normalizeH="0" baseline="0" noProof="0">
                <a:ln>
                  <a:noFill/>
                </a:ln>
                <a:solidFill>
                  <a:srgbClr val="001965"/>
                </a:solidFill>
                <a:effectLst/>
                <a:uLnTx/>
                <a:uFillTx/>
                <a:latin typeface="Avenir Next LT Pro"/>
              </a:rPr>
              <a:t>atenolol</a:t>
            </a:r>
            <a:r>
              <a:rPr kumimoji="0" lang="en-DK" sz="900" b="0" i="0" u="none" strike="noStrike" kern="1200" cap="none" spc="0" normalizeH="0" baseline="0" noProof="0">
                <a:ln>
                  <a:noFill/>
                </a:ln>
                <a:solidFill>
                  <a:srgbClr val="001965"/>
                </a:solidFill>
                <a:effectLst/>
                <a:uLnTx/>
                <a:uFillTx/>
                <a:latin typeface="Avenir Next LT Pro"/>
              </a:rPr>
              <a:t>+</a:t>
            </a:r>
            <a:r>
              <a:rPr kumimoji="0" lang="en-US" sz="900" b="0" i="0" u="none" strike="noStrike" kern="1200" cap="none" spc="0" normalizeH="0" baseline="0" noProof="0">
                <a:ln>
                  <a:noFill/>
                </a:ln>
                <a:solidFill>
                  <a:srgbClr val="001965"/>
                </a:solidFill>
                <a:effectLst/>
                <a:uLnTx/>
                <a:uFillTx/>
                <a:latin typeface="Avenir Next LT Pro"/>
              </a:rPr>
              <a:t>lisinopril</a:t>
            </a:r>
            <a:r>
              <a:rPr kumimoji="0" lang="en-DK" sz="900" b="0" i="0" u="none" strike="noStrike" kern="1200" cap="none" spc="0" normalizeH="0" baseline="0" noProof="0">
                <a:ln>
                  <a:noFill/>
                </a:ln>
                <a:solidFill>
                  <a:srgbClr val="001965"/>
                </a:solidFill>
                <a:effectLst/>
                <a:uLnTx/>
                <a:uFillTx/>
                <a:latin typeface="Avenir Next LT Pro"/>
              </a:rPr>
              <a:t>+</a:t>
            </a:r>
            <a:r>
              <a:rPr kumimoji="0" lang="en-US" sz="900" b="0" i="0" u="none" strike="noStrike" kern="1200" cap="none" spc="0" normalizeH="0" baseline="0" noProof="0">
                <a:ln>
                  <a:noFill/>
                </a:ln>
                <a:solidFill>
                  <a:srgbClr val="001965"/>
                </a:solidFill>
                <a:effectLst/>
                <a:uLnTx/>
                <a:uFillTx/>
                <a:latin typeface="Avenir Next LT Pro"/>
              </a:rPr>
              <a:t>spironolactone</a:t>
            </a:r>
            <a:r>
              <a:rPr kumimoji="0" lang="en-DK" sz="900" b="0" i="0" u="none" strike="noStrike" kern="1200" cap="none" spc="0" normalizeH="0" baseline="0" noProof="0">
                <a:ln>
                  <a:noFill/>
                </a:ln>
                <a:solidFill>
                  <a:srgbClr val="001965"/>
                </a:solidFill>
                <a:effectLst/>
                <a:uLnTx/>
                <a:uFillTx/>
                <a:latin typeface="Avenir Next LT Pro"/>
              </a:rPr>
              <a:t>; SoC = </a:t>
            </a:r>
            <a:r>
              <a:rPr kumimoji="0" lang="en-US" sz="900" b="0" i="0" u="none" strike="noStrike" kern="1200" cap="none" spc="0" normalizeH="0" baseline="0" noProof="0">
                <a:ln>
                  <a:noFill/>
                </a:ln>
                <a:solidFill>
                  <a:srgbClr val="001965"/>
                </a:solidFill>
                <a:effectLst/>
                <a:uLnTx/>
                <a:uFillTx/>
                <a:latin typeface="Avenir Next LT Pro"/>
              </a:rPr>
              <a:t>standard of care</a:t>
            </a:r>
          </a:p>
        </p:txBody>
      </p:sp>
      <p:sp>
        <p:nvSpPr>
          <p:cNvPr id="13" name="Rectangle 12">
            <a:extLst>
              <a:ext uri="{FF2B5EF4-FFF2-40B4-BE49-F238E27FC236}">
                <a16:creationId xmlns:a16="http://schemas.microsoft.com/office/drawing/2014/main" id="{C07C91B0-019E-4137-DCA9-41ADC1FC63A3}"/>
              </a:ext>
            </a:extLst>
          </p:cNvPr>
          <p:cNvSpPr/>
          <p:nvPr/>
        </p:nvSpPr>
        <p:spPr>
          <a:xfrm>
            <a:off x="567981" y="2609616"/>
            <a:ext cx="3113214" cy="344521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67E5B9C-83AC-08FD-9937-4144BAD836BC}"/>
              </a:ext>
            </a:extLst>
          </p:cNvPr>
          <p:cNvSpPr/>
          <p:nvPr/>
        </p:nvSpPr>
        <p:spPr>
          <a:xfrm>
            <a:off x="566177" y="2553557"/>
            <a:ext cx="3116823" cy="41771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32A5EB96-FE51-96AD-E053-2359F51DF5EA}"/>
              </a:ext>
            </a:extLst>
          </p:cNvPr>
          <p:cNvSpPr txBox="1">
            <a:spLocks/>
          </p:cNvSpPr>
          <p:nvPr/>
        </p:nvSpPr>
        <p:spPr>
          <a:xfrm>
            <a:off x="584454" y="2633483"/>
            <a:ext cx="3080270" cy="257334"/>
          </a:xfrm>
          <a:prstGeom prst="rect">
            <a:avLst/>
          </a:prstGeom>
          <a:noFill/>
        </p:spPr>
        <p:txBody>
          <a:bodyPr wrap="square" lIns="0" tIns="35995" rIns="0" bIns="35995">
            <a:sp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Rat model of Myocardial Infarction (MI)</a:t>
            </a:r>
            <a:endPar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grpSp>
        <p:nvGrpSpPr>
          <p:cNvPr id="6111" name="Group 6110">
            <a:extLst>
              <a:ext uri="{FF2B5EF4-FFF2-40B4-BE49-F238E27FC236}">
                <a16:creationId xmlns:a16="http://schemas.microsoft.com/office/drawing/2014/main" id="{25E7DD05-3255-7C5C-12A1-1AA83269EC74}"/>
              </a:ext>
            </a:extLst>
          </p:cNvPr>
          <p:cNvGrpSpPr/>
          <p:nvPr/>
        </p:nvGrpSpPr>
        <p:grpSpPr>
          <a:xfrm>
            <a:off x="729577" y="3268836"/>
            <a:ext cx="2790022" cy="2396638"/>
            <a:chOff x="-8087977" y="2376168"/>
            <a:chExt cx="3464231" cy="2975787"/>
          </a:xfrm>
        </p:grpSpPr>
        <p:pic>
          <p:nvPicPr>
            <p:cNvPr id="24" name="Picture 2">
              <a:extLst>
                <a:ext uri="{FF2B5EF4-FFF2-40B4-BE49-F238E27FC236}">
                  <a16:creationId xmlns:a16="http://schemas.microsoft.com/office/drawing/2014/main" id="{52797110-903A-D213-2CD8-8235D1308A20}"/>
                </a:ext>
              </a:extLst>
            </p:cNvPr>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1538"/>
            <a:stretch>
              <a:fillRect/>
            </a:stretch>
          </p:blipFill>
          <p:spPr bwMode="auto">
            <a:xfrm>
              <a:off x="-8087977" y="2376168"/>
              <a:ext cx="3292629" cy="2372008"/>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Straight Arrow Connector 24">
              <a:extLst>
                <a:ext uri="{FF2B5EF4-FFF2-40B4-BE49-F238E27FC236}">
                  <a16:creationId xmlns:a16="http://schemas.microsoft.com/office/drawing/2014/main" id="{274474FA-7717-89F9-80D6-33E7FCA37866}"/>
                </a:ext>
              </a:extLst>
            </p:cNvPr>
            <p:cNvCxnSpPr>
              <a:cxnSpLocks/>
            </p:cNvCxnSpPr>
            <p:nvPr/>
          </p:nvCxnSpPr>
          <p:spPr>
            <a:xfrm>
              <a:off x="-6660482" y="3595994"/>
              <a:ext cx="415753" cy="0"/>
            </a:xfrm>
            <a:prstGeom prst="straightConnector1">
              <a:avLst/>
            </a:prstGeom>
            <a:ln w="53975" cap="rnd">
              <a:solidFill>
                <a:schemeClr val="tx1"/>
              </a:solidFill>
              <a:roun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1BA0EC33-6E33-17B6-E0EC-9088192A029A}"/>
                </a:ext>
              </a:extLst>
            </p:cNvPr>
            <p:cNvCxnSpPr>
              <a:cxnSpLocks/>
            </p:cNvCxnSpPr>
            <p:nvPr/>
          </p:nvCxnSpPr>
          <p:spPr>
            <a:xfrm flipV="1">
              <a:off x="-7042901" y="3909086"/>
              <a:ext cx="0" cy="758222"/>
            </a:xfrm>
            <a:prstGeom prst="straightConnector1">
              <a:avLst/>
            </a:prstGeom>
            <a:ln w="25400" cap="rnd">
              <a:solidFill>
                <a:schemeClr val="tx1"/>
              </a:solidFill>
              <a:roun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940B522C-DB92-F3E4-E78E-E675FA978D70}"/>
                </a:ext>
              </a:extLst>
            </p:cNvPr>
            <p:cNvCxnSpPr>
              <a:cxnSpLocks/>
            </p:cNvCxnSpPr>
            <p:nvPr/>
          </p:nvCxnSpPr>
          <p:spPr>
            <a:xfrm flipV="1">
              <a:off x="-5261904" y="4030757"/>
              <a:ext cx="0" cy="636550"/>
            </a:xfrm>
            <a:prstGeom prst="straightConnector1">
              <a:avLst/>
            </a:prstGeom>
            <a:ln w="25400" cap="rnd">
              <a:solidFill>
                <a:schemeClr val="tx1"/>
              </a:solidFill>
              <a:round/>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21F3A0EB-98D6-8DF0-3320-E33CEBD3641D}"/>
                </a:ext>
              </a:extLst>
            </p:cNvPr>
            <p:cNvSpPr txBox="1"/>
            <p:nvPr/>
          </p:nvSpPr>
          <p:spPr>
            <a:xfrm>
              <a:off x="-7826590" y="4683469"/>
              <a:ext cx="1405993" cy="668486"/>
            </a:xfrm>
            <a:prstGeom prst="rect">
              <a:avLst/>
            </a:prstGeom>
            <a:noFill/>
          </p:spPr>
          <p:txBody>
            <a:bodyPr wrap="square" rtlCol="0">
              <a:sp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1965"/>
                  </a:solidFill>
                  <a:effectLst/>
                  <a:uLnTx/>
                  <a:uFillTx/>
                  <a:latin typeface="Avenir Next LT Pro" panose="020B0504020202020204" pitchFamily="34" charset="0"/>
                  <a:ea typeface="+mn-ea"/>
                  <a:cs typeface="+mn-cs"/>
                </a:rPr>
                <a:t>Left anterior </a:t>
              </a:r>
              <a:br>
                <a:rPr kumimoji="0" lang="en-US" sz="1100" b="0" i="0" u="none" strike="noStrike" kern="1200" cap="none" spc="0" normalizeH="0" baseline="0" noProof="0">
                  <a:ln>
                    <a:noFill/>
                  </a:ln>
                  <a:solidFill>
                    <a:srgbClr val="001965"/>
                  </a:solidFill>
                  <a:effectLst/>
                  <a:uLnTx/>
                  <a:uFillTx/>
                  <a:latin typeface="Avenir Next LT Pro" panose="020B0504020202020204" pitchFamily="34" charset="0"/>
                  <a:ea typeface="+mn-ea"/>
                  <a:cs typeface="+mn-cs"/>
                </a:rPr>
              </a:br>
              <a:r>
                <a:rPr kumimoji="0" lang="en-US" sz="1100" b="0" i="0" u="none" strike="noStrike" kern="1200" cap="none" spc="0" normalizeH="0" baseline="0" noProof="0">
                  <a:ln>
                    <a:noFill/>
                  </a:ln>
                  <a:solidFill>
                    <a:srgbClr val="001965"/>
                  </a:solidFill>
                  <a:effectLst/>
                  <a:uLnTx/>
                  <a:uFillTx/>
                  <a:latin typeface="Avenir Next LT Pro" panose="020B0504020202020204" pitchFamily="34" charset="0"/>
                  <a:ea typeface="+mn-ea"/>
                  <a:cs typeface="+mn-cs"/>
                </a:rPr>
                <a:t>descending artery</a:t>
              </a:r>
            </a:p>
          </p:txBody>
        </p:sp>
        <p:sp>
          <p:nvSpPr>
            <p:cNvPr id="29" name="TextBox 28">
              <a:extLst>
                <a:ext uri="{FF2B5EF4-FFF2-40B4-BE49-F238E27FC236}">
                  <a16:creationId xmlns:a16="http://schemas.microsoft.com/office/drawing/2014/main" id="{824B6441-7F89-8824-E919-37ABF565B6DB}"/>
                </a:ext>
              </a:extLst>
            </p:cNvPr>
            <p:cNvSpPr txBox="1"/>
            <p:nvPr/>
          </p:nvSpPr>
          <p:spPr>
            <a:xfrm>
              <a:off x="-5900061" y="4683469"/>
              <a:ext cx="1276315" cy="291391"/>
            </a:xfrm>
            <a:prstGeom prst="rect">
              <a:avLst/>
            </a:prstGeom>
            <a:noFill/>
          </p:spPr>
          <p:txBody>
            <a:bodyPr wrap="square" rtlCol="0">
              <a:sp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1965"/>
                  </a:solidFill>
                  <a:effectLst/>
                  <a:uLnTx/>
                  <a:uFillTx/>
                  <a:latin typeface="Avenir Next LT Pro" panose="020B0504020202020204" pitchFamily="34" charset="0"/>
                  <a:ea typeface="+mn-ea"/>
                  <a:cs typeface="+mn-cs"/>
                </a:rPr>
                <a:t>Infarcted area</a:t>
              </a:r>
            </a:p>
          </p:txBody>
        </p:sp>
      </p:grpSp>
      <p:sp>
        <p:nvSpPr>
          <p:cNvPr id="6108" name="Rectangle 6107">
            <a:extLst>
              <a:ext uri="{FF2B5EF4-FFF2-40B4-BE49-F238E27FC236}">
                <a16:creationId xmlns:a16="http://schemas.microsoft.com/office/drawing/2014/main" id="{B44F91F3-001A-CE91-3BF9-40D286A43AFD}"/>
              </a:ext>
            </a:extLst>
          </p:cNvPr>
          <p:cNvSpPr/>
          <p:nvPr/>
        </p:nvSpPr>
        <p:spPr>
          <a:xfrm>
            <a:off x="3875166" y="2603231"/>
            <a:ext cx="3775121" cy="344521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109" name="Rectangle 6108">
            <a:extLst>
              <a:ext uri="{FF2B5EF4-FFF2-40B4-BE49-F238E27FC236}">
                <a16:creationId xmlns:a16="http://schemas.microsoft.com/office/drawing/2014/main" id="{8BF182CF-B22C-337E-E622-B706B05AF10A}"/>
              </a:ext>
            </a:extLst>
          </p:cNvPr>
          <p:cNvSpPr/>
          <p:nvPr/>
        </p:nvSpPr>
        <p:spPr>
          <a:xfrm>
            <a:off x="3875166" y="2553557"/>
            <a:ext cx="3775121" cy="41771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110" name="TextBox 6109">
            <a:extLst>
              <a:ext uri="{FF2B5EF4-FFF2-40B4-BE49-F238E27FC236}">
                <a16:creationId xmlns:a16="http://schemas.microsoft.com/office/drawing/2014/main" id="{E3D5F775-2D7F-5942-2D94-21F6315CA8B4}"/>
              </a:ext>
            </a:extLst>
          </p:cNvPr>
          <p:cNvSpPr txBox="1">
            <a:spLocks/>
          </p:cNvSpPr>
          <p:nvPr/>
        </p:nvSpPr>
        <p:spPr>
          <a:xfrm>
            <a:off x="4040657" y="2637472"/>
            <a:ext cx="3399686" cy="257359"/>
          </a:xfrm>
          <a:prstGeom prst="rect">
            <a:avLst/>
          </a:prstGeom>
          <a:noFill/>
        </p:spPr>
        <p:txBody>
          <a:bodyPr wrap="square" lIns="0" tIns="35995" rIns="0" bIns="35995">
            <a:sp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UCN2 significantly improves c</a:t>
            </a:r>
            <a:r>
              <a:rPr kumimoji="0" lang="en-US" sz="1200" b="1" i="0" u="none" strike="noStrike" kern="1200" cap="none" spc="0" normalizeH="0" baseline="0" noProof="0" err="1">
                <a:ln>
                  <a:noFill/>
                </a:ln>
                <a:solidFill>
                  <a:srgbClr val="FFFFFF"/>
                </a:solidFill>
                <a:effectLst/>
                <a:uLnTx/>
                <a:uFillTx/>
                <a:latin typeface="Avenir Next LT Pro Demi" panose="020B0504020202020204" pitchFamily="34" charset="77"/>
                <a:ea typeface="+mn-ea"/>
                <a:cs typeface="+mn-cs"/>
              </a:rPr>
              <a:t>ardiac</a:t>
            </a:r>
            <a:r>
              <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output</a:t>
            </a:r>
          </a:p>
        </p:txBody>
      </p:sp>
      <p:grpSp>
        <p:nvGrpSpPr>
          <p:cNvPr id="40" name="Group 39">
            <a:extLst>
              <a:ext uri="{FF2B5EF4-FFF2-40B4-BE49-F238E27FC236}">
                <a16:creationId xmlns:a16="http://schemas.microsoft.com/office/drawing/2014/main" id="{CA65B45F-CE26-A82B-DB94-6EBA81029388}"/>
              </a:ext>
            </a:extLst>
          </p:cNvPr>
          <p:cNvGrpSpPr/>
          <p:nvPr/>
        </p:nvGrpSpPr>
        <p:grpSpPr>
          <a:xfrm>
            <a:off x="4038676" y="3320804"/>
            <a:ext cx="3452354" cy="3001997"/>
            <a:chOff x="-4006566" y="2765906"/>
            <a:chExt cx="3452804" cy="3002388"/>
          </a:xfrm>
        </p:grpSpPr>
        <p:grpSp>
          <p:nvGrpSpPr>
            <p:cNvPr id="41" name="grp2">
              <a:extLst>
                <a:ext uri="{FF2B5EF4-FFF2-40B4-BE49-F238E27FC236}">
                  <a16:creationId xmlns:a16="http://schemas.microsoft.com/office/drawing/2014/main" id="{871F88E3-6433-672F-3173-A5275C01174A}"/>
                </a:ext>
              </a:extLst>
            </p:cNvPr>
            <p:cNvGrpSpPr/>
            <p:nvPr/>
          </p:nvGrpSpPr>
          <p:grpSpPr>
            <a:xfrm>
              <a:off x="-4006566" y="2765906"/>
              <a:ext cx="3452804" cy="3002388"/>
              <a:chOff x="4295217" y="2003349"/>
              <a:chExt cx="3598650" cy="3129209"/>
            </a:xfrm>
          </p:grpSpPr>
          <p:sp>
            <p:nvSpPr>
              <p:cNvPr id="47" name="rc4">
                <a:extLst>
                  <a:ext uri="{FF2B5EF4-FFF2-40B4-BE49-F238E27FC236}">
                    <a16:creationId xmlns:a16="http://schemas.microsoft.com/office/drawing/2014/main" id="{697D725D-8F5B-EDA1-00DB-6037A7E90CF9}"/>
                  </a:ext>
                </a:extLst>
              </p:cNvPr>
              <p:cNvSpPr/>
              <p:nvPr/>
            </p:nvSpPr>
            <p:spPr>
              <a:xfrm>
                <a:off x="4299332" y="2003349"/>
                <a:ext cx="3594535" cy="3129209"/>
              </a:xfrm>
              <a:prstGeom prst="rect">
                <a:avLst/>
              </a:prstGeom>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48" name="rc5">
                <a:extLst>
                  <a:ext uri="{FF2B5EF4-FFF2-40B4-BE49-F238E27FC236}">
                    <a16:creationId xmlns:a16="http://schemas.microsoft.com/office/drawing/2014/main" id="{AD2D96E3-ABAE-389D-7CFC-6EC943BFEEC9}"/>
                  </a:ext>
                </a:extLst>
              </p:cNvPr>
              <p:cNvSpPr/>
              <p:nvPr/>
            </p:nvSpPr>
            <p:spPr>
              <a:xfrm>
                <a:off x="4653867" y="2141210"/>
                <a:ext cx="3239999" cy="2160000"/>
              </a:xfrm>
              <a:prstGeom prst="rect">
                <a:avLst/>
              </a:prstGeom>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49" name="pg6">
                <a:extLst>
                  <a:ext uri="{FF2B5EF4-FFF2-40B4-BE49-F238E27FC236}">
                    <a16:creationId xmlns:a16="http://schemas.microsoft.com/office/drawing/2014/main" id="{0F3828C0-5BE6-E96F-D5F1-04BC7CD5CE56}"/>
                  </a:ext>
                </a:extLst>
              </p:cNvPr>
              <p:cNvSpPr/>
              <p:nvPr/>
            </p:nvSpPr>
            <p:spPr>
              <a:xfrm>
                <a:off x="4747329" y="2446693"/>
                <a:ext cx="560769" cy="138469"/>
              </a:xfrm>
              <a:custGeom>
                <a:avLst/>
                <a:gdLst/>
                <a:ahLst/>
                <a:cxnLst/>
                <a:rect l="0" t="0" r="0" b="0"/>
                <a:pathLst>
                  <a:path w="560769" h="138469">
                    <a:moveTo>
                      <a:pt x="0" y="0"/>
                    </a:moveTo>
                    <a:lnTo>
                      <a:pt x="0" y="138469"/>
                    </a:lnTo>
                    <a:lnTo>
                      <a:pt x="560769" y="138469"/>
                    </a:lnTo>
                    <a:lnTo>
                      <a:pt x="560769" y="0"/>
                    </a:lnTo>
                    <a:close/>
                  </a:path>
                </a:pathLst>
              </a:custGeom>
              <a:solidFill>
                <a:srgbClr val="A3ADB4">
                  <a:alpha val="5098"/>
                </a:srgbClr>
              </a:solidFill>
              <a:ln w="13550" cap="flat">
                <a:solidFill>
                  <a:srgbClr val="A3ADB4">
                    <a:alpha val="100000"/>
                  </a:srgbClr>
                </a:solidFill>
                <a:prstDash val="solid"/>
                <a:miter/>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 name="pg7">
                <a:extLst>
                  <a:ext uri="{FF2B5EF4-FFF2-40B4-BE49-F238E27FC236}">
                    <a16:creationId xmlns:a16="http://schemas.microsoft.com/office/drawing/2014/main" id="{D087BF84-F885-E1E9-FF88-450F0DA1E4D3}"/>
                  </a:ext>
                </a:extLst>
              </p:cNvPr>
              <p:cNvSpPr/>
              <p:nvPr/>
            </p:nvSpPr>
            <p:spPr>
              <a:xfrm>
                <a:off x="5370406" y="2808086"/>
                <a:ext cx="560769" cy="117113"/>
              </a:xfrm>
              <a:custGeom>
                <a:avLst/>
                <a:gdLst/>
                <a:ahLst/>
                <a:cxnLst/>
                <a:rect l="0" t="0" r="0" b="0"/>
                <a:pathLst>
                  <a:path w="560769" h="117113">
                    <a:moveTo>
                      <a:pt x="0" y="0"/>
                    </a:moveTo>
                    <a:lnTo>
                      <a:pt x="0" y="117113"/>
                    </a:lnTo>
                    <a:lnTo>
                      <a:pt x="560769" y="117113"/>
                    </a:lnTo>
                    <a:lnTo>
                      <a:pt x="560769" y="0"/>
                    </a:lnTo>
                    <a:close/>
                  </a:path>
                </a:pathLst>
              </a:custGeom>
              <a:solidFill>
                <a:srgbClr val="2E2E2E">
                  <a:alpha val="5098"/>
                </a:srgbClr>
              </a:solidFill>
              <a:ln w="13550" cap="flat">
                <a:solidFill>
                  <a:srgbClr val="2E2E2E">
                    <a:alpha val="100000"/>
                  </a:srgbClr>
                </a:solidFill>
                <a:prstDash val="solid"/>
                <a:miter/>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1" name="pg8">
                <a:extLst>
                  <a:ext uri="{FF2B5EF4-FFF2-40B4-BE49-F238E27FC236}">
                    <a16:creationId xmlns:a16="http://schemas.microsoft.com/office/drawing/2014/main" id="{DA44339C-BB4F-4772-DA12-E95C72DDA937}"/>
                  </a:ext>
                </a:extLst>
              </p:cNvPr>
              <p:cNvSpPr/>
              <p:nvPr/>
            </p:nvSpPr>
            <p:spPr>
              <a:xfrm>
                <a:off x="5993483" y="2811770"/>
                <a:ext cx="560769" cy="63389"/>
              </a:xfrm>
              <a:custGeom>
                <a:avLst/>
                <a:gdLst/>
                <a:ahLst/>
                <a:cxnLst/>
                <a:rect l="0" t="0" r="0" b="0"/>
                <a:pathLst>
                  <a:path w="560769" h="63389">
                    <a:moveTo>
                      <a:pt x="0" y="0"/>
                    </a:moveTo>
                    <a:lnTo>
                      <a:pt x="0" y="63389"/>
                    </a:lnTo>
                    <a:lnTo>
                      <a:pt x="560769" y="63389"/>
                    </a:lnTo>
                    <a:lnTo>
                      <a:pt x="560769" y="0"/>
                    </a:lnTo>
                    <a:close/>
                  </a:path>
                </a:pathLst>
              </a:custGeom>
              <a:solidFill>
                <a:srgbClr val="745DAD">
                  <a:alpha val="5098"/>
                </a:srgbClr>
              </a:solidFill>
              <a:ln w="13550" cap="flat">
                <a:solidFill>
                  <a:srgbClr val="745DAD">
                    <a:alpha val="100000"/>
                  </a:srgbClr>
                </a:solidFill>
                <a:prstDash val="solid"/>
                <a:miter/>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2" name="pg9">
                <a:extLst>
                  <a:ext uri="{FF2B5EF4-FFF2-40B4-BE49-F238E27FC236}">
                    <a16:creationId xmlns:a16="http://schemas.microsoft.com/office/drawing/2014/main" id="{3564D6B3-3AEB-E05D-6E53-CB7352A4A9F5}"/>
                  </a:ext>
                </a:extLst>
              </p:cNvPr>
              <p:cNvSpPr/>
              <p:nvPr/>
            </p:nvSpPr>
            <p:spPr>
              <a:xfrm>
                <a:off x="6616560" y="2636942"/>
                <a:ext cx="560769" cy="85044"/>
              </a:xfrm>
              <a:custGeom>
                <a:avLst/>
                <a:gdLst/>
                <a:ahLst/>
                <a:cxnLst/>
                <a:rect l="0" t="0" r="0" b="0"/>
                <a:pathLst>
                  <a:path w="560769" h="85044">
                    <a:moveTo>
                      <a:pt x="0" y="0"/>
                    </a:moveTo>
                    <a:lnTo>
                      <a:pt x="0" y="85044"/>
                    </a:lnTo>
                    <a:lnTo>
                      <a:pt x="560769" y="85044"/>
                    </a:lnTo>
                    <a:lnTo>
                      <a:pt x="560769" y="0"/>
                    </a:lnTo>
                    <a:close/>
                  </a:path>
                </a:pathLst>
              </a:custGeom>
              <a:solidFill>
                <a:srgbClr val="00DF86">
                  <a:alpha val="5098"/>
                </a:srgbClr>
              </a:solidFill>
              <a:ln w="13550" cap="flat">
                <a:solidFill>
                  <a:srgbClr val="00DF86">
                    <a:alpha val="100000"/>
                  </a:srgbClr>
                </a:solidFill>
                <a:prstDash val="solid"/>
                <a:miter/>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3" name="pg10">
                <a:extLst>
                  <a:ext uri="{FF2B5EF4-FFF2-40B4-BE49-F238E27FC236}">
                    <a16:creationId xmlns:a16="http://schemas.microsoft.com/office/drawing/2014/main" id="{580A2BB3-EDBB-7F5D-AAF4-8B36B0497D03}"/>
                  </a:ext>
                </a:extLst>
              </p:cNvPr>
              <p:cNvSpPr/>
              <p:nvPr/>
            </p:nvSpPr>
            <p:spPr>
              <a:xfrm>
                <a:off x="7239637" y="2598247"/>
                <a:ext cx="560769" cy="83447"/>
              </a:xfrm>
              <a:custGeom>
                <a:avLst/>
                <a:gdLst/>
                <a:ahLst/>
                <a:cxnLst/>
                <a:rect l="0" t="0" r="0" b="0"/>
                <a:pathLst>
                  <a:path w="560769" h="83447">
                    <a:moveTo>
                      <a:pt x="0" y="0"/>
                    </a:moveTo>
                    <a:lnTo>
                      <a:pt x="0" y="83447"/>
                    </a:lnTo>
                    <a:lnTo>
                      <a:pt x="560769" y="83447"/>
                    </a:lnTo>
                    <a:lnTo>
                      <a:pt x="560769" y="0"/>
                    </a:lnTo>
                    <a:close/>
                  </a:path>
                </a:pathLst>
              </a:custGeom>
              <a:solidFill>
                <a:srgbClr val="00AF82">
                  <a:alpha val="5098"/>
                </a:srgbClr>
              </a:solidFill>
              <a:ln w="13550" cap="flat">
                <a:solidFill>
                  <a:srgbClr val="00AF82">
                    <a:alpha val="100000"/>
                  </a:srgbClr>
                </a:solidFill>
                <a:prstDash val="solid"/>
                <a:miter/>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4" name="pl11">
                <a:extLst>
                  <a:ext uri="{FF2B5EF4-FFF2-40B4-BE49-F238E27FC236}">
                    <a16:creationId xmlns:a16="http://schemas.microsoft.com/office/drawing/2014/main" id="{4D0250D6-7AE5-9259-85C9-966C11538214}"/>
                  </a:ext>
                </a:extLst>
              </p:cNvPr>
              <p:cNvSpPr/>
              <p:nvPr/>
            </p:nvSpPr>
            <p:spPr>
              <a:xfrm>
                <a:off x="4747329" y="2515928"/>
                <a:ext cx="560769" cy="0"/>
              </a:xfrm>
              <a:custGeom>
                <a:avLst/>
                <a:gdLst/>
                <a:ahLst/>
                <a:cxnLst/>
                <a:rect l="0" t="0" r="0" b="0"/>
                <a:pathLst>
                  <a:path w="560769">
                    <a:moveTo>
                      <a:pt x="0" y="0"/>
                    </a:moveTo>
                    <a:lnTo>
                      <a:pt x="560769" y="0"/>
                    </a:lnTo>
                  </a:path>
                </a:pathLst>
              </a:custGeom>
              <a:ln w="33876" cap="flat">
                <a:solidFill>
                  <a:srgbClr val="A3ADB4">
                    <a:alpha val="100000"/>
                  </a:srgbClr>
                </a:solidFill>
                <a:prstDash val="solid"/>
                <a:miter/>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5" name="pl12">
                <a:extLst>
                  <a:ext uri="{FF2B5EF4-FFF2-40B4-BE49-F238E27FC236}">
                    <a16:creationId xmlns:a16="http://schemas.microsoft.com/office/drawing/2014/main" id="{45B2040E-4964-D50A-8794-825FC6FF31B9}"/>
                  </a:ext>
                </a:extLst>
              </p:cNvPr>
              <p:cNvSpPr/>
              <p:nvPr/>
            </p:nvSpPr>
            <p:spPr>
              <a:xfrm>
                <a:off x="5370406" y="2866643"/>
                <a:ext cx="560769" cy="0"/>
              </a:xfrm>
              <a:custGeom>
                <a:avLst/>
                <a:gdLst/>
                <a:ahLst/>
                <a:cxnLst/>
                <a:rect l="0" t="0" r="0" b="0"/>
                <a:pathLst>
                  <a:path w="560769">
                    <a:moveTo>
                      <a:pt x="0" y="0"/>
                    </a:moveTo>
                    <a:lnTo>
                      <a:pt x="560769" y="0"/>
                    </a:lnTo>
                  </a:path>
                </a:pathLst>
              </a:custGeom>
              <a:ln w="33876" cap="flat">
                <a:solidFill>
                  <a:srgbClr val="2E2E2E">
                    <a:alpha val="100000"/>
                  </a:srgbClr>
                </a:solidFill>
                <a:prstDash val="solid"/>
                <a:miter/>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6" name="pl13">
                <a:extLst>
                  <a:ext uri="{FF2B5EF4-FFF2-40B4-BE49-F238E27FC236}">
                    <a16:creationId xmlns:a16="http://schemas.microsoft.com/office/drawing/2014/main" id="{5081650F-5717-73F3-A4CE-CBFE2EAC6FFC}"/>
                  </a:ext>
                </a:extLst>
              </p:cNvPr>
              <p:cNvSpPr/>
              <p:nvPr/>
            </p:nvSpPr>
            <p:spPr>
              <a:xfrm>
                <a:off x="5993483" y="2843464"/>
                <a:ext cx="560769" cy="0"/>
              </a:xfrm>
              <a:custGeom>
                <a:avLst/>
                <a:gdLst/>
                <a:ahLst/>
                <a:cxnLst/>
                <a:rect l="0" t="0" r="0" b="0"/>
                <a:pathLst>
                  <a:path w="560769">
                    <a:moveTo>
                      <a:pt x="0" y="0"/>
                    </a:moveTo>
                    <a:lnTo>
                      <a:pt x="560769" y="0"/>
                    </a:lnTo>
                  </a:path>
                </a:pathLst>
              </a:custGeom>
              <a:ln w="33876" cap="flat">
                <a:solidFill>
                  <a:srgbClr val="745DAD">
                    <a:alpha val="100000"/>
                  </a:srgbClr>
                </a:solidFill>
                <a:prstDash val="solid"/>
                <a:miter/>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7" name="pl14">
                <a:extLst>
                  <a:ext uri="{FF2B5EF4-FFF2-40B4-BE49-F238E27FC236}">
                    <a16:creationId xmlns:a16="http://schemas.microsoft.com/office/drawing/2014/main" id="{59B9FFD1-2CC9-F972-F492-3ED62BBB2D87}"/>
                  </a:ext>
                </a:extLst>
              </p:cNvPr>
              <p:cNvSpPr/>
              <p:nvPr/>
            </p:nvSpPr>
            <p:spPr>
              <a:xfrm>
                <a:off x="6616560" y="2679465"/>
                <a:ext cx="560769" cy="0"/>
              </a:xfrm>
              <a:custGeom>
                <a:avLst/>
                <a:gdLst/>
                <a:ahLst/>
                <a:cxnLst/>
                <a:rect l="0" t="0" r="0" b="0"/>
                <a:pathLst>
                  <a:path w="560769">
                    <a:moveTo>
                      <a:pt x="0" y="0"/>
                    </a:moveTo>
                    <a:lnTo>
                      <a:pt x="560769" y="0"/>
                    </a:lnTo>
                  </a:path>
                </a:pathLst>
              </a:custGeom>
              <a:ln w="33876" cap="flat">
                <a:solidFill>
                  <a:srgbClr val="00DF86">
                    <a:alpha val="100000"/>
                  </a:srgbClr>
                </a:solidFill>
                <a:prstDash val="solid"/>
                <a:miter/>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8" name="pl15">
                <a:extLst>
                  <a:ext uri="{FF2B5EF4-FFF2-40B4-BE49-F238E27FC236}">
                    <a16:creationId xmlns:a16="http://schemas.microsoft.com/office/drawing/2014/main" id="{FC9B1054-8697-B27D-974F-04D2CEA6C474}"/>
                  </a:ext>
                </a:extLst>
              </p:cNvPr>
              <p:cNvSpPr/>
              <p:nvPr/>
            </p:nvSpPr>
            <p:spPr>
              <a:xfrm>
                <a:off x="7239637" y="2639971"/>
                <a:ext cx="560769" cy="0"/>
              </a:xfrm>
              <a:custGeom>
                <a:avLst/>
                <a:gdLst/>
                <a:ahLst/>
                <a:cxnLst/>
                <a:rect l="0" t="0" r="0" b="0"/>
                <a:pathLst>
                  <a:path w="560769">
                    <a:moveTo>
                      <a:pt x="0" y="0"/>
                    </a:moveTo>
                    <a:lnTo>
                      <a:pt x="560769" y="0"/>
                    </a:lnTo>
                  </a:path>
                </a:pathLst>
              </a:custGeom>
              <a:ln w="33876" cap="flat">
                <a:solidFill>
                  <a:srgbClr val="00AF82">
                    <a:alpha val="100000"/>
                  </a:srgbClr>
                </a:solidFill>
                <a:prstDash val="solid"/>
                <a:miter/>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9" name="pt16">
                <a:extLst>
                  <a:ext uri="{FF2B5EF4-FFF2-40B4-BE49-F238E27FC236}">
                    <a16:creationId xmlns:a16="http://schemas.microsoft.com/office/drawing/2014/main" id="{572CC3BD-41A8-ED3B-2014-59E03E734E91}"/>
                  </a:ext>
                </a:extLst>
              </p:cNvPr>
              <p:cNvSpPr/>
              <p:nvPr/>
            </p:nvSpPr>
            <p:spPr>
              <a:xfrm>
                <a:off x="4921999" y="2365957"/>
                <a:ext cx="36101" cy="36101"/>
              </a:xfrm>
              <a:prstGeom prst="ellipse">
                <a:avLst/>
              </a:prstGeom>
              <a:solidFill>
                <a:srgbClr val="A3ADB4">
                  <a:alpha val="100000"/>
                </a:srgbClr>
              </a:solidFill>
              <a:ln w="9000" cap="rnd">
                <a:solidFill>
                  <a:srgbClr val="A3ADB4">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 name="pt17">
                <a:extLst>
                  <a:ext uri="{FF2B5EF4-FFF2-40B4-BE49-F238E27FC236}">
                    <a16:creationId xmlns:a16="http://schemas.microsoft.com/office/drawing/2014/main" id="{4D7DF355-5245-1744-A5B8-D13913EB3A90}"/>
                  </a:ext>
                </a:extLst>
              </p:cNvPr>
              <p:cNvSpPr/>
              <p:nvPr/>
            </p:nvSpPr>
            <p:spPr>
              <a:xfrm>
                <a:off x="4961857" y="2284632"/>
                <a:ext cx="36101" cy="36101"/>
              </a:xfrm>
              <a:prstGeom prst="ellipse">
                <a:avLst/>
              </a:prstGeom>
              <a:solidFill>
                <a:srgbClr val="A3ADB4">
                  <a:alpha val="100000"/>
                </a:srgbClr>
              </a:solidFill>
              <a:ln w="9000" cap="rnd">
                <a:solidFill>
                  <a:srgbClr val="A3ADB4">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 name="pt18">
                <a:extLst>
                  <a:ext uri="{FF2B5EF4-FFF2-40B4-BE49-F238E27FC236}">
                    <a16:creationId xmlns:a16="http://schemas.microsoft.com/office/drawing/2014/main" id="{19DF1FF0-F881-DA52-3B22-57A297574B96}"/>
                  </a:ext>
                </a:extLst>
              </p:cNvPr>
              <p:cNvSpPr/>
              <p:nvPr/>
            </p:nvSpPr>
            <p:spPr>
              <a:xfrm>
                <a:off x="5036899" y="2331965"/>
                <a:ext cx="36101" cy="36101"/>
              </a:xfrm>
              <a:prstGeom prst="ellipse">
                <a:avLst/>
              </a:prstGeom>
              <a:solidFill>
                <a:srgbClr val="A3ADB4">
                  <a:alpha val="100000"/>
                </a:srgbClr>
              </a:solidFill>
              <a:ln w="9000" cap="rnd">
                <a:solidFill>
                  <a:srgbClr val="A3ADB4">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2" name="pt19">
                <a:extLst>
                  <a:ext uri="{FF2B5EF4-FFF2-40B4-BE49-F238E27FC236}">
                    <a16:creationId xmlns:a16="http://schemas.microsoft.com/office/drawing/2014/main" id="{663897A4-4372-592A-0861-B531AF0FD6A7}"/>
                  </a:ext>
                </a:extLst>
              </p:cNvPr>
              <p:cNvSpPr/>
              <p:nvPr/>
            </p:nvSpPr>
            <p:spPr>
              <a:xfrm>
                <a:off x="5162270" y="2465462"/>
                <a:ext cx="36101" cy="36101"/>
              </a:xfrm>
              <a:prstGeom prst="ellipse">
                <a:avLst/>
              </a:prstGeom>
              <a:solidFill>
                <a:srgbClr val="A3ADB4">
                  <a:alpha val="100000"/>
                </a:srgbClr>
              </a:solidFill>
              <a:ln w="9000" cap="rnd">
                <a:solidFill>
                  <a:srgbClr val="A3ADB4">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3" name="pt20">
                <a:extLst>
                  <a:ext uri="{FF2B5EF4-FFF2-40B4-BE49-F238E27FC236}">
                    <a16:creationId xmlns:a16="http://schemas.microsoft.com/office/drawing/2014/main" id="{BFBDDC2B-5F47-13E0-BD60-A21EBFEBE164}"/>
                  </a:ext>
                </a:extLst>
              </p:cNvPr>
              <p:cNvSpPr/>
              <p:nvPr/>
            </p:nvSpPr>
            <p:spPr>
              <a:xfrm>
                <a:off x="4898138" y="2576424"/>
                <a:ext cx="36101" cy="36101"/>
              </a:xfrm>
              <a:prstGeom prst="ellipse">
                <a:avLst/>
              </a:prstGeom>
              <a:solidFill>
                <a:srgbClr val="A3ADB4">
                  <a:alpha val="100000"/>
                </a:srgbClr>
              </a:solidFill>
              <a:ln w="9000" cap="rnd">
                <a:solidFill>
                  <a:srgbClr val="A3ADB4">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07" name="pt21">
                <a:extLst>
                  <a:ext uri="{FF2B5EF4-FFF2-40B4-BE49-F238E27FC236}">
                    <a16:creationId xmlns:a16="http://schemas.microsoft.com/office/drawing/2014/main" id="{8FDA80FD-2337-02E9-A14E-0D135A9840BA}"/>
                  </a:ext>
                </a:extLst>
              </p:cNvPr>
              <p:cNvSpPr/>
              <p:nvPr/>
            </p:nvSpPr>
            <p:spPr>
              <a:xfrm>
                <a:off x="5158599" y="2573184"/>
                <a:ext cx="36101" cy="36101"/>
              </a:xfrm>
              <a:prstGeom prst="ellipse">
                <a:avLst/>
              </a:prstGeom>
              <a:solidFill>
                <a:srgbClr val="A3ADB4">
                  <a:alpha val="100000"/>
                </a:srgbClr>
              </a:solidFill>
              <a:ln w="9000" cap="rnd">
                <a:solidFill>
                  <a:srgbClr val="A3ADB4">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08" name="pt22">
                <a:extLst>
                  <a:ext uri="{FF2B5EF4-FFF2-40B4-BE49-F238E27FC236}">
                    <a16:creationId xmlns:a16="http://schemas.microsoft.com/office/drawing/2014/main" id="{86D88C65-F358-236F-CCAE-D5AD5D36AAAD}"/>
                  </a:ext>
                </a:extLst>
              </p:cNvPr>
              <p:cNvSpPr/>
              <p:nvPr/>
            </p:nvSpPr>
            <p:spPr>
              <a:xfrm>
                <a:off x="5175903" y="2601060"/>
                <a:ext cx="36101" cy="36101"/>
              </a:xfrm>
              <a:prstGeom prst="ellipse">
                <a:avLst/>
              </a:prstGeom>
              <a:solidFill>
                <a:srgbClr val="A3ADB4">
                  <a:alpha val="100000"/>
                </a:srgbClr>
              </a:solidFill>
              <a:ln w="9000" cap="rnd">
                <a:solidFill>
                  <a:srgbClr val="A3ADB4">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09" name="pt23">
                <a:extLst>
                  <a:ext uri="{FF2B5EF4-FFF2-40B4-BE49-F238E27FC236}">
                    <a16:creationId xmlns:a16="http://schemas.microsoft.com/office/drawing/2014/main" id="{94459C99-5157-B484-99B7-1EDB7DCEDCF8}"/>
                  </a:ext>
                </a:extLst>
              </p:cNvPr>
              <p:cNvSpPr/>
              <p:nvPr/>
            </p:nvSpPr>
            <p:spPr>
              <a:xfrm>
                <a:off x="5069776" y="2247673"/>
                <a:ext cx="36101" cy="36101"/>
              </a:xfrm>
              <a:prstGeom prst="ellipse">
                <a:avLst/>
              </a:prstGeom>
              <a:solidFill>
                <a:srgbClr val="A3ADB4">
                  <a:alpha val="100000"/>
                </a:srgbClr>
              </a:solidFill>
              <a:ln w="9000" cap="rnd">
                <a:solidFill>
                  <a:srgbClr val="A3ADB4">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10" name="pt24">
                <a:extLst>
                  <a:ext uri="{FF2B5EF4-FFF2-40B4-BE49-F238E27FC236}">
                    <a16:creationId xmlns:a16="http://schemas.microsoft.com/office/drawing/2014/main" id="{202726F4-1B46-4EED-5E7A-7C61C28706C7}"/>
                  </a:ext>
                </a:extLst>
              </p:cNvPr>
              <p:cNvSpPr/>
              <p:nvPr/>
            </p:nvSpPr>
            <p:spPr>
              <a:xfrm>
                <a:off x="5057932" y="3001646"/>
                <a:ext cx="36101" cy="36101"/>
              </a:xfrm>
              <a:prstGeom prst="ellipse">
                <a:avLst/>
              </a:prstGeom>
              <a:solidFill>
                <a:srgbClr val="A3ADB4">
                  <a:alpha val="100000"/>
                </a:srgbClr>
              </a:solidFill>
              <a:ln w="9000" cap="rnd">
                <a:solidFill>
                  <a:srgbClr val="A3ADB4">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11" name="pt25">
                <a:extLst>
                  <a:ext uri="{FF2B5EF4-FFF2-40B4-BE49-F238E27FC236}">
                    <a16:creationId xmlns:a16="http://schemas.microsoft.com/office/drawing/2014/main" id="{36F09AF8-CCD2-DE48-13ED-63CF9F96EBAC}"/>
                  </a:ext>
                </a:extLst>
              </p:cNvPr>
              <p:cNvSpPr/>
              <p:nvPr/>
            </p:nvSpPr>
            <p:spPr>
              <a:xfrm>
                <a:off x="4845838" y="2530770"/>
                <a:ext cx="36101" cy="36101"/>
              </a:xfrm>
              <a:prstGeom prst="ellipse">
                <a:avLst/>
              </a:prstGeom>
              <a:solidFill>
                <a:srgbClr val="A3ADB4">
                  <a:alpha val="100000"/>
                </a:srgbClr>
              </a:solidFill>
              <a:ln w="9000" cap="rnd">
                <a:solidFill>
                  <a:srgbClr val="A3ADB4">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12" name="pt26">
                <a:extLst>
                  <a:ext uri="{FF2B5EF4-FFF2-40B4-BE49-F238E27FC236}">
                    <a16:creationId xmlns:a16="http://schemas.microsoft.com/office/drawing/2014/main" id="{D273701D-F197-940D-CB39-0B19FEB99324}"/>
                  </a:ext>
                </a:extLst>
              </p:cNvPr>
              <p:cNvSpPr/>
              <p:nvPr/>
            </p:nvSpPr>
            <p:spPr>
              <a:xfrm>
                <a:off x="5522819" y="2860822"/>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13" name="pt27">
                <a:extLst>
                  <a:ext uri="{FF2B5EF4-FFF2-40B4-BE49-F238E27FC236}">
                    <a16:creationId xmlns:a16="http://schemas.microsoft.com/office/drawing/2014/main" id="{5C60A607-0A51-97C8-0E37-EC68CBFBACE9}"/>
                  </a:ext>
                </a:extLst>
              </p:cNvPr>
              <p:cNvSpPr/>
              <p:nvPr/>
            </p:nvSpPr>
            <p:spPr>
              <a:xfrm>
                <a:off x="5511822" y="2947239"/>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14" name="pt28">
                <a:extLst>
                  <a:ext uri="{FF2B5EF4-FFF2-40B4-BE49-F238E27FC236}">
                    <a16:creationId xmlns:a16="http://schemas.microsoft.com/office/drawing/2014/main" id="{2037E6F2-0B72-FDBE-8679-E3C8C68768DA}"/>
                  </a:ext>
                </a:extLst>
              </p:cNvPr>
              <p:cNvSpPr/>
              <p:nvPr/>
            </p:nvSpPr>
            <p:spPr>
              <a:xfrm>
                <a:off x="5702658" y="2896183"/>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15" name="pt29">
                <a:extLst>
                  <a:ext uri="{FF2B5EF4-FFF2-40B4-BE49-F238E27FC236}">
                    <a16:creationId xmlns:a16="http://schemas.microsoft.com/office/drawing/2014/main" id="{102B5A89-6E00-97CE-9894-6041D361AE58}"/>
                  </a:ext>
                </a:extLst>
              </p:cNvPr>
              <p:cNvSpPr/>
              <p:nvPr/>
            </p:nvSpPr>
            <p:spPr>
              <a:xfrm>
                <a:off x="5589412" y="2996999"/>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16" name="pt30">
                <a:extLst>
                  <a:ext uri="{FF2B5EF4-FFF2-40B4-BE49-F238E27FC236}">
                    <a16:creationId xmlns:a16="http://schemas.microsoft.com/office/drawing/2014/main" id="{5A40CA85-2CAE-9CF5-4F17-CC6E368886BD}"/>
                  </a:ext>
                </a:extLst>
              </p:cNvPr>
              <p:cNvSpPr/>
              <p:nvPr/>
            </p:nvSpPr>
            <p:spPr>
              <a:xfrm>
                <a:off x="5733619" y="2730210"/>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17" name="pt31">
                <a:extLst>
                  <a:ext uri="{FF2B5EF4-FFF2-40B4-BE49-F238E27FC236}">
                    <a16:creationId xmlns:a16="http://schemas.microsoft.com/office/drawing/2014/main" id="{D04C5086-4285-2C6A-C21B-59DC6D85F085}"/>
                  </a:ext>
                </a:extLst>
              </p:cNvPr>
              <p:cNvSpPr/>
              <p:nvPr/>
            </p:nvSpPr>
            <p:spPr>
              <a:xfrm>
                <a:off x="5631880" y="2255860"/>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18" name="pt32">
                <a:extLst>
                  <a:ext uri="{FF2B5EF4-FFF2-40B4-BE49-F238E27FC236}">
                    <a16:creationId xmlns:a16="http://schemas.microsoft.com/office/drawing/2014/main" id="{57AABF4D-5DDF-351A-DA52-5C94DB047E7E}"/>
                  </a:ext>
                </a:extLst>
              </p:cNvPr>
              <p:cNvSpPr/>
              <p:nvPr/>
            </p:nvSpPr>
            <p:spPr>
              <a:xfrm>
                <a:off x="5714096" y="3153006"/>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19" name="pt33">
                <a:extLst>
                  <a:ext uri="{FF2B5EF4-FFF2-40B4-BE49-F238E27FC236}">
                    <a16:creationId xmlns:a16="http://schemas.microsoft.com/office/drawing/2014/main" id="{E2A0E3D1-7D0C-498A-4762-32819AF80D88}"/>
                  </a:ext>
                </a:extLst>
              </p:cNvPr>
              <p:cNvSpPr/>
              <p:nvPr/>
            </p:nvSpPr>
            <p:spPr>
              <a:xfrm>
                <a:off x="5816637" y="2865922"/>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20" name="pt34">
                <a:extLst>
                  <a:ext uri="{FF2B5EF4-FFF2-40B4-BE49-F238E27FC236}">
                    <a16:creationId xmlns:a16="http://schemas.microsoft.com/office/drawing/2014/main" id="{38FE8DB2-3A9B-F218-E49A-18F130015177}"/>
                  </a:ext>
                </a:extLst>
              </p:cNvPr>
              <p:cNvSpPr/>
              <p:nvPr/>
            </p:nvSpPr>
            <p:spPr>
              <a:xfrm>
                <a:off x="5587891" y="2789949"/>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21" name="pt35">
                <a:extLst>
                  <a:ext uri="{FF2B5EF4-FFF2-40B4-BE49-F238E27FC236}">
                    <a16:creationId xmlns:a16="http://schemas.microsoft.com/office/drawing/2014/main" id="{B9058480-FC7A-6370-7431-644CF1B8BA09}"/>
                  </a:ext>
                </a:extLst>
              </p:cNvPr>
              <p:cNvSpPr/>
              <p:nvPr/>
            </p:nvSpPr>
            <p:spPr>
              <a:xfrm>
                <a:off x="5736462" y="2835397"/>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22" name="pt36">
                <a:extLst>
                  <a:ext uri="{FF2B5EF4-FFF2-40B4-BE49-F238E27FC236}">
                    <a16:creationId xmlns:a16="http://schemas.microsoft.com/office/drawing/2014/main" id="{4C8CD6B0-3CD0-142B-5526-6A5908C3A0E9}"/>
                  </a:ext>
                </a:extLst>
              </p:cNvPr>
              <p:cNvSpPr/>
              <p:nvPr/>
            </p:nvSpPr>
            <p:spPr>
              <a:xfrm>
                <a:off x="5795253" y="2764848"/>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23" name="pt37">
                <a:extLst>
                  <a:ext uri="{FF2B5EF4-FFF2-40B4-BE49-F238E27FC236}">
                    <a16:creationId xmlns:a16="http://schemas.microsoft.com/office/drawing/2014/main" id="{9C5640C3-B3C0-066E-8B11-BD5EF42CAD3C}"/>
                  </a:ext>
                </a:extLst>
              </p:cNvPr>
              <p:cNvSpPr/>
              <p:nvPr/>
            </p:nvSpPr>
            <p:spPr>
              <a:xfrm>
                <a:off x="5525125" y="2631655"/>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24" name="pt38">
                <a:extLst>
                  <a:ext uri="{FF2B5EF4-FFF2-40B4-BE49-F238E27FC236}">
                    <a16:creationId xmlns:a16="http://schemas.microsoft.com/office/drawing/2014/main" id="{BB7F4779-D0BA-A4D5-A137-10EC646F03CD}"/>
                  </a:ext>
                </a:extLst>
              </p:cNvPr>
              <p:cNvSpPr/>
              <p:nvPr/>
            </p:nvSpPr>
            <p:spPr>
              <a:xfrm>
                <a:off x="5689442" y="2944610"/>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25" name="pt39">
                <a:extLst>
                  <a:ext uri="{FF2B5EF4-FFF2-40B4-BE49-F238E27FC236}">
                    <a16:creationId xmlns:a16="http://schemas.microsoft.com/office/drawing/2014/main" id="{EF34A55A-C806-4BAE-7CC7-27AF002DA28D}"/>
                  </a:ext>
                </a:extLst>
              </p:cNvPr>
              <p:cNvSpPr/>
              <p:nvPr/>
            </p:nvSpPr>
            <p:spPr>
              <a:xfrm>
                <a:off x="5492755" y="2808736"/>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26" name="pt40">
                <a:extLst>
                  <a:ext uri="{FF2B5EF4-FFF2-40B4-BE49-F238E27FC236}">
                    <a16:creationId xmlns:a16="http://schemas.microsoft.com/office/drawing/2014/main" id="{3322D4A8-5C84-5703-40E9-85296E952768}"/>
                  </a:ext>
                </a:extLst>
              </p:cNvPr>
              <p:cNvSpPr/>
              <p:nvPr/>
            </p:nvSpPr>
            <p:spPr>
              <a:xfrm>
                <a:off x="5545716" y="3247444"/>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27" name="pt41">
                <a:extLst>
                  <a:ext uri="{FF2B5EF4-FFF2-40B4-BE49-F238E27FC236}">
                    <a16:creationId xmlns:a16="http://schemas.microsoft.com/office/drawing/2014/main" id="{50D47592-D7C4-C3FC-0199-775150FFC267}"/>
                  </a:ext>
                </a:extLst>
              </p:cNvPr>
              <p:cNvSpPr/>
              <p:nvPr/>
            </p:nvSpPr>
            <p:spPr>
              <a:xfrm>
                <a:off x="6213241" y="2607688"/>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28" name="pt42">
                <a:extLst>
                  <a:ext uri="{FF2B5EF4-FFF2-40B4-BE49-F238E27FC236}">
                    <a16:creationId xmlns:a16="http://schemas.microsoft.com/office/drawing/2014/main" id="{A734CF4C-DD5E-51A0-659D-FFDEE19DB071}"/>
                  </a:ext>
                </a:extLst>
              </p:cNvPr>
              <p:cNvSpPr/>
              <p:nvPr/>
            </p:nvSpPr>
            <p:spPr>
              <a:xfrm>
                <a:off x="6073900" y="2699622"/>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29" name="pt43">
                <a:extLst>
                  <a:ext uri="{FF2B5EF4-FFF2-40B4-BE49-F238E27FC236}">
                    <a16:creationId xmlns:a16="http://schemas.microsoft.com/office/drawing/2014/main" id="{7E93DE5B-B826-810A-2BAB-1C9F97010CAA}"/>
                  </a:ext>
                </a:extLst>
              </p:cNvPr>
              <p:cNvSpPr/>
              <p:nvPr/>
            </p:nvSpPr>
            <p:spPr>
              <a:xfrm>
                <a:off x="6211848" y="2736666"/>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30" name="pt44">
                <a:extLst>
                  <a:ext uri="{FF2B5EF4-FFF2-40B4-BE49-F238E27FC236}">
                    <a16:creationId xmlns:a16="http://schemas.microsoft.com/office/drawing/2014/main" id="{05C1FD92-3546-BF1D-72CE-8C0621E3725B}"/>
                  </a:ext>
                </a:extLst>
              </p:cNvPr>
              <p:cNvSpPr/>
              <p:nvPr/>
            </p:nvSpPr>
            <p:spPr>
              <a:xfrm>
                <a:off x="6394024" y="2820797"/>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31" name="pt45">
                <a:extLst>
                  <a:ext uri="{FF2B5EF4-FFF2-40B4-BE49-F238E27FC236}">
                    <a16:creationId xmlns:a16="http://schemas.microsoft.com/office/drawing/2014/main" id="{C5421381-9200-8351-8452-03FE7FB2B1EB}"/>
                  </a:ext>
                </a:extLst>
              </p:cNvPr>
              <p:cNvSpPr/>
              <p:nvPr/>
            </p:nvSpPr>
            <p:spPr>
              <a:xfrm>
                <a:off x="6196132" y="2729910"/>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32" name="pt46">
                <a:extLst>
                  <a:ext uri="{FF2B5EF4-FFF2-40B4-BE49-F238E27FC236}">
                    <a16:creationId xmlns:a16="http://schemas.microsoft.com/office/drawing/2014/main" id="{D3BD336E-1E91-F2A5-70FE-B19BDAEFB463}"/>
                  </a:ext>
                </a:extLst>
              </p:cNvPr>
              <p:cNvSpPr/>
              <p:nvPr/>
            </p:nvSpPr>
            <p:spPr>
              <a:xfrm>
                <a:off x="6249117" y="2533384"/>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33" name="pt47">
                <a:extLst>
                  <a:ext uri="{FF2B5EF4-FFF2-40B4-BE49-F238E27FC236}">
                    <a16:creationId xmlns:a16="http://schemas.microsoft.com/office/drawing/2014/main" id="{5F4AC166-781E-95D4-3C44-EF7A74BCEF54}"/>
                  </a:ext>
                </a:extLst>
              </p:cNvPr>
              <p:cNvSpPr/>
              <p:nvPr/>
            </p:nvSpPr>
            <p:spPr>
              <a:xfrm>
                <a:off x="6293039" y="2818460"/>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34" name="pt48">
                <a:extLst>
                  <a:ext uri="{FF2B5EF4-FFF2-40B4-BE49-F238E27FC236}">
                    <a16:creationId xmlns:a16="http://schemas.microsoft.com/office/drawing/2014/main" id="{FD65DCBC-6A0E-1B35-B746-EB2E7DC69881}"/>
                  </a:ext>
                </a:extLst>
              </p:cNvPr>
              <p:cNvSpPr/>
              <p:nvPr/>
            </p:nvSpPr>
            <p:spPr>
              <a:xfrm>
                <a:off x="6253402" y="2928052"/>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35" name="pt49">
                <a:extLst>
                  <a:ext uri="{FF2B5EF4-FFF2-40B4-BE49-F238E27FC236}">
                    <a16:creationId xmlns:a16="http://schemas.microsoft.com/office/drawing/2014/main" id="{4C3B01FA-359B-A4E6-3E4A-DEBCB7121226}"/>
                  </a:ext>
                </a:extLst>
              </p:cNvPr>
              <p:cNvSpPr/>
              <p:nvPr/>
            </p:nvSpPr>
            <p:spPr>
              <a:xfrm>
                <a:off x="6138510" y="2855177"/>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36" name="pt50">
                <a:extLst>
                  <a:ext uri="{FF2B5EF4-FFF2-40B4-BE49-F238E27FC236}">
                    <a16:creationId xmlns:a16="http://schemas.microsoft.com/office/drawing/2014/main" id="{96F4C127-40A5-6C67-D2BF-DD65B8CFC970}"/>
                  </a:ext>
                </a:extLst>
              </p:cNvPr>
              <p:cNvSpPr/>
              <p:nvPr/>
            </p:nvSpPr>
            <p:spPr>
              <a:xfrm>
                <a:off x="6378204" y="2944251"/>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37" name="pt51">
                <a:extLst>
                  <a:ext uri="{FF2B5EF4-FFF2-40B4-BE49-F238E27FC236}">
                    <a16:creationId xmlns:a16="http://schemas.microsoft.com/office/drawing/2014/main" id="{5561E6BF-3D03-3BD6-6455-D7B70BF01380}"/>
                  </a:ext>
                </a:extLst>
              </p:cNvPr>
              <p:cNvSpPr/>
              <p:nvPr/>
            </p:nvSpPr>
            <p:spPr>
              <a:xfrm>
                <a:off x="6318797" y="2859475"/>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38" name="pt52">
                <a:extLst>
                  <a:ext uri="{FF2B5EF4-FFF2-40B4-BE49-F238E27FC236}">
                    <a16:creationId xmlns:a16="http://schemas.microsoft.com/office/drawing/2014/main" id="{D28A0809-4B98-AF5E-A4AE-79F54DC07ACF}"/>
                  </a:ext>
                </a:extLst>
              </p:cNvPr>
              <p:cNvSpPr/>
              <p:nvPr/>
            </p:nvSpPr>
            <p:spPr>
              <a:xfrm>
                <a:off x="6365817" y="2996206"/>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39" name="pt53">
                <a:extLst>
                  <a:ext uri="{FF2B5EF4-FFF2-40B4-BE49-F238E27FC236}">
                    <a16:creationId xmlns:a16="http://schemas.microsoft.com/office/drawing/2014/main" id="{7476ED64-DDF8-8FDD-7E5C-E50256F03B80}"/>
                  </a:ext>
                </a:extLst>
              </p:cNvPr>
              <p:cNvSpPr/>
              <p:nvPr/>
            </p:nvSpPr>
            <p:spPr>
              <a:xfrm>
                <a:off x="6109248" y="2961289"/>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40" name="pt54">
                <a:extLst>
                  <a:ext uri="{FF2B5EF4-FFF2-40B4-BE49-F238E27FC236}">
                    <a16:creationId xmlns:a16="http://schemas.microsoft.com/office/drawing/2014/main" id="{2B050334-6F7D-ADDF-D54C-9C2DD83D158F}"/>
                  </a:ext>
                </a:extLst>
              </p:cNvPr>
              <p:cNvSpPr/>
              <p:nvPr/>
            </p:nvSpPr>
            <p:spPr>
              <a:xfrm>
                <a:off x="6339450" y="2798635"/>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41" name="pt55">
                <a:extLst>
                  <a:ext uri="{FF2B5EF4-FFF2-40B4-BE49-F238E27FC236}">
                    <a16:creationId xmlns:a16="http://schemas.microsoft.com/office/drawing/2014/main" id="{94BEF987-5114-070C-D330-713F2E32AEAA}"/>
                  </a:ext>
                </a:extLst>
              </p:cNvPr>
              <p:cNvSpPr/>
              <p:nvPr/>
            </p:nvSpPr>
            <p:spPr>
              <a:xfrm>
                <a:off x="6222647" y="2843777"/>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42" name="pt56">
                <a:extLst>
                  <a:ext uri="{FF2B5EF4-FFF2-40B4-BE49-F238E27FC236}">
                    <a16:creationId xmlns:a16="http://schemas.microsoft.com/office/drawing/2014/main" id="{9E022369-0EAF-9990-73DF-61811252E543}"/>
                  </a:ext>
                </a:extLst>
              </p:cNvPr>
              <p:cNvSpPr/>
              <p:nvPr/>
            </p:nvSpPr>
            <p:spPr>
              <a:xfrm>
                <a:off x="6375801" y="2977291"/>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43" name="pt57">
                <a:extLst>
                  <a:ext uri="{FF2B5EF4-FFF2-40B4-BE49-F238E27FC236}">
                    <a16:creationId xmlns:a16="http://schemas.microsoft.com/office/drawing/2014/main" id="{2C45440C-015A-4E50-B553-A7CC95165F6A}"/>
                  </a:ext>
                </a:extLst>
              </p:cNvPr>
              <p:cNvSpPr/>
              <p:nvPr/>
            </p:nvSpPr>
            <p:spPr>
              <a:xfrm>
                <a:off x="6310795" y="2921350"/>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44" name="pt58">
                <a:extLst>
                  <a:ext uri="{FF2B5EF4-FFF2-40B4-BE49-F238E27FC236}">
                    <a16:creationId xmlns:a16="http://schemas.microsoft.com/office/drawing/2014/main" id="{1765F45C-5921-819C-47E4-25B111298364}"/>
                  </a:ext>
                </a:extLst>
              </p:cNvPr>
              <p:cNvSpPr/>
              <p:nvPr/>
            </p:nvSpPr>
            <p:spPr>
              <a:xfrm>
                <a:off x="6984667" y="2769394"/>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45" name="pt59">
                <a:extLst>
                  <a:ext uri="{FF2B5EF4-FFF2-40B4-BE49-F238E27FC236}">
                    <a16:creationId xmlns:a16="http://schemas.microsoft.com/office/drawing/2014/main" id="{A8EB7E80-70C0-26AB-0D36-5DE40BC175BA}"/>
                  </a:ext>
                </a:extLst>
              </p:cNvPr>
              <p:cNvSpPr/>
              <p:nvPr/>
            </p:nvSpPr>
            <p:spPr>
              <a:xfrm>
                <a:off x="6898721" y="2671779"/>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46" name="pt60">
                <a:extLst>
                  <a:ext uri="{FF2B5EF4-FFF2-40B4-BE49-F238E27FC236}">
                    <a16:creationId xmlns:a16="http://schemas.microsoft.com/office/drawing/2014/main" id="{07C80ACD-E1CA-B8BD-1699-5C8083E401EE}"/>
                  </a:ext>
                </a:extLst>
              </p:cNvPr>
              <p:cNvSpPr/>
              <p:nvPr/>
            </p:nvSpPr>
            <p:spPr>
              <a:xfrm>
                <a:off x="6890004" y="2699447"/>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47" name="pt61">
                <a:extLst>
                  <a:ext uri="{FF2B5EF4-FFF2-40B4-BE49-F238E27FC236}">
                    <a16:creationId xmlns:a16="http://schemas.microsoft.com/office/drawing/2014/main" id="{83B1E7C7-678D-570C-207C-B6C55A66E4A7}"/>
                  </a:ext>
                </a:extLst>
              </p:cNvPr>
              <p:cNvSpPr/>
              <p:nvPr/>
            </p:nvSpPr>
            <p:spPr>
              <a:xfrm>
                <a:off x="6987068" y="2776406"/>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48" name="pt62">
                <a:extLst>
                  <a:ext uri="{FF2B5EF4-FFF2-40B4-BE49-F238E27FC236}">
                    <a16:creationId xmlns:a16="http://schemas.microsoft.com/office/drawing/2014/main" id="{4289C097-04F6-602E-2054-89D65D5E6B1D}"/>
                  </a:ext>
                </a:extLst>
              </p:cNvPr>
              <p:cNvSpPr/>
              <p:nvPr/>
            </p:nvSpPr>
            <p:spPr>
              <a:xfrm>
                <a:off x="6700693" y="2556803"/>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49" name="pt63">
                <a:extLst>
                  <a:ext uri="{FF2B5EF4-FFF2-40B4-BE49-F238E27FC236}">
                    <a16:creationId xmlns:a16="http://schemas.microsoft.com/office/drawing/2014/main" id="{55778E74-2254-80D7-A31D-63113535D849}"/>
                  </a:ext>
                </a:extLst>
              </p:cNvPr>
              <p:cNvSpPr/>
              <p:nvPr/>
            </p:nvSpPr>
            <p:spPr>
              <a:xfrm>
                <a:off x="6870381" y="2927589"/>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50" name="pt64">
                <a:extLst>
                  <a:ext uri="{FF2B5EF4-FFF2-40B4-BE49-F238E27FC236}">
                    <a16:creationId xmlns:a16="http://schemas.microsoft.com/office/drawing/2014/main" id="{A05E176A-B912-719B-CD3D-FB9CC7A5549B}"/>
                  </a:ext>
                </a:extLst>
              </p:cNvPr>
              <p:cNvSpPr/>
              <p:nvPr/>
            </p:nvSpPr>
            <p:spPr>
              <a:xfrm>
                <a:off x="6965743" y="2764291"/>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51" name="pt65">
                <a:extLst>
                  <a:ext uri="{FF2B5EF4-FFF2-40B4-BE49-F238E27FC236}">
                    <a16:creationId xmlns:a16="http://schemas.microsoft.com/office/drawing/2014/main" id="{EBB9A120-C78A-AEB4-3DEE-37E5D0C0D244}"/>
                  </a:ext>
                </a:extLst>
              </p:cNvPr>
              <p:cNvSpPr/>
              <p:nvPr/>
            </p:nvSpPr>
            <p:spPr>
              <a:xfrm>
                <a:off x="6950946" y="2803145"/>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52" name="pt66">
                <a:extLst>
                  <a:ext uri="{FF2B5EF4-FFF2-40B4-BE49-F238E27FC236}">
                    <a16:creationId xmlns:a16="http://schemas.microsoft.com/office/drawing/2014/main" id="{BF783B50-5912-9309-19FE-E79F6DA88586}"/>
                  </a:ext>
                </a:extLst>
              </p:cNvPr>
              <p:cNvSpPr/>
              <p:nvPr/>
            </p:nvSpPr>
            <p:spPr>
              <a:xfrm>
                <a:off x="6870527" y="2404633"/>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53" name="pt67">
                <a:extLst>
                  <a:ext uri="{FF2B5EF4-FFF2-40B4-BE49-F238E27FC236}">
                    <a16:creationId xmlns:a16="http://schemas.microsoft.com/office/drawing/2014/main" id="{CB28B26C-FCEB-B376-79BF-D97427BEA2BC}"/>
                  </a:ext>
                </a:extLst>
              </p:cNvPr>
              <p:cNvSpPr/>
              <p:nvPr/>
            </p:nvSpPr>
            <p:spPr>
              <a:xfrm>
                <a:off x="7013930" y="2521406"/>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54" name="pt68">
                <a:extLst>
                  <a:ext uri="{FF2B5EF4-FFF2-40B4-BE49-F238E27FC236}">
                    <a16:creationId xmlns:a16="http://schemas.microsoft.com/office/drawing/2014/main" id="{ED054785-E92F-D236-96CC-9E750A3C11E8}"/>
                  </a:ext>
                </a:extLst>
              </p:cNvPr>
              <p:cNvSpPr/>
              <p:nvPr/>
            </p:nvSpPr>
            <p:spPr>
              <a:xfrm>
                <a:off x="6855751" y="2834091"/>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55" name="pt69">
                <a:extLst>
                  <a:ext uri="{FF2B5EF4-FFF2-40B4-BE49-F238E27FC236}">
                    <a16:creationId xmlns:a16="http://schemas.microsoft.com/office/drawing/2014/main" id="{0B43C524-8171-3293-83A2-9A7B816866A8}"/>
                  </a:ext>
                </a:extLst>
              </p:cNvPr>
              <p:cNvSpPr/>
              <p:nvPr/>
            </p:nvSpPr>
            <p:spPr>
              <a:xfrm>
                <a:off x="6783487" y="2561842"/>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56" name="pt70">
                <a:extLst>
                  <a:ext uri="{FF2B5EF4-FFF2-40B4-BE49-F238E27FC236}">
                    <a16:creationId xmlns:a16="http://schemas.microsoft.com/office/drawing/2014/main" id="{1A924B6E-BF40-157D-05FB-D15DD6A26842}"/>
                  </a:ext>
                </a:extLst>
              </p:cNvPr>
              <p:cNvSpPr/>
              <p:nvPr/>
            </p:nvSpPr>
            <p:spPr>
              <a:xfrm>
                <a:off x="6718394" y="2300999"/>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57" name="pt71">
                <a:extLst>
                  <a:ext uri="{FF2B5EF4-FFF2-40B4-BE49-F238E27FC236}">
                    <a16:creationId xmlns:a16="http://schemas.microsoft.com/office/drawing/2014/main" id="{C738B7EE-C7DA-B4DE-8A33-0B445C8DF012}"/>
                  </a:ext>
                </a:extLst>
              </p:cNvPr>
              <p:cNvSpPr/>
              <p:nvPr/>
            </p:nvSpPr>
            <p:spPr>
              <a:xfrm>
                <a:off x="6729156" y="2679330"/>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58" name="pt72">
                <a:extLst>
                  <a:ext uri="{FF2B5EF4-FFF2-40B4-BE49-F238E27FC236}">
                    <a16:creationId xmlns:a16="http://schemas.microsoft.com/office/drawing/2014/main" id="{2D739A2C-82FF-5BA9-F16F-6B0F89B586E3}"/>
                  </a:ext>
                </a:extLst>
              </p:cNvPr>
              <p:cNvSpPr/>
              <p:nvPr/>
            </p:nvSpPr>
            <p:spPr>
              <a:xfrm>
                <a:off x="6810207" y="2817913"/>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59" name="pt73">
                <a:extLst>
                  <a:ext uri="{FF2B5EF4-FFF2-40B4-BE49-F238E27FC236}">
                    <a16:creationId xmlns:a16="http://schemas.microsoft.com/office/drawing/2014/main" id="{8814408B-35DC-E769-4B24-CB3A6B44C1DF}"/>
                  </a:ext>
                </a:extLst>
              </p:cNvPr>
              <p:cNvSpPr/>
              <p:nvPr/>
            </p:nvSpPr>
            <p:spPr>
              <a:xfrm>
                <a:off x="6885860" y="2671372"/>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60" name="pt74">
                <a:extLst>
                  <a:ext uri="{FF2B5EF4-FFF2-40B4-BE49-F238E27FC236}">
                    <a16:creationId xmlns:a16="http://schemas.microsoft.com/office/drawing/2014/main" id="{7B558F00-EE8D-FC87-3024-27EDA758CB2E}"/>
                  </a:ext>
                </a:extLst>
              </p:cNvPr>
              <p:cNvSpPr/>
              <p:nvPr/>
            </p:nvSpPr>
            <p:spPr>
              <a:xfrm>
                <a:off x="6939459" y="2770062"/>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61" name="pt75">
                <a:extLst>
                  <a:ext uri="{FF2B5EF4-FFF2-40B4-BE49-F238E27FC236}">
                    <a16:creationId xmlns:a16="http://schemas.microsoft.com/office/drawing/2014/main" id="{69618546-F55C-6253-CB5E-E0C043C1A7EC}"/>
                  </a:ext>
                </a:extLst>
              </p:cNvPr>
              <p:cNvSpPr/>
              <p:nvPr/>
            </p:nvSpPr>
            <p:spPr>
              <a:xfrm>
                <a:off x="6844062" y="2788889"/>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62" name="pt76">
                <a:extLst>
                  <a:ext uri="{FF2B5EF4-FFF2-40B4-BE49-F238E27FC236}">
                    <a16:creationId xmlns:a16="http://schemas.microsoft.com/office/drawing/2014/main" id="{615D3A38-B0C2-A74E-686D-3CE9E7C38A4B}"/>
                  </a:ext>
                </a:extLst>
              </p:cNvPr>
              <p:cNvSpPr/>
              <p:nvPr/>
            </p:nvSpPr>
            <p:spPr>
              <a:xfrm>
                <a:off x="7033246" y="2247475"/>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63" name="pt77">
                <a:extLst>
                  <a:ext uri="{FF2B5EF4-FFF2-40B4-BE49-F238E27FC236}">
                    <a16:creationId xmlns:a16="http://schemas.microsoft.com/office/drawing/2014/main" id="{E48EAAE5-E3B3-C9C5-0C55-2045656286CB}"/>
                  </a:ext>
                </a:extLst>
              </p:cNvPr>
              <p:cNvSpPr/>
              <p:nvPr/>
            </p:nvSpPr>
            <p:spPr>
              <a:xfrm>
                <a:off x="7424810" y="2729286"/>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16" name="pt78">
                <a:extLst>
                  <a:ext uri="{FF2B5EF4-FFF2-40B4-BE49-F238E27FC236}">
                    <a16:creationId xmlns:a16="http://schemas.microsoft.com/office/drawing/2014/main" id="{E32E0CB2-A3B5-D206-FAE2-DB73EDD6612B}"/>
                  </a:ext>
                </a:extLst>
              </p:cNvPr>
              <p:cNvSpPr/>
              <p:nvPr/>
            </p:nvSpPr>
            <p:spPr>
              <a:xfrm>
                <a:off x="7486667" y="2615925"/>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17" name="pt79">
                <a:extLst>
                  <a:ext uri="{FF2B5EF4-FFF2-40B4-BE49-F238E27FC236}">
                    <a16:creationId xmlns:a16="http://schemas.microsoft.com/office/drawing/2014/main" id="{69F0051E-8447-5AB6-FDFF-ADB8BC1E0B4A}"/>
                  </a:ext>
                </a:extLst>
              </p:cNvPr>
              <p:cNvSpPr/>
              <p:nvPr/>
            </p:nvSpPr>
            <p:spPr>
              <a:xfrm>
                <a:off x="7439312" y="2301313"/>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18" name="pt80">
                <a:extLst>
                  <a:ext uri="{FF2B5EF4-FFF2-40B4-BE49-F238E27FC236}">
                    <a16:creationId xmlns:a16="http://schemas.microsoft.com/office/drawing/2014/main" id="{54F759B1-AE9E-E961-28D2-003E6B992FA3}"/>
                  </a:ext>
                </a:extLst>
              </p:cNvPr>
              <p:cNvSpPr/>
              <p:nvPr/>
            </p:nvSpPr>
            <p:spPr>
              <a:xfrm>
                <a:off x="7558373" y="2744687"/>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19" name="pt81">
                <a:extLst>
                  <a:ext uri="{FF2B5EF4-FFF2-40B4-BE49-F238E27FC236}">
                    <a16:creationId xmlns:a16="http://schemas.microsoft.com/office/drawing/2014/main" id="{D4C96BCF-A4E8-D7F1-2AA5-334E967F3D5F}"/>
                  </a:ext>
                </a:extLst>
              </p:cNvPr>
              <p:cNvSpPr/>
              <p:nvPr/>
            </p:nvSpPr>
            <p:spPr>
              <a:xfrm>
                <a:off x="7411506" y="2620166"/>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20" name="pt82">
                <a:extLst>
                  <a:ext uri="{FF2B5EF4-FFF2-40B4-BE49-F238E27FC236}">
                    <a16:creationId xmlns:a16="http://schemas.microsoft.com/office/drawing/2014/main" id="{FC8D5E33-6C82-4A9A-5D52-1CE968F68ADB}"/>
                  </a:ext>
                </a:extLst>
              </p:cNvPr>
              <p:cNvSpPr/>
              <p:nvPr/>
            </p:nvSpPr>
            <p:spPr>
              <a:xfrm>
                <a:off x="7493950" y="2787991"/>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21" name="pt83">
                <a:extLst>
                  <a:ext uri="{FF2B5EF4-FFF2-40B4-BE49-F238E27FC236}">
                    <a16:creationId xmlns:a16="http://schemas.microsoft.com/office/drawing/2014/main" id="{F001EA1E-8334-54A2-CFE0-4C63D4E5680C}"/>
                  </a:ext>
                </a:extLst>
              </p:cNvPr>
              <p:cNvSpPr/>
              <p:nvPr/>
            </p:nvSpPr>
            <p:spPr>
              <a:xfrm>
                <a:off x="7601530" y="2465678"/>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22" name="pt84">
                <a:extLst>
                  <a:ext uri="{FF2B5EF4-FFF2-40B4-BE49-F238E27FC236}">
                    <a16:creationId xmlns:a16="http://schemas.microsoft.com/office/drawing/2014/main" id="{0D0EAE76-0C1A-74E9-243D-4911295ADF01}"/>
                  </a:ext>
                </a:extLst>
              </p:cNvPr>
              <p:cNvSpPr/>
              <p:nvPr/>
            </p:nvSpPr>
            <p:spPr>
              <a:xfrm>
                <a:off x="7346543" y="2714229"/>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23" name="pt85">
                <a:extLst>
                  <a:ext uri="{FF2B5EF4-FFF2-40B4-BE49-F238E27FC236}">
                    <a16:creationId xmlns:a16="http://schemas.microsoft.com/office/drawing/2014/main" id="{6B6C21D6-4270-ACAE-9095-2163AC006C71}"/>
                  </a:ext>
                </a:extLst>
              </p:cNvPr>
              <p:cNvSpPr/>
              <p:nvPr/>
            </p:nvSpPr>
            <p:spPr>
              <a:xfrm>
                <a:off x="7642283" y="2678171"/>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24" name="pt86">
                <a:extLst>
                  <a:ext uri="{FF2B5EF4-FFF2-40B4-BE49-F238E27FC236}">
                    <a16:creationId xmlns:a16="http://schemas.microsoft.com/office/drawing/2014/main" id="{9451BA8F-A65C-58A2-9C28-FF4C4EE88FB1}"/>
                  </a:ext>
                </a:extLst>
              </p:cNvPr>
              <p:cNvSpPr/>
              <p:nvPr/>
            </p:nvSpPr>
            <p:spPr>
              <a:xfrm>
                <a:off x="7441809" y="2695536"/>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25" name="pt87">
                <a:extLst>
                  <a:ext uri="{FF2B5EF4-FFF2-40B4-BE49-F238E27FC236}">
                    <a16:creationId xmlns:a16="http://schemas.microsoft.com/office/drawing/2014/main" id="{5B712690-23DF-302E-FD43-E931522C63EE}"/>
                  </a:ext>
                </a:extLst>
              </p:cNvPr>
              <p:cNvSpPr/>
              <p:nvPr/>
            </p:nvSpPr>
            <p:spPr>
              <a:xfrm>
                <a:off x="7628869" y="2681443"/>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26" name="pt88">
                <a:extLst>
                  <a:ext uri="{FF2B5EF4-FFF2-40B4-BE49-F238E27FC236}">
                    <a16:creationId xmlns:a16="http://schemas.microsoft.com/office/drawing/2014/main" id="{DAEED5AD-15F1-2562-C0AF-56387C8B3B5E}"/>
                  </a:ext>
                </a:extLst>
              </p:cNvPr>
              <p:cNvSpPr/>
              <p:nvPr/>
            </p:nvSpPr>
            <p:spPr>
              <a:xfrm>
                <a:off x="7444654" y="2531831"/>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27" name="pt89">
                <a:extLst>
                  <a:ext uri="{FF2B5EF4-FFF2-40B4-BE49-F238E27FC236}">
                    <a16:creationId xmlns:a16="http://schemas.microsoft.com/office/drawing/2014/main" id="{290273C0-6B0B-2539-62E0-7DFF865E1DCE}"/>
                  </a:ext>
                </a:extLst>
              </p:cNvPr>
              <p:cNvSpPr/>
              <p:nvPr/>
            </p:nvSpPr>
            <p:spPr>
              <a:xfrm>
                <a:off x="7439828" y="2645381"/>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28" name="pt90">
                <a:extLst>
                  <a:ext uri="{FF2B5EF4-FFF2-40B4-BE49-F238E27FC236}">
                    <a16:creationId xmlns:a16="http://schemas.microsoft.com/office/drawing/2014/main" id="{3958D6DE-DB83-1CE7-D203-ACF3ADAC9638}"/>
                  </a:ext>
                </a:extLst>
              </p:cNvPr>
              <p:cNvSpPr/>
              <p:nvPr/>
            </p:nvSpPr>
            <p:spPr>
              <a:xfrm>
                <a:off x="7493130" y="2285553"/>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29" name="pt91">
                <a:extLst>
                  <a:ext uri="{FF2B5EF4-FFF2-40B4-BE49-F238E27FC236}">
                    <a16:creationId xmlns:a16="http://schemas.microsoft.com/office/drawing/2014/main" id="{14DC9012-03F8-BE13-9F1C-2CD6EB4506FA}"/>
                  </a:ext>
                </a:extLst>
              </p:cNvPr>
              <p:cNvSpPr/>
              <p:nvPr/>
            </p:nvSpPr>
            <p:spPr>
              <a:xfrm>
                <a:off x="7648592" y="2971526"/>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30" name="pt92">
                <a:extLst>
                  <a:ext uri="{FF2B5EF4-FFF2-40B4-BE49-F238E27FC236}">
                    <a16:creationId xmlns:a16="http://schemas.microsoft.com/office/drawing/2014/main" id="{7DCEA37E-18F2-30CA-BCDA-9E6946A4C49C}"/>
                  </a:ext>
                </a:extLst>
              </p:cNvPr>
              <p:cNvSpPr/>
              <p:nvPr/>
            </p:nvSpPr>
            <p:spPr>
              <a:xfrm>
                <a:off x="7638177" y="2578801"/>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31" name="pt93">
                <a:extLst>
                  <a:ext uri="{FF2B5EF4-FFF2-40B4-BE49-F238E27FC236}">
                    <a16:creationId xmlns:a16="http://schemas.microsoft.com/office/drawing/2014/main" id="{93EC7698-74D3-D448-3652-4967E1870BD3}"/>
                  </a:ext>
                </a:extLst>
              </p:cNvPr>
              <p:cNvSpPr/>
              <p:nvPr/>
            </p:nvSpPr>
            <p:spPr>
              <a:xfrm>
                <a:off x="7460844" y="2717390"/>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60" name="pt94">
                <a:extLst>
                  <a:ext uri="{FF2B5EF4-FFF2-40B4-BE49-F238E27FC236}">
                    <a16:creationId xmlns:a16="http://schemas.microsoft.com/office/drawing/2014/main" id="{CAA11B76-C6C0-FC1F-4780-4978E985084F}"/>
                  </a:ext>
                </a:extLst>
              </p:cNvPr>
              <p:cNvSpPr/>
              <p:nvPr/>
            </p:nvSpPr>
            <p:spPr>
              <a:xfrm>
                <a:off x="7605646" y="2770563"/>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61" name="pt95">
                <a:extLst>
                  <a:ext uri="{FF2B5EF4-FFF2-40B4-BE49-F238E27FC236}">
                    <a16:creationId xmlns:a16="http://schemas.microsoft.com/office/drawing/2014/main" id="{69878D5A-8C4E-A83F-CE64-34BB8613A171}"/>
                  </a:ext>
                </a:extLst>
              </p:cNvPr>
              <p:cNvSpPr/>
              <p:nvPr/>
            </p:nvSpPr>
            <p:spPr>
              <a:xfrm>
                <a:off x="7674171" y="2281017"/>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62" name="pl96">
                <a:extLst>
                  <a:ext uri="{FF2B5EF4-FFF2-40B4-BE49-F238E27FC236}">
                    <a16:creationId xmlns:a16="http://schemas.microsoft.com/office/drawing/2014/main" id="{3F392E45-66AA-F129-FC47-9A820885D036}"/>
                  </a:ext>
                </a:extLst>
              </p:cNvPr>
              <p:cNvSpPr/>
              <p:nvPr/>
            </p:nvSpPr>
            <p:spPr>
              <a:xfrm>
                <a:off x="4653867" y="2141210"/>
                <a:ext cx="0" cy="2160000"/>
              </a:xfrm>
              <a:custGeom>
                <a:avLst/>
                <a:gdLst/>
                <a:ahLst/>
                <a:cxnLst/>
                <a:rect l="0" t="0" r="0" b="0"/>
                <a:pathLst>
                  <a:path h="2160000">
                    <a:moveTo>
                      <a:pt x="0" y="2160000"/>
                    </a:moveTo>
                    <a:lnTo>
                      <a:pt x="0"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63" name="tx97">
                <a:extLst>
                  <a:ext uri="{FF2B5EF4-FFF2-40B4-BE49-F238E27FC236}">
                    <a16:creationId xmlns:a16="http://schemas.microsoft.com/office/drawing/2014/main" id="{9985A1C0-0D4F-A3A2-24FE-F1C5D0ABD30B}"/>
                  </a:ext>
                </a:extLst>
              </p:cNvPr>
              <p:cNvSpPr/>
              <p:nvPr/>
            </p:nvSpPr>
            <p:spPr>
              <a:xfrm>
                <a:off x="4514795" y="4265548"/>
                <a:ext cx="53035" cy="68031"/>
              </a:xfrm>
              <a:prstGeom prst="rect">
                <a:avLst/>
              </a:prstGeom>
              <a:noFill/>
            </p:spPr>
            <p:txBody>
              <a:bodyPr wrap="none" lIns="0" tIns="0" rIns="0" bIns="0" anchor="ctr" anchorCtr="1"/>
              <a:lstStyle/>
              <a:p>
                <a:pPr marL="0" marR="0" lvl="0" indent="0" algn="l" defTabSz="914355"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0</a:t>
                </a:r>
              </a:p>
            </p:txBody>
          </p:sp>
          <p:sp>
            <p:nvSpPr>
              <p:cNvPr id="6064" name="tx98">
                <a:extLst>
                  <a:ext uri="{FF2B5EF4-FFF2-40B4-BE49-F238E27FC236}">
                    <a16:creationId xmlns:a16="http://schemas.microsoft.com/office/drawing/2014/main" id="{A737251C-7844-081D-C995-43D0A675496E}"/>
                  </a:ext>
                </a:extLst>
              </p:cNvPr>
              <p:cNvSpPr/>
              <p:nvPr/>
            </p:nvSpPr>
            <p:spPr>
              <a:xfrm>
                <a:off x="4461760" y="3905548"/>
                <a:ext cx="106070" cy="68031"/>
              </a:xfrm>
              <a:prstGeom prst="rect">
                <a:avLst/>
              </a:prstGeom>
              <a:noFill/>
            </p:spPr>
            <p:txBody>
              <a:bodyPr wrap="none" lIns="0" tIns="0" rIns="0" bIns="0" anchor="ctr" anchorCtr="1"/>
              <a:lstStyle/>
              <a:p>
                <a:pPr marL="0" marR="0" lvl="0" indent="0" algn="l" defTabSz="914355"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20</a:t>
                </a:r>
              </a:p>
            </p:txBody>
          </p:sp>
          <p:sp>
            <p:nvSpPr>
              <p:cNvPr id="6065" name="tx99">
                <a:extLst>
                  <a:ext uri="{FF2B5EF4-FFF2-40B4-BE49-F238E27FC236}">
                    <a16:creationId xmlns:a16="http://schemas.microsoft.com/office/drawing/2014/main" id="{2809812E-8B77-D87B-3784-B249364A40AF}"/>
                  </a:ext>
                </a:extLst>
              </p:cNvPr>
              <p:cNvSpPr/>
              <p:nvPr/>
            </p:nvSpPr>
            <p:spPr>
              <a:xfrm>
                <a:off x="4461760" y="3545548"/>
                <a:ext cx="106070" cy="68031"/>
              </a:xfrm>
              <a:prstGeom prst="rect">
                <a:avLst/>
              </a:prstGeom>
              <a:noFill/>
            </p:spPr>
            <p:txBody>
              <a:bodyPr wrap="none" lIns="0" tIns="0" rIns="0" bIns="0" anchor="ctr" anchorCtr="1"/>
              <a:lstStyle/>
              <a:p>
                <a:pPr marL="0" marR="0" lvl="0" indent="0" algn="l" defTabSz="914355"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40</a:t>
                </a:r>
              </a:p>
            </p:txBody>
          </p:sp>
          <p:sp>
            <p:nvSpPr>
              <p:cNvPr id="6066" name="tx100">
                <a:extLst>
                  <a:ext uri="{FF2B5EF4-FFF2-40B4-BE49-F238E27FC236}">
                    <a16:creationId xmlns:a16="http://schemas.microsoft.com/office/drawing/2014/main" id="{AE012163-D0FE-DC30-A33B-65E536E09073}"/>
                  </a:ext>
                </a:extLst>
              </p:cNvPr>
              <p:cNvSpPr/>
              <p:nvPr/>
            </p:nvSpPr>
            <p:spPr>
              <a:xfrm>
                <a:off x="4461760" y="3185548"/>
                <a:ext cx="106070" cy="68031"/>
              </a:xfrm>
              <a:prstGeom prst="rect">
                <a:avLst/>
              </a:prstGeom>
              <a:noFill/>
            </p:spPr>
            <p:txBody>
              <a:bodyPr wrap="none" lIns="0" tIns="0" rIns="0" bIns="0" anchor="ctr" anchorCtr="1"/>
              <a:lstStyle/>
              <a:p>
                <a:pPr marL="0" marR="0" lvl="0" indent="0" algn="l" defTabSz="914355"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60</a:t>
                </a:r>
              </a:p>
            </p:txBody>
          </p:sp>
          <p:sp>
            <p:nvSpPr>
              <p:cNvPr id="6067" name="tx101">
                <a:extLst>
                  <a:ext uri="{FF2B5EF4-FFF2-40B4-BE49-F238E27FC236}">
                    <a16:creationId xmlns:a16="http://schemas.microsoft.com/office/drawing/2014/main" id="{6B441550-D93C-0BAB-AA3D-5169FDC914A9}"/>
                  </a:ext>
                </a:extLst>
              </p:cNvPr>
              <p:cNvSpPr/>
              <p:nvPr/>
            </p:nvSpPr>
            <p:spPr>
              <a:xfrm>
                <a:off x="4461760" y="2825548"/>
                <a:ext cx="106070" cy="68031"/>
              </a:xfrm>
              <a:prstGeom prst="rect">
                <a:avLst/>
              </a:prstGeom>
              <a:noFill/>
            </p:spPr>
            <p:txBody>
              <a:bodyPr wrap="none" lIns="0" tIns="0" rIns="0" bIns="0" anchor="ctr" anchorCtr="1"/>
              <a:lstStyle/>
              <a:p>
                <a:pPr marL="0" marR="0" lvl="0" indent="0" algn="l" defTabSz="914355"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80</a:t>
                </a:r>
              </a:p>
            </p:txBody>
          </p:sp>
          <p:sp>
            <p:nvSpPr>
              <p:cNvPr id="6068" name="tx102">
                <a:extLst>
                  <a:ext uri="{FF2B5EF4-FFF2-40B4-BE49-F238E27FC236}">
                    <a16:creationId xmlns:a16="http://schemas.microsoft.com/office/drawing/2014/main" id="{D6F05E64-F621-D7CC-A42F-8BC1AE927445}"/>
                  </a:ext>
                </a:extLst>
              </p:cNvPr>
              <p:cNvSpPr/>
              <p:nvPr/>
            </p:nvSpPr>
            <p:spPr>
              <a:xfrm>
                <a:off x="4408724" y="2465548"/>
                <a:ext cx="159105" cy="68031"/>
              </a:xfrm>
              <a:prstGeom prst="rect">
                <a:avLst/>
              </a:prstGeom>
              <a:noFill/>
            </p:spPr>
            <p:txBody>
              <a:bodyPr wrap="none" lIns="0" tIns="0" rIns="0" bIns="0" anchor="ctr" anchorCtr="1"/>
              <a:lstStyle/>
              <a:p>
                <a:pPr marL="0" marR="0" lvl="0" indent="0" algn="l" defTabSz="914355"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00</a:t>
                </a:r>
              </a:p>
            </p:txBody>
          </p:sp>
          <p:sp>
            <p:nvSpPr>
              <p:cNvPr id="6069" name="tx103">
                <a:extLst>
                  <a:ext uri="{FF2B5EF4-FFF2-40B4-BE49-F238E27FC236}">
                    <a16:creationId xmlns:a16="http://schemas.microsoft.com/office/drawing/2014/main" id="{0FC2BA61-0A2F-8EFF-A62B-648745CB95F0}"/>
                  </a:ext>
                </a:extLst>
              </p:cNvPr>
              <p:cNvSpPr/>
              <p:nvPr/>
            </p:nvSpPr>
            <p:spPr>
              <a:xfrm>
                <a:off x="4408724" y="2105548"/>
                <a:ext cx="159105" cy="68031"/>
              </a:xfrm>
              <a:prstGeom prst="rect">
                <a:avLst/>
              </a:prstGeom>
              <a:noFill/>
            </p:spPr>
            <p:txBody>
              <a:bodyPr wrap="none" lIns="0" tIns="0" rIns="0" bIns="0" anchor="ctr" anchorCtr="1"/>
              <a:lstStyle/>
              <a:p>
                <a:pPr marL="0" marR="0" lvl="0" indent="0" algn="l" defTabSz="914355"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20</a:t>
                </a:r>
              </a:p>
            </p:txBody>
          </p:sp>
          <p:sp>
            <p:nvSpPr>
              <p:cNvPr id="6070" name="pl104">
                <a:extLst>
                  <a:ext uri="{FF2B5EF4-FFF2-40B4-BE49-F238E27FC236}">
                    <a16:creationId xmlns:a16="http://schemas.microsoft.com/office/drawing/2014/main" id="{9E1EBC78-E556-456E-3774-4D60E76E6CCB}"/>
                  </a:ext>
                </a:extLst>
              </p:cNvPr>
              <p:cNvSpPr/>
              <p:nvPr/>
            </p:nvSpPr>
            <p:spPr>
              <a:xfrm>
                <a:off x="4590605" y="4301210"/>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71" name="pl105">
                <a:extLst>
                  <a:ext uri="{FF2B5EF4-FFF2-40B4-BE49-F238E27FC236}">
                    <a16:creationId xmlns:a16="http://schemas.microsoft.com/office/drawing/2014/main" id="{1AB39B2B-49EB-0634-5576-EBD4E57924F4}"/>
                  </a:ext>
                </a:extLst>
              </p:cNvPr>
              <p:cNvSpPr/>
              <p:nvPr/>
            </p:nvSpPr>
            <p:spPr>
              <a:xfrm>
                <a:off x="4590605" y="3941210"/>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72" name="pl106">
                <a:extLst>
                  <a:ext uri="{FF2B5EF4-FFF2-40B4-BE49-F238E27FC236}">
                    <a16:creationId xmlns:a16="http://schemas.microsoft.com/office/drawing/2014/main" id="{19A10572-4EA9-953A-7A2E-9F6C30C54D1F}"/>
                  </a:ext>
                </a:extLst>
              </p:cNvPr>
              <p:cNvSpPr/>
              <p:nvPr/>
            </p:nvSpPr>
            <p:spPr>
              <a:xfrm>
                <a:off x="4590605" y="3581210"/>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73" name="pl107">
                <a:extLst>
                  <a:ext uri="{FF2B5EF4-FFF2-40B4-BE49-F238E27FC236}">
                    <a16:creationId xmlns:a16="http://schemas.microsoft.com/office/drawing/2014/main" id="{57886740-5568-981C-FD35-642A100EE493}"/>
                  </a:ext>
                </a:extLst>
              </p:cNvPr>
              <p:cNvSpPr/>
              <p:nvPr/>
            </p:nvSpPr>
            <p:spPr>
              <a:xfrm>
                <a:off x="4590605" y="3221210"/>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76" name="pl108">
                <a:extLst>
                  <a:ext uri="{FF2B5EF4-FFF2-40B4-BE49-F238E27FC236}">
                    <a16:creationId xmlns:a16="http://schemas.microsoft.com/office/drawing/2014/main" id="{5544613B-7747-A9BA-D553-75FEB56F7510}"/>
                  </a:ext>
                </a:extLst>
              </p:cNvPr>
              <p:cNvSpPr/>
              <p:nvPr/>
            </p:nvSpPr>
            <p:spPr>
              <a:xfrm>
                <a:off x="4590605" y="2861210"/>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77" name="pl109">
                <a:extLst>
                  <a:ext uri="{FF2B5EF4-FFF2-40B4-BE49-F238E27FC236}">
                    <a16:creationId xmlns:a16="http://schemas.microsoft.com/office/drawing/2014/main" id="{6E833334-FFAC-BD26-02B9-E598C404776B}"/>
                  </a:ext>
                </a:extLst>
              </p:cNvPr>
              <p:cNvSpPr/>
              <p:nvPr/>
            </p:nvSpPr>
            <p:spPr>
              <a:xfrm>
                <a:off x="4590605" y="2501210"/>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78" name="pl110">
                <a:extLst>
                  <a:ext uri="{FF2B5EF4-FFF2-40B4-BE49-F238E27FC236}">
                    <a16:creationId xmlns:a16="http://schemas.microsoft.com/office/drawing/2014/main" id="{609A2B8F-6ADF-5459-CFA0-44F4DAF76BB4}"/>
                  </a:ext>
                </a:extLst>
              </p:cNvPr>
              <p:cNvSpPr/>
              <p:nvPr/>
            </p:nvSpPr>
            <p:spPr>
              <a:xfrm>
                <a:off x="4590605" y="2141210"/>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80" name="pl111">
                <a:extLst>
                  <a:ext uri="{FF2B5EF4-FFF2-40B4-BE49-F238E27FC236}">
                    <a16:creationId xmlns:a16="http://schemas.microsoft.com/office/drawing/2014/main" id="{CBBF1486-0C56-8673-DE26-DD8B9562B36D}"/>
                  </a:ext>
                </a:extLst>
              </p:cNvPr>
              <p:cNvSpPr/>
              <p:nvPr/>
            </p:nvSpPr>
            <p:spPr>
              <a:xfrm>
                <a:off x="4653867" y="4301210"/>
                <a:ext cx="3239999" cy="0"/>
              </a:xfrm>
              <a:custGeom>
                <a:avLst/>
                <a:gdLst/>
                <a:ahLst/>
                <a:cxnLst/>
                <a:rect l="0" t="0" r="0" b="0"/>
                <a:pathLst>
                  <a:path w="3239999">
                    <a:moveTo>
                      <a:pt x="0" y="0"/>
                    </a:moveTo>
                    <a:lnTo>
                      <a:pt x="3239999"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83" name="pl112">
                <a:extLst>
                  <a:ext uri="{FF2B5EF4-FFF2-40B4-BE49-F238E27FC236}">
                    <a16:creationId xmlns:a16="http://schemas.microsoft.com/office/drawing/2014/main" id="{A56DB6FD-B16C-C287-4383-E323D4C26A52}"/>
                  </a:ext>
                </a:extLst>
              </p:cNvPr>
              <p:cNvSpPr/>
              <p:nvPr/>
            </p:nvSpPr>
            <p:spPr>
              <a:xfrm>
                <a:off x="5027713" y="4301210"/>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01" name="pl113">
                <a:extLst>
                  <a:ext uri="{FF2B5EF4-FFF2-40B4-BE49-F238E27FC236}">
                    <a16:creationId xmlns:a16="http://schemas.microsoft.com/office/drawing/2014/main" id="{CBBAA26F-2F73-EF97-2BBE-C38DBD7946B2}"/>
                  </a:ext>
                </a:extLst>
              </p:cNvPr>
              <p:cNvSpPr/>
              <p:nvPr/>
            </p:nvSpPr>
            <p:spPr>
              <a:xfrm>
                <a:off x="5650790" y="4301210"/>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02" name="pl114">
                <a:extLst>
                  <a:ext uri="{FF2B5EF4-FFF2-40B4-BE49-F238E27FC236}">
                    <a16:creationId xmlns:a16="http://schemas.microsoft.com/office/drawing/2014/main" id="{4C260613-4718-9D1E-DBFA-1B759EE099BF}"/>
                  </a:ext>
                </a:extLst>
              </p:cNvPr>
              <p:cNvSpPr/>
              <p:nvPr/>
            </p:nvSpPr>
            <p:spPr>
              <a:xfrm>
                <a:off x="6273867" y="4301210"/>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03" name="pl115">
                <a:extLst>
                  <a:ext uri="{FF2B5EF4-FFF2-40B4-BE49-F238E27FC236}">
                    <a16:creationId xmlns:a16="http://schemas.microsoft.com/office/drawing/2014/main" id="{01D554F4-AC11-A714-162D-CDBD0DF0C556}"/>
                  </a:ext>
                </a:extLst>
              </p:cNvPr>
              <p:cNvSpPr/>
              <p:nvPr/>
            </p:nvSpPr>
            <p:spPr>
              <a:xfrm>
                <a:off x="6896944" y="4301210"/>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04" name="pl116">
                <a:extLst>
                  <a:ext uri="{FF2B5EF4-FFF2-40B4-BE49-F238E27FC236}">
                    <a16:creationId xmlns:a16="http://schemas.microsoft.com/office/drawing/2014/main" id="{7E144531-CD69-C328-E208-D0715E3B00F9}"/>
                  </a:ext>
                </a:extLst>
              </p:cNvPr>
              <p:cNvSpPr/>
              <p:nvPr/>
            </p:nvSpPr>
            <p:spPr>
              <a:xfrm>
                <a:off x="7520021" y="4301210"/>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05" name="tx122">
                <a:extLst>
                  <a:ext uri="{FF2B5EF4-FFF2-40B4-BE49-F238E27FC236}">
                    <a16:creationId xmlns:a16="http://schemas.microsoft.com/office/drawing/2014/main" id="{005228A8-7E45-E0E4-4D08-90A0BBCF8C0D}"/>
                  </a:ext>
                </a:extLst>
              </p:cNvPr>
              <p:cNvSpPr/>
              <p:nvPr/>
            </p:nvSpPr>
            <p:spPr>
              <a:xfrm rot="-5400000">
                <a:off x="4249440" y="3178690"/>
                <a:ext cx="176593" cy="85039"/>
              </a:xfrm>
              <a:prstGeom prst="rect">
                <a:avLst/>
              </a:prstGeom>
              <a:noFill/>
            </p:spPr>
            <p:txBody>
              <a:bodyPr wrap="none" lIns="0" tIns="0" rIns="0" bIns="0" anchor="ctr" anchorCtr="1"/>
              <a:lstStyle/>
              <a:p>
                <a:pPr marL="0" marR="0" lvl="0" indent="0" algn="l" defTabSz="914355" rtl="0" eaLnBrk="1" fontAlgn="auto" latinLnBrk="0" hangingPunct="1">
                  <a:lnSpc>
                    <a:spcPts val="900"/>
                  </a:lnSpc>
                  <a:spcBef>
                    <a:spcPts val="0"/>
                  </a:spcBef>
                  <a:spcAft>
                    <a:spcPts val="0"/>
                  </a:spcAft>
                  <a:buClrTx/>
                  <a:buSzTx/>
                  <a:buFontTx/>
                  <a:buNone/>
                  <a:tabLst/>
                  <a:defRPr/>
                </a:pPr>
                <a:r>
                  <a:rPr kumimoji="0" lang="en-GB" sz="900" b="1" i="0" u="none" strike="noStrike" kern="1200" cap="none" spc="0" normalizeH="0" baseline="0" noProof="0">
                    <a:ln>
                      <a:noFill/>
                    </a:ln>
                    <a:solidFill>
                      <a:srgbClr val="001965">
                        <a:alpha val="100000"/>
                      </a:srgbClr>
                    </a:solidFill>
                    <a:effectLst/>
                    <a:uLnTx/>
                    <a:uFillTx/>
                    <a:latin typeface="Avenir Next LT Pro"/>
                    <a:ea typeface="+mn-ea"/>
                    <a:cs typeface="Avenir Next LT Pro"/>
                  </a:rPr>
                  <a:t>Cardiac output (ml/min)</a:t>
                </a:r>
                <a:endParaRPr kumimoji="0" sz="900" b="1" i="0" u="none" strike="noStrike" kern="1200" cap="none" spc="0" normalizeH="0" baseline="0" noProof="0">
                  <a:ln>
                    <a:noFill/>
                  </a:ln>
                  <a:solidFill>
                    <a:srgbClr val="001965">
                      <a:alpha val="100000"/>
                    </a:srgbClr>
                  </a:solidFill>
                  <a:effectLst/>
                  <a:uLnTx/>
                  <a:uFillTx/>
                  <a:latin typeface="Avenir Next LT Pro"/>
                  <a:ea typeface="+mn-ea"/>
                  <a:cs typeface="Avenir Next LT Pro"/>
                </a:endParaRPr>
              </a:p>
            </p:txBody>
          </p:sp>
        </p:grpSp>
        <p:sp>
          <p:nvSpPr>
            <p:cNvPr id="42" name="tx125">
              <a:extLst>
                <a:ext uri="{FF2B5EF4-FFF2-40B4-BE49-F238E27FC236}">
                  <a16:creationId xmlns:a16="http://schemas.microsoft.com/office/drawing/2014/main" id="{5048F3C1-30C6-879C-2712-18968D0229EC}"/>
                </a:ext>
              </a:extLst>
            </p:cNvPr>
            <p:cNvSpPr/>
            <p:nvPr/>
          </p:nvSpPr>
          <p:spPr>
            <a:xfrm>
              <a:off x="-3618746" y="5092008"/>
              <a:ext cx="568085" cy="67181"/>
            </a:xfrm>
            <a:prstGeom prst="rect">
              <a:avLst/>
            </a:prstGeom>
            <a:noFill/>
          </p:spPr>
          <p:txBody>
            <a:bodyPr wrap="none" lIns="0" tIns="0" rIns="0" bIns="0" anchor="t" anchorCtr="1"/>
            <a:lstStyle/>
            <a:p>
              <a:pPr marL="0" marR="0" lvl="0" indent="0" algn="ctr" defTabSz="914355"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Sham-Vehicle</a:t>
              </a:r>
            </a:p>
          </p:txBody>
        </p:sp>
        <p:sp>
          <p:nvSpPr>
            <p:cNvPr id="43" name="tx126">
              <a:extLst>
                <a:ext uri="{FF2B5EF4-FFF2-40B4-BE49-F238E27FC236}">
                  <a16:creationId xmlns:a16="http://schemas.microsoft.com/office/drawing/2014/main" id="{5A6388A9-57BD-1D9C-7A67-FC307CC03740}"/>
                </a:ext>
              </a:extLst>
            </p:cNvPr>
            <p:cNvSpPr/>
            <p:nvPr/>
          </p:nvSpPr>
          <p:spPr>
            <a:xfrm>
              <a:off x="-2926068" y="5092008"/>
              <a:ext cx="448497" cy="67181"/>
            </a:xfrm>
            <a:prstGeom prst="rect">
              <a:avLst/>
            </a:prstGeom>
            <a:noFill/>
          </p:spPr>
          <p:txBody>
            <a:bodyPr wrap="none" lIns="0" tIns="0" rIns="0" bIns="0" anchor="t" anchorCtr="1"/>
            <a:lstStyle/>
            <a:p>
              <a:pPr marL="0" marR="0" lvl="0" indent="0" algn="ctr" defTabSz="914355"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Vehicle</a:t>
              </a:r>
            </a:p>
          </p:txBody>
        </p:sp>
        <p:sp>
          <p:nvSpPr>
            <p:cNvPr id="44" name="tx127">
              <a:extLst>
                <a:ext uri="{FF2B5EF4-FFF2-40B4-BE49-F238E27FC236}">
                  <a16:creationId xmlns:a16="http://schemas.microsoft.com/office/drawing/2014/main" id="{2C0EB466-D0B7-4F8E-8982-FA05DB9B3BC0}"/>
                </a:ext>
              </a:extLst>
            </p:cNvPr>
            <p:cNvSpPr/>
            <p:nvPr/>
          </p:nvSpPr>
          <p:spPr>
            <a:xfrm>
              <a:off x="-2315974" y="5092008"/>
              <a:ext cx="427751" cy="67181"/>
            </a:xfrm>
            <a:prstGeom prst="rect">
              <a:avLst/>
            </a:prstGeom>
            <a:noFill/>
          </p:spPr>
          <p:txBody>
            <a:bodyPr wrap="none" lIns="0" tIns="0" rIns="0" bIns="0" anchor="t" anchorCtr="1"/>
            <a:lstStyle/>
            <a:p>
              <a:pPr marL="0" marR="0" lvl="0" indent="0" algn="ctr" defTabSz="914355"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A+L+S</a:t>
              </a:r>
              <a:br>
                <a:rPr kumimoji="0" lang="en-GB"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br>
              <a:r>
                <a:rPr kumimoji="0" lang="en-GB"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SoC)</a:t>
              </a:r>
              <a:endPar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endParaRPr>
            </a:p>
          </p:txBody>
        </p:sp>
        <p:sp>
          <p:nvSpPr>
            <p:cNvPr id="45" name="tx128">
              <a:extLst>
                <a:ext uri="{FF2B5EF4-FFF2-40B4-BE49-F238E27FC236}">
                  <a16:creationId xmlns:a16="http://schemas.microsoft.com/office/drawing/2014/main" id="{D09A59FB-B007-7FC5-A89D-6BC56E523F4D}"/>
                </a:ext>
              </a:extLst>
            </p:cNvPr>
            <p:cNvSpPr/>
            <p:nvPr/>
          </p:nvSpPr>
          <p:spPr>
            <a:xfrm>
              <a:off x="-1789635" y="5092008"/>
              <a:ext cx="536175" cy="67181"/>
            </a:xfrm>
            <a:prstGeom prst="rect">
              <a:avLst/>
            </a:prstGeom>
            <a:noFill/>
          </p:spPr>
          <p:txBody>
            <a:bodyPr wrap="none" lIns="0" tIns="0" rIns="0" bIns="0" anchor="t" anchorCtr="1"/>
            <a:lstStyle/>
            <a:p>
              <a:pPr marL="0" marR="0" lvl="0" indent="0" algn="ctr" defTabSz="914355"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UCN2-</a:t>
              </a:r>
              <a:r>
                <a:rPr kumimoji="0" lang="en-GB"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low</a:t>
              </a:r>
              <a:endPar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endParaRPr>
            </a:p>
          </p:txBody>
        </p:sp>
        <p:sp>
          <p:nvSpPr>
            <p:cNvPr id="46" name="tx129">
              <a:extLst>
                <a:ext uri="{FF2B5EF4-FFF2-40B4-BE49-F238E27FC236}">
                  <a16:creationId xmlns:a16="http://schemas.microsoft.com/office/drawing/2014/main" id="{0538DF79-F540-935B-4867-971252538AD5}"/>
                </a:ext>
              </a:extLst>
            </p:cNvPr>
            <p:cNvSpPr/>
            <p:nvPr/>
          </p:nvSpPr>
          <p:spPr>
            <a:xfrm>
              <a:off x="-1182300" y="5092008"/>
              <a:ext cx="566547" cy="67181"/>
            </a:xfrm>
            <a:prstGeom prst="rect">
              <a:avLst/>
            </a:prstGeom>
            <a:noFill/>
          </p:spPr>
          <p:txBody>
            <a:bodyPr wrap="none" lIns="0" tIns="0" rIns="0" bIns="0" anchor="t" anchorCtr="1"/>
            <a:lstStyle/>
            <a:p>
              <a:pPr marL="0" marR="0" lvl="0" indent="0" algn="ctr" defTabSz="914355"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UCN2-</a:t>
              </a:r>
              <a:r>
                <a:rPr kumimoji="0" lang="en-GB"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high</a:t>
              </a:r>
              <a:endPar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endParaRPr>
            </a:p>
          </p:txBody>
        </p:sp>
      </p:grpSp>
      <p:sp>
        <p:nvSpPr>
          <p:cNvPr id="6468" name="tx27">
            <a:extLst>
              <a:ext uri="{FF2B5EF4-FFF2-40B4-BE49-F238E27FC236}">
                <a16:creationId xmlns:a16="http://schemas.microsoft.com/office/drawing/2014/main" id="{BF423AB0-D684-0CE6-FFBB-743C53450ED8}"/>
              </a:ext>
            </a:extLst>
          </p:cNvPr>
          <p:cNvSpPr/>
          <p:nvPr/>
        </p:nvSpPr>
        <p:spPr>
          <a:xfrm>
            <a:off x="6477575" y="3413974"/>
            <a:ext cx="98946" cy="39667"/>
          </a:xfrm>
          <a:prstGeom prst="rect">
            <a:avLst/>
          </a:prstGeom>
          <a:noFill/>
        </p:spPr>
        <p:txBody>
          <a:bodyPr wrap="none" lIns="0" tIns="0" rIns="0" bIns="0" anchor="ctr" anchorCtr="1"/>
          <a:lstStyle/>
          <a:p>
            <a:pPr marL="0" marR="0" lvl="0" indent="0" algn="l" defTabSz="914355" rtl="0" eaLnBrk="1" fontAlgn="auto" latinLnBrk="0" hangingPunct="1">
              <a:lnSpc>
                <a:spcPts val="914"/>
              </a:lnSpc>
              <a:spcBef>
                <a:spcPts val="0"/>
              </a:spcBef>
              <a:spcAft>
                <a:spcPts val="0"/>
              </a:spcAft>
              <a:buClrTx/>
              <a:buSzTx/>
              <a:buFontTx/>
              <a:buNone/>
              <a:tabLst/>
              <a:defRPr/>
            </a:pPr>
            <a:r>
              <a:rPr kumimoji="0" lang="en-US" sz="1400" b="0" i="0" u="none" strike="noStrike" kern="1200" cap="none" spc="0" normalizeH="0" baseline="0" noProof="0">
                <a:ln>
                  <a:noFill/>
                </a:ln>
                <a:solidFill>
                  <a:srgbClr val="00DF86">
                    <a:alpha val="100000"/>
                  </a:srgbClr>
                </a:solidFill>
                <a:effectLst/>
                <a:uLnTx/>
                <a:uFillTx/>
                <a:latin typeface="Avenir Next LT Pro"/>
                <a:ea typeface="+mn-ea"/>
                <a:cs typeface="Avenir Next LT Pro"/>
              </a:rPr>
              <a:t>*</a:t>
            </a:r>
          </a:p>
        </p:txBody>
      </p:sp>
      <p:sp>
        <p:nvSpPr>
          <p:cNvPr id="6469" name="tx26">
            <a:extLst>
              <a:ext uri="{FF2B5EF4-FFF2-40B4-BE49-F238E27FC236}">
                <a16:creationId xmlns:a16="http://schemas.microsoft.com/office/drawing/2014/main" id="{9E733A94-81C8-5834-F2D1-EE7D708A7159}"/>
              </a:ext>
            </a:extLst>
          </p:cNvPr>
          <p:cNvSpPr/>
          <p:nvPr/>
        </p:nvSpPr>
        <p:spPr>
          <a:xfrm>
            <a:off x="4694331" y="3438267"/>
            <a:ext cx="148420" cy="39667"/>
          </a:xfrm>
          <a:prstGeom prst="rect">
            <a:avLst/>
          </a:prstGeom>
          <a:noFill/>
        </p:spPr>
        <p:txBody>
          <a:bodyPr wrap="none" lIns="0" tIns="0" rIns="0" bIns="0" anchor="ctr" anchorCtr="1"/>
          <a:lstStyle/>
          <a:p>
            <a:pPr marL="0" marR="0" lvl="0" indent="0" algn="l" defTabSz="914355" rtl="0" eaLnBrk="1" fontAlgn="auto" latinLnBrk="0" hangingPunct="1">
              <a:lnSpc>
                <a:spcPts val="914"/>
              </a:lnSpc>
              <a:spcBef>
                <a:spcPts val="0"/>
              </a:spcBef>
              <a:spcAft>
                <a:spcPts val="0"/>
              </a:spcAft>
              <a:buClrTx/>
              <a:buSzTx/>
              <a:buFontTx/>
              <a:buNone/>
              <a:tabLst/>
              <a:defRPr/>
            </a:pPr>
            <a:r>
              <a:rPr kumimoji="0" lang="en-US" sz="1400" b="0" i="0" u="none" strike="noStrike" kern="1200" cap="none" spc="0" normalizeH="0" baseline="0" noProof="0">
                <a:ln>
                  <a:noFill/>
                </a:ln>
                <a:solidFill>
                  <a:srgbClr val="A3ADB4">
                    <a:alpha val="100000"/>
                  </a:srgbClr>
                </a:solidFill>
                <a:effectLst/>
                <a:uLnTx/>
                <a:uFillTx/>
                <a:latin typeface="Avenir Next LT Pro"/>
                <a:ea typeface="+mn-ea"/>
                <a:cs typeface="Avenir Next LT Pro"/>
              </a:rPr>
              <a:t>***</a:t>
            </a:r>
          </a:p>
        </p:txBody>
      </p:sp>
      <p:sp>
        <p:nvSpPr>
          <p:cNvPr id="6470" name="tx29">
            <a:extLst>
              <a:ext uri="{FF2B5EF4-FFF2-40B4-BE49-F238E27FC236}">
                <a16:creationId xmlns:a16="http://schemas.microsoft.com/office/drawing/2014/main" id="{CEA5ADDB-F232-ABF1-89D4-C7E117D30A6A}"/>
              </a:ext>
            </a:extLst>
          </p:cNvPr>
          <p:cNvSpPr/>
          <p:nvPr/>
        </p:nvSpPr>
        <p:spPr>
          <a:xfrm>
            <a:off x="7063178" y="3411936"/>
            <a:ext cx="148420" cy="39667"/>
          </a:xfrm>
          <a:prstGeom prst="rect">
            <a:avLst/>
          </a:prstGeom>
          <a:noFill/>
        </p:spPr>
        <p:txBody>
          <a:bodyPr wrap="none" lIns="0" tIns="0" rIns="0" bIns="0" anchor="ctr" anchorCtr="1"/>
          <a:lstStyle/>
          <a:p>
            <a:pPr marL="0" marR="0" lvl="0" indent="0" algn="l" defTabSz="914355" rtl="0" eaLnBrk="1" fontAlgn="auto" latinLnBrk="0" hangingPunct="1">
              <a:lnSpc>
                <a:spcPts val="914"/>
              </a:lnSpc>
              <a:spcBef>
                <a:spcPts val="0"/>
              </a:spcBef>
              <a:spcAft>
                <a:spcPts val="0"/>
              </a:spcAft>
              <a:buClrTx/>
              <a:buSzTx/>
              <a:buFontTx/>
              <a:buNone/>
              <a:tabLst/>
              <a:defRPr/>
            </a:pPr>
            <a:r>
              <a:rPr kumimoji="0" lang="en-US" sz="1400" b="0" i="0" u="none" strike="noStrike" kern="1200" cap="none" spc="0" normalizeH="0" baseline="0" noProof="0">
                <a:ln>
                  <a:noFill/>
                </a:ln>
                <a:solidFill>
                  <a:srgbClr val="00AF82">
                    <a:alpha val="100000"/>
                  </a:srgbClr>
                </a:solidFill>
                <a:effectLst/>
                <a:uLnTx/>
                <a:uFillTx/>
                <a:latin typeface="Avenir Next LT Pro"/>
                <a:ea typeface="+mn-ea"/>
                <a:cs typeface="Avenir Next LT Pro"/>
              </a:rPr>
              <a:t>**</a:t>
            </a:r>
          </a:p>
        </p:txBody>
      </p:sp>
      <p:sp>
        <p:nvSpPr>
          <p:cNvPr id="5" name="Rectangle 4">
            <a:extLst>
              <a:ext uri="{FF2B5EF4-FFF2-40B4-BE49-F238E27FC236}">
                <a16:creationId xmlns:a16="http://schemas.microsoft.com/office/drawing/2014/main" id="{EA553325-F84F-0325-672D-5A31AF89BEDE}"/>
              </a:ext>
            </a:extLst>
          </p:cNvPr>
          <p:cNvSpPr/>
          <p:nvPr/>
        </p:nvSpPr>
        <p:spPr>
          <a:xfrm>
            <a:off x="7842454" y="2603231"/>
            <a:ext cx="3775121" cy="344521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6CF19CF8-6276-7DDB-AC80-D0EF269C0D39}"/>
              </a:ext>
            </a:extLst>
          </p:cNvPr>
          <p:cNvSpPr/>
          <p:nvPr/>
        </p:nvSpPr>
        <p:spPr>
          <a:xfrm>
            <a:off x="7842454" y="2553557"/>
            <a:ext cx="3775121" cy="41771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ED01207D-D5EB-5DFE-CBCB-B005EE9F33E9}"/>
              </a:ext>
            </a:extLst>
          </p:cNvPr>
          <p:cNvSpPr txBox="1">
            <a:spLocks/>
          </p:cNvSpPr>
          <p:nvPr/>
        </p:nvSpPr>
        <p:spPr>
          <a:xfrm>
            <a:off x="8008572" y="2637472"/>
            <a:ext cx="3412553" cy="257359"/>
          </a:xfrm>
          <a:prstGeom prst="rect">
            <a:avLst/>
          </a:prstGeom>
          <a:noFill/>
        </p:spPr>
        <p:txBody>
          <a:bodyPr wrap="square" lIns="0" tIns="35995" rIns="0" bIns="35995">
            <a:sp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Systolic function </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is improved</a:t>
            </a:r>
            <a:endParaRPr kumimoji="0" lang="da-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grpSp>
        <p:nvGrpSpPr>
          <p:cNvPr id="6094" name="grp2">
            <a:extLst>
              <a:ext uri="{FF2B5EF4-FFF2-40B4-BE49-F238E27FC236}">
                <a16:creationId xmlns:a16="http://schemas.microsoft.com/office/drawing/2014/main" id="{F40CFE6B-E791-D1D8-E5A7-C40687A57EF1}"/>
              </a:ext>
            </a:extLst>
          </p:cNvPr>
          <p:cNvGrpSpPr/>
          <p:nvPr/>
        </p:nvGrpSpPr>
        <p:grpSpPr>
          <a:xfrm>
            <a:off x="7968847" y="3286612"/>
            <a:ext cx="3481279" cy="3001221"/>
            <a:chOff x="1416261" y="1949657"/>
            <a:chExt cx="3775023" cy="3162127"/>
          </a:xfrm>
        </p:grpSpPr>
        <p:sp>
          <p:nvSpPr>
            <p:cNvPr id="6095" name="rc4">
              <a:extLst>
                <a:ext uri="{FF2B5EF4-FFF2-40B4-BE49-F238E27FC236}">
                  <a16:creationId xmlns:a16="http://schemas.microsoft.com/office/drawing/2014/main" id="{E88B999C-77D1-5801-6D59-C05B3B4F7EB0}"/>
                </a:ext>
              </a:extLst>
            </p:cNvPr>
            <p:cNvSpPr/>
            <p:nvPr/>
          </p:nvSpPr>
          <p:spPr>
            <a:xfrm>
              <a:off x="1439579" y="1982575"/>
              <a:ext cx="3594535" cy="3129209"/>
            </a:xfrm>
            <a:prstGeom prst="rect">
              <a:avLst/>
            </a:prstGeom>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96" name="rc5">
              <a:extLst>
                <a:ext uri="{FF2B5EF4-FFF2-40B4-BE49-F238E27FC236}">
                  <a16:creationId xmlns:a16="http://schemas.microsoft.com/office/drawing/2014/main" id="{F09C8E2D-C058-D6E1-A93E-995234D9F901}"/>
                </a:ext>
              </a:extLst>
            </p:cNvPr>
            <p:cNvSpPr/>
            <p:nvPr/>
          </p:nvSpPr>
          <p:spPr>
            <a:xfrm>
              <a:off x="1794114" y="2120436"/>
              <a:ext cx="3239999" cy="2159999"/>
            </a:xfrm>
            <a:prstGeom prst="rect">
              <a:avLst/>
            </a:prstGeom>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97" name="pg6">
              <a:extLst>
                <a:ext uri="{FF2B5EF4-FFF2-40B4-BE49-F238E27FC236}">
                  <a16:creationId xmlns:a16="http://schemas.microsoft.com/office/drawing/2014/main" id="{379BB62F-C009-DF24-D77B-A58BCBD30CB9}"/>
                </a:ext>
              </a:extLst>
            </p:cNvPr>
            <p:cNvSpPr/>
            <p:nvPr/>
          </p:nvSpPr>
          <p:spPr>
            <a:xfrm>
              <a:off x="1887576" y="2436357"/>
              <a:ext cx="560769" cy="52706"/>
            </a:xfrm>
            <a:custGeom>
              <a:avLst/>
              <a:gdLst/>
              <a:ahLst/>
              <a:cxnLst/>
              <a:rect l="0" t="0" r="0" b="0"/>
              <a:pathLst>
                <a:path w="560769" h="52706">
                  <a:moveTo>
                    <a:pt x="0" y="0"/>
                  </a:moveTo>
                  <a:lnTo>
                    <a:pt x="0" y="52706"/>
                  </a:lnTo>
                  <a:lnTo>
                    <a:pt x="560769" y="52706"/>
                  </a:lnTo>
                  <a:lnTo>
                    <a:pt x="560769" y="0"/>
                  </a:lnTo>
                  <a:close/>
                </a:path>
              </a:pathLst>
            </a:custGeom>
            <a:solidFill>
              <a:srgbClr val="A3ADB4">
                <a:alpha val="5098"/>
              </a:srgbClr>
            </a:solidFill>
            <a:ln w="13550" cap="flat">
              <a:solidFill>
                <a:srgbClr val="A3ADB4">
                  <a:alpha val="100000"/>
                </a:srgbClr>
              </a:solidFill>
              <a:prstDash val="solid"/>
              <a:miter/>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98" name="pg7">
              <a:extLst>
                <a:ext uri="{FF2B5EF4-FFF2-40B4-BE49-F238E27FC236}">
                  <a16:creationId xmlns:a16="http://schemas.microsoft.com/office/drawing/2014/main" id="{CBE9C4D2-7E01-6C97-A048-100BABEEA065}"/>
                </a:ext>
              </a:extLst>
            </p:cNvPr>
            <p:cNvSpPr/>
            <p:nvPr/>
          </p:nvSpPr>
          <p:spPr>
            <a:xfrm>
              <a:off x="2510653" y="3399968"/>
              <a:ext cx="560769" cy="65796"/>
            </a:xfrm>
            <a:custGeom>
              <a:avLst/>
              <a:gdLst/>
              <a:ahLst/>
              <a:cxnLst/>
              <a:rect l="0" t="0" r="0" b="0"/>
              <a:pathLst>
                <a:path w="560769" h="65796">
                  <a:moveTo>
                    <a:pt x="0" y="0"/>
                  </a:moveTo>
                  <a:lnTo>
                    <a:pt x="0" y="65796"/>
                  </a:lnTo>
                  <a:lnTo>
                    <a:pt x="560769" y="65796"/>
                  </a:lnTo>
                  <a:lnTo>
                    <a:pt x="560769" y="0"/>
                  </a:lnTo>
                  <a:close/>
                </a:path>
              </a:pathLst>
            </a:custGeom>
            <a:solidFill>
              <a:srgbClr val="2E2E2E">
                <a:alpha val="5098"/>
              </a:srgbClr>
            </a:solidFill>
            <a:ln w="13550" cap="flat">
              <a:solidFill>
                <a:srgbClr val="2E2E2E">
                  <a:alpha val="100000"/>
                </a:srgbClr>
              </a:solidFill>
              <a:prstDash val="solid"/>
              <a:miter/>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99" name="pg8">
              <a:extLst>
                <a:ext uri="{FF2B5EF4-FFF2-40B4-BE49-F238E27FC236}">
                  <a16:creationId xmlns:a16="http://schemas.microsoft.com/office/drawing/2014/main" id="{6955F11D-20EF-F922-6145-872E12A0F98A}"/>
                </a:ext>
              </a:extLst>
            </p:cNvPr>
            <p:cNvSpPr/>
            <p:nvPr/>
          </p:nvSpPr>
          <p:spPr>
            <a:xfrm>
              <a:off x="3133730" y="3299631"/>
              <a:ext cx="560769" cy="40913"/>
            </a:xfrm>
            <a:custGeom>
              <a:avLst/>
              <a:gdLst/>
              <a:ahLst/>
              <a:cxnLst/>
              <a:rect l="0" t="0" r="0" b="0"/>
              <a:pathLst>
                <a:path w="560769" h="40913">
                  <a:moveTo>
                    <a:pt x="0" y="0"/>
                  </a:moveTo>
                  <a:lnTo>
                    <a:pt x="0" y="40913"/>
                  </a:lnTo>
                  <a:lnTo>
                    <a:pt x="560769" y="40913"/>
                  </a:lnTo>
                  <a:lnTo>
                    <a:pt x="560769" y="0"/>
                  </a:lnTo>
                  <a:close/>
                </a:path>
              </a:pathLst>
            </a:custGeom>
            <a:solidFill>
              <a:srgbClr val="745DAD">
                <a:alpha val="5098"/>
              </a:srgbClr>
            </a:solidFill>
            <a:ln w="13550" cap="flat">
              <a:solidFill>
                <a:srgbClr val="745DAD">
                  <a:alpha val="100000"/>
                </a:srgbClr>
              </a:solidFill>
              <a:prstDash val="solid"/>
              <a:miter/>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00" name="pg9">
              <a:extLst>
                <a:ext uri="{FF2B5EF4-FFF2-40B4-BE49-F238E27FC236}">
                  <a16:creationId xmlns:a16="http://schemas.microsoft.com/office/drawing/2014/main" id="{BE0A5119-EE84-C722-EB7F-6D3E39633529}"/>
                </a:ext>
              </a:extLst>
            </p:cNvPr>
            <p:cNvSpPr/>
            <p:nvPr/>
          </p:nvSpPr>
          <p:spPr>
            <a:xfrm>
              <a:off x="3756807" y="3251247"/>
              <a:ext cx="560769" cy="52874"/>
            </a:xfrm>
            <a:custGeom>
              <a:avLst/>
              <a:gdLst/>
              <a:ahLst/>
              <a:cxnLst/>
              <a:rect l="0" t="0" r="0" b="0"/>
              <a:pathLst>
                <a:path w="560769" h="52874">
                  <a:moveTo>
                    <a:pt x="0" y="0"/>
                  </a:moveTo>
                  <a:lnTo>
                    <a:pt x="0" y="52874"/>
                  </a:lnTo>
                  <a:lnTo>
                    <a:pt x="560769" y="52874"/>
                  </a:lnTo>
                  <a:lnTo>
                    <a:pt x="560769" y="0"/>
                  </a:lnTo>
                  <a:close/>
                </a:path>
              </a:pathLst>
            </a:custGeom>
            <a:solidFill>
              <a:srgbClr val="00DF86">
                <a:alpha val="5098"/>
              </a:srgbClr>
            </a:solidFill>
            <a:ln w="13550" cap="flat">
              <a:solidFill>
                <a:srgbClr val="00DF86">
                  <a:alpha val="100000"/>
                </a:srgbClr>
              </a:solidFill>
              <a:prstDash val="solid"/>
              <a:miter/>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06" name="pg10">
              <a:extLst>
                <a:ext uri="{FF2B5EF4-FFF2-40B4-BE49-F238E27FC236}">
                  <a16:creationId xmlns:a16="http://schemas.microsoft.com/office/drawing/2014/main" id="{411E828A-CC99-7910-6B79-27E42D9331F4}"/>
                </a:ext>
              </a:extLst>
            </p:cNvPr>
            <p:cNvSpPr/>
            <p:nvPr/>
          </p:nvSpPr>
          <p:spPr>
            <a:xfrm>
              <a:off x="4379884" y="3266267"/>
              <a:ext cx="560769" cy="31702"/>
            </a:xfrm>
            <a:custGeom>
              <a:avLst/>
              <a:gdLst/>
              <a:ahLst/>
              <a:cxnLst/>
              <a:rect l="0" t="0" r="0" b="0"/>
              <a:pathLst>
                <a:path w="560769" h="31702">
                  <a:moveTo>
                    <a:pt x="0" y="0"/>
                  </a:moveTo>
                  <a:lnTo>
                    <a:pt x="0" y="31702"/>
                  </a:lnTo>
                  <a:lnTo>
                    <a:pt x="560769" y="31702"/>
                  </a:lnTo>
                  <a:lnTo>
                    <a:pt x="560769" y="0"/>
                  </a:lnTo>
                  <a:close/>
                </a:path>
              </a:pathLst>
            </a:custGeom>
            <a:solidFill>
              <a:srgbClr val="00AF82">
                <a:alpha val="5098"/>
              </a:srgbClr>
            </a:solidFill>
            <a:ln w="13550" cap="flat">
              <a:solidFill>
                <a:srgbClr val="00AF82">
                  <a:alpha val="100000"/>
                </a:srgbClr>
              </a:solidFill>
              <a:prstDash val="solid"/>
              <a:miter/>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12" name="pl11">
              <a:extLst>
                <a:ext uri="{FF2B5EF4-FFF2-40B4-BE49-F238E27FC236}">
                  <a16:creationId xmlns:a16="http://schemas.microsoft.com/office/drawing/2014/main" id="{E26E5B70-F9D8-2B79-E947-CA6AE61B6103}"/>
                </a:ext>
              </a:extLst>
            </p:cNvPr>
            <p:cNvSpPr/>
            <p:nvPr/>
          </p:nvSpPr>
          <p:spPr>
            <a:xfrm>
              <a:off x="1887576" y="2462710"/>
              <a:ext cx="560769" cy="0"/>
            </a:xfrm>
            <a:custGeom>
              <a:avLst/>
              <a:gdLst/>
              <a:ahLst/>
              <a:cxnLst/>
              <a:rect l="0" t="0" r="0" b="0"/>
              <a:pathLst>
                <a:path w="560769">
                  <a:moveTo>
                    <a:pt x="0" y="0"/>
                  </a:moveTo>
                  <a:lnTo>
                    <a:pt x="560769" y="0"/>
                  </a:lnTo>
                </a:path>
              </a:pathLst>
            </a:custGeom>
            <a:ln w="33876" cap="flat">
              <a:solidFill>
                <a:srgbClr val="A3ADB4">
                  <a:alpha val="100000"/>
                </a:srgbClr>
              </a:solidFill>
              <a:prstDash val="solid"/>
              <a:miter/>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13" name="pl12">
              <a:extLst>
                <a:ext uri="{FF2B5EF4-FFF2-40B4-BE49-F238E27FC236}">
                  <a16:creationId xmlns:a16="http://schemas.microsoft.com/office/drawing/2014/main" id="{E01C60BF-0322-4007-0CC8-03F9A84B1071}"/>
                </a:ext>
              </a:extLst>
            </p:cNvPr>
            <p:cNvSpPr/>
            <p:nvPr/>
          </p:nvSpPr>
          <p:spPr>
            <a:xfrm>
              <a:off x="2510653" y="3432867"/>
              <a:ext cx="560769" cy="0"/>
            </a:xfrm>
            <a:custGeom>
              <a:avLst/>
              <a:gdLst/>
              <a:ahLst/>
              <a:cxnLst/>
              <a:rect l="0" t="0" r="0" b="0"/>
              <a:pathLst>
                <a:path w="560769">
                  <a:moveTo>
                    <a:pt x="0" y="0"/>
                  </a:moveTo>
                  <a:lnTo>
                    <a:pt x="560769" y="0"/>
                  </a:lnTo>
                </a:path>
              </a:pathLst>
            </a:custGeom>
            <a:ln w="33876" cap="flat">
              <a:solidFill>
                <a:srgbClr val="2E2E2E">
                  <a:alpha val="100000"/>
                </a:srgbClr>
              </a:solidFill>
              <a:prstDash val="solid"/>
              <a:miter/>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17" name="pl13">
              <a:extLst>
                <a:ext uri="{FF2B5EF4-FFF2-40B4-BE49-F238E27FC236}">
                  <a16:creationId xmlns:a16="http://schemas.microsoft.com/office/drawing/2014/main" id="{C6D63275-1648-7BBB-5908-24D415106EA9}"/>
                </a:ext>
              </a:extLst>
            </p:cNvPr>
            <p:cNvSpPr/>
            <p:nvPr/>
          </p:nvSpPr>
          <p:spPr>
            <a:xfrm>
              <a:off x="3133730" y="3320088"/>
              <a:ext cx="560769" cy="0"/>
            </a:xfrm>
            <a:custGeom>
              <a:avLst/>
              <a:gdLst/>
              <a:ahLst/>
              <a:cxnLst/>
              <a:rect l="0" t="0" r="0" b="0"/>
              <a:pathLst>
                <a:path w="560769">
                  <a:moveTo>
                    <a:pt x="0" y="0"/>
                  </a:moveTo>
                  <a:lnTo>
                    <a:pt x="560769" y="0"/>
                  </a:lnTo>
                </a:path>
              </a:pathLst>
            </a:custGeom>
            <a:ln w="33876" cap="flat">
              <a:solidFill>
                <a:srgbClr val="745DAD">
                  <a:alpha val="100000"/>
                </a:srgbClr>
              </a:solidFill>
              <a:prstDash val="solid"/>
              <a:miter/>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18" name="pl14">
              <a:extLst>
                <a:ext uri="{FF2B5EF4-FFF2-40B4-BE49-F238E27FC236}">
                  <a16:creationId xmlns:a16="http://schemas.microsoft.com/office/drawing/2014/main" id="{D7ED102B-117C-D55E-BEF1-4F4033315948}"/>
                </a:ext>
              </a:extLst>
            </p:cNvPr>
            <p:cNvSpPr/>
            <p:nvPr/>
          </p:nvSpPr>
          <p:spPr>
            <a:xfrm>
              <a:off x="3756807" y="3277685"/>
              <a:ext cx="560769" cy="0"/>
            </a:xfrm>
            <a:custGeom>
              <a:avLst/>
              <a:gdLst/>
              <a:ahLst/>
              <a:cxnLst/>
              <a:rect l="0" t="0" r="0" b="0"/>
              <a:pathLst>
                <a:path w="560769">
                  <a:moveTo>
                    <a:pt x="0" y="0"/>
                  </a:moveTo>
                  <a:lnTo>
                    <a:pt x="560769" y="0"/>
                  </a:lnTo>
                </a:path>
              </a:pathLst>
            </a:custGeom>
            <a:ln w="33876" cap="flat">
              <a:solidFill>
                <a:srgbClr val="00DF86">
                  <a:alpha val="100000"/>
                </a:srgbClr>
              </a:solidFill>
              <a:prstDash val="solid"/>
              <a:miter/>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19" name="pl15">
              <a:extLst>
                <a:ext uri="{FF2B5EF4-FFF2-40B4-BE49-F238E27FC236}">
                  <a16:creationId xmlns:a16="http://schemas.microsoft.com/office/drawing/2014/main" id="{18CD396F-4BD1-4A1E-3481-D42BD66C192E}"/>
                </a:ext>
              </a:extLst>
            </p:cNvPr>
            <p:cNvSpPr/>
            <p:nvPr/>
          </p:nvSpPr>
          <p:spPr>
            <a:xfrm>
              <a:off x="4379884" y="3282118"/>
              <a:ext cx="560769" cy="0"/>
            </a:xfrm>
            <a:custGeom>
              <a:avLst/>
              <a:gdLst/>
              <a:ahLst/>
              <a:cxnLst/>
              <a:rect l="0" t="0" r="0" b="0"/>
              <a:pathLst>
                <a:path w="560769">
                  <a:moveTo>
                    <a:pt x="0" y="0"/>
                  </a:moveTo>
                  <a:lnTo>
                    <a:pt x="560769" y="0"/>
                  </a:lnTo>
                </a:path>
              </a:pathLst>
            </a:custGeom>
            <a:ln w="33876" cap="flat">
              <a:solidFill>
                <a:srgbClr val="00AF82">
                  <a:alpha val="100000"/>
                </a:srgbClr>
              </a:solidFill>
              <a:prstDash val="solid"/>
              <a:miter/>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20" name="pt16">
              <a:extLst>
                <a:ext uri="{FF2B5EF4-FFF2-40B4-BE49-F238E27FC236}">
                  <a16:creationId xmlns:a16="http://schemas.microsoft.com/office/drawing/2014/main" id="{B94E3356-E258-32F8-5D8D-0609D200FF5E}"/>
                </a:ext>
              </a:extLst>
            </p:cNvPr>
            <p:cNvSpPr/>
            <p:nvPr/>
          </p:nvSpPr>
          <p:spPr>
            <a:xfrm>
              <a:off x="2062246" y="2598754"/>
              <a:ext cx="36101" cy="36101"/>
            </a:xfrm>
            <a:prstGeom prst="ellipse">
              <a:avLst/>
            </a:prstGeom>
            <a:solidFill>
              <a:srgbClr val="A3ADB4">
                <a:alpha val="100000"/>
              </a:srgbClr>
            </a:solidFill>
            <a:ln w="9000" cap="rnd">
              <a:solidFill>
                <a:srgbClr val="A3ADB4">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21" name="pt17">
              <a:extLst>
                <a:ext uri="{FF2B5EF4-FFF2-40B4-BE49-F238E27FC236}">
                  <a16:creationId xmlns:a16="http://schemas.microsoft.com/office/drawing/2014/main" id="{F363CFD9-C1F8-CF61-52CA-30EB315EE22D}"/>
                </a:ext>
              </a:extLst>
            </p:cNvPr>
            <p:cNvSpPr/>
            <p:nvPr/>
          </p:nvSpPr>
          <p:spPr>
            <a:xfrm>
              <a:off x="2102104" y="2417962"/>
              <a:ext cx="36101" cy="36101"/>
            </a:xfrm>
            <a:prstGeom prst="ellipse">
              <a:avLst/>
            </a:prstGeom>
            <a:solidFill>
              <a:srgbClr val="A3ADB4">
                <a:alpha val="100000"/>
              </a:srgbClr>
            </a:solidFill>
            <a:ln w="9000" cap="rnd">
              <a:solidFill>
                <a:srgbClr val="A3ADB4">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22" name="pt18">
              <a:extLst>
                <a:ext uri="{FF2B5EF4-FFF2-40B4-BE49-F238E27FC236}">
                  <a16:creationId xmlns:a16="http://schemas.microsoft.com/office/drawing/2014/main" id="{C45DF134-1623-1DE1-8CAE-C6DDD9513263}"/>
                </a:ext>
              </a:extLst>
            </p:cNvPr>
            <p:cNvSpPr/>
            <p:nvPr/>
          </p:nvSpPr>
          <p:spPr>
            <a:xfrm>
              <a:off x="2177146" y="2448202"/>
              <a:ext cx="36101" cy="36101"/>
            </a:xfrm>
            <a:prstGeom prst="ellipse">
              <a:avLst/>
            </a:prstGeom>
            <a:solidFill>
              <a:srgbClr val="A3ADB4">
                <a:alpha val="100000"/>
              </a:srgbClr>
            </a:solidFill>
            <a:ln w="9000" cap="rnd">
              <a:solidFill>
                <a:srgbClr val="A3ADB4">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23" name="pt19">
              <a:extLst>
                <a:ext uri="{FF2B5EF4-FFF2-40B4-BE49-F238E27FC236}">
                  <a16:creationId xmlns:a16="http://schemas.microsoft.com/office/drawing/2014/main" id="{0CBD6B03-4822-EA30-477F-8B84CE0C953A}"/>
                </a:ext>
              </a:extLst>
            </p:cNvPr>
            <p:cNvSpPr/>
            <p:nvPr/>
          </p:nvSpPr>
          <p:spPr>
            <a:xfrm>
              <a:off x="2302517" y="2433946"/>
              <a:ext cx="36101" cy="36101"/>
            </a:xfrm>
            <a:prstGeom prst="ellipse">
              <a:avLst/>
            </a:prstGeom>
            <a:solidFill>
              <a:srgbClr val="A3ADB4">
                <a:alpha val="100000"/>
              </a:srgbClr>
            </a:solidFill>
            <a:ln w="9000" cap="rnd">
              <a:solidFill>
                <a:srgbClr val="A3ADB4">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24" name="pt20">
              <a:extLst>
                <a:ext uri="{FF2B5EF4-FFF2-40B4-BE49-F238E27FC236}">
                  <a16:creationId xmlns:a16="http://schemas.microsoft.com/office/drawing/2014/main" id="{74CB2D7D-4713-67B4-5377-260C133CEB30}"/>
                </a:ext>
              </a:extLst>
            </p:cNvPr>
            <p:cNvSpPr/>
            <p:nvPr/>
          </p:nvSpPr>
          <p:spPr>
            <a:xfrm>
              <a:off x="2038385" y="2376490"/>
              <a:ext cx="36101" cy="36101"/>
            </a:xfrm>
            <a:prstGeom prst="ellipse">
              <a:avLst/>
            </a:prstGeom>
            <a:solidFill>
              <a:srgbClr val="A3ADB4">
                <a:alpha val="100000"/>
              </a:srgbClr>
            </a:solidFill>
            <a:ln w="9000" cap="rnd">
              <a:solidFill>
                <a:srgbClr val="A3ADB4">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25" name="pt21">
              <a:extLst>
                <a:ext uri="{FF2B5EF4-FFF2-40B4-BE49-F238E27FC236}">
                  <a16:creationId xmlns:a16="http://schemas.microsoft.com/office/drawing/2014/main" id="{53FEB029-A393-6E7B-9A5A-FBAA409ACE59}"/>
                </a:ext>
              </a:extLst>
            </p:cNvPr>
            <p:cNvSpPr/>
            <p:nvPr/>
          </p:nvSpPr>
          <p:spPr>
            <a:xfrm>
              <a:off x="2298846" y="2556850"/>
              <a:ext cx="36101" cy="36101"/>
            </a:xfrm>
            <a:prstGeom prst="ellipse">
              <a:avLst/>
            </a:prstGeom>
            <a:solidFill>
              <a:srgbClr val="A3ADB4">
                <a:alpha val="100000"/>
              </a:srgbClr>
            </a:solidFill>
            <a:ln w="9000" cap="rnd">
              <a:solidFill>
                <a:srgbClr val="A3ADB4">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26" name="pt22">
              <a:extLst>
                <a:ext uri="{FF2B5EF4-FFF2-40B4-BE49-F238E27FC236}">
                  <a16:creationId xmlns:a16="http://schemas.microsoft.com/office/drawing/2014/main" id="{6BC174D1-5EB1-C968-3660-787928B9B7A7}"/>
                </a:ext>
              </a:extLst>
            </p:cNvPr>
            <p:cNvSpPr/>
            <p:nvPr/>
          </p:nvSpPr>
          <p:spPr>
            <a:xfrm>
              <a:off x="2316150" y="2479090"/>
              <a:ext cx="36101" cy="36101"/>
            </a:xfrm>
            <a:prstGeom prst="ellipse">
              <a:avLst/>
            </a:prstGeom>
            <a:solidFill>
              <a:srgbClr val="A3ADB4">
                <a:alpha val="100000"/>
              </a:srgbClr>
            </a:solidFill>
            <a:ln w="9000" cap="rnd">
              <a:solidFill>
                <a:srgbClr val="A3ADB4">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27" name="pt23">
              <a:extLst>
                <a:ext uri="{FF2B5EF4-FFF2-40B4-BE49-F238E27FC236}">
                  <a16:creationId xmlns:a16="http://schemas.microsoft.com/office/drawing/2014/main" id="{68FFC90A-EB9D-9CEB-542B-155FA5D909EF}"/>
                </a:ext>
              </a:extLst>
            </p:cNvPr>
            <p:cNvSpPr/>
            <p:nvPr/>
          </p:nvSpPr>
          <p:spPr>
            <a:xfrm>
              <a:off x="2210023" y="2384698"/>
              <a:ext cx="36101" cy="36101"/>
            </a:xfrm>
            <a:prstGeom prst="ellipse">
              <a:avLst/>
            </a:prstGeom>
            <a:solidFill>
              <a:srgbClr val="A3ADB4">
                <a:alpha val="100000"/>
              </a:srgbClr>
            </a:solidFill>
            <a:ln w="9000" cap="rnd">
              <a:solidFill>
                <a:srgbClr val="A3ADB4">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28" name="pt24">
              <a:extLst>
                <a:ext uri="{FF2B5EF4-FFF2-40B4-BE49-F238E27FC236}">
                  <a16:creationId xmlns:a16="http://schemas.microsoft.com/office/drawing/2014/main" id="{3DF4A0B0-B767-4C2B-0214-BA891D19F451}"/>
                </a:ext>
              </a:extLst>
            </p:cNvPr>
            <p:cNvSpPr/>
            <p:nvPr/>
          </p:nvSpPr>
          <p:spPr>
            <a:xfrm>
              <a:off x="2198179" y="2319250"/>
              <a:ext cx="36101" cy="36101"/>
            </a:xfrm>
            <a:prstGeom prst="ellipse">
              <a:avLst/>
            </a:prstGeom>
            <a:solidFill>
              <a:srgbClr val="A3ADB4">
                <a:alpha val="100000"/>
              </a:srgbClr>
            </a:solidFill>
            <a:ln w="9000" cap="rnd">
              <a:solidFill>
                <a:srgbClr val="A3ADB4">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29" name="pt25">
              <a:extLst>
                <a:ext uri="{FF2B5EF4-FFF2-40B4-BE49-F238E27FC236}">
                  <a16:creationId xmlns:a16="http://schemas.microsoft.com/office/drawing/2014/main" id="{33A667E7-2A6B-E41B-AB7F-207C8613458B}"/>
                </a:ext>
              </a:extLst>
            </p:cNvPr>
            <p:cNvSpPr/>
            <p:nvPr/>
          </p:nvSpPr>
          <p:spPr>
            <a:xfrm>
              <a:off x="1986085" y="2431354"/>
              <a:ext cx="36101" cy="36101"/>
            </a:xfrm>
            <a:prstGeom prst="ellipse">
              <a:avLst/>
            </a:prstGeom>
            <a:solidFill>
              <a:srgbClr val="A3ADB4">
                <a:alpha val="100000"/>
              </a:srgbClr>
            </a:solidFill>
            <a:ln w="9000" cap="rnd">
              <a:solidFill>
                <a:srgbClr val="A3ADB4">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30" name="pt26">
              <a:extLst>
                <a:ext uri="{FF2B5EF4-FFF2-40B4-BE49-F238E27FC236}">
                  <a16:creationId xmlns:a16="http://schemas.microsoft.com/office/drawing/2014/main" id="{604B48B1-79CA-D2EC-A523-CF14AB8477E2}"/>
                </a:ext>
              </a:extLst>
            </p:cNvPr>
            <p:cNvSpPr/>
            <p:nvPr/>
          </p:nvSpPr>
          <p:spPr>
            <a:xfrm>
              <a:off x="2663066" y="3398386"/>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31" name="pt27">
              <a:extLst>
                <a:ext uri="{FF2B5EF4-FFF2-40B4-BE49-F238E27FC236}">
                  <a16:creationId xmlns:a16="http://schemas.microsoft.com/office/drawing/2014/main" id="{8251C71E-163F-1ED6-C26A-7DCC58F1EF2E}"/>
                </a:ext>
              </a:extLst>
            </p:cNvPr>
            <p:cNvSpPr/>
            <p:nvPr/>
          </p:nvSpPr>
          <p:spPr>
            <a:xfrm>
              <a:off x="2652069" y="3441802"/>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32" name="pt28">
              <a:extLst>
                <a:ext uri="{FF2B5EF4-FFF2-40B4-BE49-F238E27FC236}">
                  <a16:creationId xmlns:a16="http://schemas.microsoft.com/office/drawing/2014/main" id="{1423C0D5-2482-2B16-C0FD-1DC185226AFA}"/>
                </a:ext>
              </a:extLst>
            </p:cNvPr>
            <p:cNvSpPr/>
            <p:nvPr/>
          </p:nvSpPr>
          <p:spPr>
            <a:xfrm>
              <a:off x="2842905" y="3468154"/>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33" name="pt29">
              <a:extLst>
                <a:ext uri="{FF2B5EF4-FFF2-40B4-BE49-F238E27FC236}">
                  <a16:creationId xmlns:a16="http://schemas.microsoft.com/office/drawing/2014/main" id="{6DD9578E-9B37-2E7B-6311-EA385FE7CC04}"/>
                </a:ext>
              </a:extLst>
            </p:cNvPr>
            <p:cNvSpPr/>
            <p:nvPr/>
          </p:nvSpPr>
          <p:spPr>
            <a:xfrm>
              <a:off x="2729659" y="3512218"/>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34" name="pt30">
              <a:extLst>
                <a:ext uri="{FF2B5EF4-FFF2-40B4-BE49-F238E27FC236}">
                  <a16:creationId xmlns:a16="http://schemas.microsoft.com/office/drawing/2014/main" id="{ED9D9FD3-BFF4-9243-146E-8054DC489AE1}"/>
                </a:ext>
              </a:extLst>
            </p:cNvPr>
            <p:cNvSpPr/>
            <p:nvPr/>
          </p:nvSpPr>
          <p:spPr>
            <a:xfrm>
              <a:off x="2873866" y="3477226"/>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35" name="pt31">
              <a:extLst>
                <a:ext uri="{FF2B5EF4-FFF2-40B4-BE49-F238E27FC236}">
                  <a16:creationId xmlns:a16="http://schemas.microsoft.com/office/drawing/2014/main" id="{845AC48F-33C7-1ACE-3961-814EEF032277}"/>
                </a:ext>
              </a:extLst>
            </p:cNvPr>
            <p:cNvSpPr/>
            <p:nvPr/>
          </p:nvSpPr>
          <p:spPr>
            <a:xfrm>
              <a:off x="2772127" y="3388882"/>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36" name="pt32">
              <a:extLst>
                <a:ext uri="{FF2B5EF4-FFF2-40B4-BE49-F238E27FC236}">
                  <a16:creationId xmlns:a16="http://schemas.microsoft.com/office/drawing/2014/main" id="{C32C8AD7-FD21-85DD-E20C-6D36828A6998}"/>
                </a:ext>
              </a:extLst>
            </p:cNvPr>
            <p:cNvSpPr/>
            <p:nvPr/>
          </p:nvSpPr>
          <p:spPr>
            <a:xfrm>
              <a:off x="2854343" y="3329698"/>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37" name="pt33">
              <a:extLst>
                <a:ext uri="{FF2B5EF4-FFF2-40B4-BE49-F238E27FC236}">
                  <a16:creationId xmlns:a16="http://schemas.microsoft.com/office/drawing/2014/main" id="{69DA439C-4867-5175-B40F-1E3E21BB4DEA}"/>
                </a:ext>
              </a:extLst>
            </p:cNvPr>
            <p:cNvSpPr/>
            <p:nvPr/>
          </p:nvSpPr>
          <p:spPr>
            <a:xfrm>
              <a:off x="2956884" y="3326674"/>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38" name="pt34">
              <a:extLst>
                <a:ext uri="{FF2B5EF4-FFF2-40B4-BE49-F238E27FC236}">
                  <a16:creationId xmlns:a16="http://schemas.microsoft.com/office/drawing/2014/main" id="{B72D0E4C-D416-5113-AE25-AD66EED80E8D}"/>
                </a:ext>
              </a:extLst>
            </p:cNvPr>
            <p:cNvSpPr/>
            <p:nvPr/>
          </p:nvSpPr>
          <p:spPr>
            <a:xfrm>
              <a:off x="2728138" y="3396226"/>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39" name="pt35">
              <a:extLst>
                <a:ext uri="{FF2B5EF4-FFF2-40B4-BE49-F238E27FC236}">
                  <a16:creationId xmlns:a16="http://schemas.microsoft.com/office/drawing/2014/main" id="{10E9A890-1E28-ED80-99DE-0F2FB906B30C}"/>
                </a:ext>
              </a:extLst>
            </p:cNvPr>
            <p:cNvSpPr/>
            <p:nvPr/>
          </p:nvSpPr>
          <p:spPr>
            <a:xfrm>
              <a:off x="2876709" y="3318034"/>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40" name="pt36">
              <a:extLst>
                <a:ext uri="{FF2B5EF4-FFF2-40B4-BE49-F238E27FC236}">
                  <a16:creationId xmlns:a16="http://schemas.microsoft.com/office/drawing/2014/main" id="{3BC8DF68-8DB4-B31E-2BEE-C6E5EEBC7BE9}"/>
                </a:ext>
              </a:extLst>
            </p:cNvPr>
            <p:cNvSpPr/>
            <p:nvPr/>
          </p:nvSpPr>
          <p:spPr>
            <a:xfrm>
              <a:off x="2935500" y="3467938"/>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41" name="pt37">
              <a:extLst>
                <a:ext uri="{FF2B5EF4-FFF2-40B4-BE49-F238E27FC236}">
                  <a16:creationId xmlns:a16="http://schemas.microsoft.com/office/drawing/2014/main" id="{833416AE-E07D-337D-A7B4-5A9B8F4DBCEC}"/>
                </a:ext>
              </a:extLst>
            </p:cNvPr>
            <p:cNvSpPr/>
            <p:nvPr/>
          </p:nvSpPr>
          <p:spPr>
            <a:xfrm>
              <a:off x="2665372" y="3233794"/>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42" name="pt38">
              <a:extLst>
                <a:ext uri="{FF2B5EF4-FFF2-40B4-BE49-F238E27FC236}">
                  <a16:creationId xmlns:a16="http://schemas.microsoft.com/office/drawing/2014/main" id="{66D23EC4-A8E8-35FE-1A1E-0AB75D4C09BD}"/>
                </a:ext>
              </a:extLst>
            </p:cNvPr>
            <p:cNvSpPr/>
            <p:nvPr/>
          </p:nvSpPr>
          <p:spPr>
            <a:xfrm>
              <a:off x="2829689" y="3540514"/>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43" name="pt39">
              <a:extLst>
                <a:ext uri="{FF2B5EF4-FFF2-40B4-BE49-F238E27FC236}">
                  <a16:creationId xmlns:a16="http://schemas.microsoft.com/office/drawing/2014/main" id="{AA185A7E-7743-CE00-CE41-82D408CEF57F}"/>
                </a:ext>
              </a:extLst>
            </p:cNvPr>
            <p:cNvSpPr/>
            <p:nvPr/>
          </p:nvSpPr>
          <p:spPr>
            <a:xfrm>
              <a:off x="2633002" y="3207442"/>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592" name="pt40">
              <a:extLst>
                <a:ext uri="{FF2B5EF4-FFF2-40B4-BE49-F238E27FC236}">
                  <a16:creationId xmlns:a16="http://schemas.microsoft.com/office/drawing/2014/main" id="{DBE38840-A43B-EFA4-BE55-5E926F8885BE}"/>
                </a:ext>
              </a:extLst>
            </p:cNvPr>
            <p:cNvSpPr/>
            <p:nvPr/>
          </p:nvSpPr>
          <p:spPr>
            <a:xfrm>
              <a:off x="2685963" y="3715258"/>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593" name="pt41">
              <a:extLst>
                <a:ext uri="{FF2B5EF4-FFF2-40B4-BE49-F238E27FC236}">
                  <a16:creationId xmlns:a16="http://schemas.microsoft.com/office/drawing/2014/main" id="{B52889E9-ADFC-E231-F058-65572C9F54F6}"/>
                </a:ext>
              </a:extLst>
            </p:cNvPr>
            <p:cNvSpPr/>
            <p:nvPr/>
          </p:nvSpPr>
          <p:spPr>
            <a:xfrm>
              <a:off x="3353488" y="3298378"/>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594" name="pt42">
              <a:extLst>
                <a:ext uri="{FF2B5EF4-FFF2-40B4-BE49-F238E27FC236}">
                  <a16:creationId xmlns:a16="http://schemas.microsoft.com/office/drawing/2014/main" id="{02F9E7A7-1309-6961-F246-FEAF77AA81E1}"/>
                </a:ext>
              </a:extLst>
            </p:cNvPr>
            <p:cNvSpPr/>
            <p:nvPr/>
          </p:nvSpPr>
          <p:spPr>
            <a:xfrm>
              <a:off x="3214147" y="3340498"/>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595" name="pt43">
              <a:extLst>
                <a:ext uri="{FF2B5EF4-FFF2-40B4-BE49-F238E27FC236}">
                  <a16:creationId xmlns:a16="http://schemas.microsoft.com/office/drawing/2014/main" id="{C0667BAE-ED91-6696-3559-61F3B5F12032}"/>
                </a:ext>
              </a:extLst>
            </p:cNvPr>
            <p:cNvSpPr/>
            <p:nvPr/>
          </p:nvSpPr>
          <p:spPr>
            <a:xfrm>
              <a:off x="3352095" y="3241570"/>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596" name="pt44">
              <a:extLst>
                <a:ext uri="{FF2B5EF4-FFF2-40B4-BE49-F238E27FC236}">
                  <a16:creationId xmlns:a16="http://schemas.microsoft.com/office/drawing/2014/main" id="{521A0C33-04AD-88CF-3C35-78CE3A14E74D}"/>
                </a:ext>
              </a:extLst>
            </p:cNvPr>
            <p:cNvSpPr/>
            <p:nvPr/>
          </p:nvSpPr>
          <p:spPr>
            <a:xfrm>
              <a:off x="3534271" y="3277858"/>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597" name="pt45">
              <a:extLst>
                <a:ext uri="{FF2B5EF4-FFF2-40B4-BE49-F238E27FC236}">
                  <a16:creationId xmlns:a16="http://schemas.microsoft.com/office/drawing/2014/main" id="{AF4DF4D8-46DF-3B71-C8BD-B709AD2BE7AB}"/>
                </a:ext>
              </a:extLst>
            </p:cNvPr>
            <p:cNvSpPr/>
            <p:nvPr/>
          </p:nvSpPr>
          <p:spPr>
            <a:xfrm>
              <a:off x="3336379" y="3221482"/>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598" name="pt46">
              <a:extLst>
                <a:ext uri="{FF2B5EF4-FFF2-40B4-BE49-F238E27FC236}">
                  <a16:creationId xmlns:a16="http://schemas.microsoft.com/office/drawing/2014/main" id="{CB1E7C21-8125-52E0-2E82-B193C135C366}"/>
                </a:ext>
              </a:extLst>
            </p:cNvPr>
            <p:cNvSpPr/>
            <p:nvPr/>
          </p:nvSpPr>
          <p:spPr>
            <a:xfrm>
              <a:off x="3389364" y="3244810"/>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599" name="pt47">
              <a:extLst>
                <a:ext uri="{FF2B5EF4-FFF2-40B4-BE49-F238E27FC236}">
                  <a16:creationId xmlns:a16="http://schemas.microsoft.com/office/drawing/2014/main" id="{00D5849E-AD0D-A71C-DCBE-F9F1A8C3A21A}"/>
                </a:ext>
              </a:extLst>
            </p:cNvPr>
            <p:cNvSpPr/>
            <p:nvPr/>
          </p:nvSpPr>
          <p:spPr>
            <a:xfrm>
              <a:off x="3433286" y="3264898"/>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00" name="pt48">
              <a:extLst>
                <a:ext uri="{FF2B5EF4-FFF2-40B4-BE49-F238E27FC236}">
                  <a16:creationId xmlns:a16="http://schemas.microsoft.com/office/drawing/2014/main" id="{ADA52212-006A-3DD1-0DF1-4635C33F62A9}"/>
                </a:ext>
              </a:extLst>
            </p:cNvPr>
            <p:cNvSpPr/>
            <p:nvPr/>
          </p:nvSpPr>
          <p:spPr>
            <a:xfrm>
              <a:off x="3393649" y="3209602"/>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01" name="pt49">
              <a:extLst>
                <a:ext uri="{FF2B5EF4-FFF2-40B4-BE49-F238E27FC236}">
                  <a16:creationId xmlns:a16="http://schemas.microsoft.com/office/drawing/2014/main" id="{D6394159-F39D-0E6B-B99E-3ED7D7673332}"/>
                </a:ext>
              </a:extLst>
            </p:cNvPr>
            <p:cNvSpPr/>
            <p:nvPr/>
          </p:nvSpPr>
          <p:spPr>
            <a:xfrm>
              <a:off x="3278757" y="3348274"/>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02" name="pt50">
              <a:extLst>
                <a:ext uri="{FF2B5EF4-FFF2-40B4-BE49-F238E27FC236}">
                  <a16:creationId xmlns:a16="http://schemas.microsoft.com/office/drawing/2014/main" id="{0B0CADC5-0C69-F06E-3155-11824DAD4342}"/>
                </a:ext>
              </a:extLst>
            </p:cNvPr>
            <p:cNvSpPr/>
            <p:nvPr/>
          </p:nvSpPr>
          <p:spPr>
            <a:xfrm>
              <a:off x="3518451" y="3431218"/>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03" name="pt51">
              <a:extLst>
                <a:ext uri="{FF2B5EF4-FFF2-40B4-BE49-F238E27FC236}">
                  <a16:creationId xmlns:a16="http://schemas.microsoft.com/office/drawing/2014/main" id="{BC513C6B-4692-AD5A-2FC6-F90F76D9633C}"/>
                </a:ext>
              </a:extLst>
            </p:cNvPr>
            <p:cNvSpPr/>
            <p:nvPr/>
          </p:nvSpPr>
          <p:spPr>
            <a:xfrm>
              <a:off x="3459044" y="3347194"/>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04" name="pt52">
              <a:extLst>
                <a:ext uri="{FF2B5EF4-FFF2-40B4-BE49-F238E27FC236}">
                  <a16:creationId xmlns:a16="http://schemas.microsoft.com/office/drawing/2014/main" id="{A2064F6E-79FC-80F5-DB12-B8ED40FD0944}"/>
                </a:ext>
              </a:extLst>
            </p:cNvPr>
            <p:cNvSpPr/>
            <p:nvPr/>
          </p:nvSpPr>
          <p:spPr>
            <a:xfrm>
              <a:off x="3506064" y="3388882"/>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05" name="pt53">
              <a:extLst>
                <a:ext uri="{FF2B5EF4-FFF2-40B4-BE49-F238E27FC236}">
                  <a16:creationId xmlns:a16="http://schemas.microsoft.com/office/drawing/2014/main" id="{E446ECE0-F02D-131D-7B67-41A51FCA5CB4}"/>
                </a:ext>
              </a:extLst>
            </p:cNvPr>
            <p:cNvSpPr/>
            <p:nvPr/>
          </p:nvSpPr>
          <p:spPr>
            <a:xfrm>
              <a:off x="3249495" y="3426682"/>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06" name="pt54">
              <a:extLst>
                <a:ext uri="{FF2B5EF4-FFF2-40B4-BE49-F238E27FC236}">
                  <a16:creationId xmlns:a16="http://schemas.microsoft.com/office/drawing/2014/main" id="{0DBA6AF1-A564-BBC5-7423-D12F3C49A9D3}"/>
                </a:ext>
              </a:extLst>
            </p:cNvPr>
            <p:cNvSpPr/>
            <p:nvPr/>
          </p:nvSpPr>
          <p:spPr>
            <a:xfrm>
              <a:off x="3479697" y="3140914"/>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07" name="pt55">
              <a:extLst>
                <a:ext uri="{FF2B5EF4-FFF2-40B4-BE49-F238E27FC236}">
                  <a16:creationId xmlns:a16="http://schemas.microsoft.com/office/drawing/2014/main" id="{27067D7E-41E1-7C0E-11A6-086F6EF3C388}"/>
                </a:ext>
              </a:extLst>
            </p:cNvPr>
            <p:cNvSpPr/>
            <p:nvPr/>
          </p:nvSpPr>
          <p:spPr>
            <a:xfrm>
              <a:off x="3362894" y="3415450"/>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08" name="pt56">
              <a:extLst>
                <a:ext uri="{FF2B5EF4-FFF2-40B4-BE49-F238E27FC236}">
                  <a16:creationId xmlns:a16="http://schemas.microsoft.com/office/drawing/2014/main" id="{9851F78C-2D6D-02B2-B682-E95405293EA7}"/>
                </a:ext>
              </a:extLst>
            </p:cNvPr>
            <p:cNvSpPr/>
            <p:nvPr/>
          </p:nvSpPr>
          <p:spPr>
            <a:xfrm>
              <a:off x="3516048" y="3309610"/>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09" name="pt57">
              <a:extLst>
                <a:ext uri="{FF2B5EF4-FFF2-40B4-BE49-F238E27FC236}">
                  <a16:creationId xmlns:a16="http://schemas.microsoft.com/office/drawing/2014/main" id="{EC056389-6394-11CF-19E5-125832B9B806}"/>
                </a:ext>
              </a:extLst>
            </p:cNvPr>
            <p:cNvSpPr/>
            <p:nvPr/>
          </p:nvSpPr>
          <p:spPr>
            <a:xfrm>
              <a:off x="3451042" y="3227314"/>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10" name="pt58">
              <a:extLst>
                <a:ext uri="{FF2B5EF4-FFF2-40B4-BE49-F238E27FC236}">
                  <a16:creationId xmlns:a16="http://schemas.microsoft.com/office/drawing/2014/main" id="{85304ADA-10E3-189A-DF80-DC836A5F8106}"/>
                </a:ext>
              </a:extLst>
            </p:cNvPr>
            <p:cNvSpPr/>
            <p:nvPr/>
          </p:nvSpPr>
          <p:spPr>
            <a:xfrm>
              <a:off x="4124914" y="3412426"/>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11" name="pt59">
              <a:extLst>
                <a:ext uri="{FF2B5EF4-FFF2-40B4-BE49-F238E27FC236}">
                  <a16:creationId xmlns:a16="http://schemas.microsoft.com/office/drawing/2014/main" id="{868DCB33-1F5D-4AB7-C40E-A3DBE15B99E4}"/>
                </a:ext>
              </a:extLst>
            </p:cNvPr>
            <p:cNvSpPr/>
            <p:nvPr/>
          </p:nvSpPr>
          <p:spPr>
            <a:xfrm>
              <a:off x="4038968" y="3145882"/>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13" name="pt60">
              <a:extLst>
                <a:ext uri="{FF2B5EF4-FFF2-40B4-BE49-F238E27FC236}">
                  <a16:creationId xmlns:a16="http://schemas.microsoft.com/office/drawing/2014/main" id="{C7BC7731-089C-F3E4-8912-9DFF4CFA1112}"/>
                </a:ext>
              </a:extLst>
            </p:cNvPr>
            <p:cNvSpPr/>
            <p:nvPr/>
          </p:nvSpPr>
          <p:spPr>
            <a:xfrm>
              <a:off x="4030251" y="3467506"/>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14" name="pt61">
              <a:extLst>
                <a:ext uri="{FF2B5EF4-FFF2-40B4-BE49-F238E27FC236}">
                  <a16:creationId xmlns:a16="http://schemas.microsoft.com/office/drawing/2014/main" id="{4BE4BA40-A9FC-A6E8-06FC-193926D8A9E1}"/>
                </a:ext>
              </a:extLst>
            </p:cNvPr>
            <p:cNvSpPr/>
            <p:nvPr/>
          </p:nvSpPr>
          <p:spPr>
            <a:xfrm>
              <a:off x="4127315" y="3321922"/>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15" name="pt62">
              <a:extLst>
                <a:ext uri="{FF2B5EF4-FFF2-40B4-BE49-F238E27FC236}">
                  <a16:creationId xmlns:a16="http://schemas.microsoft.com/office/drawing/2014/main" id="{7DF514A9-9BD5-260D-EEFE-29BAEA2DB4B6}"/>
                </a:ext>
              </a:extLst>
            </p:cNvPr>
            <p:cNvSpPr/>
            <p:nvPr/>
          </p:nvSpPr>
          <p:spPr>
            <a:xfrm>
              <a:off x="3840940" y="3214786"/>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16" name="pt63">
              <a:extLst>
                <a:ext uri="{FF2B5EF4-FFF2-40B4-BE49-F238E27FC236}">
                  <a16:creationId xmlns:a16="http://schemas.microsoft.com/office/drawing/2014/main" id="{2747DE7A-2030-01AB-8B08-1F14D31BA260}"/>
                </a:ext>
              </a:extLst>
            </p:cNvPr>
            <p:cNvSpPr/>
            <p:nvPr/>
          </p:nvSpPr>
          <p:spPr>
            <a:xfrm>
              <a:off x="4010628" y="3269002"/>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17" name="pt64">
              <a:extLst>
                <a:ext uri="{FF2B5EF4-FFF2-40B4-BE49-F238E27FC236}">
                  <a16:creationId xmlns:a16="http://schemas.microsoft.com/office/drawing/2014/main" id="{B409C2D6-AB0C-99F0-4A79-8D8C9DB79487}"/>
                </a:ext>
              </a:extLst>
            </p:cNvPr>
            <p:cNvSpPr/>
            <p:nvPr/>
          </p:nvSpPr>
          <p:spPr>
            <a:xfrm>
              <a:off x="4105990" y="3055162"/>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18" name="pt65">
              <a:extLst>
                <a:ext uri="{FF2B5EF4-FFF2-40B4-BE49-F238E27FC236}">
                  <a16:creationId xmlns:a16="http://schemas.microsoft.com/office/drawing/2014/main" id="{F085FB5E-0BF6-76C4-B4FD-F3582BAFC161}"/>
                </a:ext>
              </a:extLst>
            </p:cNvPr>
            <p:cNvSpPr/>
            <p:nvPr/>
          </p:nvSpPr>
          <p:spPr>
            <a:xfrm>
              <a:off x="4091193" y="3400978"/>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19" name="pt66">
              <a:extLst>
                <a:ext uri="{FF2B5EF4-FFF2-40B4-BE49-F238E27FC236}">
                  <a16:creationId xmlns:a16="http://schemas.microsoft.com/office/drawing/2014/main" id="{6362BA2D-A067-660A-3928-B9196FA1BA2B}"/>
                </a:ext>
              </a:extLst>
            </p:cNvPr>
            <p:cNvSpPr/>
            <p:nvPr/>
          </p:nvSpPr>
          <p:spPr>
            <a:xfrm>
              <a:off x="4010774" y="3268138"/>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20" name="pt67">
              <a:extLst>
                <a:ext uri="{FF2B5EF4-FFF2-40B4-BE49-F238E27FC236}">
                  <a16:creationId xmlns:a16="http://schemas.microsoft.com/office/drawing/2014/main" id="{AE91CBF9-C655-B722-A154-7D388F139D8C}"/>
                </a:ext>
              </a:extLst>
            </p:cNvPr>
            <p:cNvSpPr/>
            <p:nvPr/>
          </p:nvSpPr>
          <p:spPr>
            <a:xfrm>
              <a:off x="4154177" y="3217810"/>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21" name="pt68">
              <a:extLst>
                <a:ext uri="{FF2B5EF4-FFF2-40B4-BE49-F238E27FC236}">
                  <a16:creationId xmlns:a16="http://schemas.microsoft.com/office/drawing/2014/main" id="{5A4D17CD-A9E5-32AE-D856-30712DC3AE2A}"/>
                </a:ext>
              </a:extLst>
            </p:cNvPr>
            <p:cNvSpPr/>
            <p:nvPr/>
          </p:nvSpPr>
          <p:spPr>
            <a:xfrm>
              <a:off x="3995998" y="3372466"/>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22" name="pt69">
              <a:extLst>
                <a:ext uri="{FF2B5EF4-FFF2-40B4-BE49-F238E27FC236}">
                  <a16:creationId xmlns:a16="http://schemas.microsoft.com/office/drawing/2014/main" id="{997ACE59-49CF-4791-0A83-ECA4363F3A4A}"/>
                </a:ext>
              </a:extLst>
            </p:cNvPr>
            <p:cNvSpPr/>
            <p:nvPr/>
          </p:nvSpPr>
          <p:spPr>
            <a:xfrm>
              <a:off x="3923734" y="3235522"/>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23" name="pt70">
              <a:extLst>
                <a:ext uri="{FF2B5EF4-FFF2-40B4-BE49-F238E27FC236}">
                  <a16:creationId xmlns:a16="http://schemas.microsoft.com/office/drawing/2014/main" id="{469E673F-CF38-BE0B-6B90-CA7B9BA9E0EE}"/>
                </a:ext>
              </a:extLst>
            </p:cNvPr>
            <p:cNvSpPr/>
            <p:nvPr/>
          </p:nvSpPr>
          <p:spPr>
            <a:xfrm>
              <a:off x="3858641" y="3258418"/>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24" name="pt71">
              <a:extLst>
                <a:ext uri="{FF2B5EF4-FFF2-40B4-BE49-F238E27FC236}">
                  <a16:creationId xmlns:a16="http://schemas.microsoft.com/office/drawing/2014/main" id="{C3FC58FD-9EFF-E901-D1F5-B862613788B0}"/>
                </a:ext>
              </a:extLst>
            </p:cNvPr>
            <p:cNvSpPr/>
            <p:nvPr/>
          </p:nvSpPr>
          <p:spPr>
            <a:xfrm>
              <a:off x="3869403" y="3110026"/>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25" name="pt72">
              <a:extLst>
                <a:ext uri="{FF2B5EF4-FFF2-40B4-BE49-F238E27FC236}">
                  <a16:creationId xmlns:a16="http://schemas.microsoft.com/office/drawing/2014/main" id="{4FC9F670-1653-7E01-A443-1A05F22F0CEE}"/>
                </a:ext>
              </a:extLst>
            </p:cNvPr>
            <p:cNvSpPr/>
            <p:nvPr/>
          </p:nvSpPr>
          <p:spPr>
            <a:xfrm>
              <a:off x="3950454" y="3085834"/>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26" name="pt73">
              <a:extLst>
                <a:ext uri="{FF2B5EF4-FFF2-40B4-BE49-F238E27FC236}">
                  <a16:creationId xmlns:a16="http://schemas.microsoft.com/office/drawing/2014/main" id="{0B5BBEB3-A4D1-781F-2A20-20F28CE8122F}"/>
                </a:ext>
              </a:extLst>
            </p:cNvPr>
            <p:cNvSpPr/>
            <p:nvPr/>
          </p:nvSpPr>
          <p:spPr>
            <a:xfrm>
              <a:off x="4026107" y="3145666"/>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27" name="pt74">
              <a:extLst>
                <a:ext uri="{FF2B5EF4-FFF2-40B4-BE49-F238E27FC236}">
                  <a16:creationId xmlns:a16="http://schemas.microsoft.com/office/drawing/2014/main" id="{781AAC04-8176-5C18-47A7-1ED46649A422}"/>
                </a:ext>
              </a:extLst>
            </p:cNvPr>
            <p:cNvSpPr/>
            <p:nvPr/>
          </p:nvSpPr>
          <p:spPr>
            <a:xfrm>
              <a:off x="4079706" y="3344386"/>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28" name="pt75">
              <a:extLst>
                <a:ext uri="{FF2B5EF4-FFF2-40B4-BE49-F238E27FC236}">
                  <a16:creationId xmlns:a16="http://schemas.microsoft.com/office/drawing/2014/main" id="{3E888051-CCA9-615F-4B55-3F7D956EB3FA}"/>
                </a:ext>
              </a:extLst>
            </p:cNvPr>
            <p:cNvSpPr/>
            <p:nvPr/>
          </p:nvSpPr>
          <p:spPr>
            <a:xfrm>
              <a:off x="3984309" y="3306586"/>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29" name="pt76">
              <a:extLst>
                <a:ext uri="{FF2B5EF4-FFF2-40B4-BE49-F238E27FC236}">
                  <a16:creationId xmlns:a16="http://schemas.microsoft.com/office/drawing/2014/main" id="{39229810-64CE-5810-CBFA-6FC2063F2687}"/>
                </a:ext>
              </a:extLst>
            </p:cNvPr>
            <p:cNvSpPr/>
            <p:nvPr/>
          </p:nvSpPr>
          <p:spPr>
            <a:xfrm>
              <a:off x="4173493" y="3300538"/>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30" name="pt77">
              <a:extLst>
                <a:ext uri="{FF2B5EF4-FFF2-40B4-BE49-F238E27FC236}">
                  <a16:creationId xmlns:a16="http://schemas.microsoft.com/office/drawing/2014/main" id="{7B51BFB8-A101-E7CA-0AE3-1293A52F6F26}"/>
                </a:ext>
              </a:extLst>
            </p:cNvPr>
            <p:cNvSpPr/>
            <p:nvPr/>
          </p:nvSpPr>
          <p:spPr>
            <a:xfrm>
              <a:off x="4565057" y="3281098"/>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31" name="pt78">
              <a:extLst>
                <a:ext uri="{FF2B5EF4-FFF2-40B4-BE49-F238E27FC236}">
                  <a16:creationId xmlns:a16="http://schemas.microsoft.com/office/drawing/2014/main" id="{0FD5C58E-257A-DDAB-C22B-2367B257028B}"/>
                </a:ext>
              </a:extLst>
            </p:cNvPr>
            <p:cNvSpPr/>
            <p:nvPr/>
          </p:nvSpPr>
          <p:spPr>
            <a:xfrm>
              <a:off x="4626914" y="3106570"/>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32" name="pt79">
              <a:extLst>
                <a:ext uri="{FF2B5EF4-FFF2-40B4-BE49-F238E27FC236}">
                  <a16:creationId xmlns:a16="http://schemas.microsoft.com/office/drawing/2014/main" id="{23822923-4650-DC7B-A3CB-2C60D196634D}"/>
                </a:ext>
              </a:extLst>
            </p:cNvPr>
            <p:cNvSpPr/>
            <p:nvPr/>
          </p:nvSpPr>
          <p:spPr>
            <a:xfrm>
              <a:off x="4579559" y="3263386"/>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33" name="pt80">
              <a:extLst>
                <a:ext uri="{FF2B5EF4-FFF2-40B4-BE49-F238E27FC236}">
                  <a16:creationId xmlns:a16="http://schemas.microsoft.com/office/drawing/2014/main" id="{70F84B30-49A9-B45B-5E23-9EF9D35EB7EA}"/>
                </a:ext>
              </a:extLst>
            </p:cNvPr>
            <p:cNvSpPr/>
            <p:nvPr/>
          </p:nvSpPr>
          <p:spPr>
            <a:xfrm>
              <a:off x="4698620" y="3391906"/>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34" name="pt81">
              <a:extLst>
                <a:ext uri="{FF2B5EF4-FFF2-40B4-BE49-F238E27FC236}">
                  <a16:creationId xmlns:a16="http://schemas.microsoft.com/office/drawing/2014/main" id="{EC915CC2-3660-D051-C38B-516534776C01}"/>
                </a:ext>
              </a:extLst>
            </p:cNvPr>
            <p:cNvSpPr/>
            <p:nvPr/>
          </p:nvSpPr>
          <p:spPr>
            <a:xfrm>
              <a:off x="4551753" y="3302266"/>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35" name="pt82">
              <a:extLst>
                <a:ext uri="{FF2B5EF4-FFF2-40B4-BE49-F238E27FC236}">
                  <a16:creationId xmlns:a16="http://schemas.microsoft.com/office/drawing/2014/main" id="{77E00995-83D1-324F-D808-6E599F0F88F5}"/>
                </a:ext>
              </a:extLst>
            </p:cNvPr>
            <p:cNvSpPr/>
            <p:nvPr/>
          </p:nvSpPr>
          <p:spPr>
            <a:xfrm>
              <a:off x="4634197" y="3146746"/>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36" name="pt83">
              <a:extLst>
                <a:ext uri="{FF2B5EF4-FFF2-40B4-BE49-F238E27FC236}">
                  <a16:creationId xmlns:a16="http://schemas.microsoft.com/office/drawing/2014/main" id="{114AAE92-C1A6-53D0-BB27-3510EEB62869}"/>
                </a:ext>
              </a:extLst>
            </p:cNvPr>
            <p:cNvSpPr/>
            <p:nvPr/>
          </p:nvSpPr>
          <p:spPr>
            <a:xfrm>
              <a:off x="4741777" y="3343090"/>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37" name="pt84">
              <a:extLst>
                <a:ext uri="{FF2B5EF4-FFF2-40B4-BE49-F238E27FC236}">
                  <a16:creationId xmlns:a16="http://schemas.microsoft.com/office/drawing/2014/main" id="{EA07F867-C7FD-4BC2-4821-2802299BB500}"/>
                </a:ext>
              </a:extLst>
            </p:cNvPr>
            <p:cNvSpPr/>
            <p:nvPr/>
          </p:nvSpPr>
          <p:spPr>
            <a:xfrm>
              <a:off x="4486790" y="3257554"/>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38" name="pt85">
              <a:extLst>
                <a:ext uri="{FF2B5EF4-FFF2-40B4-BE49-F238E27FC236}">
                  <a16:creationId xmlns:a16="http://schemas.microsoft.com/office/drawing/2014/main" id="{6EB5F027-F203-AFCF-1767-3CE13280D40E}"/>
                </a:ext>
              </a:extLst>
            </p:cNvPr>
            <p:cNvSpPr/>
            <p:nvPr/>
          </p:nvSpPr>
          <p:spPr>
            <a:xfrm>
              <a:off x="4782530" y="3208090"/>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39" name="pt86">
              <a:extLst>
                <a:ext uri="{FF2B5EF4-FFF2-40B4-BE49-F238E27FC236}">
                  <a16:creationId xmlns:a16="http://schemas.microsoft.com/office/drawing/2014/main" id="{43F5DF88-CAC1-85EC-6D0F-56615228EC7C}"/>
                </a:ext>
              </a:extLst>
            </p:cNvPr>
            <p:cNvSpPr/>
            <p:nvPr/>
          </p:nvSpPr>
          <p:spPr>
            <a:xfrm>
              <a:off x="4582056" y="3317170"/>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40" name="pt87">
              <a:extLst>
                <a:ext uri="{FF2B5EF4-FFF2-40B4-BE49-F238E27FC236}">
                  <a16:creationId xmlns:a16="http://schemas.microsoft.com/office/drawing/2014/main" id="{0D3F6B58-B2DB-0CE1-B6D0-2431F2CEC9A2}"/>
                </a:ext>
              </a:extLst>
            </p:cNvPr>
            <p:cNvSpPr/>
            <p:nvPr/>
          </p:nvSpPr>
          <p:spPr>
            <a:xfrm>
              <a:off x="4769116" y="3165106"/>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41" name="pt88">
              <a:extLst>
                <a:ext uri="{FF2B5EF4-FFF2-40B4-BE49-F238E27FC236}">
                  <a16:creationId xmlns:a16="http://schemas.microsoft.com/office/drawing/2014/main" id="{319691B1-EA43-FC8C-1BC7-590D19A1F1E8}"/>
                </a:ext>
              </a:extLst>
            </p:cNvPr>
            <p:cNvSpPr/>
            <p:nvPr/>
          </p:nvSpPr>
          <p:spPr>
            <a:xfrm>
              <a:off x="4584901" y="3300106"/>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42" name="pt89">
              <a:extLst>
                <a:ext uri="{FF2B5EF4-FFF2-40B4-BE49-F238E27FC236}">
                  <a16:creationId xmlns:a16="http://schemas.microsoft.com/office/drawing/2014/main" id="{68C3CB5C-8ACC-E1F2-EB65-C1B1DBF53483}"/>
                </a:ext>
              </a:extLst>
            </p:cNvPr>
            <p:cNvSpPr/>
            <p:nvPr/>
          </p:nvSpPr>
          <p:spPr>
            <a:xfrm>
              <a:off x="4580075" y="3261010"/>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43" name="pt90">
              <a:extLst>
                <a:ext uri="{FF2B5EF4-FFF2-40B4-BE49-F238E27FC236}">
                  <a16:creationId xmlns:a16="http://schemas.microsoft.com/office/drawing/2014/main" id="{0A20E301-3E97-5DF0-D64F-0C32D7C9F870}"/>
                </a:ext>
              </a:extLst>
            </p:cNvPr>
            <p:cNvSpPr/>
            <p:nvPr/>
          </p:nvSpPr>
          <p:spPr>
            <a:xfrm>
              <a:off x="4633377" y="3240922"/>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44" name="pt91">
              <a:extLst>
                <a:ext uri="{FF2B5EF4-FFF2-40B4-BE49-F238E27FC236}">
                  <a16:creationId xmlns:a16="http://schemas.microsoft.com/office/drawing/2014/main" id="{86DC90FC-EF38-3323-EB6A-43DE7EFB5C50}"/>
                </a:ext>
              </a:extLst>
            </p:cNvPr>
            <p:cNvSpPr/>
            <p:nvPr/>
          </p:nvSpPr>
          <p:spPr>
            <a:xfrm>
              <a:off x="4788839" y="3293626"/>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45" name="pt92">
              <a:extLst>
                <a:ext uri="{FF2B5EF4-FFF2-40B4-BE49-F238E27FC236}">
                  <a16:creationId xmlns:a16="http://schemas.microsoft.com/office/drawing/2014/main" id="{52C2E8C1-52B0-D38F-8189-F50E6F73821E}"/>
                </a:ext>
              </a:extLst>
            </p:cNvPr>
            <p:cNvSpPr/>
            <p:nvPr/>
          </p:nvSpPr>
          <p:spPr>
            <a:xfrm>
              <a:off x="4778424" y="3275050"/>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46" name="pt93">
              <a:extLst>
                <a:ext uri="{FF2B5EF4-FFF2-40B4-BE49-F238E27FC236}">
                  <a16:creationId xmlns:a16="http://schemas.microsoft.com/office/drawing/2014/main" id="{158902C3-04B6-B4C0-44CF-BD2654503C85}"/>
                </a:ext>
              </a:extLst>
            </p:cNvPr>
            <p:cNvSpPr/>
            <p:nvPr/>
          </p:nvSpPr>
          <p:spPr>
            <a:xfrm>
              <a:off x="4601091" y="3309394"/>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47" name="pt94">
              <a:extLst>
                <a:ext uri="{FF2B5EF4-FFF2-40B4-BE49-F238E27FC236}">
                  <a16:creationId xmlns:a16="http://schemas.microsoft.com/office/drawing/2014/main" id="{514A1396-553C-0372-D88C-B8A9F56B97C0}"/>
                </a:ext>
              </a:extLst>
            </p:cNvPr>
            <p:cNvSpPr/>
            <p:nvPr/>
          </p:nvSpPr>
          <p:spPr>
            <a:xfrm>
              <a:off x="4745893" y="3308746"/>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48" name="pt95">
              <a:extLst>
                <a:ext uri="{FF2B5EF4-FFF2-40B4-BE49-F238E27FC236}">
                  <a16:creationId xmlns:a16="http://schemas.microsoft.com/office/drawing/2014/main" id="{0D8959BE-EB5B-27A1-87A7-C35A55A40FA1}"/>
                </a:ext>
              </a:extLst>
            </p:cNvPr>
            <p:cNvSpPr/>
            <p:nvPr/>
          </p:nvSpPr>
          <p:spPr>
            <a:xfrm>
              <a:off x="4814418" y="3245458"/>
              <a:ext cx="36101" cy="36101"/>
            </a:xfrm>
            <a:prstGeom prst="ellipse">
              <a:avLst/>
            </a:prstGeom>
            <a:solidFill>
              <a:srgbClr val="00AF82">
                <a:alpha val="100000"/>
              </a:srgbClr>
            </a:solidFill>
            <a:ln w="9000" cap="rnd">
              <a:solidFill>
                <a:srgbClr val="00AF82">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49" name="pl96">
              <a:extLst>
                <a:ext uri="{FF2B5EF4-FFF2-40B4-BE49-F238E27FC236}">
                  <a16:creationId xmlns:a16="http://schemas.microsoft.com/office/drawing/2014/main" id="{E5EED8DD-F847-A2FB-D91C-C032735126D4}"/>
                </a:ext>
              </a:extLst>
            </p:cNvPr>
            <p:cNvSpPr/>
            <p:nvPr/>
          </p:nvSpPr>
          <p:spPr>
            <a:xfrm>
              <a:off x="1794114" y="2120436"/>
              <a:ext cx="0" cy="2160000"/>
            </a:xfrm>
            <a:custGeom>
              <a:avLst/>
              <a:gdLst/>
              <a:ahLst/>
              <a:cxnLst/>
              <a:rect l="0" t="0" r="0" b="0"/>
              <a:pathLst>
                <a:path h="2160000">
                  <a:moveTo>
                    <a:pt x="0" y="2160000"/>
                  </a:moveTo>
                  <a:lnTo>
                    <a:pt x="0"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50" name="tx97">
              <a:extLst>
                <a:ext uri="{FF2B5EF4-FFF2-40B4-BE49-F238E27FC236}">
                  <a16:creationId xmlns:a16="http://schemas.microsoft.com/office/drawing/2014/main" id="{9293E56C-5BD4-8D91-E133-08C7BECCBD31}"/>
                </a:ext>
              </a:extLst>
            </p:cNvPr>
            <p:cNvSpPr/>
            <p:nvPr/>
          </p:nvSpPr>
          <p:spPr>
            <a:xfrm>
              <a:off x="1655042" y="4244775"/>
              <a:ext cx="53035" cy="68031"/>
            </a:xfrm>
            <a:prstGeom prst="rect">
              <a:avLst/>
            </a:prstGeom>
            <a:noFill/>
          </p:spPr>
          <p:txBody>
            <a:bodyPr wrap="none" lIns="0" tIns="0" rIns="0" bIns="0" anchor="ctr" anchorCtr="1"/>
            <a:lstStyle/>
            <a:p>
              <a:pPr marL="0" marR="0" lvl="0" indent="0" algn="l" defTabSz="914355"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0</a:t>
              </a:r>
            </a:p>
          </p:txBody>
        </p:sp>
        <p:sp>
          <p:nvSpPr>
            <p:cNvPr id="6651" name="tx98">
              <a:extLst>
                <a:ext uri="{FF2B5EF4-FFF2-40B4-BE49-F238E27FC236}">
                  <a16:creationId xmlns:a16="http://schemas.microsoft.com/office/drawing/2014/main" id="{13B1FE8B-B9B4-DE15-99DC-51017BEB5BFB}"/>
                </a:ext>
              </a:extLst>
            </p:cNvPr>
            <p:cNvSpPr/>
            <p:nvPr/>
          </p:nvSpPr>
          <p:spPr>
            <a:xfrm>
              <a:off x="1602007" y="4028775"/>
              <a:ext cx="106070" cy="68031"/>
            </a:xfrm>
            <a:prstGeom prst="rect">
              <a:avLst/>
            </a:prstGeom>
            <a:noFill/>
          </p:spPr>
          <p:txBody>
            <a:bodyPr wrap="none" lIns="0" tIns="0" rIns="0" bIns="0" anchor="ctr" anchorCtr="1"/>
            <a:lstStyle/>
            <a:p>
              <a:pPr marL="0" marR="0" lvl="0" indent="0" algn="l" defTabSz="914355"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0</a:t>
              </a:r>
            </a:p>
          </p:txBody>
        </p:sp>
        <p:sp>
          <p:nvSpPr>
            <p:cNvPr id="6652" name="tx99">
              <a:extLst>
                <a:ext uri="{FF2B5EF4-FFF2-40B4-BE49-F238E27FC236}">
                  <a16:creationId xmlns:a16="http://schemas.microsoft.com/office/drawing/2014/main" id="{4C6CF7CF-64B8-462E-FD3B-69F7C4655FD3}"/>
                </a:ext>
              </a:extLst>
            </p:cNvPr>
            <p:cNvSpPr/>
            <p:nvPr/>
          </p:nvSpPr>
          <p:spPr>
            <a:xfrm>
              <a:off x="1602007" y="3812775"/>
              <a:ext cx="106070" cy="68031"/>
            </a:xfrm>
            <a:prstGeom prst="rect">
              <a:avLst/>
            </a:prstGeom>
            <a:noFill/>
          </p:spPr>
          <p:txBody>
            <a:bodyPr wrap="none" lIns="0" tIns="0" rIns="0" bIns="0" anchor="ctr" anchorCtr="1"/>
            <a:lstStyle/>
            <a:p>
              <a:pPr marL="0" marR="0" lvl="0" indent="0" algn="l" defTabSz="914355"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20</a:t>
              </a:r>
            </a:p>
          </p:txBody>
        </p:sp>
        <p:sp>
          <p:nvSpPr>
            <p:cNvPr id="6653" name="tx100">
              <a:extLst>
                <a:ext uri="{FF2B5EF4-FFF2-40B4-BE49-F238E27FC236}">
                  <a16:creationId xmlns:a16="http://schemas.microsoft.com/office/drawing/2014/main" id="{ACFA6052-F2A7-0EB6-740A-DE8432A1458B}"/>
                </a:ext>
              </a:extLst>
            </p:cNvPr>
            <p:cNvSpPr/>
            <p:nvPr/>
          </p:nvSpPr>
          <p:spPr>
            <a:xfrm>
              <a:off x="1602007" y="3596775"/>
              <a:ext cx="106070" cy="68031"/>
            </a:xfrm>
            <a:prstGeom prst="rect">
              <a:avLst/>
            </a:prstGeom>
            <a:noFill/>
          </p:spPr>
          <p:txBody>
            <a:bodyPr wrap="none" lIns="0" tIns="0" rIns="0" bIns="0" anchor="ctr" anchorCtr="1"/>
            <a:lstStyle/>
            <a:p>
              <a:pPr marL="0" marR="0" lvl="0" indent="0" algn="l" defTabSz="914355"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30</a:t>
              </a:r>
            </a:p>
          </p:txBody>
        </p:sp>
        <p:sp>
          <p:nvSpPr>
            <p:cNvPr id="6654" name="tx101">
              <a:extLst>
                <a:ext uri="{FF2B5EF4-FFF2-40B4-BE49-F238E27FC236}">
                  <a16:creationId xmlns:a16="http://schemas.microsoft.com/office/drawing/2014/main" id="{6652B1CB-34FC-E38D-424B-6630E42EA531}"/>
                </a:ext>
              </a:extLst>
            </p:cNvPr>
            <p:cNvSpPr/>
            <p:nvPr/>
          </p:nvSpPr>
          <p:spPr>
            <a:xfrm>
              <a:off x="1602007" y="3380775"/>
              <a:ext cx="106070" cy="68031"/>
            </a:xfrm>
            <a:prstGeom prst="rect">
              <a:avLst/>
            </a:prstGeom>
            <a:noFill/>
          </p:spPr>
          <p:txBody>
            <a:bodyPr wrap="none" lIns="0" tIns="0" rIns="0" bIns="0" anchor="ctr" anchorCtr="1"/>
            <a:lstStyle/>
            <a:p>
              <a:pPr marL="0" marR="0" lvl="0" indent="0" algn="l" defTabSz="914355"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40</a:t>
              </a:r>
            </a:p>
          </p:txBody>
        </p:sp>
        <p:sp>
          <p:nvSpPr>
            <p:cNvPr id="6655" name="tx102">
              <a:extLst>
                <a:ext uri="{FF2B5EF4-FFF2-40B4-BE49-F238E27FC236}">
                  <a16:creationId xmlns:a16="http://schemas.microsoft.com/office/drawing/2014/main" id="{041FC852-EAD8-BB0B-E105-A64459E51A60}"/>
                </a:ext>
              </a:extLst>
            </p:cNvPr>
            <p:cNvSpPr/>
            <p:nvPr/>
          </p:nvSpPr>
          <p:spPr>
            <a:xfrm>
              <a:off x="1602007" y="3164775"/>
              <a:ext cx="106070" cy="68031"/>
            </a:xfrm>
            <a:prstGeom prst="rect">
              <a:avLst/>
            </a:prstGeom>
            <a:noFill/>
          </p:spPr>
          <p:txBody>
            <a:bodyPr wrap="none" lIns="0" tIns="0" rIns="0" bIns="0" anchor="ctr" anchorCtr="1"/>
            <a:lstStyle/>
            <a:p>
              <a:pPr marL="0" marR="0" lvl="0" indent="0" algn="l" defTabSz="914355"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50</a:t>
              </a:r>
            </a:p>
          </p:txBody>
        </p:sp>
        <p:sp>
          <p:nvSpPr>
            <p:cNvPr id="6656" name="tx103">
              <a:extLst>
                <a:ext uri="{FF2B5EF4-FFF2-40B4-BE49-F238E27FC236}">
                  <a16:creationId xmlns:a16="http://schemas.microsoft.com/office/drawing/2014/main" id="{D8934220-931B-6864-FB70-51C3BDDC7354}"/>
                </a:ext>
              </a:extLst>
            </p:cNvPr>
            <p:cNvSpPr/>
            <p:nvPr/>
          </p:nvSpPr>
          <p:spPr>
            <a:xfrm>
              <a:off x="1602007" y="2948775"/>
              <a:ext cx="106070" cy="68031"/>
            </a:xfrm>
            <a:prstGeom prst="rect">
              <a:avLst/>
            </a:prstGeom>
            <a:noFill/>
          </p:spPr>
          <p:txBody>
            <a:bodyPr wrap="none" lIns="0" tIns="0" rIns="0" bIns="0" anchor="ctr" anchorCtr="1"/>
            <a:lstStyle/>
            <a:p>
              <a:pPr marL="0" marR="0" lvl="0" indent="0" algn="l" defTabSz="914355"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60</a:t>
              </a:r>
            </a:p>
          </p:txBody>
        </p:sp>
        <p:sp>
          <p:nvSpPr>
            <p:cNvPr id="6657" name="tx104">
              <a:extLst>
                <a:ext uri="{FF2B5EF4-FFF2-40B4-BE49-F238E27FC236}">
                  <a16:creationId xmlns:a16="http://schemas.microsoft.com/office/drawing/2014/main" id="{A751D9A4-0A3F-FE68-20B7-053579CCB58E}"/>
                </a:ext>
              </a:extLst>
            </p:cNvPr>
            <p:cNvSpPr/>
            <p:nvPr/>
          </p:nvSpPr>
          <p:spPr>
            <a:xfrm>
              <a:off x="1602007" y="2732775"/>
              <a:ext cx="106070" cy="68031"/>
            </a:xfrm>
            <a:prstGeom prst="rect">
              <a:avLst/>
            </a:prstGeom>
            <a:noFill/>
          </p:spPr>
          <p:txBody>
            <a:bodyPr wrap="none" lIns="0" tIns="0" rIns="0" bIns="0" anchor="ctr" anchorCtr="1"/>
            <a:lstStyle/>
            <a:p>
              <a:pPr marL="0" marR="0" lvl="0" indent="0" algn="l" defTabSz="914355"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70</a:t>
              </a:r>
            </a:p>
          </p:txBody>
        </p:sp>
        <p:sp>
          <p:nvSpPr>
            <p:cNvPr id="6658" name="tx105">
              <a:extLst>
                <a:ext uri="{FF2B5EF4-FFF2-40B4-BE49-F238E27FC236}">
                  <a16:creationId xmlns:a16="http://schemas.microsoft.com/office/drawing/2014/main" id="{10C71186-24F3-DA8D-8265-DD6B87C7CA25}"/>
                </a:ext>
              </a:extLst>
            </p:cNvPr>
            <p:cNvSpPr/>
            <p:nvPr/>
          </p:nvSpPr>
          <p:spPr>
            <a:xfrm>
              <a:off x="1602007" y="2516775"/>
              <a:ext cx="106070" cy="68031"/>
            </a:xfrm>
            <a:prstGeom prst="rect">
              <a:avLst/>
            </a:prstGeom>
            <a:noFill/>
          </p:spPr>
          <p:txBody>
            <a:bodyPr wrap="none" lIns="0" tIns="0" rIns="0" bIns="0" anchor="ctr" anchorCtr="1"/>
            <a:lstStyle/>
            <a:p>
              <a:pPr marL="0" marR="0" lvl="0" indent="0" algn="l" defTabSz="914355"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80</a:t>
              </a:r>
            </a:p>
          </p:txBody>
        </p:sp>
        <p:sp>
          <p:nvSpPr>
            <p:cNvPr id="6659" name="tx106">
              <a:extLst>
                <a:ext uri="{FF2B5EF4-FFF2-40B4-BE49-F238E27FC236}">
                  <a16:creationId xmlns:a16="http://schemas.microsoft.com/office/drawing/2014/main" id="{F3CC6F6F-673E-2356-F6D1-FC66B83177BE}"/>
                </a:ext>
              </a:extLst>
            </p:cNvPr>
            <p:cNvSpPr/>
            <p:nvPr/>
          </p:nvSpPr>
          <p:spPr>
            <a:xfrm>
              <a:off x="1602007" y="2300775"/>
              <a:ext cx="106070" cy="68031"/>
            </a:xfrm>
            <a:prstGeom prst="rect">
              <a:avLst/>
            </a:prstGeom>
            <a:noFill/>
          </p:spPr>
          <p:txBody>
            <a:bodyPr wrap="none" lIns="0" tIns="0" rIns="0" bIns="0" anchor="ctr" anchorCtr="1"/>
            <a:lstStyle/>
            <a:p>
              <a:pPr marL="0" marR="0" lvl="0" indent="0" algn="l" defTabSz="914355"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90</a:t>
              </a:r>
            </a:p>
          </p:txBody>
        </p:sp>
        <p:sp>
          <p:nvSpPr>
            <p:cNvPr id="6660" name="tx107">
              <a:extLst>
                <a:ext uri="{FF2B5EF4-FFF2-40B4-BE49-F238E27FC236}">
                  <a16:creationId xmlns:a16="http://schemas.microsoft.com/office/drawing/2014/main" id="{DEF617CC-2792-1215-06C7-A9792A2CE816}"/>
                </a:ext>
              </a:extLst>
            </p:cNvPr>
            <p:cNvSpPr/>
            <p:nvPr/>
          </p:nvSpPr>
          <p:spPr>
            <a:xfrm>
              <a:off x="1548971" y="2084775"/>
              <a:ext cx="159105" cy="68031"/>
            </a:xfrm>
            <a:prstGeom prst="rect">
              <a:avLst/>
            </a:prstGeom>
            <a:noFill/>
          </p:spPr>
          <p:txBody>
            <a:bodyPr wrap="none" lIns="0" tIns="0" rIns="0" bIns="0" anchor="ctr" anchorCtr="1"/>
            <a:lstStyle/>
            <a:p>
              <a:pPr marL="0" marR="0" lvl="0" indent="0" algn="l" defTabSz="914355"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00</a:t>
              </a:r>
            </a:p>
          </p:txBody>
        </p:sp>
        <p:sp>
          <p:nvSpPr>
            <p:cNvPr id="6661" name="pl108">
              <a:extLst>
                <a:ext uri="{FF2B5EF4-FFF2-40B4-BE49-F238E27FC236}">
                  <a16:creationId xmlns:a16="http://schemas.microsoft.com/office/drawing/2014/main" id="{FE57A8D3-9F32-9D7A-F401-702154B8FB26}"/>
                </a:ext>
              </a:extLst>
            </p:cNvPr>
            <p:cNvSpPr/>
            <p:nvPr/>
          </p:nvSpPr>
          <p:spPr>
            <a:xfrm>
              <a:off x="1730852" y="4280436"/>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62" name="pl109">
              <a:extLst>
                <a:ext uri="{FF2B5EF4-FFF2-40B4-BE49-F238E27FC236}">
                  <a16:creationId xmlns:a16="http://schemas.microsoft.com/office/drawing/2014/main" id="{46019430-03C1-5DC2-92A1-03A458858A34}"/>
                </a:ext>
              </a:extLst>
            </p:cNvPr>
            <p:cNvSpPr/>
            <p:nvPr/>
          </p:nvSpPr>
          <p:spPr>
            <a:xfrm>
              <a:off x="1730852" y="4064436"/>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63" name="pl110">
              <a:extLst>
                <a:ext uri="{FF2B5EF4-FFF2-40B4-BE49-F238E27FC236}">
                  <a16:creationId xmlns:a16="http://schemas.microsoft.com/office/drawing/2014/main" id="{F26F846A-B726-984E-2A8A-F574A6CF4777}"/>
                </a:ext>
              </a:extLst>
            </p:cNvPr>
            <p:cNvSpPr/>
            <p:nvPr/>
          </p:nvSpPr>
          <p:spPr>
            <a:xfrm>
              <a:off x="1730852" y="3848436"/>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64" name="pl111">
              <a:extLst>
                <a:ext uri="{FF2B5EF4-FFF2-40B4-BE49-F238E27FC236}">
                  <a16:creationId xmlns:a16="http://schemas.microsoft.com/office/drawing/2014/main" id="{ED431942-0BEB-B77C-7EBD-0BCB4F0979ED}"/>
                </a:ext>
              </a:extLst>
            </p:cNvPr>
            <p:cNvSpPr/>
            <p:nvPr/>
          </p:nvSpPr>
          <p:spPr>
            <a:xfrm>
              <a:off x="1730852" y="3632436"/>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65" name="pl112">
              <a:extLst>
                <a:ext uri="{FF2B5EF4-FFF2-40B4-BE49-F238E27FC236}">
                  <a16:creationId xmlns:a16="http://schemas.microsoft.com/office/drawing/2014/main" id="{6B227644-B79A-A03C-2483-05EDBAA1F5FC}"/>
                </a:ext>
              </a:extLst>
            </p:cNvPr>
            <p:cNvSpPr/>
            <p:nvPr/>
          </p:nvSpPr>
          <p:spPr>
            <a:xfrm>
              <a:off x="1730852" y="3416436"/>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66" name="pl113">
              <a:extLst>
                <a:ext uri="{FF2B5EF4-FFF2-40B4-BE49-F238E27FC236}">
                  <a16:creationId xmlns:a16="http://schemas.microsoft.com/office/drawing/2014/main" id="{08CFF21A-9AF9-CEE7-8A0C-BB44B503D982}"/>
                </a:ext>
              </a:extLst>
            </p:cNvPr>
            <p:cNvSpPr/>
            <p:nvPr/>
          </p:nvSpPr>
          <p:spPr>
            <a:xfrm>
              <a:off x="1730852" y="3200436"/>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67" name="pl114">
              <a:extLst>
                <a:ext uri="{FF2B5EF4-FFF2-40B4-BE49-F238E27FC236}">
                  <a16:creationId xmlns:a16="http://schemas.microsoft.com/office/drawing/2014/main" id="{D6A76414-C3CD-0FC7-86BE-24D900F6040D}"/>
                </a:ext>
              </a:extLst>
            </p:cNvPr>
            <p:cNvSpPr/>
            <p:nvPr/>
          </p:nvSpPr>
          <p:spPr>
            <a:xfrm>
              <a:off x="1730852" y="2984436"/>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68" name="pl115">
              <a:extLst>
                <a:ext uri="{FF2B5EF4-FFF2-40B4-BE49-F238E27FC236}">
                  <a16:creationId xmlns:a16="http://schemas.microsoft.com/office/drawing/2014/main" id="{6AF6AF7D-32CF-4CEA-26DA-FCBE629993DF}"/>
                </a:ext>
              </a:extLst>
            </p:cNvPr>
            <p:cNvSpPr/>
            <p:nvPr/>
          </p:nvSpPr>
          <p:spPr>
            <a:xfrm>
              <a:off x="1730852" y="2768436"/>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69" name="pl116">
              <a:extLst>
                <a:ext uri="{FF2B5EF4-FFF2-40B4-BE49-F238E27FC236}">
                  <a16:creationId xmlns:a16="http://schemas.microsoft.com/office/drawing/2014/main" id="{E3945C8C-22F0-3DA2-664E-9C9C25CA4C8A}"/>
                </a:ext>
              </a:extLst>
            </p:cNvPr>
            <p:cNvSpPr/>
            <p:nvPr/>
          </p:nvSpPr>
          <p:spPr>
            <a:xfrm>
              <a:off x="1730852" y="2552436"/>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70" name="pl117">
              <a:extLst>
                <a:ext uri="{FF2B5EF4-FFF2-40B4-BE49-F238E27FC236}">
                  <a16:creationId xmlns:a16="http://schemas.microsoft.com/office/drawing/2014/main" id="{12C4D128-BF87-6B6B-942A-16E5180D04F4}"/>
                </a:ext>
              </a:extLst>
            </p:cNvPr>
            <p:cNvSpPr/>
            <p:nvPr/>
          </p:nvSpPr>
          <p:spPr>
            <a:xfrm>
              <a:off x="1730852" y="2336436"/>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71" name="pl118">
              <a:extLst>
                <a:ext uri="{FF2B5EF4-FFF2-40B4-BE49-F238E27FC236}">
                  <a16:creationId xmlns:a16="http://schemas.microsoft.com/office/drawing/2014/main" id="{0A458B32-0A60-2FD7-0161-5F9583E35691}"/>
                </a:ext>
              </a:extLst>
            </p:cNvPr>
            <p:cNvSpPr/>
            <p:nvPr/>
          </p:nvSpPr>
          <p:spPr>
            <a:xfrm>
              <a:off x="1730852" y="2120436"/>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72" name="pl119">
              <a:extLst>
                <a:ext uri="{FF2B5EF4-FFF2-40B4-BE49-F238E27FC236}">
                  <a16:creationId xmlns:a16="http://schemas.microsoft.com/office/drawing/2014/main" id="{846BC25C-B6C0-C7D3-E1C7-6FE75939C47D}"/>
                </a:ext>
              </a:extLst>
            </p:cNvPr>
            <p:cNvSpPr/>
            <p:nvPr/>
          </p:nvSpPr>
          <p:spPr>
            <a:xfrm>
              <a:off x="1794114" y="4280436"/>
              <a:ext cx="3240000" cy="0"/>
            </a:xfrm>
            <a:custGeom>
              <a:avLst/>
              <a:gdLst/>
              <a:ahLst/>
              <a:cxnLst/>
              <a:rect l="0" t="0" r="0" b="0"/>
              <a:pathLst>
                <a:path w="3240000">
                  <a:moveTo>
                    <a:pt x="0" y="0"/>
                  </a:moveTo>
                  <a:lnTo>
                    <a:pt x="3240000"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73" name="pl120">
              <a:extLst>
                <a:ext uri="{FF2B5EF4-FFF2-40B4-BE49-F238E27FC236}">
                  <a16:creationId xmlns:a16="http://schemas.microsoft.com/office/drawing/2014/main" id="{58173359-6261-BE47-F941-9127D883589D}"/>
                </a:ext>
              </a:extLst>
            </p:cNvPr>
            <p:cNvSpPr/>
            <p:nvPr/>
          </p:nvSpPr>
          <p:spPr>
            <a:xfrm>
              <a:off x="2167960" y="4280436"/>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74" name="pl121">
              <a:extLst>
                <a:ext uri="{FF2B5EF4-FFF2-40B4-BE49-F238E27FC236}">
                  <a16:creationId xmlns:a16="http://schemas.microsoft.com/office/drawing/2014/main" id="{3E109657-CB28-319E-C039-4F5460114F74}"/>
                </a:ext>
              </a:extLst>
            </p:cNvPr>
            <p:cNvSpPr/>
            <p:nvPr/>
          </p:nvSpPr>
          <p:spPr>
            <a:xfrm>
              <a:off x="2791037" y="4280436"/>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75" name="pl122">
              <a:extLst>
                <a:ext uri="{FF2B5EF4-FFF2-40B4-BE49-F238E27FC236}">
                  <a16:creationId xmlns:a16="http://schemas.microsoft.com/office/drawing/2014/main" id="{BECF1098-BFD2-4B75-DE65-070C24FF5400}"/>
                </a:ext>
              </a:extLst>
            </p:cNvPr>
            <p:cNvSpPr/>
            <p:nvPr/>
          </p:nvSpPr>
          <p:spPr>
            <a:xfrm>
              <a:off x="3414114" y="4280436"/>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76" name="pl123">
              <a:extLst>
                <a:ext uri="{FF2B5EF4-FFF2-40B4-BE49-F238E27FC236}">
                  <a16:creationId xmlns:a16="http://schemas.microsoft.com/office/drawing/2014/main" id="{BC912E25-ACB3-1B6B-6A7F-3DE94EFF9385}"/>
                </a:ext>
              </a:extLst>
            </p:cNvPr>
            <p:cNvSpPr/>
            <p:nvPr/>
          </p:nvSpPr>
          <p:spPr>
            <a:xfrm>
              <a:off x="4037191" y="4280436"/>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77" name="pl124">
              <a:extLst>
                <a:ext uri="{FF2B5EF4-FFF2-40B4-BE49-F238E27FC236}">
                  <a16:creationId xmlns:a16="http://schemas.microsoft.com/office/drawing/2014/main" id="{D25A255B-C874-EBF4-E39D-DAB78A5F4BE5}"/>
                </a:ext>
              </a:extLst>
            </p:cNvPr>
            <p:cNvSpPr/>
            <p:nvPr/>
          </p:nvSpPr>
          <p:spPr>
            <a:xfrm>
              <a:off x="4660268" y="4280436"/>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678" name="tx125">
              <a:extLst>
                <a:ext uri="{FF2B5EF4-FFF2-40B4-BE49-F238E27FC236}">
                  <a16:creationId xmlns:a16="http://schemas.microsoft.com/office/drawing/2014/main" id="{2BDE1764-5607-60E5-E6B7-60203874B4AF}"/>
                </a:ext>
              </a:extLst>
            </p:cNvPr>
            <p:cNvSpPr/>
            <p:nvPr/>
          </p:nvSpPr>
          <p:spPr>
            <a:xfrm>
              <a:off x="1747819" y="4508957"/>
              <a:ext cx="615939" cy="70774"/>
            </a:xfrm>
            <a:prstGeom prst="rect">
              <a:avLst/>
            </a:prstGeom>
            <a:noFill/>
          </p:spPr>
          <p:txBody>
            <a:bodyPr wrap="none" lIns="0" tIns="0" rIns="0" bIns="0" anchor="ctr" anchorCtr="1"/>
            <a:lstStyle/>
            <a:p>
              <a:pPr marL="0" marR="0" lvl="0" indent="0" algn="l" defTabSz="914355"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Sham-Vehicle</a:t>
              </a:r>
            </a:p>
          </p:txBody>
        </p:sp>
        <p:sp>
          <p:nvSpPr>
            <p:cNvPr id="6679" name="tx126">
              <a:extLst>
                <a:ext uri="{FF2B5EF4-FFF2-40B4-BE49-F238E27FC236}">
                  <a16:creationId xmlns:a16="http://schemas.microsoft.com/office/drawing/2014/main" id="{6520C923-5FDA-739F-44C8-32521AC6EC21}"/>
                </a:ext>
              </a:extLst>
            </p:cNvPr>
            <p:cNvSpPr/>
            <p:nvPr/>
          </p:nvSpPr>
          <p:spPr>
            <a:xfrm>
              <a:off x="2581964" y="4509506"/>
              <a:ext cx="486277" cy="70225"/>
            </a:xfrm>
            <a:prstGeom prst="rect">
              <a:avLst/>
            </a:prstGeom>
            <a:noFill/>
          </p:spPr>
          <p:txBody>
            <a:bodyPr wrap="none" lIns="0" tIns="0" rIns="0" bIns="0" anchor="ctr" anchorCtr="1"/>
            <a:lstStyle/>
            <a:p>
              <a:pPr marL="0" marR="0" lvl="0" indent="0" algn="l" defTabSz="914355"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Vehicle</a:t>
              </a:r>
            </a:p>
          </p:txBody>
        </p:sp>
        <p:sp>
          <p:nvSpPr>
            <p:cNvPr id="6680" name="tx127">
              <a:extLst>
                <a:ext uri="{FF2B5EF4-FFF2-40B4-BE49-F238E27FC236}">
                  <a16:creationId xmlns:a16="http://schemas.microsoft.com/office/drawing/2014/main" id="{9C0255B1-1FFC-B4CD-DA89-995872285ABB}"/>
                </a:ext>
              </a:extLst>
            </p:cNvPr>
            <p:cNvSpPr/>
            <p:nvPr/>
          </p:nvSpPr>
          <p:spPr>
            <a:xfrm>
              <a:off x="3181380" y="4511700"/>
              <a:ext cx="463783" cy="68031"/>
            </a:xfrm>
            <a:prstGeom prst="rect">
              <a:avLst/>
            </a:prstGeom>
            <a:noFill/>
          </p:spPr>
          <p:txBody>
            <a:bodyPr wrap="none" lIns="0" tIns="0" rIns="0" bIns="0" anchor="ctr" anchorCtr="1"/>
            <a:lstStyle/>
            <a:p>
              <a:pPr marL="0" marR="0" lvl="0" indent="0" algn="l" defTabSz="914355"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A+L+S</a:t>
              </a:r>
              <a:br>
                <a:rPr kumimoji="0" lang="en-GB"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br>
              <a:r>
                <a:rPr kumimoji="0" lang="en-GB"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SoC)</a:t>
              </a:r>
              <a:endPar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endParaRPr>
            </a:p>
          </p:txBody>
        </p:sp>
        <p:sp>
          <p:nvSpPr>
            <p:cNvPr id="6681" name="tx128">
              <a:extLst>
                <a:ext uri="{FF2B5EF4-FFF2-40B4-BE49-F238E27FC236}">
                  <a16:creationId xmlns:a16="http://schemas.microsoft.com/office/drawing/2014/main" id="{9BB5CF02-408A-06B8-4D0C-7D688BEC8DF1}"/>
                </a:ext>
              </a:extLst>
            </p:cNvPr>
            <p:cNvSpPr/>
            <p:nvPr/>
          </p:nvSpPr>
          <p:spPr>
            <a:xfrm>
              <a:off x="3562538" y="4488657"/>
              <a:ext cx="936254" cy="91074"/>
            </a:xfrm>
            <a:prstGeom prst="rect">
              <a:avLst/>
            </a:prstGeom>
            <a:noFill/>
          </p:spPr>
          <p:txBody>
            <a:bodyPr wrap="none" lIns="0" tIns="0" rIns="0" bIns="0" anchor="ctr" anchorCtr="1"/>
            <a:lstStyle/>
            <a:p>
              <a:pPr marL="0" marR="0" lvl="0" indent="0" algn="ctr" defTabSz="914355"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UCN2</a:t>
              </a:r>
              <a:r>
                <a:rPr kumimoji="0" lang="en-GB"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 low</a:t>
              </a:r>
              <a:endPar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endParaRPr>
            </a:p>
          </p:txBody>
        </p:sp>
        <p:sp>
          <p:nvSpPr>
            <p:cNvPr id="6682" name="tx129">
              <a:extLst>
                <a:ext uri="{FF2B5EF4-FFF2-40B4-BE49-F238E27FC236}">
                  <a16:creationId xmlns:a16="http://schemas.microsoft.com/office/drawing/2014/main" id="{A5FE1C41-AF12-0DDA-3863-C485CF2A23E5}"/>
                </a:ext>
              </a:extLst>
            </p:cNvPr>
            <p:cNvSpPr/>
            <p:nvPr/>
          </p:nvSpPr>
          <p:spPr>
            <a:xfrm>
              <a:off x="4201995" y="4488657"/>
              <a:ext cx="989289" cy="91074"/>
            </a:xfrm>
            <a:prstGeom prst="rect">
              <a:avLst/>
            </a:prstGeom>
            <a:noFill/>
          </p:spPr>
          <p:txBody>
            <a:bodyPr wrap="none" lIns="0" tIns="0" rIns="0" bIns="0" anchor="ctr" anchorCtr="1"/>
            <a:lstStyle/>
            <a:p>
              <a:pPr marL="0" marR="0" lvl="0" indent="0" algn="l" defTabSz="914355" rtl="0" eaLnBrk="1" fontAlgn="auto" latinLnBrk="0" hangingPunct="1">
                <a:lnSpc>
                  <a:spcPts val="720"/>
                </a:lnSpc>
                <a:spcBef>
                  <a:spcPts val="0"/>
                </a:spcBef>
                <a:spcAft>
                  <a:spcPts val="0"/>
                </a:spcAft>
                <a:buClrTx/>
                <a:buSzTx/>
                <a:buFontTx/>
                <a:buNone/>
                <a:tabLst/>
                <a:defRPr/>
              </a:pPr>
              <a:r>
                <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UCN2</a:t>
              </a:r>
              <a:r>
                <a:rPr kumimoji="0" lang="en-GB"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 high</a:t>
              </a:r>
              <a:endParaRPr kumimoji="0" sz="900" b="0" i="0" u="none" strike="noStrike" kern="1200" cap="none" spc="0" normalizeH="0" baseline="0" noProof="0">
                <a:ln>
                  <a:noFill/>
                </a:ln>
                <a:solidFill>
                  <a:srgbClr val="001965">
                    <a:alpha val="100000"/>
                  </a:srgbClr>
                </a:solidFill>
                <a:effectLst/>
                <a:uLnTx/>
                <a:uFillTx/>
                <a:latin typeface="Avenir Next LT Pro"/>
                <a:ea typeface="+mn-ea"/>
                <a:cs typeface="Avenir Next LT Pro"/>
              </a:endParaRPr>
            </a:p>
          </p:txBody>
        </p:sp>
        <p:sp>
          <p:nvSpPr>
            <p:cNvPr id="6683" name="tx130">
              <a:extLst>
                <a:ext uri="{FF2B5EF4-FFF2-40B4-BE49-F238E27FC236}">
                  <a16:creationId xmlns:a16="http://schemas.microsoft.com/office/drawing/2014/main" id="{1CF8CE1E-6FE3-47BD-4444-B8DDC96172D9}"/>
                </a:ext>
              </a:extLst>
            </p:cNvPr>
            <p:cNvSpPr/>
            <p:nvPr/>
          </p:nvSpPr>
          <p:spPr>
            <a:xfrm rot="-5400000">
              <a:off x="1040843" y="3148315"/>
              <a:ext cx="855078" cy="104241"/>
            </a:xfrm>
            <a:prstGeom prst="rect">
              <a:avLst/>
            </a:prstGeom>
            <a:noFill/>
          </p:spPr>
          <p:txBody>
            <a:bodyPr wrap="none" lIns="0" tIns="0" rIns="0" bIns="0" anchor="ctr" anchorCtr="1"/>
            <a:lstStyle/>
            <a:p>
              <a:pPr marL="0" marR="0" lvl="0" indent="0" algn="l" defTabSz="914355" rtl="0" eaLnBrk="1" fontAlgn="auto" latinLnBrk="0" hangingPunct="1">
                <a:lnSpc>
                  <a:spcPts val="900"/>
                </a:lnSpc>
                <a:spcBef>
                  <a:spcPts val="0"/>
                </a:spcBef>
                <a:spcAft>
                  <a:spcPts val="0"/>
                </a:spcAft>
                <a:buClrTx/>
                <a:buSzTx/>
                <a:buFontTx/>
                <a:buNone/>
                <a:tabLst/>
                <a:defRPr/>
              </a:pPr>
              <a:r>
                <a:rPr kumimoji="0" sz="900" b="1" i="0" u="none" strike="noStrike" kern="1200" cap="none" spc="0" normalizeH="0" baseline="0" noProof="0">
                  <a:ln>
                    <a:noFill/>
                  </a:ln>
                  <a:solidFill>
                    <a:srgbClr val="001965">
                      <a:alpha val="100000"/>
                    </a:srgbClr>
                  </a:solidFill>
                  <a:effectLst/>
                  <a:uLnTx/>
                  <a:uFillTx/>
                  <a:latin typeface="Avenir Next LT Pro"/>
                  <a:ea typeface="+mn-ea"/>
                  <a:cs typeface="Avenir Next LT Pro"/>
                </a:rPr>
                <a:t>EF (M-mode, %)</a:t>
              </a:r>
            </a:p>
          </p:txBody>
        </p:sp>
        <p:sp>
          <p:nvSpPr>
            <p:cNvPr id="6684" name="tx131">
              <a:extLst>
                <a:ext uri="{FF2B5EF4-FFF2-40B4-BE49-F238E27FC236}">
                  <a16:creationId xmlns:a16="http://schemas.microsoft.com/office/drawing/2014/main" id="{5BDF2B74-5C1D-6B7E-F121-B2BFB0324F2C}"/>
                </a:ext>
              </a:extLst>
            </p:cNvPr>
            <p:cNvSpPr/>
            <p:nvPr/>
          </p:nvSpPr>
          <p:spPr>
            <a:xfrm>
              <a:off x="2840214" y="1949657"/>
              <a:ext cx="1147800" cy="113842"/>
            </a:xfrm>
            <a:prstGeom prst="rect">
              <a:avLst/>
            </a:prstGeom>
            <a:noFill/>
          </p:spPr>
          <p:txBody>
            <a:bodyPr wrap="none" lIns="0" tIns="0" rIns="0" bIns="0" anchor="ctr" anchorCtr="1"/>
            <a:lstStyle/>
            <a:p>
              <a:pPr marL="0" marR="0" lvl="0" indent="0" algn="l" defTabSz="914355" rtl="0" eaLnBrk="1" fontAlgn="auto" latinLnBrk="0" hangingPunct="1">
                <a:lnSpc>
                  <a:spcPts val="900"/>
                </a:lnSpc>
                <a:spcBef>
                  <a:spcPts val="0"/>
                </a:spcBef>
                <a:spcAft>
                  <a:spcPts val="0"/>
                </a:spcAft>
                <a:buClrTx/>
                <a:buSzTx/>
                <a:buFontTx/>
                <a:buNone/>
                <a:tabLst/>
                <a:defRPr/>
              </a:pPr>
              <a:endParaRPr kumimoji="0" sz="900" b="1" i="0" u="none" strike="noStrike" kern="1200" cap="none" spc="0" normalizeH="0" baseline="0" noProof="0">
                <a:ln>
                  <a:noFill/>
                </a:ln>
                <a:solidFill>
                  <a:srgbClr val="001965">
                    <a:alpha val="100000"/>
                  </a:srgbClr>
                </a:solidFill>
                <a:effectLst/>
                <a:uLnTx/>
                <a:uFillTx/>
                <a:latin typeface="Avenir Next LT Pro"/>
                <a:ea typeface="+mn-ea"/>
                <a:cs typeface="Avenir Next LT Pro"/>
              </a:endParaRPr>
            </a:p>
          </p:txBody>
        </p:sp>
      </p:grpSp>
      <p:sp>
        <p:nvSpPr>
          <p:cNvPr id="6685" name="tx27">
            <a:extLst>
              <a:ext uri="{FF2B5EF4-FFF2-40B4-BE49-F238E27FC236}">
                <a16:creationId xmlns:a16="http://schemas.microsoft.com/office/drawing/2014/main" id="{9FA24D52-972E-9BB6-8E9C-A0E86532CED0}"/>
              </a:ext>
            </a:extLst>
          </p:cNvPr>
          <p:cNvSpPr/>
          <p:nvPr/>
        </p:nvSpPr>
        <p:spPr>
          <a:xfrm>
            <a:off x="9780943" y="4188374"/>
            <a:ext cx="98946" cy="39667"/>
          </a:xfrm>
          <a:prstGeom prst="rect">
            <a:avLst/>
          </a:prstGeom>
          <a:noFill/>
        </p:spPr>
        <p:txBody>
          <a:bodyPr wrap="none" lIns="0" tIns="0" rIns="0" bIns="0" anchor="ctr" anchorCtr="1"/>
          <a:lstStyle/>
          <a:p>
            <a:pPr marL="0" marR="0" lvl="0" indent="0" algn="l" defTabSz="914355" rtl="0" eaLnBrk="1" fontAlgn="auto" latinLnBrk="0" hangingPunct="1">
              <a:lnSpc>
                <a:spcPts val="914"/>
              </a:lnSpc>
              <a:spcBef>
                <a:spcPts val="0"/>
              </a:spcBef>
              <a:spcAft>
                <a:spcPts val="0"/>
              </a:spcAft>
              <a:buClrTx/>
              <a:buSzTx/>
              <a:buFontTx/>
              <a:buNone/>
              <a:tabLst/>
              <a:defRPr/>
            </a:pPr>
            <a:r>
              <a:rPr kumimoji="0" sz="1400" b="0" i="0" u="none" strike="noStrike" kern="1200" cap="none" spc="0" normalizeH="0" baseline="0" noProof="0">
                <a:ln>
                  <a:noFill/>
                </a:ln>
                <a:solidFill>
                  <a:srgbClr val="745DAD">
                    <a:alpha val="100000"/>
                  </a:srgbClr>
                </a:solidFill>
                <a:effectLst/>
                <a:uLnTx/>
                <a:uFillTx/>
                <a:latin typeface="Avenir Next LT Pro"/>
                <a:ea typeface="+mn-ea"/>
                <a:cs typeface="Avenir Next LT Pro"/>
              </a:rPr>
              <a:t>**</a:t>
            </a:r>
          </a:p>
        </p:txBody>
      </p:sp>
      <p:sp>
        <p:nvSpPr>
          <p:cNvPr id="6686" name="tx28">
            <a:extLst>
              <a:ext uri="{FF2B5EF4-FFF2-40B4-BE49-F238E27FC236}">
                <a16:creationId xmlns:a16="http://schemas.microsoft.com/office/drawing/2014/main" id="{5DC0F309-538F-0E03-4ACD-27B71FEAE549}"/>
              </a:ext>
            </a:extLst>
          </p:cNvPr>
          <p:cNvSpPr/>
          <p:nvPr/>
        </p:nvSpPr>
        <p:spPr>
          <a:xfrm>
            <a:off x="10371192" y="4188374"/>
            <a:ext cx="148420" cy="39667"/>
          </a:xfrm>
          <a:prstGeom prst="rect">
            <a:avLst/>
          </a:prstGeom>
          <a:noFill/>
        </p:spPr>
        <p:txBody>
          <a:bodyPr wrap="none" lIns="0" tIns="0" rIns="0" bIns="0" anchor="ctr" anchorCtr="1"/>
          <a:lstStyle/>
          <a:p>
            <a:pPr marL="0" marR="0" lvl="0" indent="0" algn="l" defTabSz="914355" rtl="0" eaLnBrk="1" fontAlgn="auto" latinLnBrk="0" hangingPunct="1">
              <a:lnSpc>
                <a:spcPts val="914"/>
              </a:lnSpc>
              <a:spcBef>
                <a:spcPts val="0"/>
              </a:spcBef>
              <a:spcAft>
                <a:spcPts val="0"/>
              </a:spcAft>
              <a:buClrTx/>
              <a:buSzTx/>
              <a:buFontTx/>
              <a:buNone/>
              <a:tabLst/>
              <a:defRPr/>
            </a:pPr>
            <a:r>
              <a:rPr kumimoji="0" sz="1400" b="0" i="0" u="none" strike="noStrike" kern="1200" cap="none" spc="0" normalizeH="0" baseline="0" noProof="0">
                <a:ln>
                  <a:noFill/>
                </a:ln>
                <a:solidFill>
                  <a:srgbClr val="00DF86">
                    <a:alpha val="100000"/>
                  </a:srgbClr>
                </a:solidFill>
                <a:effectLst/>
                <a:uLnTx/>
                <a:uFillTx/>
                <a:latin typeface="Avenir Next LT Pro"/>
                <a:ea typeface="+mn-ea"/>
                <a:cs typeface="Avenir Next LT Pro"/>
              </a:rPr>
              <a:t>***</a:t>
            </a:r>
          </a:p>
        </p:txBody>
      </p:sp>
      <p:sp>
        <p:nvSpPr>
          <p:cNvPr id="6687" name="tx29">
            <a:extLst>
              <a:ext uri="{FF2B5EF4-FFF2-40B4-BE49-F238E27FC236}">
                <a16:creationId xmlns:a16="http://schemas.microsoft.com/office/drawing/2014/main" id="{B852BA79-C13C-17A1-CE96-7330F46E4C7F}"/>
              </a:ext>
            </a:extLst>
          </p:cNvPr>
          <p:cNvSpPr/>
          <p:nvPr/>
        </p:nvSpPr>
        <p:spPr>
          <a:xfrm>
            <a:off x="10968938" y="4188374"/>
            <a:ext cx="148420" cy="39667"/>
          </a:xfrm>
          <a:prstGeom prst="rect">
            <a:avLst/>
          </a:prstGeom>
          <a:noFill/>
        </p:spPr>
        <p:txBody>
          <a:bodyPr wrap="none" lIns="0" tIns="0" rIns="0" bIns="0" anchor="ctr" anchorCtr="1"/>
          <a:lstStyle/>
          <a:p>
            <a:pPr marL="0" marR="0" lvl="0" indent="0" algn="l" defTabSz="914355" rtl="0" eaLnBrk="1" fontAlgn="auto" latinLnBrk="0" hangingPunct="1">
              <a:lnSpc>
                <a:spcPts val="914"/>
              </a:lnSpc>
              <a:spcBef>
                <a:spcPts val="0"/>
              </a:spcBef>
              <a:spcAft>
                <a:spcPts val="0"/>
              </a:spcAft>
              <a:buClrTx/>
              <a:buSzTx/>
              <a:buFontTx/>
              <a:buNone/>
              <a:tabLst/>
              <a:defRPr/>
            </a:pPr>
            <a:r>
              <a:rPr kumimoji="0" sz="1400" b="0" i="0" u="none" strike="noStrike" kern="1200" cap="none" spc="0" normalizeH="0" baseline="0" noProof="0">
                <a:ln>
                  <a:noFill/>
                </a:ln>
                <a:solidFill>
                  <a:srgbClr val="00AF82">
                    <a:alpha val="100000"/>
                  </a:srgbClr>
                </a:solidFill>
                <a:effectLst/>
                <a:uLnTx/>
                <a:uFillTx/>
                <a:latin typeface="Avenir Next LT Pro"/>
                <a:ea typeface="+mn-ea"/>
                <a:cs typeface="Avenir Next LT Pro"/>
              </a:rPr>
              <a:t>***</a:t>
            </a:r>
          </a:p>
        </p:txBody>
      </p:sp>
      <p:sp>
        <p:nvSpPr>
          <p:cNvPr id="6688" name="tx26">
            <a:extLst>
              <a:ext uri="{FF2B5EF4-FFF2-40B4-BE49-F238E27FC236}">
                <a16:creationId xmlns:a16="http://schemas.microsoft.com/office/drawing/2014/main" id="{4BD4F802-45FE-E91F-46F1-F8128939242C}"/>
              </a:ext>
            </a:extLst>
          </p:cNvPr>
          <p:cNvSpPr/>
          <p:nvPr/>
        </p:nvSpPr>
        <p:spPr>
          <a:xfrm>
            <a:off x="8557006" y="3368602"/>
            <a:ext cx="148420" cy="39667"/>
          </a:xfrm>
          <a:prstGeom prst="rect">
            <a:avLst/>
          </a:prstGeom>
          <a:noFill/>
        </p:spPr>
        <p:txBody>
          <a:bodyPr wrap="none" lIns="0" tIns="0" rIns="0" bIns="0" anchor="ctr" anchorCtr="1"/>
          <a:lstStyle/>
          <a:p>
            <a:pPr marL="0" marR="0" lvl="0" indent="0" algn="l" defTabSz="914355" rtl="0" eaLnBrk="1" fontAlgn="auto" latinLnBrk="0" hangingPunct="1">
              <a:lnSpc>
                <a:spcPts val="914"/>
              </a:lnSpc>
              <a:spcBef>
                <a:spcPts val="0"/>
              </a:spcBef>
              <a:spcAft>
                <a:spcPts val="0"/>
              </a:spcAft>
              <a:buClrTx/>
              <a:buSzTx/>
              <a:buFontTx/>
              <a:buNone/>
              <a:tabLst/>
              <a:defRPr/>
            </a:pPr>
            <a:r>
              <a:rPr kumimoji="0" sz="1400" b="0" i="0" u="none" strike="noStrike" kern="1200" cap="none" spc="0" normalizeH="0" baseline="0" noProof="0">
                <a:ln>
                  <a:noFill/>
                </a:ln>
                <a:solidFill>
                  <a:srgbClr val="A3ADB4">
                    <a:alpha val="100000"/>
                  </a:srgbClr>
                </a:solidFill>
                <a:effectLst/>
                <a:uLnTx/>
                <a:uFillTx/>
                <a:latin typeface="Avenir Next LT Pro"/>
                <a:ea typeface="+mn-ea"/>
                <a:cs typeface="Avenir Next LT Pro"/>
              </a:rPr>
              <a:t>***</a:t>
            </a:r>
          </a:p>
        </p:txBody>
      </p:sp>
      <p:sp>
        <p:nvSpPr>
          <p:cNvPr id="9" name="Rounded Rectangle 5115">
            <a:extLst>
              <a:ext uri="{FF2B5EF4-FFF2-40B4-BE49-F238E27FC236}">
                <a16:creationId xmlns:a16="http://schemas.microsoft.com/office/drawing/2014/main" id="{851E9166-EA38-2000-9F57-F18495073167}"/>
              </a:ext>
            </a:extLst>
          </p:cNvPr>
          <p:cNvSpPr/>
          <p:nvPr/>
        </p:nvSpPr>
        <p:spPr>
          <a:xfrm>
            <a:off x="565458" y="1889075"/>
            <a:ext cx="11066405" cy="468001"/>
          </a:xfrm>
          <a:prstGeom prst="roundRect">
            <a:avLst>
              <a:gd name="adj" fmla="val 5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432000"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Long-acting UCN2 significantly improves cardiac function in rats with myocardial infarction</a:t>
            </a:r>
            <a:r>
              <a:rPr kumimoji="0" lang="en-DK" sz="1200" b="0"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a:t>
            </a:r>
            <a:r>
              <a:rPr kumimoji="0" lang="en-US" sz="1200" b="0"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after 8 weeks of treatment</a:t>
            </a:r>
          </a:p>
        </p:txBody>
      </p:sp>
      <p:pic>
        <p:nvPicPr>
          <p:cNvPr id="10" name="Graphic 9" descr="Lights On with solid fill">
            <a:extLst>
              <a:ext uri="{FF2B5EF4-FFF2-40B4-BE49-F238E27FC236}">
                <a16:creationId xmlns:a16="http://schemas.microsoft.com/office/drawing/2014/main" id="{3D5A383A-9B73-2F6D-2BB3-1525EA20DACF}"/>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634863" y="1933369"/>
            <a:ext cx="365124" cy="365124"/>
          </a:xfrm>
          <a:prstGeom prst="rect">
            <a:avLst/>
          </a:prstGeom>
          <a:extLst>
            <a:ext uri="{91240B29-F687-4F45-9708-019B960494DF}">
              <a14:hiddenLine xmlns:a14="http://schemas.microsoft.com/office/drawing/2010/main" w="13758" cap="flat">
                <a:solidFill>
                  <a:srgbClr val="FFFFFF"/>
                </a:solidFill>
                <a:prstDash val="solid"/>
                <a:miter/>
              </a14:hiddenLine>
            </a:ext>
          </a:extLst>
        </p:spPr>
      </p:pic>
      <p:sp>
        <p:nvSpPr>
          <p:cNvPr id="2" name="Rounded Rectangle 44">
            <a:extLst>
              <a:ext uri="{FF2B5EF4-FFF2-40B4-BE49-F238E27FC236}">
                <a16:creationId xmlns:a16="http://schemas.microsoft.com/office/drawing/2014/main" id="{31C28E12-C9F0-1916-AA3B-F35A99E67D45}"/>
              </a:ext>
            </a:extLst>
          </p:cNvPr>
          <p:cNvSpPr/>
          <p:nvPr/>
        </p:nvSpPr>
        <p:spPr>
          <a:xfrm>
            <a:off x="566180" y="142571"/>
            <a:ext cx="912669" cy="288000"/>
          </a:xfrm>
          <a:prstGeom prst="roundRect">
            <a:avLst>
              <a:gd name="adj" fmla="val 50000"/>
            </a:avLst>
          </a:prstGeom>
          <a:solidFill>
            <a:schemeClr val="tx2">
              <a:alpha val="49757"/>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1965"/>
                </a:solidFill>
                <a:effectLst/>
                <a:uLnTx/>
                <a:uFillTx/>
                <a:latin typeface="Avenir Next LT Pro Demi" panose="020B0504020202020204" pitchFamily="34" charset="77"/>
                <a:ea typeface="+mn-ea"/>
                <a:cs typeface="+mn-cs"/>
              </a:rPr>
              <a:t>UCN2</a:t>
            </a:r>
          </a:p>
        </p:txBody>
      </p:sp>
    </p:spTree>
    <p:extLst>
      <p:ext uri="{BB962C8B-B14F-4D97-AF65-F5344CB8AC3E}">
        <p14:creationId xmlns:p14="http://schemas.microsoft.com/office/powerpoint/2010/main" val="806025802"/>
      </p:ext>
    </p:extLst>
  </p:cSld>
  <p:clrMapOvr>
    <a:masterClrMapping/>
  </p:clrMapOvr>
  <p:transition spd="slow">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45D777-E624-F3A7-7A41-9D0E1CB3ED4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D897B76-9117-A29B-9248-B790C78235B8}"/>
              </a:ext>
            </a:extLst>
          </p:cNvPr>
          <p:cNvGraphicFramePr>
            <a:graphicFrameLocks/>
          </p:cNvGraphicFramePr>
          <p:nvPr>
            <p:custDataLst>
              <p:tags r:id="rId1"/>
            </p:custDataLst>
            <p:extLst>
              <p:ext uri="{D42A27DB-BD31-4B8C-83A1-F6EECF244321}">
                <p14:modId xmlns:p14="http://schemas.microsoft.com/office/powerpoint/2010/main" val="3633551486"/>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7" name="think-cell data - do not delete" hidden="1">
                        <a:extLst>
                          <a:ext uri="{FF2B5EF4-FFF2-40B4-BE49-F238E27FC236}">
                            <a16:creationId xmlns:a16="http://schemas.microsoft.com/office/drawing/2014/main" id="{6D897B76-9117-A29B-9248-B790C78235B8}"/>
                          </a:ext>
                        </a:extLst>
                      </p:cNvPr>
                      <p:cNvPicPr/>
                      <p:nvPr/>
                    </p:nvPicPr>
                    <p:blipFill>
                      <a:blip r:embed="rId5"/>
                      <a:stretch>
                        <a:fillRect/>
                      </a:stretch>
                    </p:blipFill>
                    <p:spPr>
                      <a:xfrm>
                        <a:off x="2382" y="1588"/>
                        <a:ext cx="1588" cy="1588"/>
                      </a:xfrm>
                      <a:prstGeom prst="rect">
                        <a:avLst/>
                      </a:prstGeom>
                    </p:spPr>
                  </p:pic>
                </p:oleObj>
              </mc:Fallback>
            </mc:AlternateContent>
          </a:graphicData>
        </a:graphic>
      </p:graphicFrame>
      <p:pic>
        <p:nvPicPr>
          <p:cNvPr id="32" name="Picture 31" descr="A group of plastic slides on a table&#10;&#10;AI-generated content may be incorrect.">
            <a:extLst>
              <a:ext uri="{FF2B5EF4-FFF2-40B4-BE49-F238E27FC236}">
                <a16:creationId xmlns:a16="http://schemas.microsoft.com/office/drawing/2014/main" id="{71768B1F-843A-65B3-52F1-0236AF34F12F}"/>
              </a:ext>
            </a:extLst>
          </p:cNvPr>
          <p:cNvPicPr>
            <a:picLocks noChangeAspect="1"/>
          </p:cNvPicPr>
          <p:nvPr/>
        </p:nvPicPr>
        <p:blipFill>
          <a:blip r:embed="rId6">
            <a:extLst>
              <a:ext uri="{28A0092B-C50C-407E-A947-70E740481C1C}">
                <a14:useLocalDpi xmlns:a14="http://schemas.microsoft.com/office/drawing/2010/main" val="0"/>
              </a:ext>
            </a:extLst>
          </a:blip>
          <a:srcRect l="-1" t="35748" r="-1" b="7978"/>
          <a:stretch>
            <a:fillRect/>
          </a:stretch>
        </p:blipFill>
        <p:spPr>
          <a:xfrm>
            <a:off x="0" y="-3976"/>
            <a:ext cx="12193588" cy="6861976"/>
          </a:xfrm>
          <a:prstGeom prst="rect">
            <a:avLst/>
          </a:prstGeom>
        </p:spPr>
      </p:pic>
      <p:sp>
        <p:nvSpPr>
          <p:cNvPr id="33" name="Rectangle 32">
            <a:extLst>
              <a:ext uri="{FF2B5EF4-FFF2-40B4-BE49-F238E27FC236}">
                <a16:creationId xmlns:a16="http://schemas.microsoft.com/office/drawing/2014/main" id="{04EF027B-BB2D-E481-6829-DAB985055030}"/>
              </a:ext>
            </a:extLst>
          </p:cNvPr>
          <p:cNvSpPr/>
          <p:nvPr/>
        </p:nvSpPr>
        <p:spPr>
          <a:xfrm>
            <a:off x="-19503" y="-64009"/>
            <a:ext cx="12193588" cy="6922009"/>
          </a:xfrm>
          <a:prstGeom prst="rect">
            <a:avLst/>
          </a:prstGeom>
          <a:gradFill flip="none" rotWithShape="1">
            <a:gsLst>
              <a:gs pos="2000">
                <a:schemeClr val="tx1">
                  <a:alpha val="15659"/>
                </a:schemeClr>
              </a:gs>
              <a:gs pos="54000">
                <a:schemeClr val="accent4">
                  <a:alpha val="0"/>
                  <a:lumMod val="0"/>
                  <a:lumOff val="100000"/>
                </a:scheme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9B36D780-E8A7-3556-8C89-C68475F71B5B}"/>
              </a:ext>
            </a:extLst>
          </p:cNvPr>
          <p:cNvSpPr/>
          <p:nvPr/>
        </p:nvSpPr>
        <p:spPr>
          <a:xfrm>
            <a:off x="-19504" y="0"/>
            <a:ext cx="12213092" cy="6858000"/>
          </a:xfrm>
          <a:prstGeom prst="rect">
            <a:avLst/>
          </a:prstGeom>
          <a:solidFill>
            <a:schemeClr val="tx1">
              <a:alpha val="422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8E6A62D4-51F1-862D-08C3-418845E88341}"/>
              </a:ext>
            </a:extLst>
          </p:cNvPr>
          <p:cNvSpPr/>
          <p:nvPr/>
        </p:nvSpPr>
        <p:spPr>
          <a:xfrm>
            <a:off x="4283008" y="2445157"/>
            <a:ext cx="3633068" cy="32618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7" name="Rectangle 36">
            <a:extLst>
              <a:ext uri="{FF2B5EF4-FFF2-40B4-BE49-F238E27FC236}">
                <a16:creationId xmlns:a16="http://schemas.microsoft.com/office/drawing/2014/main" id="{2AF04EBD-24F9-A820-F1A9-98B3EAFAECD1}"/>
              </a:ext>
            </a:extLst>
          </p:cNvPr>
          <p:cNvSpPr/>
          <p:nvPr/>
        </p:nvSpPr>
        <p:spPr>
          <a:xfrm>
            <a:off x="8047334" y="2445157"/>
            <a:ext cx="3633068" cy="32618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 name="Rectangle 3">
            <a:extLst>
              <a:ext uri="{FF2B5EF4-FFF2-40B4-BE49-F238E27FC236}">
                <a16:creationId xmlns:a16="http://schemas.microsoft.com/office/drawing/2014/main" id="{A95276D7-65EA-63B9-DD51-6CAC7AB4F408}"/>
              </a:ext>
            </a:extLst>
          </p:cNvPr>
          <p:cNvSpPr/>
          <p:nvPr/>
        </p:nvSpPr>
        <p:spPr>
          <a:xfrm>
            <a:off x="513190" y="2445157"/>
            <a:ext cx="3633068" cy="32618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 name="Title 1">
            <a:extLst>
              <a:ext uri="{FF2B5EF4-FFF2-40B4-BE49-F238E27FC236}">
                <a16:creationId xmlns:a16="http://schemas.microsoft.com/office/drawing/2014/main" id="{6F98F379-9B77-F743-4A68-BEE285336ABF}"/>
              </a:ext>
            </a:extLst>
          </p:cNvPr>
          <p:cNvSpPr>
            <a:spLocks noGrp="1"/>
          </p:cNvSpPr>
          <p:nvPr>
            <p:ph type="ctrTitle"/>
          </p:nvPr>
        </p:nvSpPr>
        <p:spPr>
          <a:xfrm>
            <a:off x="516733" y="514350"/>
            <a:ext cx="11163667" cy="792900"/>
          </a:xfrm>
        </p:spPr>
        <p:txBody>
          <a:bodyPr vert="horz"/>
          <a:lstStyle/>
          <a:p>
            <a:r>
              <a:rPr lang="en-DK"/>
              <a:t>GUB-UCN2 will enter the clinic in H2 2026, </a:t>
            </a:r>
            <a:br>
              <a:rPr lang="en-DK"/>
            </a:br>
            <a:r>
              <a:rPr lang="en-DK"/>
              <a:t>setting the stage for </a:t>
            </a:r>
            <a:r>
              <a:rPr lang="en-US"/>
              <a:t>broad indication expansion</a:t>
            </a:r>
            <a:endParaRPr lang="de-DE"/>
          </a:p>
        </p:txBody>
      </p:sp>
      <p:sp>
        <p:nvSpPr>
          <p:cNvPr id="5" name="Text Placeholder 10">
            <a:extLst>
              <a:ext uri="{FF2B5EF4-FFF2-40B4-BE49-F238E27FC236}">
                <a16:creationId xmlns:a16="http://schemas.microsoft.com/office/drawing/2014/main" id="{58117053-FC0B-E3F2-3608-02ECC25ACE19}"/>
              </a:ext>
            </a:extLst>
          </p:cNvPr>
          <p:cNvSpPr txBox="1">
            <a:spLocks/>
          </p:cNvSpPr>
          <p:nvPr/>
        </p:nvSpPr>
        <p:spPr>
          <a:xfrm>
            <a:off x="8150599" y="3180305"/>
            <a:ext cx="3426540" cy="338981"/>
          </a:xfrm>
          <a:prstGeom prst="rect">
            <a:avLst/>
          </a:prstGeom>
        </p:spPr>
        <p:txBody>
          <a:bodyPr lIns="108000" tIns="108000" rIns="108000" bIns="108000">
            <a:noAutofit/>
          </a:bodyPr>
          <a:lstStyle>
            <a:defPPr>
              <a:defRPr lang="sv-SE"/>
            </a:defPPr>
            <a:lvl1pPr marL="0" indent="0" algn="l" defTabSz="914400" rtl="0" eaLnBrk="1" latinLnBrk="0" hangingPunct="1">
              <a:lnSpc>
                <a:spcPct val="90000"/>
              </a:lnSpc>
              <a:spcBef>
                <a:spcPts val="1000"/>
              </a:spcBef>
              <a:buClr>
                <a:srgbClr val="2878FF"/>
              </a:buClr>
              <a:buSzPct val="110000"/>
              <a:buFont typeface="Avenir Next LT Pro" panose="020B0504020202020204" pitchFamily="34" charset="0"/>
              <a:buNone/>
              <a:defRPr sz="1200" kern="1200">
                <a:solidFill>
                  <a:srgbClr val="001965"/>
                </a:solidFill>
                <a:latin typeface="Avenir Next LT Pro Demi" panose="020B0704020202020204" pitchFamily="34" charset="0"/>
              </a:defRPr>
            </a:lvl1pPr>
            <a:lvl2pPr marL="180975" indent="-180975" algn="l" defTabSz="914400" rtl="0" eaLnBrk="1" latinLnBrk="0" hangingPunct="1">
              <a:lnSpc>
                <a:spcPct val="90000"/>
              </a:lnSpc>
              <a:spcBef>
                <a:spcPts val="500"/>
              </a:spcBef>
              <a:buClr>
                <a:srgbClr val="2878FF"/>
              </a:buClr>
              <a:buFont typeface="Avenir Next LT Pro" panose="020B0504020202020204" pitchFamily="34" charset="0"/>
              <a:buChar char="+"/>
              <a:defRPr sz="1200" kern="1200">
                <a:solidFill>
                  <a:srgbClr val="001965"/>
                </a:solidFill>
                <a:latin typeface="Avenir Next LT Pro"/>
              </a:defRPr>
            </a:lvl2pPr>
            <a:lvl3pPr marL="62865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3pPr>
            <a:lvl4pPr marL="809625"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4pPr>
            <a:lvl5pPr marL="99060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9pPr>
          </a:lstStyle>
          <a:p>
            <a:pPr marL="0" lvl="1" indent="0" algn="ctr">
              <a:buNone/>
            </a:pPr>
            <a:r>
              <a:rPr lang="en-DK" sz="1100"/>
              <a:t>Obesity drug-induced muscle loss</a:t>
            </a:r>
          </a:p>
        </p:txBody>
      </p:sp>
      <p:sp>
        <p:nvSpPr>
          <p:cNvPr id="19" name="Text Placeholder 25">
            <a:extLst>
              <a:ext uri="{FF2B5EF4-FFF2-40B4-BE49-F238E27FC236}">
                <a16:creationId xmlns:a16="http://schemas.microsoft.com/office/drawing/2014/main" id="{A490919E-CCDB-5FDA-5555-5DAE41A47474}"/>
              </a:ext>
            </a:extLst>
          </p:cNvPr>
          <p:cNvSpPr txBox="1">
            <a:spLocks/>
          </p:cNvSpPr>
          <p:nvPr/>
        </p:nvSpPr>
        <p:spPr>
          <a:xfrm>
            <a:off x="8464583" y="3873576"/>
            <a:ext cx="2798570" cy="288000"/>
          </a:xfrm>
          <a:prstGeom prst="roundRect">
            <a:avLst>
              <a:gd name="adj" fmla="val 50000"/>
            </a:avLst>
          </a:prstGeom>
          <a:solidFill>
            <a:schemeClr val="accent5">
              <a:alpha val="24613"/>
            </a:schemeClr>
          </a:solidFill>
          <a:ln>
            <a:solidFill>
              <a:schemeClr val="accent5"/>
            </a:solidFill>
          </a:ln>
        </p:spPr>
        <p:txBody>
          <a:bodyPr wrap="none" lIns="0" tIns="0" rIns="0" bIns="0" anchor="ctr" anchorCtr="0">
            <a:noAutofit/>
          </a:bodyPr>
          <a:lstStyle>
            <a:defPPr>
              <a:defRPr lang="sv-SE"/>
            </a:defPPr>
            <a:lvl1pPr marL="0" indent="0" algn="ctr" defTabSz="914400" rtl="0" eaLnBrk="1" latinLnBrk="0" hangingPunct="1">
              <a:lnSpc>
                <a:spcPct val="90000"/>
              </a:lnSpc>
              <a:spcBef>
                <a:spcPts val="1000"/>
              </a:spcBef>
              <a:buClr>
                <a:srgbClr val="2878FF"/>
              </a:buClr>
              <a:buSzPct val="110000"/>
              <a:buFont typeface="Avenir Next LT Pro" panose="020B0504020202020204" pitchFamily="34" charset="0"/>
              <a:buNone/>
              <a:defRPr sz="1200" kern="1200">
                <a:solidFill>
                  <a:srgbClr val="001965"/>
                </a:solidFill>
                <a:latin typeface="Avenir Next LT Pro Demi" panose="020B0704020202020204" pitchFamily="34" charset="0"/>
              </a:defRPr>
            </a:lvl1pPr>
            <a:lvl2pPr marL="447675" indent="-180975" algn="l" defTabSz="914400" rtl="0" eaLnBrk="1" latinLnBrk="0" hangingPunct="1">
              <a:lnSpc>
                <a:spcPct val="90000"/>
              </a:lnSpc>
              <a:spcBef>
                <a:spcPts val="500"/>
              </a:spcBef>
              <a:buClr>
                <a:srgbClr val="2878FF"/>
              </a:buClr>
              <a:buFont typeface="Arial" panose="020B0604020202020204" pitchFamily="34" charset="0"/>
              <a:buChar char="•"/>
              <a:defRPr sz="1800" kern="1200">
                <a:solidFill>
                  <a:srgbClr val="001965"/>
                </a:solidFill>
                <a:latin typeface="Avenir Next LT Pro"/>
              </a:defRPr>
            </a:lvl2pPr>
            <a:lvl3pPr marL="628650" indent="-180975" algn="l" defTabSz="914400" rtl="0" eaLnBrk="1" latinLnBrk="0" hangingPunct="1">
              <a:lnSpc>
                <a:spcPct val="90000"/>
              </a:lnSpc>
              <a:spcBef>
                <a:spcPts val="500"/>
              </a:spcBef>
              <a:buClr>
                <a:srgbClr val="2878FF"/>
              </a:buClr>
              <a:buFont typeface="Arial" panose="020B0604020202020204" pitchFamily="34" charset="0"/>
              <a:buChar char="•"/>
              <a:defRPr sz="1600" kern="1200">
                <a:solidFill>
                  <a:srgbClr val="001965"/>
                </a:solidFill>
                <a:latin typeface="Avenir Next LT Pro"/>
              </a:defRPr>
            </a:lvl3pPr>
            <a:lvl4pPr marL="809625" indent="-180975" algn="l" defTabSz="914400" rtl="0" eaLnBrk="1" latinLnBrk="0" hangingPunct="1">
              <a:lnSpc>
                <a:spcPct val="90000"/>
              </a:lnSpc>
              <a:spcBef>
                <a:spcPts val="500"/>
              </a:spcBef>
              <a:buClr>
                <a:srgbClr val="2878FF"/>
              </a:buClr>
              <a:buFont typeface="Arial" panose="020B0604020202020204" pitchFamily="34" charset="0"/>
              <a:buChar char="•"/>
              <a:defRPr sz="1400" kern="1200">
                <a:solidFill>
                  <a:srgbClr val="001965"/>
                </a:solidFill>
                <a:latin typeface="Avenir Next LT Pro"/>
              </a:defRPr>
            </a:lvl4pPr>
            <a:lvl5pPr marL="99060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9pPr>
          </a:lstStyle>
          <a:p>
            <a:r>
              <a:rPr lang="en-DK"/>
              <a:t>Indication expansion opportunities</a:t>
            </a:r>
            <a:endParaRPr lang="sv-SE"/>
          </a:p>
        </p:txBody>
      </p:sp>
      <p:sp>
        <p:nvSpPr>
          <p:cNvPr id="21" name="Text Placeholder 10">
            <a:extLst>
              <a:ext uri="{FF2B5EF4-FFF2-40B4-BE49-F238E27FC236}">
                <a16:creationId xmlns:a16="http://schemas.microsoft.com/office/drawing/2014/main" id="{DC1779C9-EBCE-A6DB-6CE1-97E15E46CBE5}"/>
              </a:ext>
            </a:extLst>
          </p:cNvPr>
          <p:cNvSpPr txBox="1">
            <a:spLocks/>
          </p:cNvSpPr>
          <p:nvPr/>
        </p:nvSpPr>
        <p:spPr>
          <a:xfrm>
            <a:off x="8461708" y="4163794"/>
            <a:ext cx="2789943" cy="626528"/>
          </a:xfrm>
          <a:prstGeom prst="rect">
            <a:avLst/>
          </a:prstGeom>
        </p:spPr>
        <p:txBody>
          <a:bodyPr lIns="108000" tIns="108000" rIns="108000" bIns="108000" anchor="t">
            <a:noAutofit/>
          </a:bodyPr>
          <a:lstStyle>
            <a:defPPr>
              <a:defRPr lang="sv-SE"/>
            </a:defPPr>
            <a:lvl1pPr marL="0" indent="0" algn="l" defTabSz="914400" rtl="0" eaLnBrk="1" latinLnBrk="0" hangingPunct="1">
              <a:lnSpc>
                <a:spcPct val="90000"/>
              </a:lnSpc>
              <a:spcBef>
                <a:spcPts val="1000"/>
              </a:spcBef>
              <a:buClr>
                <a:srgbClr val="2878FF"/>
              </a:buClr>
              <a:buSzPct val="110000"/>
              <a:buFont typeface="Avenir Next LT Pro" panose="020B0504020202020204" pitchFamily="34" charset="0"/>
              <a:buNone/>
              <a:defRPr sz="1200" kern="1200">
                <a:solidFill>
                  <a:srgbClr val="001965"/>
                </a:solidFill>
                <a:latin typeface="Avenir Next LT Pro Demi" panose="020B0704020202020204" pitchFamily="34" charset="0"/>
              </a:defRPr>
            </a:lvl1pPr>
            <a:lvl2pPr marL="180975" indent="-180975" algn="l" defTabSz="914400" rtl="0" eaLnBrk="1" latinLnBrk="0" hangingPunct="1">
              <a:lnSpc>
                <a:spcPct val="90000"/>
              </a:lnSpc>
              <a:spcBef>
                <a:spcPts val="500"/>
              </a:spcBef>
              <a:buClr>
                <a:srgbClr val="2878FF"/>
              </a:buClr>
              <a:buFont typeface="Avenir Next LT Pro" panose="020B0504020202020204" pitchFamily="34" charset="0"/>
              <a:buChar char="+"/>
              <a:defRPr sz="1200" kern="1200">
                <a:solidFill>
                  <a:srgbClr val="001965"/>
                </a:solidFill>
                <a:latin typeface="Avenir Next LT Pro"/>
              </a:defRPr>
            </a:lvl2pPr>
            <a:lvl3pPr marL="62865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3pPr>
            <a:lvl4pPr marL="809625"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4pPr>
            <a:lvl5pPr marL="99060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9pPr>
          </a:lstStyle>
          <a:p>
            <a:pPr marL="0" lvl="1" indent="0" algn="ctr">
              <a:buNone/>
            </a:pPr>
            <a:r>
              <a:rPr lang="en-US" sz="1100"/>
              <a:t>Leveraging cardiorenal benefits and favorable effects on metabolism and</a:t>
            </a:r>
            <a:r>
              <a:rPr lang="en-DK" sz="1100"/>
              <a:t> </a:t>
            </a:r>
            <a:br>
              <a:rPr lang="en-DK" sz="1100"/>
            </a:br>
            <a:r>
              <a:rPr lang="en-US" sz="1100"/>
              <a:t>skeletal muscle</a:t>
            </a:r>
            <a:endParaRPr lang="en-DK" sz="1100"/>
          </a:p>
        </p:txBody>
      </p:sp>
      <p:sp>
        <p:nvSpPr>
          <p:cNvPr id="22" name="Text Placeholder 25">
            <a:extLst>
              <a:ext uri="{FF2B5EF4-FFF2-40B4-BE49-F238E27FC236}">
                <a16:creationId xmlns:a16="http://schemas.microsoft.com/office/drawing/2014/main" id="{22CD8CCD-5F73-CA9E-3EEC-7B60072F02D5}"/>
              </a:ext>
            </a:extLst>
          </p:cNvPr>
          <p:cNvSpPr txBox="1">
            <a:spLocks/>
          </p:cNvSpPr>
          <p:nvPr/>
        </p:nvSpPr>
        <p:spPr>
          <a:xfrm>
            <a:off x="1381048" y="2865914"/>
            <a:ext cx="1897352" cy="288000"/>
          </a:xfrm>
          <a:prstGeom prst="roundRect">
            <a:avLst>
              <a:gd name="adj" fmla="val 50000"/>
            </a:avLst>
          </a:prstGeom>
          <a:solidFill>
            <a:schemeClr val="tx2">
              <a:alpha val="49880"/>
            </a:schemeClr>
          </a:solidFill>
          <a:ln w="12700">
            <a:solidFill>
              <a:schemeClr val="tx2"/>
            </a:solidFill>
          </a:ln>
        </p:spPr>
        <p:txBody>
          <a:bodyPr wrap="none" lIns="0" tIns="0" rIns="0" bIns="0" anchor="ctr" anchorCtr="0">
            <a:noAutofit/>
          </a:bodyPr>
          <a:lstStyle>
            <a:defPPr>
              <a:defRPr lang="sv-SE"/>
            </a:defPPr>
            <a:lvl1pPr marL="0" indent="0" algn="ctr" defTabSz="914400" rtl="0" eaLnBrk="1" latinLnBrk="0" hangingPunct="1">
              <a:lnSpc>
                <a:spcPct val="90000"/>
              </a:lnSpc>
              <a:spcBef>
                <a:spcPts val="1000"/>
              </a:spcBef>
              <a:buClr>
                <a:srgbClr val="2878FF"/>
              </a:buClr>
              <a:buSzPct val="110000"/>
              <a:buFont typeface="Avenir Next LT Pro" panose="020B0504020202020204" pitchFamily="34" charset="0"/>
              <a:buNone/>
              <a:defRPr sz="1200" kern="1200">
                <a:solidFill>
                  <a:srgbClr val="001965"/>
                </a:solidFill>
                <a:latin typeface="Avenir Next LT Pro Demi" panose="020B0704020202020204" pitchFamily="34" charset="0"/>
              </a:defRPr>
            </a:lvl1pPr>
            <a:lvl2pPr marL="447675" indent="-180975" algn="l" defTabSz="914400" rtl="0" eaLnBrk="1" latinLnBrk="0" hangingPunct="1">
              <a:lnSpc>
                <a:spcPct val="90000"/>
              </a:lnSpc>
              <a:spcBef>
                <a:spcPts val="500"/>
              </a:spcBef>
              <a:buClr>
                <a:srgbClr val="2878FF"/>
              </a:buClr>
              <a:buFont typeface="Arial" panose="020B0604020202020204" pitchFamily="34" charset="0"/>
              <a:buChar char="•"/>
              <a:defRPr sz="1800" kern="1200">
                <a:solidFill>
                  <a:srgbClr val="001965"/>
                </a:solidFill>
                <a:latin typeface="Avenir Next LT Pro"/>
              </a:defRPr>
            </a:lvl2pPr>
            <a:lvl3pPr marL="628650" indent="-180975" algn="l" defTabSz="914400" rtl="0" eaLnBrk="1" latinLnBrk="0" hangingPunct="1">
              <a:lnSpc>
                <a:spcPct val="90000"/>
              </a:lnSpc>
              <a:spcBef>
                <a:spcPts val="500"/>
              </a:spcBef>
              <a:buClr>
                <a:srgbClr val="2878FF"/>
              </a:buClr>
              <a:buFont typeface="Arial" panose="020B0604020202020204" pitchFamily="34" charset="0"/>
              <a:buChar char="•"/>
              <a:defRPr sz="1600" kern="1200">
                <a:solidFill>
                  <a:srgbClr val="001965"/>
                </a:solidFill>
                <a:latin typeface="Avenir Next LT Pro"/>
              </a:defRPr>
            </a:lvl3pPr>
            <a:lvl4pPr marL="809625" indent="-180975" algn="l" defTabSz="914400" rtl="0" eaLnBrk="1" latinLnBrk="0" hangingPunct="1">
              <a:lnSpc>
                <a:spcPct val="90000"/>
              </a:lnSpc>
              <a:spcBef>
                <a:spcPts val="500"/>
              </a:spcBef>
              <a:buClr>
                <a:srgbClr val="2878FF"/>
              </a:buClr>
              <a:buFont typeface="Arial" panose="020B0604020202020204" pitchFamily="34" charset="0"/>
              <a:buChar char="•"/>
              <a:defRPr sz="1400" kern="1200">
                <a:solidFill>
                  <a:srgbClr val="001965"/>
                </a:solidFill>
                <a:latin typeface="Avenir Next LT Pro"/>
              </a:defRPr>
            </a:lvl4pPr>
            <a:lvl5pPr marL="99060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9pPr>
          </a:lstStyle>
          <a:p>
            <a:r>
              <a:rPr lang="en-DK"/>
              <a:t>Mechanism of action</a:t>
            </a:r>
            <a:endParaRPr lang="sv-SE"/>
          </a:p>
        </p:txBody>
      </p:sp>
      <p:sp>
        <p:nvSpPr>
          <p:cNvPr id="23" name="Text Placeholder 10">
            <a:extLst>
              <a:ext uri="{FF2B5EF4-FFF2-40B4-BE49-F238E27FC236}">
                <a16:creationId xmlns:a16="http://schemas.microsoft.com/office/drawing/2014/main" id="{AD730815-71D9-8ACF-76BC-FAAEF759A071}"/>
              </a:ext>
            </a:extLst>
          </p:cNvPr>
          <p:cNvSpPr txBox="1">
            <a:spLocks/>
          </p:cNvSpPr>
          <p:nvPr/>
        </p:nvSpPr>
        <p:spPr>
          <a:xfrm>
            <a:off x="536484" y="3180305"/>
            <a:ext cx="3586481" cy="631416"/>
          </a:xfrm>
          <a:prstGeom prst="rect">
            <a:avLst/>
          </a:prstGeom>
        </p:spPr>
        <p:txBody>
          <a:bodyPr lIns="108000" tIns="108000" rIns="108000" bIns="108000">
            <a:noAutofit/>
          </a:bodyPr>
          <a:lstStyle>
            <a:defPPr>
              <a:defRPr lang="sv-SE"/>
            </a:defPPr>
            <a:lvl1pPr marL="0" indent="0" algn="l" defTabSz="914400" rtl="0" eaLnBrk="1" latinLnBrk="0" hangingPunct="1">
              <a:lnSpc>
                <a:spcPct val="90000"/>
              </a:lnSpc>
              <a:spcBef>
                <a:spcPts val="1000"/>
              </a:spcBef>
              <a:buClr>
                <a:srgbClr val="2878FF"/>
              </a:buClr>
              <a:buSzPct val="110000"/>
              <a:buFont typeface="Avenir Next LT Pro" panose="020B0504020202020204" pitchFamily="34" charset="0"/>
              <a:buNone/>
              <a:defRPr sz="1200" kern="1200">
                <a:solidFill>
                  <a:srgbClr val="001965"/>
                </a:solidFill>
                <a:latin typeface="Avenir Next LT Pro Demi" panose="020B0704020202020204" pitchFamily="34" charset="0"/>
              </a:defRPr>
            </a:lvl1pPr>
            <a:lvl2pPr marL="180975" indent="-180975" algn="l" defTabSz="914400" rtl="0" eaLnBrk="1" latinLnBrk="0" hangingPunct="1">
              <a:lnSpc>
                <a:spcPct val="90000"/>
              </a:lnSpc>
              <a:spcBef>
                <a:spcPts val="500"/>
              </a:spcBef>
              <a:buClr>
                <a:srgbClr val="2878FF"/>
              </a:buClr>
              <a:buFont typeface="Avenir Next LT Pro" panose="020B0504020202020204" pitchFamily="34" charset="0"/>
              <a:buChar char="+"/>
              <a:defRPr sz="1200" kern="1200">
                <a:solidFill>
                  <a:srgbClr val="001965"/>
                </a:solidFill>
                <a:latin typeface="Avenir Next LT Pro"/>
              </a:defRPr>
            </a:lvl2pPr>
            <a:lvl3pPr marL="62865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3pPr>
            <a:lvl4pPr marL="809625"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4pPr>
            <a:lvl5pPr marL="99060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9pPr>
          </a:lstStyle>
          <a:p>
            <a:pPr marL="0" lvl="1" indent="0" algn="ctr">
              <a:buNone/>
            </a:pPr>
            <a:r>
              <a:rPr lang="en-US" sz="1100"/>
              <a:t>Long acting Urocortin-2 (UCN2) peptide analog</a:t>
            </a:r>
          </a:p>
          <a:p>
            <a:pPr marL="0" lvl="1" indent="0" algn="ctr">
              <a:buNone/>
            </a:pPr>
            <a:r>
              <a:rPr lang="en-US" sz="1100"/>
              <a:t>Highly selective Corticotropin-releasing hormone receptor 2 (CRHR2) agonist</a:t>
            </a:r>
            <a:endParaRPr lang="en-DK" sz="1100"/>
          </a:p>
        </p:txBody>
      </p:sp>
      <p:sp>
        <p:nvSpPr>
          <p:cNvPr id="24" name="Text Placeholder 25">
            <a:extLst>
              <a:ext uri="{FF2B5EF4-FFF2-40B4-BE49-F238E27FC236}">
                <a16:creationId xmlns:a16="http://schemas.microsoft.com/office/drawing/2014/main" id="{EB3D8799-2800-E0F9-8149-B4C6687AB780}"/>
              </a:ext>
            </a:extLst>
          </p:cNvPr>
          <p:cNvSpPr txBox="1">
            <a:spLocks/>
          </p:cNvSpPr>
          <p:nvPr/>
        </p:nvSpPr>
        <p:spPr>
          <a:xfrm>
            <a:off x="1453819" y="4098954"/>
            <a:ext cx="1751811" cy="288000"/>
          </a:xfrm>
          <a:prstGeom prst="roundRect">
            <a:avLst>
              <a:gd name="adj" fmla="val 50000"/>
            </a:avLst>
          </a:prstGeom>
          <a:noFill/>
          <a:ln>
            <a:solidFill>
              <a:schemeClr val="tx2"/>
            </a:solidFill>
          </a:ln>
        </p:spPr>
        <p:txBody>
          <a:bodyPr wrap="none" lIns="0" tIns="0" rIns="0" bIns="0" anchor="ctr" anchorCtr="0">
            <a:noAutofit/>
          </a:bodyPr>
          <a:lstStyle>
            <a:defPPr>
              <a:defRPr lang="sv-SE"/>
            </a:defPPr>
            <a:lvl1pPr marL="0" indent="0" algn="ctr" defTabSz="914400" rtl="0" eaLnBrk="1" latinLnBrk="0" hangingPunct="1">
              <a:lnSpc>
                <a:spcPct val="90000"/>
              </a:lnSpc>
              <a:spcBef>
                <a:spcPts val="1000"/>
              </a:spcBef>
              <a:buClr>
                <a:srgbClr val="2878FF"/>
              </a:buClr>
              <a:buSzPct val="110000"/>
              <a:buFont typeface="Avenir Next LT Pro" panose="020B0504020202020204" pitchFamily="34" charset="0"/>
              <a:buNone/>
              <a:defRPr sz="1200" kern="1200">
                <a:solidFill>
                  <a:srgbClr val="001965"/>
                </a:solidFill>
                <a:latin typeface="Avenir Next LT Pro Demi" panose="020B0704020202020204" pitchFamily="34" charset="0"/>
              </a:defRPr>
            </a:lvl1pPr>
            <a:lvl2pPr marL="447675" indent="-180975" algn="l" defTabSz="914400" rtl="0" eaLnBrk="1" latinLnBrk="0" hangingPunct="1">
              <a:lnSpc>
                <a:spcPct val="90000"/>
              </a:lnSpc>
              <a:spcBef>
                <a:spcPts val="500"/>
              </a:spcBef>
              <a:buClr>
                <a:srgbClr val="2878FF"/>
              </a:buClr>
              <a:buFont typeface="Arial" panose="020B0604020202020204" pitchFamily="34" charset="0"/>
              <a:buChar char="•"/>
              <a:defRPr sz="1800" kern="1200">
                <a:solidFill>
                  <a:srgbClr val="001965"/>
                </a:solidFill>
                <a:latin typeface="Avenir Next LT Pro"/>
              </a:defRPr>
            </a:lvl2pPr>
            <a:lvl3pPr marL="628650" indent="-180975" algn="l" defTabSz="914400" rtl="0" eaLnBrk="1" latinLnBrk="0" hangingPunct="1">
              <a:lnSpc>
                <a:spcPct val="90000"/>
              </a:lnSpc>
              <a:spcBef>
                <a:spcPts val="500"/>
              </a:spcBef>
              <a:buClr>
                <a:srgbClr val="2878FF"/>
              </a:buClr>
              <a:buFont typeface="Arial" panose="020B0604020202020204" pitchFamily="34" charset="0"/>
              <a:buChar char="•"/>
              <a:defRPr sz="1600" kern="1200">
                <a:solidFill>
                  <a:srgbClr val="001965"/>
                </a:solidFill>
                <a:latin typeface="Avenir Next LT Pro"/>
              </a:defRPr>
            </a:lvl3pPr>
            <a:lvl4pPr marL="809625" indent="-180975" algn="l" defTabSz="914400" rtl="0" eaLnBrk="1" latinLnBrk="0" hangingPunct="1">
              <a:lnSpc>
                <a:spcPct val="90000"/>
              </a:lnSpc>
              <a:spcBef>
                <a:spcPts val="500"/>
              </a:spcBef>
              <a:buClr>
                <a:srgbClr val="2878FF"/>
              </a:buClr>
              <a:buFont typeface="Arial" panose="020B0604020202020204" pitchFamily="34" charset="0"/>
              <a:buChar char="•"/>
              <a:defRPr sz="1400" kern="1200">
                <a:solidFill>
                  <a:srgbClr val="001965"/>
                </a:solidFill>
                <a:latin typeface="Avenir Next LT Pro"/>
              </a:defRPr>
            </a:lvl4pPr>
            <a:lvl5pPr marL="99060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9pPr>
          </a:lstStyle>
          <a:p>
            <a:r>
              <a:rPr lang="en-DK"/>
              <a:t>Dosing and logistics</a:t>
            </a:r>
            <a:endParaRPr lang="sv-SE"/>
          </a:p>
        </p:txBody>
      </p:sp>
      <p:sp>
        <p:nvSpPr>
          <p:cNvPr id="25" name="Text Placeholder 10">
            <a:extLst>
              <a:ext uri="{FF2B5EF4-FFF2-40B4-BE49-F238E27FC236}">
                <a16:creationId xmlns:a16="http://schemas.microsoft.com/office/drawing/2014/main" id="{1014075A-E8BE-B7F1-8742-FEE2E903ACE1}"/>
              </a:ext>
            </a:extLst>
          </p:cNvPr>
          <p:cNvSpPr txBox="1">
            <a:spLocks/>
          </p:cNvSpPr>
          <p:nvPr/>
        </p:nvSpPr>
        <p:spPr>
          <a:xfrm>
            <a:off x="536484" y="4383934"/>
            <a:ext cx="3586481" cy="824756"/>
          </a:xfrm>
          <a:prstGeom prst="rect">
            <a:avLst/>
          </a:prstGeom>
        </p:spPr>
        <p:txBody>
          <a:bodyPr lIns="108000" tIns="108000" rIns="108000" bIns="108000" anchor="t">
            <a:noAutofit/>
          </a:bodyPr>
          <a:lstStyle>
            <a:defPPr>
              <a:defRPr lang="sv-SE"/>
            </a:defPPr>
            <a:lvl1pPr marL="0" indent="0" algn="l" defTabSz="914400" rtl="0" eaLnBrk="1" latinLnBrk="0" hangingPunct="1">
              <a:lnSpc>
                <a:spcPct val="90000"/>
              </a:lnSpc>
              <a:spcBef>
                <a:spcPts val="1000"/>
              </a:spcBef>
              <a:buClr>
                <a:srgbClr val="2878FF"/>
              </a:buClr>
              <a:buSzPct val="110000"/>
              <a:buFont typeface="Avenir Next LT Pro" panose="020B0504020202020204" pitchFamily="34" charset="0"/>
              <a:buNone/>
              <a:defRPr sz="1200" kern="1200">
                <a:solidFill>
                  <a:srgbClr val="001965"/>
                </a:solidFill>
                <a:latin typeface="Avenir Next LT Pro Demi" panose="020B0704020202020204" pitchFamily="34" charset="0"/>
              </a:defRPr>
            </a:lvl1pPr>
            <a:lvl2pPr marL="180975" indent="-180975" algn="l" defTabSz="914400" rtl="0" eaLnBrk="1" latinLnBrk="0" hangingPunct="1">
              <a:lnSpc>
                <a:spcPct val="90000"/>
              </a:lnSpc>
              <a:spcBef>
                <a:spcPts val="500"/>
              </a:spcBef>
              <a:buClr>
                <a:srgbClr val="2878FF"/>
              </a:buClr>
              <a:buFont typeface="Avenir Next LT Pro" panose="020B0504020202020204" pitchFamily="34" charset="0"/>
              <a:buChar char="+"/>
              <a:defRPr sz="1200" kern="1200">
                <a:solidFill>
                  <a:srgbClr val="001965"/>
                </a:solidFill>
                <a:latin typeface="Avenir Next LT Pro"/>
              </a:defRPr>
            </a:lvl2pPr>
            <a:lvl3pPr marL="62865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3pPr>
            <a:lvl4pPr marL="809625"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4pPr>
            <a:lvl5pPr marL="99060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9pPr>
          </a:lstStyle>
          <a:p>
            <a:pPr marL="0" lvl="1" indent="0" algn="ctr">
              <a:buNone/>
            </a:pPr>
            <a:r>
              <a:rPr lang="en-US" sz="1100"/>
              <a:t>SC injection, once weekly</a:t>
            </a:r>
          </a:p>
        </p:txBody>
      </p:sp>
      <p:sp>
        <p:nvSpPr>
          <p:cNvPr id="26" name="Text Placeholder 25">
            <a:extLst>
              <a:ext uri="{FF2B5EF4-FFF2-40B4-BE49-F238E27FC236}">
                <a16:creationId xmlns:a16="http://schemas.microsoft.com/office/drawing/2014/main" id="{8264006E-16F9-E1AF-1D3F-F731A745E874}"/>
              </a:ext>
            </a:extLst>
          </p:cNvPr>
          <p:cNvSpPr txBox="1">
            <a:spLocks/>
          </p:cNvSpPr>
          <p:nvPr/>
        </p:nvSpPr>
        <p:spPr>
          <a:xfrm>
            <a:off x="4936303" y="2865914"/>
            <a:ext cx="2326479" cy="288000"/>
          </a:xfrm>
          <a:prstGeom prst="roundRect">
            <a:avLst>
              <a:gd name="adj" fmla="val 50000"/>
            </a:avLst>
          </a:prstGeom>
          <a:solidFill>
            <a:schemeClr val="accent3">
              <a:alpha val="49833"/>
            </a:schemeClr>
          </a:solidFill>
          <a:ln w="12700">
            <a:solidFill>
              <a:schemeClr val="accent3"/>
            </a:solidFill>
          </a:ln>
        </p:spPr>
        <p:txBody>
          <a:bodyPr wrap="none" lIns="0" tIns="0" rIns="0" bIns="0" anchor="ctr" anchorCtr="0">
            <a:noAutofit/>
          </a:bodyPr>
          <a:lstStyle>
            <a:defPPr>
              <a:defRPr lang="sv-SE"/>
            </a:defPPr>
            <a:lvl1pPr marL="0" indent="0" algn="ctr" defTabSz="914400" rtl="0" eaLnBrk="1" latinLnBrk="0" hangingPunct="1">
              <a:lnSpc>
                <a:spcPct val="90000"/>
              </a:lnSpc>
              <a:spcBef>
                <a:spcPts val="1000"/>
              </a:spcBef>
              <a:buClr>
                <a:srgbClr val="2878FF"/>
              </a:buClr>
              <a:buSzPct val="110000"/>
              <a:buFont typeface="Avenir Next LT Pro" panose="020B0504020202020204" pitchFamily="34" charset="0"/>
              <a:buNone/>
              <a:defRPr sz="1200" kern="1200">
                <a:solidFill>
                  <a:srgbClr val="001965"/>
                </a:solidFill>
                <a:latin typeface="Avenir Next LT Pro Demi" panose="020B0704020202020204" pitchFamily="34" charset="0"/>
              </a:defRPr>
            </a:lvl1pPr>
            <a:lvl2pPr marL="447675" indent="-180975" algn="l" defTabSz="914400" rtl="0" eaLnBrk="1" latinLnBrk="0" hangingPunct="1">
              <a:lnSpc>
                <a:spcPct val="90000"/>
              </a:lnSpc>
              <a:spcBef>
                <a:spcPts val="500"/>
              </a:spcBef>
              <a:buClr>
                <a:srgbClr val="2878FF"/>
              </a:buClr>
              <a:buFont typeface="Arial" panose="020B0604020202020204" pitchFamily="34" charset="0"/>
              <a:buChar char="•"/>
              <a:defRPr sz="1800" kern="1200">
                <a:solidFill>
                  <a:srgbClr val="001965"/>
                </a:solidFill>
                <a:latin typeface="Avenir Next LT Pro"/>
              </a:defRPr>
            </a:lvl2pPr>
            <a:lvl3pPr marL="628650" indent="-180975" algn="l" defTabSz="914400" rtl="0" eaLnBrk="1" latinLnBrk="0" hangingPunct="1">
              <a:lnSpc>
                <a:spcPct val="90000"/>
              </a:lnSpc>
              <a:spcBef>
                <a:spcPts val="500"/>
              </a:spcBef>
              <a:buClr>
                <a:srgbClr val="2878FF"/>
              </a:buClr>
              <a:buFont typeface="Arial" panose="020B0604020202020204" pitchFamily="34" charset="0"/>
              <a:buChar char="•"/>
              <a:defRPr sz="1600" kern="1200">
                <a:solidFill>
                  <a:srgbClr val="001965"/>
                </a:solidFill>
                <a:latin typeface="Avenir Next LT Pro"/>
              </a:defRPr>
            </a:lvl3pPr>
            <a:lvl4pPr marL="809625" indent="-180975" algn="l" defTabSz="914400" rtl="0" eaLnBrk="1" latinLnBrk="0" hangingPunct="1">
              <a:lnSpc>
                <a:spcPct val="90000"/>
              </a:lnSpc>
              <a:spcBef>
                <a:spcPts val="500"/>
              </a:spcBef>
              <a:buClr>
                <a:srgbClr val="2878FF"/>
              </a:buClr>
              <a:buFont typeface="Arial" panose="020B0604020202020204" pitchFamily="34" charset="0"/>
              <a:buChar char="•"/>
              <a:defRPr sz="1400" kern="1200">
                <a:solidFill>
                  <a:srgbClr val="001965"/>
                </a:solidFill>
                <a:latin typeface="Avenir Next LT Pro"/>
              </a:defRPr>
            </a:lvl4pPr>
            <a:lvl5pPr marL="99060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9pPr>
          </a:lstStyle>
          <a:p>
            <a:r>
              <a:rPr lang="en-DK"/>
              <a:t>Improved body composition</a:t>
            </a:r>
            <a:endParaRPr lang="sv-SE"/>
          </a:p>
        </p:txBody>
      </p:sp>
      <p:sp>
        <p:nvSpPr>
          <p:cNvPr id="27" name="Text Placeholder 10">
            <a:extLst>
              <a:ext uri="{FF2B5EF4-FFF2-40B4-BE49-F238E27FC236}">
                <a16:creationId xmlns:a16="http://schemas.microsoft.com/office/drawing/2014/main" id="{BB25C0C8-617F-0A56-EFD9-86B9B088FA9D}"/>
              </a:ext>
            </a:extLst>
          </p:cNvPr>
          <p:cNvSpPr txBox="1">
            <a:spLocks/>
          </p:cNvSpPr>
          <p:nvPr/>
        </p:nvSpPr>
        <p:spPr>
          <a:xfrm>
            <a:off x="4270997" y="3180305"/>
            <a:ext cx="3657089" cy="484289"/>
          </a:xfrm>
          <a:prstGeom prst="rect">
            <a:avLst/>
          </a:prstGeom>
        </p:spPr>
        <p:txBody>
          <a:bodyPr lIns="108000" tIns="108000" rIns="108000" bIns="108000">
            <a:noAutofit/>
          </a:bodyPr>
          <a:lstStyle>
            <a:defPPr>
              <a:defRPr lang="sv-SE"/>
            </a:defPPr>
            <a:lvl1pPr marL="0" indent="0" algn="l" defTabSz="914400" rtl="0" eaLnBrk="1" latinLnBrk="0" hangingPunct="1">
              <a:lnSpc>
                <a:spcPct val="90000"/>
              </a:lnSpc>
              <a:spcBef>
                <a:spcPts val="1000"/>
              </a:spcBef>
              <a:buClr>
                <a:srgbClr val="2878FF"/>
              </a:buClr>
              <a:buSzPct val="110000"/>
              <a:buFont typeface="Avenir Next LT Pro" panose="020B0504020202020204" pitchFamily="34" charset="0"/>
              <a:buNone/>
              <a:defRPr sz="1200" kern="1200">
                <a:solidFill>
                  <a:srgbClr val="001965"/>
                </a:solidFill>
                <a:latin typeface="Avenir Next LT Pro Demi" panose="020B0704020202020204" pitchFamily="34" charset="0"/>
              </a:defRPr>
            </a:lvl1pPr>
            <a:lvl2pPr marL="180975" indent="-180975" algn="l" defTabSz="914400" rtl="0" eaLnBrk="1" latinLnBrk="0" hangingPunct="1">
              <a:lnSpc>
                <a:spcPct val="90000"/>
              </a:lnSpc>
              <a:spcBef>
                <a:spcPts val="500"/>
              </a:spcBef>
              <a:buClr>
                <a:srgbClr val="2878FF"/>
              </a:buClr>
              <a:buFont typeface="Avenir Next LT Pro" panose="020B0504020202020204" pitchFamily="34" charset="0"/>
              <a:buChar char="+"/>
              <a:defRPr sz="1200" kern="1200">
                <a:solidFill>
                  <a:srgbClr val="001965"/>
                </a:solidFill>
                <a:latin typeface="Avenir Next LT Pro"/>
              </a:defRPr>
            </a:lvl2pPr>
            <a:lvl3pPr marL="62865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3pPr>
            <a:lvl4pPr marL="809625"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4pPr>
            <a:lvl5pPr marL="99060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9pPr>
          </a:lstStyle>
          <a:p>
            <a:pPr marL="0" lvl="1" indent="0" algn="ctr">
              <a:buNone/>
            </a:pPr>
            <a:r>
              <a:rPr lang="en-US" sz="1100"/>
              <a:t>Increased muscle mass</a:t>
            </a:r>
          </a:p>
          <a:p>
            <a:pPr marL="0" lvl="1" indent="0" algn="ctr">
              <a:buNone/>
            </a:pPr>
            <a:r>
              <a:rPr lang="en-US" sz="1100"/>
              <a:t>Decreased fat mass</a:t>
            </a:r>
          </a:p>
        </p:txBody>
      </p:sp>
      <p:sp>
        <p:nvSpPr>
          <p:cNvPr id="28" name="Text Placeholder 25">
            <a:extLst>
              <a:ext uri="{FF2B5EF4-FFF2-40B4-BE49-F238E27FC236}">
                <a16:creationId xmlns:a16="http://schemas.microsoft.com/office/drawing/2014/main" id="{634FCFD6-88DB-07EF-7CD9-2E7B6110CAC1}"/>
              </a:ext>
            </a:extLst>
          </p:cNvPr>
          <p:cNvSpPr txBox="1">
            <a:spLocks/>
          </p:cNvSpPr>
          <p:nvPr/>
        </p:nvSpPr>
        <p:spPr>
          <a:xfrm>
            <a:off x="5001542" y="3844979"/>
            <a:ext cx="2196000" cy="288000"/>
          </a:xfrm>
          <a:prstGeom prst="roundRect">
            <a:avLst>
              <a:gd name="adj" fmla="val 50000"/>
            </a:avLst>
          </a:prstGeom>
          <a:solidFill>
            <a:schemeClr val="accent3">
              <a:alpha val="19974"/>
            </a:schemeClr>
          </a:solidFill>
          <a:ln w="12700">
            <a:solidFill>
              <a:schemeClr val="accent3"/>
            </a:solidFill>
          </a:ln>
        </p:spPr>
        <p:txBody>
          <a:bodyPr wrap="none" lIns="0" tIns="0" rIns="0" bIns="0" anchor="ctr" anchorCtr="0">
            <a:noAutofit/>
          </a:bodyPr>
          <a:lstStyle>
            <a:defPPr>
              <a:defRPr lang="sv-SE"/>
            </a:defPPr>
            <a:lvl1pPr marL="0" indent="0" algn="ctr" defTabSz="914400" rtl="0" eaLnBrk="1" latinLnBrk="0" hangingPunct="1">
              <a:lnSpc>
                <a:spcPct val="90000"/>
              </a:lnSpc>
              <a:spcBef>
                <a:spcPts val="1000"/>
              </a:spcBef>
              <a:buClr>
                <a:srgbClr val="2878FF"/>
              </a:buClr>
              <a:buSzPct val="110000"/>
              <a:buFont typeface="Avenir Next LT Pro" panose="020B0504020202020204" pitchFamily="34" charset="0"/>
              <a:buNone/>
              <a:defRPr sz="1200" kern="1200">
                <a:solidFill>
                  <a:srgbClr val="001965"/>
                </a:solidFill>
                <a:latin typeface="Avenir Next LT Pro Demi" panose="020B0704020202020204" pitchFamily="34" charset="0"/>
              </a:defRPr>
            </a:lvl1pPr>
            <a:lvl2pPr marL="447675" indent="-180975" algn="l" defTabSz="914400" rtl="0" eaLnBrk="1" latinLnBrk="0" hangingPunct="1">
              <a:lnSpc>
                <a:spcPct val="90000"/>
              </a:lnSpc>
              <a:spcBef>
                <a:spcPts val="500"/>
              </a:spcBef>
              <a:buClr>
                <a:srgbClr val="2878FF"/>
              </a:buClr>
              <a:buFont typeface="Arial" panose="020B0604020202020204" pitchFamily="34" charset="0"/>
              <a:buChar char="•"/>
              <a:defRPr sz="1800" kern="1200">
                <a:solidFill>
                  <a:srgbClr val="001965"/>
                </a:solidFill>
                <a:latin typeface="Avenir Next LT Pro"/>
              </a:defRPr>
            </a:lvl2pPr>
            <a:lvl3pPr marL="628650" indent="-180975" algn="l" defTabSz="914400" rtl="0" eaLnBrk="1" latinLnBrk="0" hangingPunct="1">
              <a:lnSpc>
                <a:spcPct val="90000"/>
              </a:lnSpc>
              <a:spcBef>
                <a:spcPts val="500"/>
              </a:spcBef>
              <a:buClr>
                <a:srgbClr val="2878FF"/>
              </a:buClr>
              <a:buFont typeface="Arial" panose="020B0604020202020204" pitchFamily="34" charset="0"/>
              <a:buChar char="•"/>
              <a:defRPr sz="1600" kern="1200">
                <a:solidFill>
                  <a:srgbClr val="001965"/>
                </a:solidFill>
                <a:latin typeface="Avenir Next LT Pro"/>
              </a:defRPr>
            </a:lvl3pPr>
            <a:lvl4pPr marL="809625" indent="-180975" algn="l" defTabSz="914400" rtl="0" eaLnBrk="1" latinLnBrk="0" hangingPunct="1">
              <a:lnSpc>
                <a:spcPct val="90000"/>
              </a:lnSpc>
              <a:spcBef>
                <a:spcPts val="500"/>
              </a:spcBef>
              <a:buClr>
                <a:srgbClr val="2878FF"/>
              </a:buClr>
              <a:buFont typeface="Arial" panose="020B0604020202020204" pitchFamily="34" charset="0"/>
              <a:buChar char="•"/>
              <a:defRPr sz="1400" kern="1200">
                <a:solidFill>
                  <a:srgbClr val="001965"/>
                </a:solidFill>
                <a:latin typeface="Avenir Next LT Pro"/>
              </a:defRPr>
            </a:lvl4pPr>
            <a:lvl5pPr marL="99060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9pPr>
          </a:lstStyle>
          <a:p>
            <a:r>
              <a:rPr lang="en-DK"/>
              <a:t>Improved muscle function</a:t>
            </a:r>
            <a:endParaRPr lang="sv-SE"/>
          </a:p>
        </p:txBody>
      </p:sp>
      <p:sp>
        <p:nvSpPr>
          <p:cNvPr id="29" name="Text Placeholder 10">
            <a:extLst>
              <a:ext uri="{FF2B5EF4-FFF2-40B4-BE49-F238E27FC236}">
                <a16:creationId xmlns:a16="http://schemas.microsoft.com/office/drawing/2014/main" id="{3655219A-4A66-9708-E53C-4E568D48A1DC}"/>
              </a:ext>
            </a:extLst>
          </p:cNvPr>
          <p:cNvSpPr txBox="1">
            <a:spLocks/>
          </p:cNvSpPr>
          <p:nvPr/>
        </p:nvSpPr>
        <p:spPr>
          <a:xfrm>
            <a:off x="4308889" y="4142602"/>
            <a:ext cx="3581308" cy="338981"/>
          </a:xfrm>
          <a:prstGeom prst="rect">
            <a:avLst/>
          </a:prstGeom>
        </p:spPr>
        <p:txBody>
          <a:bodyPr lIns="108000" tIns="108000" rIns="108000" bIns="108000">
            <a:noAutofit/>
          </a:bodyPr>
          <a:lstStyle>
            <a:defPPr>
              <a:defRPr lang="sv-SE"/>
            </a:defPPr>
            <a:lvl1pPr marL="0" indent="0" algn="l" defTabSz="914400" rtl="0" eaLnBrk="1" latinLnBrk="0" hangingPunct="1">
              <a:lnSpc>
                <a:spcPct val="90000"/>
              </a:lnSpc>
              <a:spcBef>
                <a:spcPts val="1000"/>
              </a:spcBef>
              <a:buClr>
                <a:srgbClr val="2878FF"/>
              </a:buClr>
              <a:buSzPct val="110000"/>
              <a:buFont typeface="Avenir Next LT Pro" panose="020B0504020202020204" pitchFamily="34" charset="0"/>
              <a:buNone/>
              <a:defRPr sz="1200" kern="1200">
                <a:solidFill>
                  <a:srgbClr val="001965"/>
                </a:solidFill>
                <a:latin typeface="Avenir Next LT Pro Demi" panose="020B0704020202020204" pitchFamily="34" charset="0"/>
              </a:defRPr>
            </a:lvl1pPr>
            <a:lvl2pPr marL="180975" indent="-180975" algn="l" defTabSz="914400" rtl="0" eaLnBrk="1" latinLnBrk="0" hangingPunct="1">
              <a:lnSpc>
                <a:spcPct val="90000"/>
              </a:lnSpc>
              <a:spcBef>
                <a:spcPts val="500"/>
              </a:spcBef>
              <a:buClr>
                <a:srgbClr val="2878FF"/>
              </a:buClr>
              <a:buFont typeface="Avenir Next LT Pro" panose="020B0504020202020204" pitchFamily="34" charset="0"/>
              <a:buChar char="+"/>
              <a:defRPr sz="1200" kern="1200">
                <a:solidFill>
                  <a:srgbClr val="001965"/>
                </a:solidFill>
                <a:latin typeface="Avenir Next LT Pro"/>
              </a:defRPr>
            </a:lvl2pPr>
            <a:lvl3pPr marL="62865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3pPr>
            <a:lvl4pPr marL="809625"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4pPr>
            <a:lvl5pPr marL="99060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9pPr>
          </a:lstStyle>
          <a:p>
            <a:pPr marL="0" lvl="1" indent="0" algn="ctr">
              <a:buNone/>
            </a:pPr>
            <a:r>
              <a:rPr lang="en-US" sz="1100"/>
              <a:t>Improved strength and physical performance</a:t>
            </a:r>
            <a:r>
              <a:rPr lang="en-DK" sz="1100" baseline="30000"/>
              <a:t>1</a:t>
            </a:r>
            <a:endParaRPr lang="en-US" sz="1100" baseline="30000"/>
          </a:p>
        </p:txBody>
      </p:sp>
      <p:sp>
        <p:nvSpPr>
          <p:cNvPr id="30" name="Text Placeholder 25">
            <a:extLst>
              <a:ext uri="{FF2B5EF4-FFF2-40B4-BE49-F238E27FC236}">
                <a16:creationId xmlns:a16="http://schemas.microsoft.com/office/drawing/2014/main" id="{B84D85D2-1BC7-752B-3B69-3F3382DF7D14}"/>
              </a:ext>
            </a:extLst>
          </p:cNvPr>
          <p:cNvSpPr txBox="1">
            <a:spLocks/>
          </p:cNvSpPr>
          <p:nvPr/>
        </p:nvSpPr>
        <p:spPr>
          <a:xfrm>
            <a:off x="4936303" y="4672785"/>
            <a:ext cx="2326479" cy="288000"/>
          </a:xfrm>
          <a:prstGeom prst="roundRect">
            <a:avLst>
              <a:gd name="adj" fmla="val 50000"/>
            </a:avLst>
          </a:prstGeom>
          <a:noFill/>
          <a:ln>
            <a:solidFill>
              <a:schemeClr val="accent3"/>
            </a:solidFill>
          </a:ln>
        </p:spPr>
        <p:txBody>
          <a:bodyPr wrap="none" lIns="0" tIns="0" rIns="0" bIns="0" anchor="ctr" anchorCtr="0">
            <a:noAutofit/>
          </a:bodyPr>
          <a:lstStyle>
            <a:defPPr>
              <a:defRPr lang="sv-SE"/>
            </a:defPPr>
            <a:lvl1pPr marL="0" indent="0" algn="ctr" defTabSz="914400" rtl="0" eaLnBrk="1" latinLnBrk="0" hangingPunct="1">
              <a:lnSpc>
                <a:spcPct val="90000"/>
              </a:lnSpc>
              <a:spcBef>
                <a:spcPts val="1000"/>
              </a:spcBef>
              <a:buClr>
                <a:srgbClr val="2878FF"/>
              </a:buClr>
              <a:buSzPct val="110000"/>
              <a:buFont typeface="Avenir Next LT Pro" panose="020B0504020202020204" pitchFamily="34" charset="0"/>
              <a:buNone/>
              <a:defRPr sz="1200" kern="1200">
                <a:solidFill>
                  <a:srgbClr val="001965"/>
                </a:solidFill>
                <a:latin typeface="Avenir Next LT Pro Demi" panose="020B0704020202020204" pitchFamily="34" charset="0"/>
              </a:defRPr>
            </a:lvl1pPr>
            <a:lvl2pPr marL="447675" indent="-180975" algn="l" defTabSz="914400" rtl="0" eaLnBrk="1" latinLnBrk="0" hangingPunct="1">
              <a:lnSpc>
                <a:spcPct val="90000"/>
              </a:lnSpc>
              <a:spcBef>
                <a:spcPts val="500"/>
              </a:spcBef>
              <a:buClr>
                <a:srgbClr val="2878FF"/>
              </a:buClr>
              <a:buFont typeface="Arial" panose="020B0604020202020204" pitchFamily="34" charset="0"/>
              <a:buChar char="•"/>
              <a:defRPr sz="1800" kern="1200">
                <a:solidFill>
                  <a:srgbClr val="001965"/>
                </a:solidFill>
                <a:latin typeface="Avenir Next LT Pro"/>
              </a:defRPr>
            </a:lvl2pPr>
            <a:lvl3pPr marL="628650" indent="-180975" algn="l" defTabSz="914400" rtl="0" eaLnBrk="1" latinLnBrk="0" hangingPunct="1">
              <a:lnSpc>
                <a:spcPct val="90000"/>
              </a:lnSpc>
              <a:spcBef>
                <a:spcPts val="500"/>
              </a:spcBef>
              <a:buClr>
                <a:srgbClr val="2878FF"/>
              </a:buClr>
              <a:buFont typeface="Arial" panose="020B0604020202020204" pitchFamily="34" charset="0"/>
              <a:buChar char="•"/>
              <a:defRPr sz="1600" kern="1200">
                <a:solidFill>
                  <a:srgbClr val="001965"/>
                </a:solidFill>
                <a:latin typeface="Avenir Next LT Pro"/>
              </a:defRPr>
            </a:lvl3pPr>
            <a:lvl4pPr marL="809625" indent="-180975" algn="l" defTabSz="914400" rtl="0" eaLnBrk="1" latinLnBrk="0" hangingPunct="1">
              <a:lnSpc>
                <a:spcPct val="90000"/>
              </a:lnSpc>
              <a:spcBef>
                <a:spcPts val="500"/>
              </a:spcBef>
              <a:buClr>
                <a:srgbClr val="2878FF"/>
              </a:buClr>
              <a:buFont typeface="Arial" panose="020B0604020202020204" pitchFamily="34" charset="0"/>
              <a:buChar char="•"/>
              <a:defRPr sz="1400" kern="1200">
                <a:solidFill>
                  <a:srgbClr val="001965"/>
                </a:solidFill>
                <a:latin typeface="Avenir Next LT Pro"/>
              </a:defRPr>
            </a:lvl4pPr>
            <a:lvl5pPr marL="99060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9pPr>
          </a:lstStyle>
          <a:p>
            <a:r>
              <a:rPr lang="en-DK"/>
              <a:t>Metabolism and comorbidities</a:t>
            </a:r>
            <a:endParaRPr lang="sv-SE"/>
          </a:p>
        </p:txBody>
      </p:sp>
      <p:sp>
        <p:nvSpPr>
          <p:cNvPr id="31" name="Text Placeholder 10">
            <a:extLst>
              <a:ext uri="{FF2B5EF4-FFF2-40B4-BE49-F238E27FC236}">
                <a16:creationId xmlns:a16="http://schemas.microsoft.com/office/drawing/2014/main" id="{42CD4809-5BE4-6476-8FA4-35F13EE47A6F}"/>
              </a:ext>
            </a:extLst>
          </p:cNvPr>
          <p:cNvSpPr txBox="1">
            <a:spLocks/>
          </p:cNvSpPr>
          <p:nvPr/>
        </p:nvSpPr>
        <p:spPr>
          <a:xfrm>
            <a:off x="4306396" y="4960742"/>
            <a:ext cx="3586291" cy="338981"/>
          </a:xfrm>
          <a:prstGeom prst="rect">
            <a:avLst/>
          </a:prstGeom>
        </p:spPr>
        <p:txBody>
          <a:bodyPr lIns="108000" tIns="108000" rIns="108000" bIns="108000">
            <a:noAutofit/>
          </a:bodyPr>
          <a:lstStyle>
            <a:defPPr>
              <a:defRPr lang="sv-SE"/>
            </a:defPPr>
            <a:lvl1pPr marL="0" indent="0" algn="l" defTabSz="914400" rtl="0" eaLnBrk="1" latinLnBrk="0" hangingPunct="1">
              <a:lnSpc>
                <a:spcPct val="90000"/>
              </a:lnSpc>
              <a:spcBef>
                <a:spcPts val="1000"/>
              </a:spcBef>
              <a:buClr>
                <a:srgbClr val="2878FF"/>
              </a:buClr>
              <a:buSzPct val="110000"/>
              <a:buFont typeface="Avenir Next LT Pro" panose="020B0504020202020204" pitchFamily="34" charset="0"/>
              <a:buNone/>
              <a:defRPr sz="1200" kern="1200">
                <a:solidFill>
                  <a:srgbClr val="001965"/>
                </a:solidFill>
                <a:latin typeface="Avenir Next LT Pro Demi" panose="020B0704020202020204" pitchFamily="34" charset="0"/>
              </a:defRPr>
            </a:lvl1pPr>
            <a:lvl2pPr marL="180975" indent="-180975" algn="l" defTabSz="914400" rtl="0" eaLnBrk="1" latinLnBrk="0" hangingPunct="1">
              <a:lnSpc>
                <a:spcPct val="90000"/>
              </a:lnSpc>
              <a:spcBef>
                <a:spcPts val="500"/>
              </a:spcBef>
              <a:buClr>
                <a:srgbClr val="2878FF"/>
              </a:buClr>
              <a:buFont typeface="Avenir Next LT Pro" panose="020B0504020202020204" pitchFamily="34" charset="0"/>
              <a:buChar char="+"/>
              <a:defRPr sz="1200" kern="1200">
                <a:solidFill>
                  <a:srgbClr val="001965"/>
                </a:solidFill>
                <a:latin typeface="Avenir Next LT Pro"/>
              </a:defRPr>
            </a:lvl2pPr>
            <a:lvl3pPr marL="62865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3pPr>
            <a:lvl4pPr marL="809625"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4pPr>
            <a:lvl5pPr marL="99060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9pPr>
          </a:lstStyle>
          <a:p>
            <a:pPr marL="0" lvl="1" indent="0" algn="ctr">
              <a:buNone/>
            </a:pPr>
            <a:r>
              <a:rPr lang="en-US" sz="1100"/>
              <a:t>Improved insulin sensitivity and glucose homeostasis</a:t>
            </a:r>
          </a:p>
          <a:p>
            <a:pPr marL="0" lvl="1" indent="0" algn="ctr">
              <a:buNone/>
            </a:pPr>
            <a:r>
              <a:rPr lang="en-US" sz="1100"/>
              <a:t>Improved cardiac output and renal function</a:t>
            </a:r>
          </a:p>
          <a:p>
            <a:pPr marL="0" lvl="1" indent="0" algn="ctr">
              <a:buNone/>
            </a:pPr>
            <a:endParaRPr lang="en-US" sz="1100"/>
          </a:p>
          <a:p>
            <a:pPr marL="0" lvl="1" indent="0" algn="ctr">
              <a:buNone/>
            </a:pPr>
            <a:endParaRPr lang="en-US" sz="1100"/>
          </a:p>
        </p:txBody>
      </p:sp>
      <p:sp>
        <p:nvSpPr>
          <p:cNvPr id="3" name="Rectangle 2">
            <a:extLst>
              <a:ext uri="{FF2B5EF4-FFF2-40B4-BE49-F238E27FC236}">
                <a16:creationId xmlns:a16="http://schemas.microsoft.com/office/drawing/2014/main" id="{EB2ECB42-46B1-6587-5080-81896EED03D6}"/>
              </a:ext>
            </a:extLst>
          </p:cNvPr>
          <p:cNvSpPr/>
          <p:nvPr/>
        </p:nvSpPr>
        <p:spPr>
          <a:xfrm>
            <a:off x="442094" y="6394786"/>
            <a:ext cx="11132783" cy="3064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914400"/>
            <a:r>
              <a:rPr lang="en-DK" sz="900">
                <a:solidFill>
                  <a:schemeClr val="bg1"/>
                </a:solidFill>
                <a:latin typeface="Avenir Next LT Pro"/>
              </a:rPr>
              <a:t>Sources: 1) Zierath et al. (2021) </a:t>
            </a:r>
            <a:r>
              <a:rPr lang="en-DK" sz="900" i="1">
                <a:solidFill>
                  <a:schemeClr val="bg1"/>
                </a:solidFill>
                <a:latin typeface="Avenir Next LT Pro"/>
              </a:rPr>
              <a:t>J Cachexia, Sarcopenia and Muscle</a:t>
            </a:r>
            <a:r>
              <a:rPr lang="en-DK" sz="900">
                <a:solidFill>
                  <a:schemeClr val="bg1"/>
                </a:solidFill>
                <a:latin typeface="Avenir Next LT Pro"/>
              </a:rPr>
              <a:t>; </a:t>
            </a:r>
            <a:r>
              <a:rPr lang="en-DK" sz="900" err="1">
                <a:solidFill>
                  <a:schemeClr val="bg1"/>
                </a:solidFill>
                <a:latin typeface="Avenir Next LT Pro"/>
              </a:rPr>
              <a:t>Isfort</a:t>
            </a:r>
            <a:r>
              <a:rPr lang="en-DK" sz="900">
                <a:solidFill>
                  <a:schemeClr val="bg1"/>
                </a:solidFill>
                <a:latin typeface="Avenir Next LT Pro"/>
              </a:rPr>
              <a:t> et al. (2003) </a:t>
            </a:r>
            <a:r>
              <a:rPr lang="de-DE" sz="900" i="1">
                <a:solidFill>
                  <a:schemeClr val="bg1"/>
                </a:solidFill>
                <a:latin typeface="Avenir Next LT Pro"/>
              </a:rPr>
              <a:t>Am J </a:t>
            </a:r>
            <a:r>
              <a:rPr lang="de-DE" sz="900" i="1" err="1">
                <a:solidFill>
                  <a:schemeClr val="bg1"/>
                </a:solidFill>
                <a:latin typeface="Avenir Next LT Pro"/>
              </a:rPr>
              <a:t>Physiol</a:t>
            </a:r>
            <a:r>
              <a:rPr lang="de-DE" sz="900" i="1">
                <a:solidFill>
                  <a:schemeClr val="bg1"/>
                </a:solidFill>
                <a:latin typeface="Avenir Next LT Pro"/>
              </a:rPr>
              <a:t> </a:t>
            </a:r>
            <a:r>
              <a:rPr lang="de-DE" sz="900" i="1" err="1">
                <a:solidFill>
                  <a:schemeClr val="bg1"/>
                </a:solidFill>
                <a:latin typeface="Avenir Next LT Pro"/>
              </a:rPr>
              <a:t>Endocrinol</a:t>
            </a:r>
            <a:r>
              <a:rPr lang="de-DE" sz="900" i="1">
                <a:solidFill>
                  <a:schemeClr val="bg1"/>
                </a:solidFill>
                <a:latin typeface="Avenir Next LT Pro"/>
              </a:rPr>
              <a:t> </a:t>
            </a:r>
            <a:r>
              <a:rPr lang="de-DE" sz="900" i="1" err="1">
                <a:solidFill>
                  <a:schemeClr val="bg1"/>
                </a:solidFill>
                <a:latin typeface="Avenir Next LT Pro"/>
              </a:rPr>
              <a:t>Metab</a:t>
            </a:r>
            <a:r>
              <a:rPr lang="en-DK" sz="900">
                <a:solidFill>
                  <a:schemeClr val="bg1"/>
                </a:solidFill>
                <a:latin typeface="Avenir Next LT Pro"/>
              </a:rPr>
              <a:t>; Kettelhut et al. (2022) </a:t>
            </a:r>
            <a:r>
              <a:rPr lang="en-DK" sz="900" i="1">
                <a:solidFill>
                  <a:schemeClr val="bg1"/>
                </a:solidFill>
                <a:latin typeface="Avenir Next LT Pro"/>
              </a:rPr>
              <a:t>Molecular Metabolism</a:t>
            </a:r>
            <a:r>
              <a:rPr lang="en-DK" sz="900">
                <a:solidFill>
                  <a:schemeClr val="bg1"/>
                </a:solidFill>
                <a:latin typeface="Avenir Next LT Pro"/>
              </a:rPr>
              <a:t> </a:t>
            </a:r>
            <a:endParaRPr lang="en-US" sz="900">
              <a:solidFill>
                <a:schemeClr val="bg1"/>
              </a:solidFill>
              <a:latin typeface="Avenir Next LT Pro"/>
            </a:endParaRPr>
          </a:p>
        </p:txBody>
      </p:sp>
      <p:pic>
        <p:nvPicPr>
          <p:cNvPr id="34" name="Graphic 33">
            <a:extLst>
              <a:ext uri="{FF2B5EF4-FFF2-40B4-BE49-F238E27FC236}">
                <a16:creationId xmlns:a16="http://schemas.microsoft.com/office/drawing/2014/main" id="{DBB50DC1-33C8-68BD-6C40-B6C28A1932DD}"/>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79366" y="1582708"/>
            <a:ext cx="1233690" cy="1233690"/>
          </a:xfrm>
          <a:prstGeom prst="rect">
            <a:avLst/>
          </a:prstGeom>
        </p:spPr>
      </p:pic>
      <p:pic>
        <p:nvPicPr>
          <p:cNvPr id="39" name="Graphic 38">
            <a:extLst>
              <a:ext uri="{FF2B5EF4-FFF2-40B4-BE49-F238E27FC236}">
                <a16:creationId xmlns:a16="http://schemas.microsoft.com/office/drawing/2014/main" id="{2C698698-754E-1FE5-0BAE-B96ADA7D37D0}"/>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4359886" y="1536236"/>
            <a:ext cx="1233690" cy="1233690"/>
          </a:xfrm>
          <a:prstGeom prst="rect">
            <a:avLst/>
          </a:prstGeom>
        </p:spPr>
      </p:pic>
      <p:sp>
        <p:nvSpPr>
          <p:cNvPr id="40" name="Text Placeholder 25">
            <a:extLst>
              <a:ext uri="{FF2B5EF4-FFF2-40B4-BE49-F238E27FC236}">
                <a16:creationId xmlns:a16="http://schemas.microsoft.com/office/drawing/2014/main" id="{F790A82E-F6C0-3EDA-3649-8A85633EE8FF}"/>
              </a:ext>
            </a:extLst>
          </p:cNvPr>
          <p:cNvSpPr txBox="1">
            <a:spLocks/>
          </p:cNvSpPr>
          <p:nvPr/>
        </p:nvSpPr>
        <p:spPr>
          <a:xfrm>
            <a:off x="4376416" y="1900394"/>
            <a:ext cx="1200629" cy="505374"/>
          </a:xfrm>
          <a:prstGeom prst="roundRect">
            <a:avLst>
              <a:gd name="adj" fmla="val 50000"/>
            </a:avLst>
          </a:prstGeom>
          <a:noFill/>
        </p:spPr>
        <p:txBody>
          <a:bodyPr wrap="none" lIns="0" tIns="0" rIns="0" bIns="0" anchor="ctr" anchorCtr="0">
            <a:noAutofit/>
          </a:bodyPr>
          <a:lstStyle>
            <a:defPPr>
              <a:defRPr lang="sv-SE"/>
            </a:defPPr>
            <a:lvl1pPr marL="0" indent="0" algn="ctr" defTabSz="914400" rtl="0" eaLnBrk="1" latinLnBrk="0" hangingPunct="1">
              <a:lnSpc>
                <a:spcPct val="90000"/>
              </a:lnSpc>
              <a:spcBef>
                <a:spcPts val="1000"/>
              </a:spcBef>
              <a:buClr>
                <a:srgbClr val="2878FF"/>
              </a:buClr>
              <a:buSzPct val="110000"/>
              <a:buFont typeface="Avenir Next LT Pro" panose="020B0504020202020204" pitchFamily="34" charset="0"/>
              <a:buNone/>
              <a:defRPr sz="1200" kern="1200">
                <a:solidFill>
                  <a:srgbClr val="001965"/>
                </a:solidFill>
                <a:latin typeface="Avenir Next LT Pro Demi" panose="020B0704020202020204" pitchFamily="34" charset="0"/>
              </a:defRPr>
            </a:lvl1pPr>
            <a:lvl2pPr marL="447675" indent="-180975" algn="l" defTabSz="914400" rtl="0" eaLnBrk="1" latinLnBrk="0" hangingPunct="1">
              <a:lnSpc>
                <a:spcPct val="90000"/>
              </a:lnSpc>
              <a:spcBef>
                <a:spcPts val="500"/>
              </a:spcBef>
              <a:buClr>
                <a:srgbClr val="2878FF"/>
              </a:buClr>
              <a:buFont typeface="Arial" panose="020B0604020202020204" pitchFamily="34" charset="0"/>
              <a:buChar char="•"/>
              <a:defRPr sz="1800" kern="1200">
                <a:solidFill>
                  <a:srgbClr val="001965"/>
                </a:solidFill>
                <a:latin typeface="Avenir Next LT Pro"/>
              </a:defRPr>
            </a:lvl2pPr>
            <a:lvl3pPr marL="628650" indent="-180975" algn="l" defTabSz="914400" rtl="0" eaLnBrk="1" latinLnBrk="0" hangingPunct="1">
              <a:lnSpc>
                <a:spcPct val="90000"/>
              </a:lnSpc>
              <a:spcBef>
                <a:spcPts val="500"/>
              </a:spcBef>
              <a:buClr>
                <a:srgbClr val="2878FF"/>
              </a:buClr>
              <a:buFont typeface="Arial" panose="020B0604020202020204" pitchFamily="34" charset="0"/>
              <a:buChar char="•"/>
              <a:defRPr sz="1600" kern="1200">
                <a:solidFill>
                  <a:srgbClr val="001965"/>
                </a:solidFill>
                <a:latin typeface="Avenir Next LT Pro"/>
              </a:defRPr>
            </a:lvl3pPr>
            <a:lvl4pPr marL="809625" indent="-180975" algn="l" defTabSz="914400" rtl="0" eaLnBrk="1" latinLnBrk="0" hangingPunct="1">
              <a:lnSpc>
                <a:spcPct val="90000"/>
              </a:lnSpc>
              <a:spcBef>
                <a:spcPts val="500"/>
              </a:spcBef>
              <a:buClr>
                <a:srgbClr val="2878FF"/>
              </a:buClr>
              <a:buFont typeface="Arial" panose="020B0604020202020204" pitchFamily="34" charset="0"/>
              <a:buChar char="•"/>
              <a:defRPr sz="1400" kern="1200">
                <a:solidFill>
                  <a:srgbClr val="001965"/>
                </a:solidFill>
                <a:latin typeface="Avenir Next LT Pro"/>
              </a:defRPr>
            </a:lvl4pPr>
            <a:lvl5pPr marL="99060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9pPr>
          </a:lstStyle>
          <a:p>
            <a:r>
              <a:rPr lang="en-US" sz="1100">
                <a:solidFill>
                  <a:schemeClr val="bg1"/>
                </a:solidFill>
              </a:rPr>
              <a:t>Key</a:t>
            </a:r>
            <a:r>
              <a:rPr lang="en-DK" sz="1100">
                <a:solidFill>
                  <a:schemeClr val="bg1"/>
                </a:solidFill>
              </a:rPr>
              <a:t> benefits</a:t>
            </a:r>
            <a:br>
              <a:rPr lang="en-DK" sz="1100">
                <a:solidFill>
                  <a:schemeClr val="bg1"/>
                </a:solidFill>
              </a:rPr>
            </a:br>
            <a:r>
              <a:rPr lang="en-DK" sz="1100">
                <a:solidFill>
                  <a:schemeClr val="bg1"/>
                </a:solidFill>
              </a:rPr>
              <a:t>to validate in </a:t>
            </a:r>
            <a:br>
              <a:rPr lang="en-DK" sz="1100">
                <a:solidFill>
                  <a:schemeClr val="bg1"/>
                </a:solidFill>
              </a:rPr>
            </a:br>
            <a:r>
              <a:rPr lang="en-DK" sz="1100">
                <a:solidFill>
                  <a:schemeClr val="bg1"/>
                </a:solidFill>
              </a:rPr>
              <a:t>the clinic </a:t>
            </a:r>
            <a:endParaRPr lang="en-US" sz="1100">
              <a:solidFill>
                <a:schemeClr val="bg1"/>
              </a:solidFill>
            </a:endParaRPr>
          </a:p>
        </p:txBody>
      </p:sp>
      <p:sp>
        <p:nvSpPr>
          <p:cNvPr id="45" name="Text Placeholder 25">
            <a:extLst>
              <a:ext uri="{FF2B5EF4-FFF2-40B4-BE49-F238E27FC236}">
                <a16:creationId xmlns:a16="http://schemas.microsoft.com/office/drawing/2014/main" id="{AECB8927-4358-8C1D-0DA7-1FC0D5A9D3D6}"/>
              </a:ext>
            </a:extLst>
          </p:cNvPr>
          <p:cNvSpPr txBox="1">
            <a:spLocks/>
          </p:cNvSpPr>
          <p:nvPr/>
        </p:nvSpPr>
        <p:spPr>
          <a:xfrm>
            <a:off x="606413" y="1946866"/>
            <a:ext cx="1179596" cy="505374"/>
          </a:xfrm>
          <a:prstGeom prst="roundRect">
            <a:avLst/>
          </a:prstGeom>
          <a:noFill/>
        </p:spPr>
        <p:txBody>
          <a:bodyPr wrap="none" lIns="0" tIns="0" rIns="0" bIns="0" anchor="ctr" anchorCtr="0">
            <a:noAutofit/>
          </a:bodyPr>
          <a:lstStyle>
            <a:defPPr>
              <a:defRPr lang="sv-SE"/>
            </a:defPPr>
            <a:lvl1pPr marL="0" indent="0" algn="ctr" defTabSz="914400" rtl="0" eaLnBrk="1" latinLnBrk="0" hangingPunct="1">
              <a:lnSpc>
                <a:spcPct val="90000"/>
              </a:lnSpc>
              <a:spcBef>
                <a:spcPts val="1000"/>
              </a:spcBef>
              <a:buClr>
                <a:srgbClr val="2878FF"/>
              </a:buClr>
              <a:buSzPct val="110000"/>
              <a:buFont typeface="Avenir Next LT Pro" panose="020B0504020202020204" pitchFamily="34" charset="0"/>
              <a:buNone/>
              <a:defRPr sz="1200" kern="1200">
                <a:solidFill>
                  <a:srgbClr val="001965"/>
                </a:solidFill>
                <a:latin typeface="Avenir Next LT Pro Demi" panose="020B0704020202020204" pitchFamily="34" charset="0"/>
              </a:defRPr>
            </a:lvl1pPr>
            <a:lvl2pPr marL="447675" indent="-180975" algn="l" defTabSz="914400" rtl="0" eaLnBrk="1" latinLnBrk="0" hangingPunct="1">
              <a:lnSpc>
                <a:spcPct val="90000"/>
              </a:lnSpc>
              <a:spcBef>
                <a:spcPts val="500"/>
              </a:spcBef>
              <a:buClr>
                <a:srgbClr val="2878FF"/>
              </a:buClr>
              <a:buFont typeface="Arial" panose="020B0604020202020204" pitchFamily="34" charset="0"/>
              <a:buChar char="•"/>
              <a:defRPr sz="1800" kern="1200">
                <a:solidFill>
                  <a:srgbClr val="001965"/>
                </a:solidFill>
                <a:latin typeface="Avenir Next LT Pro"/>
              </a:defRPr>
            </a:lvl2pPr>
            <a:lvl3pPr marL="628650" indent="-180975" algn="l" defTabSz="914400" rtl="0" eaLnBrk="1" latinLnBrk="0" hangingPunct="1">
              <a:lnSpc>
                <a:spcPct val="90000"/>
              </a:lnSpc>
              <a:spcBef>
                <a:spcPts val="500"/>
              </a:spcBef>
              <a:buClr>
                <a:srgbClr val="2878FF"/>
              </a:buClr>
              <a:buFont typeface="Arial" panose="020B0604020202020204" pitchFamily="34" charset="0"/>
              <a:buChar char="•"/>
              <a:defRPr sz="1600" kern="1200">
                <a:solidFill>
                  <a:srgbClr val="001965"/>
                </a:solidFill>
                <a:latin typeface="Avenir Next LT Pro"/>
              </a:defRPr>
            </a:lvl3pPr>
            <a:lvl4pPr marL="809625" indent="-180975" algn="l" defTabSz="914400" rtl="0" eaLnBrk="1" latinLnBrk="0" hangingPunct="1">
              <a:lnSpc>
                <a:spcPct val="90000"/>
              </a:lnSpc>
              <a:spcBef>
                <a:spcPts val="500"/>
              </a:spcBef>
              <a:buClr>
                <a:srgbClr val="2878FF"/>
              </a:buClr>
              <a:buFont typeface="Arial" panose="020B0604020202020204" pitchFamily="34" charset="0"/>
              <a:buChar char="•"/>
              <a:defRPr sz="1400" kern="1200">
                <a:solidFill>
                  <a:srgbClr val="001965"/>
                </a:solidFill>
                <a:latin typeface="Avenir Next LT Pro"/>
              </a:defRPr>
            </a:lvl4pPr>
            <a:lvl5pPr marL="99060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9pPr>
          </a:lstStyle>
          <a:p>
            <a:r>
              <a:rPr lang="en-DK" sz="1100">
                <a:solidFill>
                  <a:schemeClr val="bg1"/>
                </a:solidFill>
              </a:rPr>
              <a:t>GUB-UCN2</a:t>
            </a:r>
            <a:br>
              <a:rPr lang="en-DK" sz="1100">
                <a:solidFill>
                  <a:schemeClr val="bg1"/>
                </a:solidFill>
              </a:rPr>
            </a:br>
            <a:r>
              <a:rPr lang="en-DK" sz="1100">
                <a:solidFill>
                  <a:schemeClr val="bg1"/>
                </a:solidFill>
              </a:rPr>
              <a:t>product</a:t>
            </a:r>
            <a:endParaRPr lang="sv-SE" sz="1100">
              <a:solidFill>
                <a:schemeClr val="bg1"/>
              </a:solidFill>
            </a:endParaRPr>
          </a:p>
        </p:txBody>
      </p:sp>
      <p:pic>
        <p:nvPicPr>
          <p:cNvPr id="47" name="Graphic 46">
            <a:extLst>
              <a:ext uri="{FF2B5EF4-FFF2-40B4-BE49-F238E27FC236}">
                <a16:creationId xmlns:a16="http://schemas.microsoft.com/office/drawing/2014/main" id="{C20B3770-A9CD-82A9-C91B-CC609C548382}"/>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104950" y="1536236"/>
            <a:ext cx="1233690" cy="1233690"/>
          </a:xfrm>
          <a:prstGeom prst="rect">
            <a:avLst/>
          </a:prstGeom>
        </p:spPr>
      </p:pic>
      <p:sp>
        <p:nvSpPr>
          <p:cNvPr id="48" name="Text Placeholder 25">
            <a:extLst>
              <a:ext uri="{FF2B5EF4-FFF2-40B4-BE49-F238E27FC236}">
                <a16:creationId xmlns:a16="http://schemas.microsoft.com/office/drawing/2014/main" id="{37247465-BB11-6DB6-5EC0-D958A8F5B05D}"/>
              </a:ext>
            </a:extLst>
          </p:cNvPr>
          <p:cNvSpPr txBox="1">
            <a:spLocks/>
          </p:cNvSpPr>
          <p:nvPr/>
        </p:nvSpPr>
        <p:spPr>
          <a:xfrm>
            <a:off x="8249012" y="1802914"/>
            <a:ext cx="945565" cy="700334"/>
          </a:xfrm>
          <a:prstGeom prst="roundRect">
            <a:avLst/>
          </a:prstGeom>
          <a:noFill/>
        </p:spPr>
        <p:txBody>
          <a:bodyPr wrap="none" lIns="0" tIns="0" rIns="0" bIns="0" anchor="ctr" anchorCtr="0">
            <a:noAutofit/>
          </a:bodyPr>
          <a:lstStyle>
            <a:defPPr>
              <a:defRPr lang="sv-SE"/>
            </a:defPPr>
            <a:lvl1pPr marL="0" indent="0" algn="ctr" defTabSz="914400" rtl="0" eaLnBrk="1" latinLnBrk="0" hangingPunct="1">
              <a:lnSpc>
                <a:spcPct val="90000"/>
              </a:lnSpc>
              <a:spcBef>
                <a:spcPts val="1000"/>
              </a:spcBef>
              <a:buClr>
                <a:srgbClr val="2878FF"/>
              </a:buClr>
              <a:buSzPct val="110000"/>
              <a:buFont typeface="Avenir Next LT Pro" panose="020B0504020202020204" pitchFamily="34" charset="0"/>
              <a:buNone/>
              <a:defRPr sz="1200" kern="1200">
                <a:solidFill>
                  <a:srgbClr val="001965"/>
                </a:solidFill>
                <a:latin typeface="Avenir Next LT Pro Demi" panose="020B0704020202020204" pitchFamily="34" charset="0"/>
              </a:defRPr>
            </a:lvl1pPr>
            <a:lvl2pPr marL="447675" indent="-180975" algn="l" defTabSz="914400" rtl="0" eaLnBrk="1" latinLnBrk="0" hangingPunct="1">
              <a:lnSpc>
                <a:spcPct val="90000"/>
              </a:lnSpc>
              <a:spcBef>
                <a:spcPts val="500"/>
              </a:spcBef>
              <a:buClr>
                <a:srgbClr val="2878FF"/>
              </a:buClr>
              <a:buFont typeface="Arial" panose="020B0604020202020204" pitchFamily="34" charset="0"/>
              <a:buChar char="•"/>
              <a:defRPr sz="1800" kern="1200">
                <a:solidFill>
                  <a:srgbClr val="001965"/>
                </a:solidFill>
                <a:latin typeface="Avenir Next LT Pro"/>
              </a:defRPr>
            </a:lvl2pPr>
            <a:lvl3pPr marL="628650" indent="-180975" algn="l" defTabSz="914400" rtl="0" eaLnBrk="1" latinLnBrk="0" hangingPunct="1">
              <a:lnSpc>
                <a:spcPct val="90000"/>
              </a:lnSpc>
              <a:spcBef>
                <a:spcPts val="500"/>
              </a:spcBef>
              <a:buClr>
                <a:srgbClr val="2878FF"/>
              </a:buClr>
              <a:buFont typeface="Arial" panose="020B0604020202020204" pitchFamily="34" charset="0"/>
              <a:buChar char="•"/>
              <a:defRPr sz="1600" kern="1200">
                <a:solidFill>
                  <a:srgbClr val="001965"/>
                </a:solidFill>
                <a:latin typeface="Avenir Next LT Pro"/>
              </a:defRPr>
            </a:lvl3pPr>
            <a:lvl4pPr marL="809625" indent="-180975" algn="l" defTabSz="914400" rtl="0" eaLnBrk="1" latinLnBrk="0" hangingPunct="1">
              <a:lnSpc>
                <a:spcPct val="90000"/>
              </a:lnSpc>
              <a:spcBef>
                <a:spcPts val="500"/>
              </a:spcBef>
              <a:buClr>
                <a:srgbClr val="2878FF"/>
              </a:buClr>
              <a:buFont typeface="Arial" panose="020B0604020202020204" pitchFamily="34" charset="0"/>
              <a:buChar char="•"/>
              <a:defRPr sz="1400" kern="1200">
                <a:solidFill>
                  <a:srgbClr val="001965"/>
                </a:solidFill>
                <a:latin typeface="Avenir Next LT Pro"/>
              </a:defRPr>
            </a:lvl4pPr>
            <a:lvl5pPr marL="99060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9pPr>
          </a:lstStyle>
          <a:p>
            <a:r>
              <a:rPr lang="en-DK" sz="1100">
                <a:solidFill>
                  <a:schemeClr val="bg1"/>
                </a:solidFill>
              </a:rPr>
              <a:t>Primary </a:t>
            </a:r>
            <a:br>
              <a:rPr lang="en-DK" sz="1100">
                <a:solidFill>
                  <a:schemeClr val="bg1"/>
                </a:solidFill>
              </a:rPr>
            </a:br>
            <a:r>
              <a:rPr lang="en-DK" sz="1100">
                <a:solidFill>
                  <a:schemeClr val="bg1"/>
                </a:solidFill>
              </a:rPr>
              <a:t>indication and </a:t>
            </a:r>
            <a:br>
              <a:rPr lang="en-DK" sz="1100">
                <a:solidFill>
                  <a:schemeClr val="bg1"/>
                </a:solidFill>
              </a:rPr>
            </a:br>
            <a:r>
              <a:rPr lang="en-DK" sz="1100">
                <a:solidFill>
                  <a:schemeClr val="bg1"/>
                </a:solidFill>
              </a:rPr>
              <a:t>expansion </a:t>
            </a:r>
            <a:endParaRPr lang="sv-SE" sz="1100">
              <a:solidFill>
                <a:schemeClr val="bg1"/>
              </a:solidFill>
            </a:endParaRPr>
          </a:p>
        </p:txBody>
      </p:sp>
      <p:sp>
        <p:nvSpPr>
          <p:cNvPr id="52" name="Arrow: Left 41">
            <a:extLst>
              <a:ext uri="{FF2B5EF4-FFF2-40B4-BE49-F238E27FC236}">
                <a16:creationId xmlns:a16="http://schemas.microsoft.com/office/drawing/2014/main" id="{32EE59E1-41C8-2EE5-7B1E-8BFAE734436B}"/>
              </a:ext>
            </a:extLst>
          </p:cNvPr>
          <p:cNvSpPr/>
          <p:nvPr/>
        </p:nvSpPr>
        <p:spPr>
          <a:xfrm rot="10800000">
            <a:off x="10688724" y="2908781"/>
            <a:ext cx="227210" cy="202266"/>
          </a:xfrm>
          <a:prstGeom prst="leftArrow">
            <a:avLst/>
          </a:prstGeom>
          <a:solidFill>
            <a:schemeClr val="accent5"/>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latin typeface="Avenir Next LT Pro"/>
            </a:endParaRPr>
          </a:p>
        </p:txBody>
      </p:sp>
      <p:sp>
        <p:nvSpPr>
          <p:cNvPr id="53" name="Arrow: Left 41">
            <a:extLst>
              <a:ext uri="{FF2B5EF4-FFF2-40B4-BE49-F238E27FC236}">
                <a16:creationId xmlns:a16="http://schemas.microsoft.com/office/drawing/2014/main" id="{0DAFC68C-545A-4A21-17C9-AE5353498BE6}"/>
              </a:ext>
            </a:extLst>
          </p:cNvPr>
          <p:cNvSpPr/>
          <p:nvPr/>
        </p:nvSpPr>
        <p:spPr>
          <a:xfrm>
            <a:off x="8823831" y="2908781"/>
            <a:ext cx="227210" cy="202266"/>
          </a:xfrm>
          <a:prstGeom prst="leftArrow">
            <a:avLst/>
          </a:prstGeom>
          <a:solidFill>
            <a:schemeClr val="accent5"/>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latin typeface="Avenir Next LT Pro"/>
            </a:endParaRPr>
          </a:p>
        </p:txBody>
      </p:sp>
      <p:sp>
        <p:nvSpPr>
          <p:cNvPr id="14" name="Text Placeholder 25">
            <a:extLst>
              <a:ext uri="{FF2B5EF4-FFF2-40B4-BE49-F238E27FC236}">
                <a16:creationId xmlns:a16="http://schemas.microsoft.com/office/drawing/2014/main" id="{F3C1216B-71C3-1C88-93F8-C65772FA7BB0}"/>
              </a:ext>
            </a:extLst>
          </p:cNvPr>
          <p:cNvSpPr txBox="1">
            <a:spLocks/>
          </p:cNvSpPr>
          <p:nvPr/>
        </p:nvSpPr>
        <p:spPr>
          <a:xfrm>
            <a:off x="9041274" y="2865914"/>
            <a:ext cx="1645190" cy="288000"/>
          </a:xfrm>
          <a:prstGeom prst="roundRect">
            <a:avLst>
              <a:gd name="adj" fmla="val 50000"/>
            </a:avLst>
          </a:prstGeom>
          <a:solidFill>
            <a:schemeClr val="accent5">
              <a:alpha val="50008"/>
            </a:schemeClr>
          </a:solidFill>
          <a:ln>
            <a:solidFill>
              <a:schemeClr val="accent5"/>
            </a:solidFill>
          </a:ln>
        </p:spPr>
        <p:txBody>
          <a:bodyPr wrap="none" lIns="0" tIns="0" rIns="0" bIns="0" anchor="ctr" anchorCtr="0">
            <a:noAutofit/>
          </a:bodyPr>
          <a:lstStyle>
            <a:defPPr>
              <a:defRPr lang="sv-SE"/>
            </a:defPPr>
            <a:lvl1pPr marL="0" indent="0" algn="ctr" defTabSz="914400" rtl="0" eaLnBrk="1" latinLnBrk="0" hangingPunct="1">
              <a:lnSpc>
                <a:spcPct val="90000"/>
              </a:lnSpc>
              <a:spcBef>
                <a:spcPts val="1000"/>
              </a:spcBef>
              <a:buClr>
                <a:srgbClr val="2878FF"/>
              </a:buClr>
              <a:buSzPct val="110000"/>
              <a:buFont typeface="Avenir Next LT Pro" panose="020B0504020202020204" pitchFamily="34" charset="0"/>
              <a:buNone/>
              <a:defRPr sz="1200" kern="1200">
                <a:solidFill>
                  <a:srgbClr val="001965"/>
                </a:solidFill>
                <a:latin typeface="Avenir Next LT Pro Demi" panose="020B0704020202020204" pitchFamily="34" charset="0"/>
              </a:defRPr>
            </a:lvl1pPr>
            <a:lvl2pPr marL="447675" indent="-180975" algn="l" defTabSz="914400" rtl="0" eaLnBrk="1" latinLnBrk="0" hangingPunct="1">
              <a:lnSpc>
                <a:spcPct val="90000"/>
              </a:lnSpc>
              <a:spcBef>
                <a:spcPts val="500"/>
              </a:spcBef>
              <a:buClr>
                <a:srgbClr val="2878FF"/>
              </a:buClr>
              <a:buFont typeface="Arial" panose="020B0604020202020204" pitchFamily="34" charset="0"/>
              <a:buChar char="•"/>
              <a:defRPr sz="1800" kern="1200">
                <a:solidFill>
                  <a:srgbClr val="001965"/>
                </a:solidFill>
                <a:latin typeface="Avenir Next LT Pro"/>
              </a:defRPr>
            </a:lvl2pPr>
            <a:lvl3pPr marL="628650" indent="-180975" algn="l" defTabSz="914400" rtl="0" eaLnBrk="1" latinLnBrk="0" hangingPunct="1">
              <a:lnSpc>
                <a:spcPct val="90000"/>
              </a:lnSpc>
              <a:spcBef>
                <a:spcPts val="500"/>
              </a:spcBef>
              <a:buClr>
                <a:srgbClr val="2878FF"/>
              </a:buClr>
              <a:buFont typeface="Arial" panose="020B0604020202020204" pitchFamily="34" charset="0"/>
              <a:buChar char="•"/>
              <a:defRPr sz="1600" kern="1200">
                <a:solidFill>
                  <a:srgbClr val="001965"/>
                </a:solidFill>
                <a:latin typeface="Avenir Next LT Pro"/>
              </a:defRPr>
            </a:lvl3pPr>
            <a:lvl4pPr marL="809625" indent="-180975" algn="l" defTabSz="914400" rtl="0" eaLnBrk="1" latinLnBrk="0" hangingPunct="1">
              <a:lnSpc>
                <a:spcPct val="90000"/>
              </a:lnSpc>
              <a:spcBef>
                <a:spcPts val="500"/>
              </a:spcBef>
              <a:buClr>
                <a:srgbClr val="2878FF"/>
              </a:buClr>
              <a:buFont typeface="Arial" panose="020B0604020202020204" pitchFamily="34" charset="0"/>
              <a:buChar char="•"/>
              <a:defRPr sz="1400" kern="1200">
                <a:solidFill>
                  <a:srgbClr val="001965"/>
                </a:solidFill>
                <a:latin typeface="Avenir Next LT Pro"/>
              </a:defRPr>
            </a:lvl4pPr>
            <a:lvl5pPr marL="990600" indent="-180975" algn="l" defTabSz="914400" rtl="0" eaLnBrk="1" latinLnBrk="0" hangingPunct="1">
              <a:lnSpc>
                <a:spcPct val="90000"/>
              </a:lnSpc>
              <a:spcBef>
                <a:spcPts val="500"/>
              </a:spcBef>
              <a:buClr>
                <a:srgbClr val="2878FF"/>
              </a:buClr>
              <a:buFont typeface="Arial" panose="020B0604020202020204" pitchFamily="34" charset="0"/>
              <a:buChar char="•"/>
              <a:defRPr sz="1200" kern="1200">
                <a:solidFill>
                  <a:srgbClr val="001965"/>
                </a:solidFill>
                <a:latin typeface="Avenir Next LT Pro"/>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rgbClr val="001965"/>
                </a:solidFill>
                <a:latin typeface="Avenir Next LT Pro"/>
              </a:defRPr>
            </a:lvl9pPr>
          </a:lstStyle>
          <a:p>
            <a:r>
              <a:rPr lang="en-DK"/>
              <a:t>Primary indication</a:t>
            </a:r>
            <a:endParaRPr lang="sv-SE"/>
          </a:p>
        </p:txBody>
      </p:sp>
      <p:cxnSp>
        <p:nvCxnSpPr>
          <p:cNvPr id="6" name="Straight Connector 5">
            <a:extLst>
              <a:ext uri="{FF2B5EF4-FFF2-40B4-BE49-F238E27FC236}">
                <a16:creationId xmlns:a16="http://schemas.microsoft.com/office/drawing/2014/main" id="{89ED5546-4F27-01C1-F6C4-779D08DFC5A1}"/>
              </a:ext>
            </a:extLst>
          </p:cNvPr>
          <p:cNvCxnSpPr>
            <a:cxnSpLocks/>
          </p:cNvCxnSpPr>
          <p:nvPr/>
        </p:nvCxnSpPr>
        <p:spPr>
          <a:xfrm>
            <a:off x="653652" y="6014835"/>
            <a:ext cx="10888965" cy="0"/>
          </a:xfrm>
          <a:prstGeom prst="line">
            <a:avLst/>
          </a:prstGeom>
          <a:ln w="12700">
            <a:solidFill>
              <a:schemeClr val="bg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 name="Rounded Rectangle 29">
            <a:extLst>
              <a:ext uri="{FF2B5EF4-FFF2-40B4-BE49-F238E27FC236}">
                <a16:creationId xmlns:a16="http://schemas.microsoft.com/office/drawing/2014/main" id="{8573F7EA-21A0-4C10-27BC-77F1ADB843A3}"/>
              </a:ext>
            </a:extLst>
          </p:cNvPr>
          <p:cNvSpPr/>
          <p:nvPr/>
        </p:nvSpPr>
        <p:spPr>
          <a:xfrm>
            <a:off x="4435852" y="5863731"/>
            <a:ext cx="3324563" cy="288000"/>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rgbClr val="001965">
                    <a:lumMod val="100000"/>
                  </a:srgbClr>
                </a:solidFill>
                <a:effectLst/>
                <a:uLnTx/>
                <a:uFillTx/>
                <a:latin typeface="Avenir Next LT Pro Demi" panose="020B0504020202020204" pitchFamily="34" charset="77"/>
                <a:ea typeface="+mn-ea"/>
                <a:cs typeface="Avenir Next LT Pro"/>
              </a:rPr>
              <a:t>Opportunity profile for GUB-UCN2</a:t>
            </a:r>
            <a:endParaRPr kumimoji="0" lang="da-DK" sz="1200" b="1" i="0" u="none" strike="noStrike" kern="1200" cap="none" spc="0" normalizeH="0" baseline="0" noProof="0">
              <a:ln>
                <a:noFill/>
              </a:ln>
              <a:solidFill>
                <a:srgbClr val="001965">
                  <a:lumMod val="100000"/>
                </a:srgbClr>
              </a:solidFill>
              <a:effectLst/>
              <a:uLnTx/>
              <a:uFillTx/>
              <a:latin typeface="Avenir Next LT Pro Demi" panose="020B0504020202020204" pitchFamily="34" charset="77"/>
              <a:ea typeface="+mn-ea"/>
              <a:cs typeface="+mn-cs"/>
            </a:endParaRPr>
          </a:p>
        </p:txBody>
      </p:sp>
      <p:sp>
        <p:nvSpPr>
          <p:cNvPr id="9" name="Rounded Rectangle 44">
            <a:extLst>
              <a:ext uri="{FF2B5EF4-FFF2-40B4-BE49-F238E27FC236}">
                <a16:creationId xmlns:a16="http://schemas.microsoft.com/office/drawing/2014/main" id="{1CDD8004-C41A-801C-4D8A-ECA017D77D1C}"/>
              </a:ext>
            </a:extLst>
          </p:cNvPr>
          <p:cNvSpPr/>
          <p:nvPr/>
        </p:nvSpPr>
        <p:spPr>
          <a:xfrm>
            <a:off x="516733" y="142571"/>
            <a:ext cx="912669" cy="288000"/>
          </a:xfrm>
          <a:prstGeom prst="roundRect">
            <a:avLst>
              <a:gd name="adj" fmla="val 50000"/>
            </a:avLst>
          </a:prstGeom>
          <a:solidFill>
            <a:schemeClr val="tx2">
              <a:alpha val="49757"/>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GB" sz="1200" b="1">
                <a:latin typeface="Avenir Next LT Pro Demi" panose="020B0504020202020204" pitchFamily="34" charset="77"/>
              </a:rPr>
              <a:t>UCN2</a:t>
            </a:r>
          </a:p>
        </p:txBody>
      </p:sp>
      <p:sp>
        <p:nvSpPr>
          <p:cNvPr id="10" name="TextBox 9">
            <a:extLst>
              <a:ext uri="{FF2B5EF4-FFF2-40B4-BE49-F238E27FC236}">
                <a16:creationId xmlns:a16="http://schemas.microsoft.com/office/drawing/2014/main" id="{4373B655-E4DE-6262-46B1-3F38764BECD5}"/>
              </a:ext>
            </a:extLst>
          </p:cNvPr>
          <p:cNvSpPr txBox="1"/>
          <p:nvPr/>
        </p:nvSpPr>
        <p:spPr>
          <a:xfrm>
            <a:off x="11594381" y="6399575"/>
            <a:ext cx="276027" cy="153888"/>
          </a:xfrm>
          <a:prstGeom prst="rect">
            <a:avLst/>
          </a:prstGeom>
          <a:noFill/>
        </p:spPr>
        <p:txBody>
          <a:bodyPr wrap="square" lIns="0" tIns="0" rIns="0" bIns="0"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fld id="{27692F5A-FC14-4E83-B4CC-18F6C2D780A4}" type="slidenum">
              <a:rPr kumimoji="0" lang="en-US" sz="1000" b="0" i="0" u="none" strike="noStrike" kern="1200" cap="none" spc="40" normalizeH="0" baseline="0" noProof="0" smtClean="0">
                <a:ln>
                  <a:noFill/>
                </a:ln>
                <a:solidFill>
                  <a:srgbClr val="FFFFFF"/>
                </a:solidFill>
                <a:effectLst/>
                <a:uLnTx/>
                <a:uFillTx/>
                <a:latin typeface="Avenir Next LT Pro" panose="020B0504020202020204" pitchFamily="34" charset="77"/>
                <a:ea typeface="+mn-ea"/>
                <a:cs typeface="+mn-cs"/>
              </a:rPr>
              <a:pPr marL="0" marR="0" lvl="0" indent="0" algn="r" defTabSz="914446"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40" normalizeH="0" baseline="0" noProof="0">
              <a:ln>
                <a:noFill/>
              </a:ln>
              <a:solidFill>
                <a:srgbClr val="FFFFFF"/>
              </a:solidFill>
              <a:effectLst/>
              <a:uLnTx/>
              <a:uFillTx/>
              <a:latin typeface="Avenir Next LT Pro" panose="020B0504020202020204" pitchFamily="34" charset="77"/>
              <a:ea typeface="+mn-ea"/>
              <a:cs typeface="+mn-cs"/>
            </a:endParaRPr>
          </a:p>
        </p:txBody>
      </p:sp>
      <p:grpSp>
        <p:nvGrpSpPr>
          <p:cNvPr id="11" name="Group 10">
            <a:extLst>
              <a:ext uri="{FF2B5EF4-FFF2-40B4-BE49-F238E27FC236}">
                <a16:creationId xmlns:a16="http://schemas.microsoft.com/office/drawing/2014/main" id="{24A3789D-A041-0486-8120-1EB3075BC185}"/>
              </a:ext>
            </a:extLst>
          </p:cNvPr>
          <p:cNvGrpSpPr/>
          <p:nvPr/>
        </p:nvGrpSpPr>
        <p:grpSpPr>
          <a:xfrm>
            <a:off x="8943625" y="422745"/>
            <a:ext cx="2736777" cy="831273"/>
            <a:chOff x="8526377" y="422745"/>
            <a:chExt cx="2736777" cy="831273"/>
          </a:xfrm>
        </p:grpSpPr>
        <p:sp>
          <p:nvSpPr>
            <p:cNvPr id="15" name="Rounded Rectangular Callout 14">
              <a:extLst>
                <a:ext uri="{FF2B5EF4-FFF2-40B4-BE49-F238E27FC236}">
                  <a16:creationId xmlns:a16="http://schemas.microsoft.com/office/drawing/2014/main" id="{11A0DDBA-920E-F5A7-8053-4437B4BA5E06}"/>
                </a:ext>
              </a:extLst>
            </p:cNvPr>
            <p:cNvSpPr/>
            <p:nvPr/>
          </p:nvSpPr>
          <p:spPr>
            <a:xfrm rot="5400000">
              <a:off x="9479128" y="-530006"/>
              <a:ext cx="831273" cy="2736775"/>
            </a:xfrm>
            <a:prstGeom prst="wedgeRoundRectCallout">
              <a:avLst>
                <a:gd name="adj1" fmla="val 26447"/>
                <a:gd name="adj2" fmla="val 55357"/>
                <a:gd name="adj3" fmla="val 16667"/>
              </a:avLst>
            </a:prstGeom>
            <a:solidFill>
              <a:schemeClr val="accent2">
                <a:alpha val="50000"/>
              </a:schemeClr>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6" name="TextBox 15">
              <a:extLst>
                <a:ext uri="{FF2B5EF4-FFF2-40B4-BE49-F238E27FC236}">
                  <a16:creationId xmlns:a16="http://schemas.microsoft.com/office/drawing/2014/main" id="{2B420E78-D4E1-0CBB-A02C-81C80F723084}"/>
                </a:ext>
              </a:extLst>
            </p:cNvPr>
            <p:cNvSpPr txBox="1"/>
            <p:nvPr/>
          </p:nvSpPr>
          <p:spPr>
            <a:xfrm>
              <a:off x="8662622" y="499828"/>
              <a:ext cx="2600532" cy="677108"/>
            </a:xfrm>
            <a:prstGeom prst="rect">
              <a:avLst/>
            </a:prstGeom>
            <a:noFill/>
          </p:spPr>
          <p:txBody>
            <a:bodyPr wrap="square" lIns="0" tIns="0" rIns="0" bIns="0" rtlCol="0" anchor="ctr">
              <a:spAutoFit/>
            </a:bodyPr>
            <a:lstStyle/>
            <a:p>
              <a:r>
                <a:rPr lang="en-DK" sz="1100"/>
                <a:t>Our </a:t>
              </a:r>
              <a:r>
                <a:rPr lang="en-US" sz="1100"/>
                <a:t>GUB-UCN2-focused </a:t>
              </a:r>
              <a:r>
                <a:rPr lang="en-DK" sz="1100" b="1">
                  <a:latin typeface="Avenir Next LT Pro Demi" panose="020B0504020202020204" pitchFamily="34" charset="77"/>
                </a:rPr>
                <a:t>R&amp;D </a:t>
              </a:r>
              <a:r>
                <a:rPr lang="en-US" sz="1100" b="1">
                  <a:latin typeface="Avenir Next LT Pro Demi" panose="020B0504020202020204" pitchFamily="34" charset="77"/>
                </a:rPr>
                <a:t>Day</a:t>
              </a:r>
              <a:r>
                <a:rPr lang="en-DK" sz="1100" b="1">
                  <a:latin typeface="Avenir Next LT Pro Demi" panose="020B0504020202020204" pitchFamily="34" charset="77"/>
                </a:rPr>
                <a:t> </a:t>
              </a:r>
              <a:r>
                <a:rPr lang="en-US" sz="1100"/>
                <a:t>will </a:t>
              </a:r>
              <a:endParaRPr lang="en-DK" sz="1100"/>
            </a:p>
            <a:p>
              <a:r>
                <a:rPr lang="en-US" sz="1100"/>
                <a:t>take place after FPFV,</a:t>
              </a:r>
              <a:r>
                <a:rPr lang="en-DK" sz="1100"/>
                <a:t> to enable a </a:t>
              </a:r>
              <a:r>
                <a:rPr lang="en-US" sz="1100"/>
                <a:t>comprehensive discussion </a:t>
              </a:r>
              <a:r>
                <a:rPr lang="en-DK" sz="1100"/>
                <a:t>of</a:t>
              </a:r>
              <a:r>
                <a:rPr lang="en-US" sz="1100"/>
                <a:t> the study design and development strategy</a:t>
              </a:r>
              <a:endParaRPr lang="en-DK" sz="1100"/>
            </a:p>
          </p:txBody>
        </p:sp>
      </p:grpSp>
    </p:spTree>
    <p:extLst>
      <p:ext uri="{BB962C8B-B14F-4D97-AF65-F5344CB8AC3E}">
        <p14:creationId xmlns:p14="http://schemas.microsoft.com/office/powerpoint/2010/main" val="41368248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C67E85F4-4F44-8A3D-5EA0-60199E6DF934}"/>
              </a:ext>
            </a:extLst>
          </p:cNvPr>
          <p:cNvPicPr>
            <a:picLocks noChangeAspect="1"/>
          </p:cNvPicPr>
          <p:nvPr/>
        </p:nvPicPr>
        <p:blipFill>
          <a:blip r:embed="rId4">
            <a:extLst>
              <a:ext uri="{28A0092B-C50C-407E-A947-70E740481C1C}">
                <a14:useLocalDpi xmlns:a14="http://schemas.microsoft.com/office/drawing/2010/main" val="0"/>
              </a:ext>
            </a:extLst>
          </a:blip>
          <a:srcRect t="6894" r="11817" b="18711"/>
          <a:stretch>
            <a:fillRect/>
          </a:stretch>
        </p:blipFill>
        <p:spPr>
          <a:xfrm>
            <a:off x="0" y="0"/>
            <a:ext cx="12193587" cy="6858000"/>
          </a:xfrm>
          <a:prstGeom prst="rect">
            <a:avLst/>
          </a:prstGeom>
        </p:spPr>
      </p:pic>
      <p:sp>
        <p:nvSpPr>
          <p:cNvPr id="2" name="Rectangle 1">
            <a:extLst>
              <a:ext uri="{FF2B5EF4-FFF2-40B4-BE49-F238E27FC236}">
                <a16:creationId xmlns:a16="http://schemas.microsoft.com/office/drawing/2014/main" id="{4F64EBDF-8E20-047A-B88C-76D2762DCBA5}"/>
              </a:ext>
            </a:extLst>
          </p:cNvPr>
          <p:cNvSpPr/>
          <p:nvPr/>
        </p:nvSpPr>
        <p:spPr>
          <a:xfrm>
            <a:off x="-9840" y="0"/>
            <a:ext cx="12203428" cy="6858000"/>
          </a:xfrm>
          <a:prstGeom prst="rect">
            <a:avLst/>
          </a:prstGeom>
          <a:solidFill>
            <a:schemeClr val="tx1">
              <a:alpha val="3521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35943CE5-DF6C-3723-FB82-961A3A76A9A3}"/>
              </a:ext>
            </a:extLst>
          </p:cNvPr>
          <p:cNvSpPr/>
          <p:nvPr/>
        </p:nvSpPr>
        <p:spPr>
          <a:xfrm>
            <a:off x="-32446" y="-64009"/>
            <a:ext cx="12226034" cy="6922009"/>
          </a:xfrm>
          <a:prstGeom prst="rect">
            <a:avLst/>
          </a:prstGeom>
          <a:gradFill flip="none" rotWithShape="1">
            <a:gsLst>
              <a:gs pos="2000">
                <a:schemeClr val="tx1">
                  <a:alpha val="37630"/>
                </a:schemeClr>
              </a:gs>
              <a:gs pos="54000">
                <a:schemeClr val="accent4">
                  <a:alpha val="0"/>
                  <a:lumMod val="0"/>
                  <a:lumOff val="100000"/>
                </a:scheme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4" name="Object 3" hidden="1">
            <a:extLst>
              <a:ext uri="{FF2B5EF4-FFF2-40B4-BE49-F238E27FC236}">
                <a16:creationId xmlns:a16="http://schemas.microsoft.com/office/drawing/2014/main" id="{795408F0-4035-3990-92D8-1ED4C889CA68}"/>
              </a:ext>
            </a:extLst>
          </p:cNvPr>
          <p:cNvGraphicFramePr>
            <a:graphicFrameLocks/>
          </p:cNvGraphicFramePr>
          <p:nvPr>
            <p:custDataLst>
              <p:tags r:id="rId1"/>
            </p:custDataLst>
            <p:extLst>
              <p:ext uri="{D42A27DB-BD31-4B8C-83A1-F6EECF244321}">
                <p14:modId xmlns:p14="http://schemas.microsoft.com/office/powerpoint/2010/main" val="409872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4" name="Object 3" hidden="1">
                        <a:extLst>
                          <a:ext uri="{FF2B5EF4-FFF2-40B4-BE49-F238E27FC236}">
                            <a16:creationId xmlns:a16="http://schemas.microsoft.com/office/drawing/2014/main" id="{795408F0-4035-3990-92D8-1ED4C889CA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 name="TextBox 37">
            <a:extLst>
              <a:ext uri="{FF2B5EF4-FFF2-40B4-BE49-F238E27FC236}">
                <a16:creationId xmlns:a16="http://schemas.microsoft.com/office/drawing/2014/main" id="{9224C904-0579-2762-03CD-05B14A5AAABD}"/>
              </a:ext>
            </a:extLst>
          </p:cNvPr>
          <p:cNvSpPr txBox="1"/>
          <p:nvPr/>
        </p:nvSpPr>
        <p:spPr>
          <a:xfrm>
            <a:off x="11594381" y="6399575"/>
            <a:ext cx="276027" cy="153888"/>
          </a:xfrm>
          <a:prstGeom prst="rect">
            <a:avLst/>
          </a:prstGeom>
          <a:noFill/>
        </p:spPr>
        <p:txBody>
          <a:bodyPr wrap="square" lIns="0" tIns="0" rIns="0" bIns="0"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fld id="{27692F5A-FC14-4E83-B4CC-18F6C2D780A4}" type="slidenum">
              <a:rPr kumimoji="0" lang="en-US" sz="1000" b="0" i="0" u="none" strike="noStrike" kern="1200" cap="none" spc="40" normalizeH="0" baseline="0" noProof="0" smtClean="0">
                <a:ln>
                  <a:noFill/>
                </a:ln>
                <a:solidFill>
                  <a:srgbClr val="FFFFFF"/>
                </a:solidFill>
                <a:effectLst/>
                <a:uLnTx/>
                <a:uFillTx/>
                <a:latin typeface="Avenir Next LT Pro" panose="020B0504020202020204" pitchFamily="34" charset="77"/>
                <a:ea typeface="+mn-ea"/>
                <a:cs typeface="+mn-cs"/>
              </a:rPr>
              <a:pPr marL="0" marR="0" lvl="0" indent="0" algn="r" defTabSz="914446" rtl="0" eaLnBrk="1" fontAlgn="auto" latinLnBrk="0" hangingPunct="1">
                <a:lnSpc>
                  <a:spcPct val="100000"/>
                </a:lnSpc>
                <a:spcBef>
                  <a:spcPts val="0"/>
                </a:spcBef>
                <a:spcAft>
                  <a:spcPts val="0"/>
                </a:spcAft>
                <a:buClrTx/>
                <a:buSzTx/>
                <a:buFontTx/>
                <a:buNone/>
                <a:tabLst/>
                <a:defRPr/>
              </a:pPr>
              <a:t>25</a:t>
            </a:fld>
            <a:endParaRPr kumimoji="0" lang="en-US" sz="1000" b="0" i="0" u="none" strike="noStrike" kern="1200" cap="none" spc="40" normalizeH="0" baseline="0" noProof="0">
              <a:ln>
                <a:noFill/>
              </a:ln>
              <a:solidFill>
                <a:srgbClr val="FFFFFF"/>
              </a:solidFill>
              <a:effectLst/>
              <a:uLnTx/>
              <a:uFillTx/>
              <a:latin typeface="Avenir Next LT Pro" panose="020B0504020202020204" pitchFamily="34" charset="77"/>
              <a:ea typeface="+mn-ea"/>
              <a:cs typeface="+mn-cs"/>
            </a:endParaRPr>
          </a:p>
        </p:txBody>
      </p:sp>
      <p:sp>
        <p:nvSpPr>
          <p:cNvPr id="12" name="Rectangle 11">
            <a:extLst>
              <a:ext uri="{FF2B5EF4-FFF2-40B4-BE49-F238E27FC236}">
                <a16:creationId xmlns:a16="http://schemas.microsoft.com/office/drawing/2014/main" id="{10A1BA0A-6EAE-3D3F-B17F-F686C3B8842F}"/>
              </a:ext>
            </a:extLst>
          </p:cNvPr>
          <p:cNvSpPr/>
          <p:nvPr/>
        </p:nvSpPr>
        <p:spPr>
          <a:xfrm>
            <a:off x="1439199" y="3552023"/>
            <a:ext cx="10714352" cy="24296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46" rtl="0" eaLnBrk="1" fontAlgn="auto" latinLnBrk="0" hangingPunct="1">
              <a:lnSpc>
                <a:spcPct val="100000"/>
              </a:lnSpc>
              <a:spcBef>
                <a:spcPts val="0"/>
              </a:spcBef>
              <a:spcAft>
                <a:spcPts val="180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Ambitious First-In-Human </a:t>
            </a:r>
            <a:r>
              <a:rPr kumimoji="0" lang="en-DK" sz="20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Phase 1/2a </a:t>
            </a:r>
            <a:r>
              <a:rPr kumimoji="0" lang="en-US" sz="20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trial enrolling ~188 participants</a:t>
            </a:r>
          </a:p>
          <a:p>
            <a:pPr marL="0" marR="0" lvl="0" indent="0" algn="l" defTabSz="914446" rtl="0" eaLnBrk="1" fontAlgn="auto" latinLnBrk="0" hangingPunct="1">
              <a:lnSpc>
                <a:spcPct val="100000"/>
              </a:lnSpc>
              <a:spcBef>
                <a:spcPts val="0"/>
              </a:spcBef>
              <a:spcAft>
                <a:spcPts val="1800"/>
              </a:spcAft>
              <a:buClrTx/>
              <a:buSzTx/>
              <a:buFontTx/>
              <a:buNone/>
              <a:tabLst/>
              <a:defRPr/>
            </a:pPr>
            <a:r>
              <a:rPr kumimoji="0" lang="en-DK" sz="20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E</a:t>
            </a:r>
            <a:r>
              <a:rPr kumimoji="0" lang="en-US" sz="20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valuate</a:t>
            </a:r>
            <a:r>
              <a:rPr kumimoji="0" lang="en-DK" sz="20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s</a:t>
            </a:r>
            <a:r>
              <a:rPr kumimoji="0" lang="en-US" sz="20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safety, tolerability, pharmacokinetics, and preliminary efficacy</a:t>
            </a:r>
          </a:p>
          <a:p>
            <a:pPr marL="0" marR="0" lvl="0" indent="0" algn="l" defTabSz="914446" rtl="0" eaLnBrk="1" fontAlgn="auto" latinLnBrk="0" hangingPunct="1">
              <a:lnSpc>
                <a:spcPct val="100000"/>
              </a:lnSpc>
              <a:spcBef>
                <a:spcPts val="0"/>
              </a:spcBef>
              <a:spcAft>
                <a:spcPts val="1800"/>
              </a:spcAft>
              <a:buClrTx/>
              <a:buSzTx/>
              <a:buFontTx/>
              <a:buNone/>
              <a:tabLst/>
              <a:defRPr/>
            </a:pPr>
            <a:r>
              <a:rPr kumimoji="0" lang="en-DK" sz="20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F</a:t>
            </a:r>
            <a:r>
              <a:rPr kumimoji="0" lang="en-US" sz="2000" b="1" i="0" u="none" strike="noStrike" kern="1200" cap="none" spc="0" normalizeH="0" baseline="0" noProof="0" err="1">
                <a:ln>
                  <a:noFill/>
                </a:ln>
                <a:solidFill>
                  <a:srgbClr val="FFFFFF"/>
                </a:solidFill>
                <a:effectLst/>
                <a:uLnTx/>
                <a:uFillTx/>
                <a:latin typeface="Avenir Next LT Pro Demi" panose="020B0504020202020204" pitchFamily="34" charset="77"/>
                <a:ea typeface="+mn-ea"/>
                <a:cs typeface="+mn-cs"/>
              </a:rPr>
              <a:t>ocus</a:t>
            </a:r>
            <a:r>
              <a:rPr kumimoji="0" lang="en-DK" sz="20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es</a:t>
            </a:r>
            <a:r>
              <a:rPr kumimoji="0" lang="en-US" sz="20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on muscle volume and</a:t>
            </a:r>
            <a:r>
              <a:rPr kumimoji="0" lang="en-DK" sz="20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muscle</a:t>
            </a:r>
            <a:r>
              <a:rPr kumimoji="0" lang="en-US" sz="20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function endpoints</a:t>
            </a:r>
          </a:p>
          <a:p>
            <a:pPr marL="0" marR="0" lvl="0" indent="0" algn="l" defTabSz="914446" rtl="0" eaLnBrk="1" fontAlgn="auto" latinLnBrk="0" hangingPunct="1">
              <a:lnSpc>
                <a:spcPct val="100000"/>
              </a:lnSpc>
              <a:spcBef>
                <a:spcPts val="0"/>
              </a:spcBef>
              <a:spcAft>
                <a:spcPts val="1800"/>
              </a:spcAft>
              <a:buClrTx/>
              <a:buSzTx/>
              <a:buFontTx/>
              <a:buNone/>
              <a:tabLst/>
              <a:defRPr/>
            </a:pPr>
            <a:r>
              <a:rPr lang="en-DK" sz="2000" b="1">
                <a:solidFill>
                  <a:srgbClr val="FFFFFF"/>
                </a:solidFill>
                <a:latin typeface="Avenir Next LT Pro Demi" panose="020B0504020202020204" pitchFamily="34" charset="77"/>
              </a:rPr>
              <a:t>I</a:t>
            </a:r>
            <a:r>
              <a:rPr lang="en-US" sz="2000" b="1" err="1">
                <a:solidFill>
                  <a:srgbClr val="FFFFFF"/>
                </a:solidFill>
                <a:latin typeface="Avenir Next LT Pro Demi" panose="020B0504020202020204" pitchFamily="34" charset="77"/>
              </a:rPr>
              <a:t>nvestigate</a:t>
            </a:r>
            <a:r>
              <a:rPr lang="en-DK" sz="2000" b="1">
                <a:solidFill>
                  <a:srgbClr val="FFFFFF"/>
                </a:solidFill>
                <a:latin typeface="Avenir Next LT Pro Demi" panose="020B0504020202020204" pitchFamily="34" charset="77"/>
              </a:rPr>
              <a:t>s</a:t>
            </a:r>
            <a:r>
              <a:rPr lang="en-US" sz="2000" b="1">
                <a:solidFill>
                  <a:srgbClr val="FFFFFF"/>
                </a:solidFill>
                <a:latin typeface="Avenir Next LT Pro Demi" panose="020B0504020202020204" pitchFamily="34" charset="77"/>
              </a:rPr>
              <a:t> </a:t>
            </a:r>
            <a:r>
              <a:rPr lang="en-DK" sz="2000" b="1">
                <a:solidFill>
                  <a:srgbClr val="FFFFFF"/>
                </a:solidFill>
                <a:latin typeface="Avenir Next LT Pro Demi" panose="020B0504020202020204" pitchFamily="34" charset="77"/>
              </a:rPr>
              <a:t>GUB-</a:t>
            </a:r>
            <a:r>
              <a:rPr lang="en-US" sz="2000" b="1">
                <a:solidFill>
                  <a:srgbClr val="FFFFFF"/>
                </a:solidFill>
                <a:latin typeface="Avenir Next LT Pro Demi" panose="020B0504020202020204" pitchFamily="34" charset="77"/>
              </a:rPr>
              <a:t>UCN2 as monotherapy and </a:t>
            </a:r>
            <a:r>
              <a:rPr lang="en-DK" sz="2000" b="1">
                <a:solidFill>
                  <a:srgbClr val="FFFFFF"/>
                </a:solidFill>
                <a:latin typeface="Avenir Next LT Pro Demi" panose="020B0504020202020204" pitchFamily="34" charset="77"/>
              </a:rPr>
              <a:t>in </a:t>
            </a:r>
            <a:r>
              <a:rPr lang="en-US" sz="2000" b="1">
                <a:solidFill>
                  <a:srgbClr val="FFFFFF"/>
                </a:solidFill>
                <a:latin typeface="Avenir Next LT Pro Demi" panose="020B0504020202020204" pitchFamily="34" charset="77"/>
              </a:rPr>
              <a:t>combination with incretin</a:t>
            </a:r>
            <a:endParaRPr kumimoji="0" lang="en-US" sz="20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sp>
        <p:nvSpPr>
          <p:cNvPr id="6" name="Title 1">
            <a:extLst>
              <a:ext uri="{FF2B5EF4-FFF2-40B4-BE49-F238E27FC236}">
                <a16:creationId xmlns:a16="http://schemas.microsoft.com/office/drawing/2014/main" id="{C91C81B0-436B-7170-EC71-3E3981CC40CC}"/>
              </a:ext>
            </a:extLst>
          </p:cNvPr>
          <p:cNvSpPr txBox="1">
            <a:spLocks/>
          </p:cNvSpPr>
          <p:nvPr/>
        </p:nvSpPr>
        <p:spPr>
          <a:xfrm>
            <a:off x="995749" y="2197982"/>
            <a:ext cx="11220141" cy="969496"/>
          </a:xfrm>
          <a:prstGeom prst="rect">
            <a:avLst/>
          </a:prstGeom>
        </p:spPr>
        <p:txBody>
          <a:bodyPr vert="horz" wrap="square" lIns="0" tIns="0" rIns="0" bIns="0" rtlCol="0" anchor="t" anchorCtr="0">
            <a:spAutoFit/>
          </a:bodyPr>
          <a:lstStyle>
            <a:lvl1pPr algn="l" defTabSz="914377" rtl="0" eaLnBrk="1" latinLnBrk="0" hangingPunct="1">
              <a:lnSpc>
                <a:spcPct val="90000"/>
              </a:lnSpc>
              <a:spcBef>
                <a:spcPct val="0"/>
              </a:spcBef>
              <a:buNone/>
              <a:defRPr sz="3400" b="1" i="0" kern="1200">
                <a:solidFill>
                  <a:schemeClr val="accent2"/>
                </a:solidFill>
                <a:latin typeface="Avenir Next LT Pro" panose="020B0504020202020204" pitchFamily="34" charset="77"/>
                <a:ea typeface="Avenir Next LT Pro" panose="020B0504020202020204" pitchFamily="34" charset="77"/>
                <a:cs typeface="Avenir Next LT Pro" panose="020B0504020202020204" pitchFamily="34" charset="77"/>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DK" sz="3500" b="1" i="0" u="none" strike="noStrike" kern="1200" cap="none" spc="0" normalizeH="0" baseline="0" noProof="0">
                <a:ln>
                  <a:noFill/>
                </a:ln>
                <a:solidFill>
                  <a:srgbClr val="FFFFFF"/>
                </a:solidFill>
                <a:effectLst/>
                <a:uLnTx/>
                <a:uFillTx/>
                <a:latin typeface="Avenir Next LT Pro" panose="020B0504020202020204" pitchFamily="34" charset="77"/>
              </a:rPr>
              <a:t>GUB-</a:t>
            </a:r>
            <a:r>
              <a:rPr kumimoji="0" lang="en-GB" sz="3500" b="1" i="0" u="none" strike="noStrike" kern="1200" cap="none" spc="0" normalizeH="0" baseline="0" noProof="0">
                <a:ln>
                  <a:noFill/>
                </a:ln>
                <a:solidFill>
                  <a:srgbClr val="FFFFFF"/>
                </a:solidFill>
                <a:effectLst/>
                <a:uLnTx/>
                <a:uFillTx/>
                <a:latin typeface="Avenir Next LT Pro" panose="020B0504020202020204" pitchFamily="34" charset="77"/>
              </a:rPr>
              <a:t>UCN2: </a:t>
            </a:r>
            <a:br>
              <a:rPr kumimoji="0" lang="en-GB" sz="3500" b="1" i="0" u="none" strike="noStrike" kern="1200" cap="none" spc="0" normalizeH="0" baseline="0" noProof="0">
                <a:ln>
                  <a:noFill/>
                </a:ln>
                <a:solidFill>
                  <a:srgbClr val="FFFFFF"/>
                </a:solidFill>
                <a:effectLst/>
                <a:uLnTx/>
                <a:uFillTx/>
                <a:latin typeface="Avenir Next LT Pro" panose="020B0504020202020204" pitchFamily="34" charset="77"/>
              </a:rPr>
            </a:br>
            <a:r>
              <a:rPr kumimoji="0" lang="en-DK" sz="3500" b="1" i="0" u="none" strike="noStrike" kern="1200" cap="none" spc="0" normalizeH="0" baseline="0" noProof="0">
                <a:ln>
                  <a:noFill/>
                </a:ln>
                <a:solidFill>
                  <a:srgbClr val="FFFFFF"/>
                </a:solidFill>
                <a:effectLst/>
                <a:uLnTx/>
                <a:uFillTx/>
                <a:latin typeface="Avenir Next LT Pro" panose="020B0504020202020204" pitchFamily="34" charset="77"/>
              </a:rPr>
              <a:t>CTA successfully submitted</a:t>
            </a:r>
            <a:r>
              <a:rPr kumimoji="0" lang="en-GB" sz="3500" b="1" i="0" u="none" strike="noStrike" kern="1200" cap="none" spc="0" normalizeH="0" baseline="0" noProof="0">
                <a:ln>
                  <a:noFill/>
                </a:ln>
                <a:solidFill>
                  <a:srgbClr val="FFFFFF"/>
                </a:solidFill>
                <a:effectLst/>
                <a:uLnTx/>
                <a:uFillTx/>
                <a:latin typeface="Avenir Next LT Pro" panose="020B0504020202020204" pitchFamily="34" charset="77"/>
              </a:rPr>
              <a:t> for Phase 1/2a trial</a:t>
            </a:r>
          </a:p>
        </p:txBody>
      </p:sp>
      <p:grpSp>
        <p:nvGrpSpPr>
          <p:cNvPr id="9" name="Group 8">
            <a:extLst>
              <a:ext uri="{FF2B5EF4-FFF2-40B4-BE49-F238E27FC236}">
                <a16:creationId xmlns:a16="http://schemas.microsoft.com/office/drawing/2014/main" id="{07AFE3C2-49DB-DFA3-66D2-4EFCBD7C64D3}"/>
              </a:ext>
            </a:extLst>
          </p:cNvPr>
          <p:cNvGrpSpPr>
            <a:grpSpLocks noChangeAspect="1"/>
          </p:cNvGrpSpPr>
          <p:nvPr/>
        </p:nvGrpSpPr>
        <p:grpSpPr>
          <a:xfrm>
            <a:off x="976817" y="3590460"/>
            <a:ext cx="324000" cy="324000"/>
            <a:chOff x="546852" y="2007591"/>
            <a:chExt cx="386797" cy="386797"/>
          </a:xfrm>
          <a:solidFill>
            <a:schemeClr val="tx2"/>
          </a:solidFill>
        </p:grpSpPr>
        <p:sp>
          <p:nvSpPr>
            <p:cNvPr id="10" name="Oval 9">
              <a:extLst>
                <a:ext uri="{FF2B5EF4-FFF2-40B4-BE49-F238E27FC236}">
                  <a16:creationId xmlns:a16="http://schemas.microsoft.com/office/drawing/2014/main" id="{03D8F950-DA35-DF57-7831-837A57B5D0FC}"/>
                </a:ext>
              </a:extLst>
            </p:cNvPr>
            <p:cNvSpPr/>
            <p:nvPr/>
          </p:nvSpPr>
          <p:spPr>
            <a:xfrm>
              <a:off x="546852" y="2007591"/>
              <a:ext cx="386797" cy="38679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endParaRPr>
            </a:p>
          </p:txBody>
        </p:sp>
        <p:pic>
          <p:nvPicPr>
            <p:cNvPr id="11" name="Graphic 10" descr="Checkmark">
              <a:extLst>
                <a:ext uri="{FF2B5EF4-FFF2-40B4-BE49-F238E27FC236}">
                  <a16:creationId xmlns:a16="http://schemas.microsoft.com/office/drawing/2014/main" id="{8E6857EA-3180-7B0F-FC73-B6C3E5A07992}"/>
                </a:ext>
              </a:extLst>
            </p:cNvPr>
            <p:cNvPicPr>
              <a:picLocks noChangeAspect="1"/>
            </p:cNvPicPr>
            <p:nvPr/>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7838" y="2064253"/>
              <a:ext cx="191269" cy="283657"/>
            </a:xfrm>
            <a:prstGeom prst="rect">
              <a:avLst/>
            </a:prstGeom>
          </p:spPr>
        </p:pic>
      </p:grpSp>
      <p:pic>
        <p:nvPicPr>
          <p:cNvPr id="8" name="Picture 7">
            <a:extLst>
              <a:ext uri="{FF2B5EF4-FFF2-40B4-BE49-F238E27FC236}">
                <a16:creationId xmlns:a16="http://schemas.microsoft.com/office/drawing/2014/main" id="{7394933E-8534-134E-6F10-25BA86EBAB77}"/>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grpSp>
        <p:nvGrpSpPr>
          <p:cNvPr id="3" name="Group 2">
            <a:extLst>
              <a:ext uri="{FF2B5EF4-FFF2-40B4-BE49-F238E27FC236}">
                <a16:creationId xmlns:a16="http://schemas.microsoft.com/office/drawing/2014/main" id="{9B5CBD33-1FA1-48D7-9F15-D5787AC2CFA3}"/>
              </a:ext>
            </a:extLst>
          </p:cNvPr>
          <p:cNvGrpSpPr>
            <a:grpSpLocks noChangeAspect="1"/>
          </p:cNvGrpSpPr>
          <p:nvPr/>
        </p:nvGrpSpPr>
        <p:grpSpPr>
          <a:xfrm>
            <a:off x="976817" y="4149260"/>
            <a:ext cx="324000" cy="324000"/>
            <a:chOff x="546852" y="2007591"/>
            <a:chExt cx="386797" cy="386797"/>
          </a:xfrm>
          <a:solidFill>
            <a:schemeClr val="tx2"/>
          </a:solidFill>
        </p:grpSpPr>
        <p:sp>
          <p:nvSpPr>
            <p:cNvPr id="5" name="Oval 4">
              <a:extLst>
                <a:ext uri="{FF2B5EF4-FFF2-40B4-BE49-F238E27FC236}">
                  <a16:creationId xmlns:a16="http://schemas.microsoft.com/office/drawing/2014/main" id="{920F5435-B533-6D0F-280D-0FD79F3F1E84}"/>
                </a:ext>
              </a:extLst>
            </p:cNvPr>
            <p:cNvSpPr/>
            <p:nvPr/>
          </p:nvSpPr>
          <p:spPr>
            <a:xfrm>
              <a:off x="546852" y="2007591"/>
              <a:ext cx="386797" cy="38679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endParaRPr>
            </a:p>
          </p:txBody>
        </p:sp>
        <p:pic>
          <p:nvPicPr>
            <p:cNvPr id="7" name="Graphic 6" descr="Checkmark">
              <a:extLst>
                <a:ext uri="{FF2B5EF4-FFF2-40B4-BE49-F238E27FC236}">
                  <a16:creationId xmlns:a16="http://schemas.microsoft.com/office/drawing/2014/main" id="{B52A7BCF-5C2F-E40B-8174-42A214E2D2AC}"/>
                </a:ext>
              </a:extLst>
            </p:cNvPr>
            <p:cNvPicPr>
              <a:picLocks noChangeAspect="1"/>
            </p:cNvPicPr>
            <p:nvPr/>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7838" y="2064253"/>
              <a:ext cx="191269" cy="283657"/>
            </a:xfrm>
            <a:prstGeom prst="rect">
              <a:avLst/>
            </a:prstGeom>
          </p:spPr>
        </p:pic>
      </p:grpSp>
      <p:grpSp>
        <p:nvGrpSpPr>
          <p:cNvPr id="19" name="Group 18">
            <a:extLst>
              <a:ext uri="{FF2B5EF4-FFF2-40B4-BE49-F238E27FC236}">
                <a16:creationId xmlns:a16="http://schemas.microsoft.com/office/drawing/2014/main" id="{0DE5C119-E7F2-FB41-C3B8-03272D0EF8C2}"/>
              </a:ext>
            </a:extLst>
          </p:cNvPr>
          <p:cNvGrpSpPr>
            <a:grpSpLocks noChangeAspect="1"/>
          </p:cNvGrpSpPr>
          <p:nvPr/>
        </p:nvGrpSpPr>
        <p:grpSpPr>
          <a:xfrm>
            <a:off x="976817" y="4669960"/>
            <a:ext cx="324000" cy="324000"/>
            <a:chOff x="546852" y="2007591"/>
            <a:chExt cx="386797" cy="386797"/>
          </a:xfrm>
          <a:solidFill>
            <a:schemeClr val="tx2"/>
          </a:solidFill>
        </p:grpSpPr>
        <p:sp>
          <p:nvSpPr>
            <p:cNvPr id="20" name="Oval 19">
              <a:extLst>
                <a:ext uri="{FF2B5EF4-FFF2-40B4-BE49-F238E27FC236}">
                  <a16:creationId xmlns:a16="http://schemas.microsoft.com/office/drawing/2014/main" id="{24281739-CF8A-D41C-0AEC-0BA3FE9CBC7A}"/>
                </a:ext>
              </a:extLst>
            </p:cNvPr>
            <p:cNvSpPr/>
            <p:nvPr/>
          </p:nvSpPr>
          <p:spPr>
            <a:xfrm>
              <a:off x="546852" y="2007591"/>
              <a:ext cx="386797" cy="38679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endParaRPr>
            </a:p>
          </p:txBody>
        </p:sp>
        <p:pic>
          <p:nvPicPr>
            <p:cNvPr id="21" name="Graphic 20" descr="Checkmark">
              <a:extLst>
                <a:ext uri="{FF2B5EF4-FFF2-40B4-BE49-F238E27FC236}">
                  <a16:creationId xmlns:a16="http://schemas.microsoft.com/office/drawing/2014/main" id="{CD0307EB-9961-D3E5-AC3C-56B5DE55CDB2}"/>
                </a:ext>
              </a:extLst>
            </p:cNvPr>
            <p:cNvPicPr>
              <a:picLocks noChangeAspect="1"/>
            </p:cNvPicPr>
            <p:nvPr/>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7838" y="2064253"/>
              <a:ext cx="191269" cy="283657"/>
            </a:xfrm>
            <a:prstGeom prst="rect">
              <a:avLst/>
            </a:prstGeom>
          </p:spPr>
        </p:pic>
      </p:grpSp>
      <p:grpSp>
        <p:nvGrpSpPr>
          <p:cNvPr id="25" name="Group 24">
            <a:extLst>
              <a:ext uri="{FF2B5EF4-FFF2-40B4-BE49-F238E27FC236}">
                <a16:creationId xmlns:a16="http://schemas.microsoft.com/office/drawing/2014/main" id="{8270121F-1DE5-6CFE-4436-1BC3D7CC4807}"/>
              </a:ext>
            </a:extLst>
          </p:cNvPr>
          <p:cNvGrpSpPr>
            <a:grpSpLocks noChangeAspect="1"/>
          </p:cNvGrpSpPr>
          <p:nvPr/>
        </p:nvGrpSpPr>
        <p:grpSpPr>
          <a:xfrm>
            <a:off x="976817" y="5203360"/>
            <a:ext cx="324000" cy="324000"/>
            <a:chOff x="546852" y="2007591"/>
            <a:chExt cx="386797" cy="386797"/>
          </a:xfrm>
          <a:solidFill>
            <a:schemeClr val="tx2"/>
          </a:solidFill>
        </p:grpSpPr>
        <p:sp>
          <p:nvSpPr>
            <p:cNvPr id="26" name="Oval 25">
              <a:extLst>
                <a:ext uri="{FF2B5EF4-FFF2-40B4-BE49-F238E27FC236}">
                  <a16:creationId xmlns:a16="http://schemas.microsoft.com/office/drawing/2014/main" id="{F73DFF4D-6293-DECB-B4BF-44251F0C820D}"/>
                </a:ext>
              </a:extLst>
            </p:cNvPr>
            <p:cNvSpPr/>
            <p:nvPr/>
          </p:nvSpPr>
          <p:spPr>
            <a:xfrm>
              <a:off x="546852" y="2007591"/>
              <a:ext cx="386797" cy="38679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endParaRPr>
            </a:p>
          </p:txBody>
        </p:sp>
        <p:pic>
          <p:nvPicPr>
            <p:cNvPr id="27" name="Graphic 26" descr="Checkmark">
              <a:extLst>
                <a:ext uri="{FF2B5EF4-FFF2-40B4-BE49-F238E27FC236}">
                  <a16:creationId xmlns:a16="http://schemas.microsoft.com/office/drawing/2014/main" id="{384045BD-AC2C-6EB5-8DD6-6232966F0876}"/>
                </a:ext>
              </a:extLst>
            </p:cNvPr>
            <p:cNvPicPr>
              <a:picLocks noChangeAspect="1"/>
            </p:cNvPicPr>
            <p:nvPr/>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7838" y="2064253"/>
              <a:ext cx="191269" cy="283657"/>
            </a:xfrm>
            <a:prstGeom prst="rect">
              <a:avLst/>
            </a:prstGeom>
          </p:spPr>
        </p:pic>
      </p:grpSp>
      <p:sp>
        <p:nvSpPr>
          <p:cNvPr id="14" name="Rounded Rectangle 44">
            <a:extLst>
              <a:ext uri="{FF2B5EF4-FFF2-40B4-BE49-F238E27FC236}">
                <a16:creationId xmlns:a16="http://schemas.microsoft.com/office/drawing/2014/main" id="{892F9CAA-151A-6D0C-1953-CC6548297EA0}"/>
              </a:ext>
            </a:extLst>
          </p:cNvPr>
          <p:cNvSpPr/>
          <p:nvPr/>
        </p:nvSpPr>
        <p:spPr>
          <a:xfrm>
            <a:off x="566180" y="142571"/>
            <a:ext cx="912669" cy="288000"/>
          </a:xfrm>
          <a:prstGeom prst="roundRect">
            <a:avLst>
              <a:gd name="adj" fmla="val 50000"/>
            </a:avLst>
          </a:prstGeom>
          <a:solidFill>
            <a:schemeClr val="tx2">
              <a:alpha val="49757"/>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GB" sz="1200" b="1">
                <a:latin typeface="Avenir Next LT Pro Demi" panose="020B0504020202020204" pitchFamily="34" charset="77"/>
              </a:rPr>
              <a:t>UCN2</a:t>
            </a:r>
          </a:p>
        </p:txBody>
      </p:sp>
    </p:spTree>
    <p:extLst>
      <p:ext uri="{BB962C8B-B14F-4D97-AF65-F5344CB8AC3E}">
        <p14:creationId xmlns:p14="http://schemas.microsoft.com/office/powerpoint/2010/main" val="3646326074"/>
      </p:ext>
    </p:extLst>
  </p:cSld>
  <p:clrMapOvr>
    <a:masterClrMapping/>
  </p:clrMapOvr>
  <p:transition spd="slow">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A292FB-F3AE-2056-071B-C13260FB28D5}"/>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1C95D2-7C0A-BCAF-1743-8AA1323A7AB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E21C95D2-7C0A-BCAF-1743-8AA1323A7A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7E47C4EE-E6FA-6D45-D963-0140DFA90642}"/>
              </a:ext>
            </a:extLst>
          </p:cNvPr>
          <p:cNvPicPr>
            <a:picLocks noChangeAspect="1"/>
          </p:cNvPicPr>
          <p:nvPr/>
        </p:nvPicPr>
        <p:blipFill>
          <a:blip r:embed="rId5">
            <a:extLst>
              <a:ext uri="{28A0092B-C50C-407E-A947-70E740481C1C}">
                <a14:useLocalDpi xmlns:a14="http://schemas.microsoft.com/office/drawing/2010/main" val="0"/>
              </a:ext>
            </a:extLst>
          </a:blip>
          <a:srcRect t="16723" b="27142"/>
          <a:stretch>
            <a:fillRect/>
          </a:stretch>
        </p:blipFill>
        <p:spPr>
          <a:xfrm>
            <a:off x="-11658" y="0"/>
            <a:ext cx="12216903" cy="6858000"/>
          </a:xfrm>
          <a:prstGeom prst="rect">
            <a:avLst/>
          </a:prstGeom>
        </p:spPr>
      </p:pic>
      <p:sp>
        <p:nvSpPr>
          <p:cNvPr id="19" name="Rectangle 18">
            <a:extLst>
              <a:ext uri="{FF2B5EF4-FFF2-40B4-BE49-F238E27FC236}">
                <a16:creationId xmlns:a16="http://schemas.microsoft.com/office/drawing/2014/main" id="{E57CFDEA-209B-F8B9-619A-B875390FA40D}"/>
              </a:ext>
            </a:extLst>
          </p:cNvPr>
          <p:cNvSpPr/>
          <p:nvPr/>
        </p:nvSpPr>
        <p:spPr>
          <a:xfrm>
            <a:off x="-23316" y="0"/>
            <a:ext cx="12216903" cy="6858000"/>
          </a:xfrm>
          <a:prstGeom prst="rect">
            <a:avLst/>
          </a:prstGeom>
          <a:solidFill>
            <a:schemeClr val="tx1">
              <a:alpha val="852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2" name="Picture 1">
            <a:extLst>
              <a:ext uri="{FF2B5EF4-FFF2-40B4-BE49-F238E27FC236}">
                <a16:creationId xmlns:a16="http://schemas.microsoft.com/office/drawing/2014/main" id="{EE7201CD-4B60-7C71-E819-E4A38A251E25}"/>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
        <p:nvSpPr>
          <p:cNvPr id="7" name="Title 1">
            <a:extLst>
              <a:ext uri="{FF2B5EF4-FFF2-40B4-BE49-F238E27FC236}">
                <a16:creationId xmlns:a16="http://schemas.microsoft.com/office/drawing/2014/main" id="{7F6F59EB-310D-159B-D6B0-F60444764285}"/>
              </a:ext>
            </a:extLst>
          </p:cNvPr>
          <p:cNvSpPr txBox="1">
            <a:spLocks/>
          </p:cNvSpPr>
          <p:nvPr/>
        </p:nvSpPr>
        <p:spPr>
          <a:xfrm>
            <a:off x="-11657" y="2546193"/>
            <a:ext cx="12190919" cy="1002023"/>
          </a:xfrm>
          <a:prstGeom prst="rect">
            <a:avLst/>
          </a:prstGeom>
        </p:spPr>
        <p:txBody>
          <a:bodyPr vert="horz" lIns="0" tIns="0" rIns="0" bIns="0"/>
          <a:lstStyle>
            <a:lvl1pPr algn="l" defTabSz="914400" rtl="0" eaLnBrk="1" latinLnBrk="0" hangingPunct="1">
              <a:lnSpc>
                <a:spcPct val="90000"/>
              </a:lnSpc>
              <a:spcBef>
                <a:spcPct val="0"/>
              </a:spcBef>
              <a:buNone/>
              <a:defRPr sz="4000" b="1" i="0" kern="1200">
                <a:solidFill>
                  <a:schemeClr val="bg1"/>
                </a:solidFill>
                <a:latin typeface="Avenir Next LT Pro" panose="020B0504020202020204" pitchFamily="34" charset="77"/>
                <a:ea typeface="+mj-ea"/>
                <a:cs typeface="+mj-cs"/>
              </a:defRPr>
            </a:lvl1pPr>
          </a:lstStyle>
          <a:p>
            <a:pPr lvl="0" algn="ctr">
              <a:spcAft>
                <a:spcPts val="600"/>
              </a:spcAft>
              <a:defRPr/>
            </a:pPr>
            <a:r>
              <a:rPr lang="en-US" sz="7600" spc="80" err="1">
                <a:solidFill>
                  <a:schemeClr val="tx1"/>
                </a:solidFill>
              </a:rPr>
              <a:t>Gubra</a:t>
            </a:r>
            <a:r>
              <a:rPr lang="en-US" sz="7600" spc="80">
                <a:solidFill>
                  <a:schemeClr val="tx1"/>
                </a:solidFill>
              </a:rPr>
              <a:t> Ventures</a:t>
            </a:r>
          </a:p>
        </p:txBody>
      </p:sp>
      <p:sp>
        <p:nvSpPr>
          <p:cNvPr id="9" name="TextBox 8">
            <a:extLst>
              <a:ext uri="{FF2B5EF4-FFF2-40B4-BE49-F238E27FC236}">
                <a16:creationId xmlns:a16="http://schemas.microsoft.com/office/drawing/2014/main" id="{782BC067-7B73-D9B3-2573-CB98099D3F31}"/>
              </a:ext>
            </a:extLst>
          </p:cNvPr>
          <p:cNvSpPr txBox="1"/>
          <p:nvPr/>
        </p:nvSpPr>
        <p:spPr>
          <a:xfrm>
            <a:off x="2384127" y="3487612"/>
            <a:ext cx="6247051" cy="584775"/>
          </a:xfrm>
          <a:prstGeom prst="rect">
            <a:avLst/>
          </a:prstGeom>
          <a:noFill/>
        </p:spPr>
        <p:txBody>
          <a:bodyPr wrap="square" rtlCol="0">
            <a:spAutoFit/>
          </a:bodyPr>
          <a:lstStyle/>
          <a:p>
            <a:r>
              <a:rPr lang="en-US" sz="3200">
                <a:latin typeface="Avenir Next LT Pro Demi" panose="020B0504020202020204" pitchFamily="34" charset="77"/>
              </a:rPr>
              <a:t>Ou</a:t>
            </a:r>
            <a:r>
              <a:rPr lang="en-DK" sz="3200">
                <a:latin typeface="Avenir Next LT Pro Demi" panose="020B0504020202020204" pitchFamily="34" charset="77"/>
              </a:rPr>
              <a:t>r value accelerator</a:t>
            </a:r>
            <a:endParaRPr lang="en-DK" sz="3200" b="1">
              <a:latin typeface="Avenir Next LT Pro Demi" panose="020B0504020202020204" pitchFamily="34" charset="77"/>
            </a:endParaRPr>
          </a:p>
        </p:txBody>
      </p:sp>
    </p:spTree>
    <p:extLst>
      <p:ext uri="{BB962C8B-B14F-4D97-AF65-F5344CB8AC3E}">
        <p14:creationId xmlns:p14="http://schemas.microsoft.com/office/powerpoint/2010/main" val="2776678040"/>
      </p:ext>
    </p:extLst>
  </p:cSld>
  <p:clrMapOvr>
    <a:masterClrMapping/>
  </p:clrMapOvr>
  <p:transition spd="slow">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7B2FCE-3F9D-66F2-E3A0-C1BA5EFB4E05}"/>
            </a:ext>
          </a:extLst>
        </p:cNvPr>
        <p:cNvGrpSpPr/>
        <p:nvPr/>
      </p:nvGrpSpPr>
      <p:grpSpPr>
        <a:xfrm>
          <a:off x="0" y="0"/>
          <a:ext cx="0" cy="0"/>
          <a:chOff x="0" y="0"/>
          <a:chExt cx="0" cy="0"/>
        </a:xfrm>
      </p:grpSpPr>
      <p:sp>
        <p:nvSpPr>
          <p:cNvPr id="30" name="Rectangle 29">
            <a:extLst>
              <a:ext uri="{FF2B5EF4-FFF2-40B4-BE49-F238E27FC236}">
                <a16:creationId xmlns:a16="http://schemas.microsoft.com/office/drawing/2014/main" id="{438BB28C-150B-6810-2811-85258233AA87}"/>
              </a:ext>
            </a:extLst>
          </p:cNvPr>
          <p:cNvSpPr/>
          <p:nvPr/>
        </p:nvSpPr>
        <p:spPr>
          <a:xfrm>
            <a:off x="6070613" y="1412876"/>
            <a:ext cx="6122974" cy="5445124"/>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4" name="Rectangle 93">
            <a:extLst>
              <a:ext uri="{FF2B5EF4-FFF2-40B4-BE49-F238E27FC236}">
                <a16:creationId xmlns:a16="http://schemas.microsoft.com/office/drawing/2014/main" id="{FB63AD6D-D497-97B2-1F13-E1870066A145}"/>
              </a:ext>
            </a:extLst>
          </p:cNvPr>
          <p:cNvSpPr>
            <a:spLocks/>
          </p:cNvSpPr>
          <p:nvPr/>
        </p:nvSpPr>
        <p:spPr>
          <a:xfrm>
            <a:off x="6450101" y="1796398"/>
            <a:ext cx="5307398" cy="5444233"/>
          </a:xfrm>
          <a:prstGeom prst="rect">
            <a:avLst/>
          </a:prstGeom>
          <a:noFill/>
          <a:ln w="9525">
            <a:noFill/>
            <a:prstDash val="solid"/>
          </a:ln>
        </p:spPr>
        <p:style>
          <a:lnRef idx="2">
            <a:schemeClr val="accent1">
              <a:shade val="15000"/>
            </a:schemeClr>
          </a:lnRef>
          <a:fillRef idx="1">
            <a:schemeClr val="accent1"/>
          </a:fillRef>
          <a:effectRef idx="0">
            <a:schemeClr val="accent1"/>
          </a:effectRef>
          <a:fontRef idx="minor">
            <a:schemeClr val="lt1"/>
          </a:fontRef>
        </p:style>
        <p:txBody>
          <a:bodyPr lIns="540000" tIns="468000" rIns="72000" bIns="360000" rtlCol="0" anchor="t"/>
          <a:lstStyle/>
          <a:p>
            <a:pPr algn="ctr" defTabSz="914173">
              <a:spcAft>
                <a:spcPts val="600"/>
              </a:spcAft>
              <a:defRPr/>
            </a:pPr>
            <a:endParaRPr lang="en-GB" sz="1400">
              <a:solidFill>
                <a:srgbClr val="001965">
                  <a:lumMod val="100000"/>
                </a:srgbClr>
              </a:solidFill>
              <a:latin typeface="Avenir Next LT Pro"/>
            </a:endParaRPr>
          </a:p>
          <a:p>
            <a:pPr algn="ctr" defTabSz="914173">
              <a:spcAft>
                <a:spcPts val="600"/>
              </a:spcAft>
              <a:defRPr/>
            </a:pPr>
            <a:endParaRPr lang="en-GB" sz="1400">
              <a:solidFill>
                <a:srgbClr val="001965">
                  <a:lumMod val="100000"/>
                </a:srgbClr>
              </a:solidFill>
              <a:latin typeface="Avenir Next LT Pro"/>
            </a:endParaRPr>
          </a:p>
          <a:p>
            <a:pPr algn="ctr" defTabSz="914173">
              <a:spcAft>
                <a:spcPts val="600"/>
              </a:spcAft>
              <a:defRPr/>
            </a:pPr>
            <a:endParaRPr lang="en-GB" sz="1400">
              <a:solidFill>
                <a:srgbClr val="001965">
                  <a:lumMod val="100000"/>
                </a:srgbClr>
              </a:solidFill>
              <a:latin typeface="Avenir Next LT Pro"/>
            </a:endParaRPr>
          </a:p>
          <a:p>
            <a:pPr algn="ctr" defTabSz="914173">
              <a:spcAft>
                <a:spcPts val="600"/>
              </a:spcAft>
              <a:defRPr/>
            </a:pPr>
            <a:endParaRPr lang="en-GB" sz="1400">
              <a:solidFill>
                <a:srgbClr val="001965">
                  <a:lumMod val="100000"/>
                </a:srgbClr>
              </a:solidFill>
              <a:latin typeface="Avenir Next LT Pro"/>
            </a:endParaRPr>
          </a:p>
          <a:p>
            <a:pPr marL="285750" indent="-285750" defTabSz="914173">
              <a:spcAft>
                <a:spcPts val="600"/>
              </a:spcAft>
              <a:buFont typeface="Arial" panose="020B0604020202020204" pitchFamily="34" charset="0"/>
              <a:buChar char="•"/>
              <a:defRPr/>
            </a:pPr>
            <a:endParaRPr lang="en-DK" sz="1400" b="1">
              <a:solidFill>
                <a:srgbClr val="001965">
                  <a:lumMod val="100000"/>
                </a:srgbClr>
              </a:solidFill>
              <a:latin typeface="Avenir Next LT Pro"/>
            </a:endParaRPr>
          </a:p>
          <a:p>
            <a:pPr marL="285750" indent="-285750" defTabSz="914173">
              <a:spcAft>
                <a:spcPts val="1800"/>
              </a:spcAft>
              <a:buFont typeface="Arial" panose="020B0604020202020204" pitchFamily="34" charset="0"/>
              <a:buChar char="•"/>
              <a:defRPr/>
            </a:pPr>
            <a:r>
              <a:rPr lang="en-DK" sz="1400">
                <a:solidFill>
                  <a:srgbClr val="001965">
                    <a:lumMod val="100000"/>
                  </a:srgbClr>
                </a:solidFill>
                <a:latin typeface="Avenir Next LT Pro"/>
              </a:rPr>
              <a:t>Strengthen </a:t>
            </a:r>
            <a:r>
              <a:rPr lang="en-GB" sz="1400" b="1">
                <a:solidFill>
                  <a:srgbClr val="001965">
                    <a:lumMod val="100000"/>
                  </a:srgbClr>
                </a:solidFill>
                <a:latin typeface="Avenir Next LT Pro Demi" panose="020B0504020202020204" pitchFamily="34" charset="77"/>
              </a:rPr>
              <a:t>innovation potential</a:t>
            </a:r>
            <a:r>
              <a:rPr lang="en-DK" sz="1400" b="1">
                <a:solidFill>
                  <a:srgbClr val="001965">
                    <a:lumMod val="100000"/>
                  </a:srgbClr>
                </a:solidFill>
                <a:latin typeface="Avenir Next LT Pro Demi" panose="020B0504020202020204" pitchFamily="34" charset="77"/>
              </a:rPr>
              <a:t> </a:t>
            </a:r>
            <a:r>
              <a:rPr lang="en-DK" sz="1400">
                <a:solidFill>
                  <a:srgbClr val="001965">
                    <a:lumMod val="100000"/>
                  </a:srgbClr>
                </a:solidFill>
                <a:latin typeface="Avenir Next LT Pro"/>
              </a:rPr>
              <a:t>and providing more “shots on goal”</a:t>
            </a:r>
          </a:p>
          <a:p>
            <a:pPr marL="285750" indent="-285750" defTabSz="914173">
              <a:spcAft>
                <a:spcPts val="1800"/>
              </a:spcAft>
              <a:buFont typeface="Arial" panose="020B0604020202020204" pitchFamily="34" charset="0"/>
              <a:buChar char="•"/>
              <a:defRPr/>
            </a:pPr>
            <a:r>
              <a:rPr lang="en-DK" sz="1400">
                <a:solidFill>
                  <a:srgbClr val="001965">
                    <a:lumMod val="100000"/>
                  </a:srgbClr>
                </a:solidFill>
                <a:latin typeface="Avenir Next LT Pro"/>
              </a:rPr>
              <a:t>Enable </a:t>
            </a:r>
            <a:r>
              <a:rPr lang="en-DK" sz="1400" b="1">
                <a:solidFill>
                  <a:srgbClr val="001965">
                    <a:lumMod val="100000"/>
                  </a:srgbClr>
                </a:solidFill>
                <a:latin typeface="Avenir Next LT Pro Demi" panose="020B0504020202020204" pitchFamily="34" charset="77"/>
              </a:rPr>
              <a:t>exploration of new disease or technology areas </a:t>
            </a:r>
            <a:r>
              <a:rPr lang="en-DK" sz="1400">
                <a:solidFill>
                  <a:srgbClr val="001965">
                    <a:lumMod val="100000"/>
                  </a:srgbClr>
                </a:solidFill>
                <a:latin typeface="Avenir Next LT Pro"/>
              </a:rPr>
              <a:t>beyond our current Biotech and CRO focus</a:t>
            </a:r>
            <a:endParaRPr lang="en-GB" sz="1400">
              <a:solidFill>
                <a:srgbClr val="001965">
                  <a:lumMod val="100000"/>
                </a:srgbClr>
              </a:solidFill>
              <a:latin typeface="Avenir Next LT Pro"/>
            </a:endParaRPr>
          </a:p>
          <a:p>
            <a:pPr marL="285750" indent="-285750" defTabSz="914173">
              <a:spcAft>
                <a:spcPts val="1800"/>
              </a:spcAft>
              <a:buFont typeface="Arial" panose="020B0604020202020204" pitchFamily="34" charset="0"/>
              <a:buChar char="•"/>
              <a:defRPr/>
            </a:pPr>
            <a:r>
              <a:rPr lang="en-DK" sz="1400">
                <a:solidFill>
                  <a:srgbClr val="001965">
                    <a:lumMod val="100000"/>
                  </a:srgbClr>
                </a:solidFill>
                <a:latin typeface="Avenir Next LT Pro"/>
              </a:rPr>
              <a:t>Provide additional</a:t>
            </a:r>
            <a:r>
              <a:rPr lang="en-GB" sz="1400">
                <a:solidFill>
                  <a:srgbClr val="001965">
                    <a:lumMod val="100000"/>
                  </a:srgbClr>
                </a:solidFill>
                <a:latin typeface="Avenir Next LT Pro"/>
              </a:rPr>
              <a:t> </a:t>
            </a:r>
            <a:r>
              <a:rPr lang="en-US" sz="1400" b="1">
                <a:solidFill>
                  <a:srgbClr val="001965">
                    <a:lumMod val="100000"/>
                  </a:srgbClr>
                </a:solidFill>
                <a:latin typeface="Avenir Next LT Pro Demi" panose="020B0504020202020204" pitchFamily="34" charset="77"/>
              </a:rPr>
              <a:t>return on investment </a:t>
            </a:r>
            <a:r>
              <a:rPr lang="en-US" sz="1400">
                <a:solidFill>
                  <a:srgbClr val="001965">
                    <a:lumMod val="100000"/>
                  </a:srgbClr>
                </a:solidFill>
                <a:latin typeface="Avenir Next LT Pro"/>
              </a:rPr>
              <a:t>through</a:t>
            </a:r>
            <a:r>
              <a:rPr lang="en-GB" sz="1400">
                <a:solidFill>
                  <a:srgbClr val="001965">
                    <a:lumMod val="100000"/>
                  </a:srgbClr>
                </a:solidFill>
                <a:latin typeface="Avenir Next LT Pro"/>
              </a:rPr>
              <a:t> future exits</a:t>
            </a:r>
          </a:p>
          <a:p>
            <a:pPr marL="285750" indent="-285750" defTabSz="914173">
              <a:spcAft>
                <a:spcPts val="1800"/>
              </a:spcAft>
              <a:buFont typeface="Arial" panose="020B0604020202020204" pitchFamily="34" charset="0"/>
              <a:buChar char="•"/>
              <a:defRPr/>
            </a:pPr>
            <a:r>
              <a:rPr lang="en-DK" sz="1400">
                <a:solidFill>
                  <a:srgbClr val="001965">
                    <a:lumMod val="100000"/>
                  </a:srgbClr>
                </a:solidFill>
                <a:latin typeface="Avenir Next LT Pro"/>
              </a:rPr>
              <a:t>Deepen </a:t>
            </a:r>
            <a:r>
              <a:rPr lang="en-GB" sz="1400" b="1">
                <a:solidFill>
                  <a:srgbClr val="001965">
                    <a:lumMod val="100000"/>
                  </a:srgbClr>
                </a:solidFill>
                <a:latin typeface="Avenir Next LT Pro Demi" panose="020B0504020202020204" pitchFamily="34" charset="77"/>
              </a:rPr>
              <a:t>market intelligence</a:t>
            </a:r>
            <a:r>
              <a:rPr lang="en-DK" sz="1400" b="1">
                <a:solidFill>
                  <a:srgbClr val="001965">
                    <a:lumMod val="100000"/>
                  </a:srgbClr>
                </a:solidFill>
                <a:latin typeface="Avenir Next LT Pro Demi" panose="020B0504020202020204" pitchFamily="34" charset="77"/>
              </a:rPr>
              <a:t> </a:t>
            </a:r>
            <a:r>
              <a:rPr lang="en-DK" sz="1400">
                <a:solidFill>
                  <a:srgbClr val="001965">
                    <a:lumMod val="100000"/>
                  </a:srgbClr>
                </a:solidFill>
                <a:latin typeface="Avenir Next LT Pro"/>
              </a:rPr>
              <a:t>and shape </a:t>
            </a:r>
            <a:r>
              <a:rPr lang="en-GB" sz="1400" i="1">
                <a:solidFill>
                  <a:srgbClr val="001965">
                    <a:lumMod val="100000"/>
                  </a:srgbClr>
                </a:solidFill>
                <a:latin typeface="Avenir Next LT Pro"/>
              </a:rPr>
              <a:t>where </a:t>
            </a:r>
            <a:r>
              <a:rPr lang="en-DK" sz="1400" i="1">
                <a:solidFill>
                  <a:srgbClr val="001965">
                    <a:lumMod val="100000"/>
                  </a:srgbClr>
                </a:solidFill>
                <a:latin typeface="Avenir Next LT Pro"/>
              </a:rPr>
              <a:t>we</a:t>
            </a:r>
            <a:r>
              <a:rPr lang="en-GB" sz="1400" i="1">
                <a:solidFill>
                  <a:srgbClr val="001965">
                    <a:lumMod val="100000"/>
                  </a:srgbClr>
                </a:solidFill>
                <a:latin typeface="Avenir Next LT Pro"/>
              </a:rPr>
              <a:t> play </a:t>
            </a:r>
            <a:r>
              <a:rPr lang="en-DK" sz="1400">
                <a:solidFill>
                  <a:srgbClr val="001965">
                    <a:lumMod val="100000"/>
                  </a:srgbClr>
                </a:solidFill>
                <a:latin typeface="Avenir Next LT Pro"/>
              </a:rPr>
              <a:t>in </a:t>
            </a:r>
            <a:r>
              <a:rPr lang="en-US" sz="1400">
                <a:solidFill>
                  <a:srgbClr val="001965">
                    <a:lumMod val="100000"/>
                  </a:srgbClr>
                </a:solidFill>
                <a:latin typeface="Avenir Next LT Pro"/>
              </a:rPr>
              <a:t>collaboration </a:t>
            </a:r>
            <a:r>
              <a:rPr lang="en-DK" sz="1400">
                <a:solidFill>
                  <a:srgbClr val="001965">
                    <a:lumMod val="100000"/>
                  </a:srgbClr>
                </a:solidFill>
                <a:latin typeface="Avenir Next LT Pro"/>
              </a:rPr>
              <a:t>with</a:t>
            </a:r>
            <a:r>
              <a:rPr lang="en-US" sz="1400">
                <a:solidFill>
                  <a:srgbClr val="001965">
                    <a:lumMod val="100000"/>
                  </a:srgbClr>
                </a:solidFill>
                <a:latin typeface="Avenir Next LT Pro"/>
              </a:rPr>
              <a:t> </a:t>
            </a:r>
            <a:r>
              <a:rPr lang="en-US" sz="1400" err="1">
                <a:solidFill>
                  <a:srgbClr val="001965">
                    <a:lumMod val="100000"/>
                  </a:srgbClr>
                </a:solidFill>
                <a:latin typeface="Avenir Next LT Pro"/>
              </a:rPr>
              <a:t>Gubra</a:t>
            </a:r>
            <a:r>
              <a:rPr lang="en-US" sz="1400">
                <a:solidFill>
                  <a:srgbClr val="001965">
                    <a:lumMod val="100000"/>
                  </a:srgbClr>
                </a:solidFill>
                <a:latin typeface="Avenir Next LT Pro"/>
              </a:rPr>
              <a:t> Biotech and </a:t>
            </a:r>
            <a:r>
              <a:rPr lang="en-US" sz="1400" err="1">
                <a:solidFill>
                  <a:srgbClr val="001965">
                    <a:lumMod val="100000"/>
                  </a:srgbClr>
                </a:solidFill>
                <a:latin typeface="Avenir Next LT Pro"/>
              </a:rPr>
              <a:t>Gubra</a:t>
            </a:r>
            <a:r>
              <a:rPr lang="en-US" sz="1400">
                <a:solidFill>
                  <a:srgbClr val="001965">
                    <a:lumMod val="100000"/>
                  </a:srgbClr>
                </a:solidFill>
                <a:latin typeface="Avenir Next LT Pro"/>
              </a:rPr>
              <a:t> CRO</a:t>
            </a:r>
            <a:endParaRPr lang="en-DK" sz="1400">
              <a:solidFill>
                <a:srgbClr val="001965">
                  <a:lumMod val="100000"/>
                </a:srgbClr>
              </a:solidFill>
              <a:latin typeface="Avenir Next LT Pro"/>
            </a:endParaRPr>
          </a:p>
        </p:txBody>
      </p:sp>
      <p:sp>
        <p:nvSpPr>
          <p:cNvPr id="31" name="Triangle 30">
            <a:extLst>
              <a:ext uri="{FF2B5EF4-FFF2-40B4-BE49-F238E27FC236}">
                <a16:creationId xmlns:a16="http://schemas.microsoft.com/office/drawing/2014/main" id="{118ADBF7-198C-30FC-127C-6926C9B8B150}"/>
              </a:ext>
            </a:extLst>
          </p:cNvPr>
          <p:cNvSpPr/>
          <p:nvPr/>
        </p:nvSpPr>
        <p:spPr>
          <a:xfrm rot="5400000">
            <a:off x="5608633" y="3951408"/>
            <a:ext cx="1189885" cy="458769"/>
          </a:xfrm>
          <a:prstGeom prst="triangle">
            <a:avLst>
              <a:gd name="adj" fmla="val 47522"/>
            </a:avLst>
          </a:prstGeom>
          <a:solidFill>
            <a:schemeClr val="tx1"/>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2" name="Arrow: Pentagon 200">
            <a:extLst>
              <a:ext uri="{FF2B5EF4-FFF2-40B4-BE49-F238E27FC236}">
                <a16:creationId xmlns:a16="http://schemas.microsoft.com/office/drawing/2014/main" id="{FF4345E1-F82E-E6FF-BB47-B3C7F2575ADA}"/>
              </a:ext>
            </a:extLst>
          </p:cNvPr>
          <p:cNvSpPr/>
          <p:nvPr/>
        </p:nvSpPr>
        <p:spPr>
          <a:xfrm>
            <a:off x="-2" y="1412876"/>
            <a:ext cx="6096795" cy="5462562"/>
          </a:xfrm>
          <a:prstGeom prst="homePlate">
            <a:avLst>
              <a:gd name="adj" fmla="val 0"/>
            </a:avLst>
          </a:prstGeom>
          <a:solidFill>
            <a:schemeClr val="tx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8" name="think-cell data - do not delete" hidden="1">
            <a:extLst>
              <a:ext uri="{FF2B5EF4-FFF2-40B4-BE49-F238E27FC236}">
                <a16:creationId xmlns:a16="http://schemas.microsoft.com/office/drawing/2014/main" id="{442BCB9C-EA1E-D737-71A9-496CE6A932B3}"/>
              </a:ext>
            </a:extLst>
          </p:cNvPr>
          <p:cNvGraphicFramePr>
            <a:graphicFrameLocks/>
          </p:cNvGraphicFramePr>
          <p:nvPr>
            <p:custDataLst>
              <p:tags r:id="rId1"/>
            </p:custData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442BCB9C-EA1E-D737-71A9-496CE6A932B3}"/>
                          </a:ext>
                        </a:extLst>
                      </p:cNvPr>
                      <p:cNvPicPr/>
                      <p:nvPr/>
                    </p:nvPicPr>
                    <p:blipFill>
                      <a:blip r:embed="rId5"/>
                      <a:stretch>
                        <a:fillRect/>
                      </a:stretch>
                    </p:blipFill>
                    <p:spPr>
                      <a:xfrm>
                        <a:off x="2382"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7F6E22-3C40-42BA-1B8F-5B2CC7C51501}"/>
              </a:ext>
            </a:extLst>
          </p:cNvPr>
          <p:cNvSpPr>
            <a:spLocks noGrp="1"/>
          </p:cNvSpPr>
          <p:nvPr>
            <p:ph type="ctrTitle"/>
          </p:nvPr>
        </p:nvSpPr>
        <p:spPr>
          <a:xfrm>
            <a:off x="516006" y="514350"/>
            <a:ext cx="9667546" cy="792900"/>
          </a:xfrm>
        </p:spPr>
        <p:txBody>
          <a:bodyPr vert="horz"/>
          <a:lstStyle/>
          <a:p>
            <a:r>
              <a:rPr lang="en-DK" noProof="0"/>
              <a:t>Gubra </a:t>
            </a:r>
            <a:r>
              <a:rPr lang="en-US" noProof="0"/>
              <a:t>Venture</a:t>
            </a:r>
            <a:r>
              <a:rPr lang="en-DK" noProof="0"/>
              <a:t>s</a:t>
            </a:r>
            <a:r>
              <a:rPr lang="en-US" noProof="0"/>
              <a:t> </a:t>
            </a:r>
            <a:r>
              <a:rPr lang="en-DK" noProof="0"/>
              <a:t>will leverage</a:t>
            </a:r>
            <a:r>
              <a:rPr lang="en-US" noProof="0"/>
              <a:t> external capital </a:t>
            </a:r>
            <a:r>
              <a:rPr lang="en-DK" noProof="0"/>
              <a:t>and our existing strengths </a:t>
            </a:r>
            <a:r>
              <a:rPr lang="en-US" noProof="0"/>
              <a:t>for pipeline optionality</a:t>
            </a:r>
          </a:p>
        </p:txBody>
      </p:sp>
      <p:sp>
        <p:nvSpPr>
          <p:cNvPr id="24" name="Rectangle 23">
            <a:extLst>
              <a:ext uri="{FF2B5EF4-FFF2-40B4-BE49-F238E27FC236}">
                <a16:creationId xmlns:a16="http://schemas.microsoft.com/office/drawing/2014/main" id="{DFF27DD4-6115-7C80-EBF2-D0183B7BA7B8}"/>
              </a:ext>
            </a:extLst>
          </p:cNvPr>
          <p:cNvSpPr>
            <a:spLocks/>
          </p:cNvSpPr>
          <p:nvPr/>
        </p:nvSpPr>
        <p:spPr>
          <a:xfrm>
            <a:off x="6546124" y="2818097"/>
            <a:ext cx="5200330" cy="839612"/>
          </a:xfrm>
          <a:prstGeom prst="rect">
            <a:avLst/>
          </a:prstGeom>
          <a:noFill/>
          <a:ln w="9525">
            <a:noFill/>
            <a:prstDash val="solid"/>
          </a:ln>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360000" tIns="360000" rIns="360000" bIns="360000" rtlCol="0" anchor="ctr"/>
          <a:lstStyle/>
          <a:p>
            <a:pPr algn="ctr" defTabSz="914173">
              <a:spcAft>
                <a:spcPts val="600"/>
              </a:spcAft>
              <a:defRPr/>
            </a:pPr>
            <a:r>
              <a:rPr lang="en-GB" sz="1400" b="1">
                <a:solidFill>
                  <a:srgbClr val="001965">
                    <a:lumMod val="100000"/>
                  </a:srgbClr>
                </a:solidFill>
                <a:latin typeface="Avenir Next LT Pro Demi" panose="020B0504020202020204" pitchFamily="34" charset="77"/>
              </a:rPr>
              <a:t>Ventures will build companies </a:t>
            </a:r>
            <a:r>
              <a:rPr lang="en-DK" sz="1400" b="1">
                <a:solidFill>
                  <a:srgbClr val="001965">
                    <a:lumMod val="100000"/>
                  </a:srgbClr>
                </a:solidFill>
                <a:latin typeface="Avenir Next LT Pro Demi" panose="020B0504020202020204" pitchFamily="34" charset="77"/>
              </a:rPr>
              <a:t>based on externally sourced assets to...</a:t>
            </a:r>
            <a:endParaRPr lang="en-GB" sz="1400" b="1">
              <a:solidFill>
                <a:srgbClr val="001965">
                  <a:lumMod val="100000"/>
                </a:srgbClr>
              </a:solidFill>
              <a:latin typeface="Avenir Next LT Pro Demi" panose="020B0504020202020204" pitchFamily="34" charset="77"/>
            </a:endParaRPr>
          </a:p>
        </p:txBody>
      </p:sp>
      <p:sp>
        <p:nvSpPr>
          <p:cNvPr id="79" name="Freeform 78">
            <a:extLst>
              <a:ext uri="{FF2B5EF4-FFF2-40B4-BE49-F238E27FC236}">
                <a16:creationId xmlns:a16="http://schemas.microsoft.com/office/drawing/2014/main" id="{BB55E0E0-3376-A9FB-3CF1-4E52DFDC6AFE}"/>
              </a:ext>
            </a:extLst>
          </p:cNvPr>
          <p:cNvSpPr/>
          <p:nvPr/>
        </p:nvSpPr>
        <p:spPr>
          <a:xfrm rot="18900000">
            <a:off x="2022645" y="1748438"/>
            <a:ext cx="2068483" cy="2069763"/>
          </a:xfrm>
          <a:custGeom>
            <a:avLst/>
            <a:gdLst>
              <a:gd name="connsiteX0" fmla="*/ 2223937 w 2223936"/>
              <a:gd name="connsiteY0" fmla="*/ 1112656 h 2225311"/>
              <a:gd name="connsiteX1" fmla="*/ 1111968 w 2223936"/>
              <a:gd name="connsiteY1" fmla="*/ 2225312 h 2225311"/>
              <a:gd name="connsiteX2" fmla="*/ 0 w 2223936"/>
              <a:gd name="connsiteY2" fmla="*/ 1112656 h 2225311"/>
              <a:gd name="connsiteX3" fmla="*/ 1111968 w 2223936"/>
              <a:gd name="connsiteY3" fmla="*/ 0 h 2225311"/>
              <a:gd name="connsiteX4" fmla="*/ 2223937 w 2223936"/>
              <a:gd name="connsiteY4" fmla="*/ 1112656 h 2225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3936" h="2225311">
                <a:moveTo>
                  <a:pt x="2223937" y="1112656"/>
                </a:moveTo>
                <a:cubicBezTo>
                  <a:pt x="2223937" y="1727159"/>
                  <a:pt x="1726091" y="2225312"/>
                  <a:pt x="1111968" y="2225312"/>
                </a:cubicBezTo>
                <a:cubicBezTo>
                  <a:pt x="497845" y="2225312"/>
                  <a:pt x="0" y="1727159"/>
                  <a:pt x="0" y="1112656"/>
                </a:cubicBezTo>
                <a:cubicBezTo>
                  <a:pt x="0" y="498153"/>
                  <a:pt x="497845" y="0"/>
                  <a:pt x="1111968" y="0"/>
                </a:cubicBezTo>
                <a:cubicBezTo>
                  <a:pt x="1726091" y="0"/>
                  <a:pt x="2223937" y="498153"/>
                  <a:pt x="2223937" y="1112656"/>
                </a:cubicBezTo>
                <a:close/>
              </a:path>
            </a:pathLst>
          </a:custGeom>
          <a:solidFill>
            <a:srgbClr val="2878FF">
              <a:alpha val="49653"/>
            </a:srgbClr>
          </a:solidFill>
          <a:ln w="12028" cap="flat">
            <a:noFill/>
            <a:prstDash val="solid"/>
            <a:miter/>
          </a:ln>
        </p:spPr>
        <p:txBody>
          <a:bodyPr rtlCol="0" anchor="ctr"/>
          <a:lstStyle/>
          <a:p>
            <a:endParaRPr lang="en-DK"/>
          </a:p>
        </p:txBody>
      </p:sp>
      <p:sp>
        <p:nvSpPr>
          <p:cNvPr id="80" name="Freeform 79">
            <a:extLst>
              <a:ext uri="{FF2B5EF4-FFF2-40B4-BE49-F238E27FC236}">
                <a16:creationId xmlns:a16="http://schemas.microsoft.com/office/drawing/2014/main" id="{5C7B73EB-213B-1D70-C6A5-291911648346}"/>
              </a:ext>
            </a:extLst>
          </p:cNvPr>
          <p:cNvSpPr/>
          <p:nvPr/>
        </p:nvSpPr>
        <p:spPr>
          <a:xfrm rot="18900000">
            <a:off x="544128" y="4310878"/>
            <a:ext cx="2068483" cy="2069763"/>
          </a:xfrm>
          <a:custGeom>
            <a:avLst/>
            <a:gdLst>
              <a:gd name="connsiteX0" fmla="*/ 2223937 w 2223936"/>
              <a:gd name="connsiteY0" fmla="*/ 1112656 h 2225311"/>
              <a:gd name="connsiteX1" fmla="*/ 1111968 w 2223936"/>
              <a:gd name="connsiteY1" fmla="*/ 2225312 h 2225311"/>
              <a:gd name="connsiteX2" fmla="*/ 0 w 2223936"/>
              <a:gd name="connsiteY2" fmla="*/ 1112656 h 2225311"/>
              <a:gd name="connsiteX3" fmla="*/ 1111968 w 2223936"/>
              <a:gd name="connsiteY3" fmla="*/ 0 h 2225311"/>
              <a:gd name="connsiteX4" fmla="*/ 2223937 w 2223936"/>
              <a:gd name="connsiteY4" fmla="*/ 1112656 h 2225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3936" h="2225311">
                <a:moveTo>
                  <a:pt x="2223937" y="1112656"/>
                </a:moveTo>
                <a:cubicBezTo>
                  <a:pt x="2223937" y="1727159"/>
                  <a:pt x="1726091" y="2225312"/>
                  <a:pt x="1111968" y="2225312"/>
                </a:cubicBezTo>
                <a:cubicBezTo>
                  <a:pt x="497845" y="2225312"/>
                  <a:pt x="0" y="1727159"/>
                  <a:pt x="0" y="1112656"/>
                </a:cubicBezTo>
                <a:cubicBezTo>
                  <a:pt x="0" y="498153"/>
                  <a:pt x="497845" y="0"/>
                  <a:pt x="1111968" y="0"/>
                </a:cubicBezTo>
                <a:cubicBezTo>
                  <a:pt x="1726091" y="0"/>
                  <a:pt x="2223937" y="498153"/>
                  <a:pt x="2223937" y="1112656"/>
                </a:cubicBezTo>
                <a:close/>
              </a:path>
            </a:pathLst>
          </a:custGeom>
          <a:solidFill>
            <a:srgbClr val="E229E2">
              <a:alpha val="50000"/>
            </a:srgbClr>
          </a:solidFill>
          <a:ln w="12028" cap="flat">
            <a:noFill/>
            <a:prstDash val="solid"/>
            <a:miter/>
          </a:ln>
        </p:spPr>
        <p:txBody>
          <a:bodyPr rtlCol="0" anchor="ctr"/>
          <a:lstStyle/>
          <a:p>
            <a:endParaRPr lang="en-DK"/>
          </a:p>
        </p:txBody>
      </p:sp>
      <p:sp>
        <p:nvSpPr>
          <p:cNvPr id="81" name="Freeform 80">
            <a:extLst>
              <a:ext uri="{FF2B5EF4-FFF2-40B4-BE49-F238E27FC236}">
                <a16:creationId xmlns:a16="http://schemas.microsoft.com/office/drawing/2014/main" id="{64E34BC5-7376-C08C-0DC7-88161496144C}"/>
              </a:ext>
            </a:extLst>
          </p:cNvPr>
          <p:cNvSpPr/>
          <p:nvPr/>
        </p:nvSpPr>
        <p:spPr>
          <a:xfrm rot="18900000">
            <a:off x="3501106" y="4310830"/>
            <a:ext cx="2068483" cy="2069763"/>
          </a:xfrm>
          <a:custGeom>
            <a:avLst/>
            <a:gdLst>
              <a:gd name="connsiteX0" fmla="*/ 2223936 w 2223936"/>
              <a:gd name="connsiteY0" fmla="*/ 1112656 h 2225311"/>
              <a:gd name="connsiteX1" fmla="*/ 1111968 w 2223936"/>
              <a:gd name="connsiteY1" fmla="*/ 2225312 h 2225311"/>
              <a:gd name="connsiteX2" fmla="*/ 0 w 2223936"/>
              <a:gd name="connsiteY2" fmla="*/ 1112656 h 2225311"/>
              <a:gd name="connsiteX3" fmla="*/ 1111968 w 2223936"/>
              <a:gd name="connsiteY3" fmla="*/ 0 h 2225311"/>
              <a:gd name="connsiteX4" fmla="*/ 2223936 w 2223936"/>
              <a:gd name="connsiteY4" fmla="*/ 1112656 h 2225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3936" h="2225311">
                <a:moveTo>
                  <a:pt x="2223936" y="1112656"/>
                </a:moveTo>
                <a:cubicBezTo>
                  <a:pt x="2223936" y="1727159"/>
                  <a:pt x="1726091" y="2225312"/>
                  <a:pt x="1111968" y="2225312"/>
                </a:cubicBezTo>
                <a:cubicBezTo>
                  <a:pt x="497845" y="2225312"/>
                  <a:pt x="0" y="1727159"/>
                  <a:pt x="0" y="1112656"/>
                </a:cubicBezTo>
                <a:cubicBezTo>
                  <a:pt x="0" y="498153"/>
                  <a:pt x="497845" y="0"/>
                  <a:pt x="1111968" y="0"/>
                </a:cubicBezTo>
                <a:cubicBezTo>
                  <a:pt x="1726091" y="0"/>
                  <a:pt x="2223936" y="498153"/>
                  <a:pt x="2223936" y="1112656"/>
                </a:cubicBezTo>
                <a:close/>
              </a:path>
            </a:pathLst>
          </a:custGeom>
          <a:solidFill>
            <a:srgbClr val="8CC3CA">
              <a:alpha val="54998"/>
            </a:srgbClr>
          </a:solidFill>
          <a:ln w="12028" cap="flat">
            <a:noFill/>
            <a:prstDash val="solid"/>
            <a:miter/>
          </a:ln>
        </p:spPr>
        <p:txBody>
          <a:bodyPr rtlCol="0" anchor="ctr"/>
          <a:lstStyle/>
          <a:p>
            <a:endParaRPr lang="en-DK"/>
          </a:p>
        </p:txBody>
      </p:sp>
      <p:sp>
        <p:nvSpPr>
          <p:cNvPr id="82" name="Freeform 81">
            <a:extLst>
              <a:ext uri="{FF2B5EF4-FFF2-40B4-BE49-F238E27FC236}">
                <a16:creationId xmlns:a16="http://schemas.microsoft.com/office/drawing/2014/main" id="{E26754D2-5BD9-9523-3494-0C21DAEB0F36}"/>
              </a:ext>
            </a:extLst>
          </p:cNvPr>
          <p:cNvSpPr/>
          <p:nvPr/>
        </p:nvSpPr>
        <p:spPr>
          <a:xfrm>
            <a:off x="1336838" y="2770455"/>
            <a:ext cx="3440150" cy="3442277"/>
          </a:xfrm>
          <a:custGeom>
            <a:avLst/>
            <a:gdLst>
              <a:gd name="connsiteX0" fmla="*/ 3698688 w 3698687"/>
              <a:gd name="connsiteY0" fmla="*/ 1850487 h 3700974"/>
              <a:gd name="connsiteX1" fmla="*/ 1849344 w 3698687"/>
              <a:gd name="connsiteY1" fmla="*/ 3700975 h 3700974"/>
              <a:gd name="connsiteX2" fmla="*/ 0 w 3698687"/>
              <a:gd name="connsiteY2" fmla="*/ 1850487 h 3700974"/>
              <a:gd name="connsiteX3" fmla="*/ 1849344 w 3698687"/>
              <a:gd name="connsiteY3" fmla="*/ 0 h 3700974"/>
              <a:gd name="connsiteX4" fmla="*/ 3698688 w 3698687"/>
              <a:gd name="connsiteY4" fmla="*/ 1850487 h 3700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687" h="3700974">
                <a:moveTo>
                  <a:pt x="3698688" y="1850487"/>
                </a:moveTo>
                <a:cubicBezTo>
                  <a:pt x="3698688" y="2872483"/>
                  <a:pt x="2870709" y="3700975"/>
                  <a:pt x="1849344" y="3700975"/>
                </a:cubicBezTo>
                <a:cubicBezTo>
                  <a:pt x="827980" y="3700975"/>
                  <a:pt x="0" y="2872483"/>
                  <a:pt x="0" y="1850487"/>
                </a:cubicBezTo>
                <a:cubicBezTo>
                  <a:pt x="0" y="828491"/>
                  <a:pt x="827980" y="0"/>
                  <a:pt x="1849344" y="0"/>
                </a:cubicBezTo>
                <a:cubicBezTo>
                  <a:pt x="2870709" y="0"/>
                  <a:pt x="3698688" y="828491"/>
                  <a:pt x="3698688" y="1850487"/>
                </a:cubicBezTo>
                <a:close/>
              </a:path>
            </a:pathLst>
          </a:custGeom>
          <a:solidFill>
            <a:schemeClr val="bg2">
              <a:alpha val="30030"/>
            </a:schemeClr>
          </a:solidFill>
          <a:ln w="12028" cap="flat">
            <a:noFill/>
            <a:prstDash val="solid"/>
            <a:miter/>
          </a:ln>
        </p:spPr>
        <p:txBody>
          <a:bodyPr rtlCol="0" anchor="ctr"/>
          <a:lstStyle/>
          <a:p>
            <a:endParaRPr lang="en-DK"/>
          </a:p>
        </p:txBody>
      </p:sp>
      <p:sp>
        <p:nvSpPr>
          <p:cNvPr id="83" name="Freeform 82">
            <a:extLst>
              <a:ext uri="{FF2B5EF4-FFF2-40B4-BE49-F238E27FC236}">
                <a16:creationId xmlns:a16="http://schemas.microsoft.com/office/drawing/2014/main" id="{A7347CC5-71C3-6A2B-BD2F-13D6932C8754}"/>
              </a:ext>
            </a:extLst>
          </p:cNvPr>
          <p:cNvSpPr/>
          <p:nvPr/>
        </p:nvSpPr>
        <p:spPr>
          <a:xfrm rot="18900000">
            <a:off x="2324883" y="2054250"/>
            <a:ext cx="1460646" cy="1461549"/>
          </a:xfrm>
          <a:custGeom>
            <a:avLst/>
            <a:gdLst>
              <a:gd name="connsiteX0" fmla="*/ 1570419 w 1570418"/>
              <a:gd name="connsiteY0" fmla="*/ 785695 h 1571389"/>
              <a:gd name="connsiteX1" fmla="*/ 785210 w 1570418"/>
              <a:gd name="connsiteY1" fmla="*/ 1571390 h 1571389"/>
              <a:gd name="connsiteX2" fmla="*/ 0 w 1570418"/>
              <a:gd name="connsiteY2" fmla="*/ 785695 h 1571389"/>
              <a:gd name="connsiteX3" fmla="*/ 785210 w 1570418"/>
              <a:gd name="connsiteY3" fmla="*/ 0 h 1571389"/>
              <a:gd name="connsiteX4" fmla="*/ 1570419 w 1570418"/>
              <a:gd name="connsiteY4" fmla="*/ 785695 h 1571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0418" h="1571389">
                <a:moveTo>
                  <a:pt x="1570419" y="785695"/>
                </a:moveTo>
                <a:cubicBezTo>
                  <a:pt x="1570419" y="1219622"/>
                  <a:pt x="1218869" y="1571390"/>
                  <a:pt x="785210" y="1571390"/>
                </a:cubicBezTo>
                <a:cubicBezTo>
                  <a:pt x="351550" y="1571390"/>
                  <a:pt x="0" y="1219622"/>
                  <a:pt x="0" y="785695"/>
                </a:cubicBezTo>
                <a:cubicBezTo>
                  <a:pt x="0" y="351768"/>
                  <a:pt x="351550" y="0"/>
                  <a:pt x="785210" y="0"/>
                </a:cubicBezTo>
                <a:cubicBezTo>
                  <a:pt x="1218869" y="0"/>
                  <a:pt x="1570419" y="351768"/>
                  <a:pt x="1570419" y="785695"/>
                </a:cubicBezTo>
                <a:close/>
              </a:path>
            </a:pathLst>
          </a:custGeom>
          <a:solidFill>
            <a:srgbClr val="2878FF"/>
          </a:solidFill>
          <a:ln w="12028" cap="flat">
            <a:noFill/>
            <a:prstDash val="solid"/>
            <a:miter/>
          </a:ln>
        </p:spPr>
        <p:txBody>
          <a:bodyPr rtlCol="0" anchor="ctr"/>
          <a:lstStyle/>
          <a:p>
            <a:endParaRPr lang="en-DK"/>
          </a:p>
        </p:txBody>
      </p:sp>
      <p:sp>
        <p:nvSpPr>
          <p:cNvPr id="84" name="Freeform 83">
            <a:extLst>
              <a:ext uri="{FF2B5EF4-FFF2-40B4-BE49-F238E27FC236}">
                <a16:creationId xmlns:a16="http://schemas.microsoft.com/office/drawing/2014/main" id="{601D4C9B-3B1F-70FE-CFC2-B62D492D876C}"/>
              </a:ext>
            </a:extLst>
          </p:cNvPr>
          <p:cNvSpPr/>
          <p:nvPr/>
        </p:nvSpPr>
        <p:spPr>
          <a:xfrm rot="18900000">
            <a:off x="846557" y="4616453"/>
            <a:ext cx="1460646" cy="1461549"/>
          </a:xfrm>
          <a:custGeom>
            <a:avLst/>
            <a:gdLst>
              <a:gd name="connsiteX0" fmla="*/ 1570419 w 1570418"/>
              <a:gd name="connsiteY0" fmla="*/ 785695 h 1571389"/>
              <a:gd name="connsiteX1" fmla="*/ 785209 w 1570418"/>
              <a:gd name="connsiteY1" fmla="*/ 1571390 h 1571389"/>
              <a:gd name="connsiteX2" fmla="*/ 0 w 1570418"/>
              <a:gd name="connsiteY2" fmla="*/ 785695 h 1571389"/>
              <a:gd name="connsiteX3" fmla="*/ 785209 w 1570418"/>
              <a:gd name="connsiteY3" fmla="*/ 0 h 1571389"/>
              <a:gd name="connsiteX4" fmla="*/ 1570419 w 1570418"/>
              <a:gd name="connsiteY4" fmla="*/ 785695 h 1571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0418" h="1571389">
                <a:moveTo>
                  <a:pt x="1570419" y="785695"/>
                </a:moveTo>
                <a:cubicBezTo>
                  <a:pt x="1570419" y="1219622"/>
                  <a:pt x="1218869" y="1571390"/>
                  <a:pt x="785209" y="1571390"/>
                </a:cubicBezTo>
                <a:cubicBezTo>
                  <a:pt x="351550" y="1571390"/>
                  <a:pt x="0" y="1219622"/>
                  <a:pt x="0" y="785695"/>
                </a:cubicBezTo>
                <a:cubicBezTo>
                  <a:pt x="0" y="351768"/>
                  <a:pt x="351550" y="0"/>
                  <a:pt x="785209" y="0"/>
                </a:cubicBezTo>
                <a:cubicBezTo>
                  <a:pt x="1218869" y="0"/>
                  <a:pt x="1570419" y="351768"/>
                  <a:pt x="1570419" y="785695"/>
                </a:cubicBezTo>
                <a:close/>
              </a:path>
            </a:pathLst>
          </a:custGeom>
          <a:solidFill>
            <a:srgbClr val="E229E2"/>
          </a:solidFill>
          <a:ln w="12028" cap="flat">
            <a:noFill/>
            <a:prstDash val="solid"/>
            <a:miter/>
          </a:ln>
        </p:spPr>
        <p:txBody>
          <a:bodyPr rtlCol="0" anchor="ctr"/>
          <a:lstStyle/>
          <a:p>
            <a:endParaRPr lang="en-DK"/>
          </a:p>
        </p:txBody>
      </p:sp>
      <p:sp>
        <p:nvSpPr>
          <p:cNvPr id="85" name="Freeform 84">
            <a:extLst>
              <a:ext uri="{FF2B5EF4-FFF2-40B4-BE49-F238E27FC236}">
                <a16:creationId xmlns:a16="http://schemas.microsoft.com/office/drawing/2014/main" id="{154963F9-8093-ABE8-D77F-98B85E76314D}"/>
              </a:ext>
            </a:extLst>
          </p:cNvPr>
          <p:cNvSpPr/>
          <p:nvPr/>
        </p:nvSpPr>
        <p:spPr>
          <a:xfrm rot="18900000">
            <a:off x="3803568" y="4616483"/>
            <a:ext cx="1460646" cy="1461549"/>
          </a:xfrm>
          <a:custGeom>
            <a:avLst/>
            <a:gdLst>
              <a:gd name="connsiteX0" fmla="*/ 1570419 w 1570418"/>
              <a:gd name="connsiteY0" fmla="*/ 785695 h 1571389"/>
              <a:gd name="connsiteX1" fmla="*/ 785209 w 1570418"/>
              <a:gd name="connsiteY1" fmla="*/ 1571390 h 1571389"/>
              <a:gd name="connsiteX2" fmla="*/ 0 w 1570418"/>
              <a:gd name="connsiteY2" fmla="*/ 785695 h 1571389"/>
              <a:gd name="connsiteX3" fmla="*/ 785209 w 1570418"/>
              <a:gd name="connsiteY3" fmla="*/ 0 h 1571389"/>
              <a:gd name="connsiteX4" fmla="*/ 1570419 w 1570418"/>
              <a:gd name="connsiteY4" fmla="*/ 785695 h 1571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0418" h="1571389">
                <a:moveTo>
                  <a:pt x="1570419" y="785695"/>
                </a:moveTo>
                <a:cubicBezTo>
                  <a:pt x="1570419" y="1219622"/>
                  <a:pt x="1218869" y="1571390"/>
                  <a:pt x="785209" y="1571390"/>
                </a:cubicBezTo>
                <a:cubicBezTo>
                  <a:pt x="351550" y="1571390"/>
                  <a:pt x="0" y="1219622"/>
                  <a:pt x="0" y="785695"/>
                </a:cubicBezTo>
                <a:cubicBezTo>
                  <a:pt x="0" y="351768"/>
                  <a:pt x="351550" y="0"/>
                  <a:pt x="785209" y="0"/>
                </a:cubicBezTo>
                <a:cubicBezTo>
                  <a:pt x="1218869" y="0"/>
                  <a:pt x="1570419" y="351768"/>
                  <a:pt x="1570419" y="785695"/>
                </a:cubicBezTo>
                <a:close/>
              </a:path>
            </a:pathLst>
          </a:custGeom>
          <a:solidFill>
            <a:srgbClr val="8CC3CA"/>
          </a:solidFill>
          <a:ln w="12028" cap="flat">
            <a:noFill/>
            <a:prstDash val="solid"/>
            <a:miter/>
          </a:ln>
        </p:spPr>
        <p:txBody>
          <a:bodyPr rtlCol="0" anchor="ctr"/>
          <a:lstStyle/>
          <a:p>
            <a:endParaRPr lang="en-DK"/>
          </a:p>
        </p:txBody>
      </p:sp>
      <p:sp>
        <p:nvSpPr>
          <p:cNvPr id="86" name="Freeform 85">
            <a:extLst>
              <a:ext uri="{FF2B5EF4-FFF2-40B4-BE49-F238E27FC236}">
                <a16:creationId xmlns:a16="http://schemas.microsoft.com/office/drawing/2014/main" id="{D35F95EC-7E55-DF7B-8E99-BB8CECA5FCF4}"/>
              </a:ext>
            </a:extLst>
          </p:cNvPr>
          <p:cNvSpPr/>
          <p:nvPr/>
        </p:nvSpPr>
        <p:spPr>
          <a:xfrm rot="18900000">
            <a:off x="2022645" y="1748438"/>
            <a:ext cx="2068483" cy="2069763"/>
          </a:xfrm>
          <a:custGeom>
            <a:avLst/>
            <a:gdLst>
              <a:gd name="connsiteX0" fmla="*/ 2223937 w 2223936"/>
              <a:gd name="connsiteY0" fmla="*/ 1112656 h 2225311"/>
              <a:gd name="connsiteX1" fmla="*/ 1111968 w 2223936"/>
              <a:gd name="connsiteY1" fmla="*/ 2225312 h 2225311"/>
              <a:gd name="connsiteX2" fmla="*/ 0 w 2223936"/>
              <a:gd name="connsiteY2" fmla="*/ 1112656 h 2225311"/>
              <a:gd name="connsiteX3" fmla="*/ 1111968 w 2223936"/>
              <a:gd name="connsiteY3" fmla="*/ 0 h 2225311"/>
              <a:gd name="connsiteX4" fmla="*/ 2223937 w 2223936"/>
              <a:gd name="connsiteY4" fmla="*/ 1112656 h 2225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3936" h="2225311">
                <a:moveTo>
                  <a:pt x="2223937" y="1112656"/>
                </a:moveTo>
                <a:cubicBezTo>
                  <a:pt x="2223937" y="1727159"/>
                  <a:pt x="1726091" y="2225312"/>
                  <a:pt x="1111968" y="2225312"/>
                </a:cubicBezTo>
                <a:cubicBezTo>
                  <a:pt x="497845" y="2225312"/>
                  <a:pt x="0" y="1727159"/>
                  <a:pt x="0" y="1112656"/>
                </a:cubicBezTo>
                <a:cubicBezTo>
                  <a:pt x="0" y="498153"/>
                  <a:pt x="497845" y="0"/>
                  <a:pt x="1111968" y="0"/>
                </a:cubicBezTo>
                <a:cubicBezTo>
                  <a:pt x="1726091" y="0"/>
                  <a:pt x="2223937" y="498153"/>
                  <a:pt x="2223937" y="1112656"/>
                </a:cubicBezTo>
                <a:close/>
              </a:path>
            </a:pathLst>
          </a:custGeom>
          <a:noFill/>
          <a:ln w="12028" cap="flat">
            <a:solidFill>
              <a:srgbClr val="2878FF"/>
            </a:solidFill>
            <a:prstDash val="solid"/>
            <a:miter/>
          </a:ln>
        </p:spPr>
        <p:txBody>
          <a:bodyPr rtlCol="0" anchor="ctr"/>
          <a:lstStyle/>
          <a:p>
            <a:endParaRPr lang="en-DK"/>
          </a:p>
        </p:txBody>
      </p:sp>
      <p:sp>
        <p:nvSpPr>
          <p:cNvPr id="87" name="Freeform 86">
            <a:extLst>
              <a:ext uri="{FF2B5EF4-FFF2-40B4-BE49-F238E27FC236}">
                <a16:creationId xmlns:a16="http://schemas.microsoft.com/office/drawing/2014/main" id="{801FB57D-F5C3-0557-D7F5-DF12ADDFE6BF}"/>
              </a:ext>
            </a:extLst>
          </p:cNvPr>
          <p:cNvSpPr/>
          <p:nvPr/>
        </p:nvSpPr>
        <p:spPr>
          <a:xfrm rot="18900000">
            <a:off x="544128" y="4310878"/>
            <a:ext cx="2068483" cy="2069763"/>
          </a:xfrm>
          <a:custGeom>
            <a:avLst/>
            <a:gdLst>
              <a:gd name="connsiteX0" fmla="*/ 2223937 w 2223936"/>
              <a:gd name="connsiteY0" fmla="*/ 1112656 h 2225311"/>
              <a:gd name="connsiteX1" fmla="*/ 1111968 w 2223936"/>
              <a:gd name="connsiteY1" fmla="*/ 2225312 h 2225311"/>
              <a:gd name="connsiteX2" fmla="*/ 0 w 2223936"/>
              <a:gd name="connsiteY2" fmla="*/ 1112656 h 2225311"/>
              <a:gd name="connsiteX3" fmla="*/ 1111968 w 2223936"/>
              <a:gd name="connsiteY3" fmla="*/ 0 h 2225311"/>
              <a:gd name="connsiteX4" fmla="*/ 2223937 w 2223936"/>
              <a:gd name="connsiteY4" fmla="*/ 1112656 h 2225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3936" h="2225311">
                <a:moveTo>
                  <a:pt x="2223937" y="1112656"/>
                </a:moveTo>
                <a:cubicBezTo>
                  <a:pt x="2223937" y="1727159"/>
                  <a:pt x="1726091" y="2225312"/>
                  <a:pt x="1111968" y="2225312"/>
                </a:cubicBezTo>
                <a:cubicBezTo>
                  <a:pt x="497845" y="2225312"/>
                  <a:pt x="0" y="1727159"/>
                  <a:pt x="0" y="1112656"/>
                </a:cubicBezTo>
                <a:cubicBezTo>
                  <a:pt x="0" y="498153"/>
                  <a:pt x="497845" y="0"/>
                  <a:pt x="1111968" y="0"/>
                </a:cubicBezTo>
                <a:cubicBezTo>
                  <a:pt x="1726091" y="0"/>
                  <a:pt x="2223937" y="498153"/>
                  <a:pt x="2223937" y="1112656"/>
                </a:cubicBezTo>
                <a:close/>
              </a:path>
            </a:pathLst>
          </a:custGeom>
          <a:noFill/>
          <a:ln w="12028" cap="flat">
            <a:solidFill>
              <a:srgbClr val="E229E2"/>
            </a:solidFill>
            <a:prstDash val="solid"/>
            <a:miter/>
          </a:ln>
        </p:spPr>
        <p:txBody>
          <a:bodyPr rtlCol="0" anchor="ctr"/>
          <a:lstStyle/>
          <a:p>
            <a:endParaRPr lang="en-DK"/>
          </a:p>
        </p:txBody>
      </p:sp>
      <p:sp>
        <p:nvSpPr>
          <p:cNvPr id="88" name="Freeform 87">
            <a:extLst>
              <a:ext uri="{FF2B5EF4-FFF2-40B4-BE49-F238E27FC236}">
                <a16:creationId xmlns:a16="http://schemas.microsoft.com/office/drawing/2014/main" id="{2C071D42-6AEE-FDF8-49F9-CC566150398E}"/>
              </a:ext>
            </a:extLst>
          </p:cNvPr>
          <p:cNvSpPr/>
          <p:nvPr/>
        </p:nvSpPr>
        <p:spPr>
          <a:xfrm rot="18900000">
            <a:off x="3501106" y="4310830"/>
            <a:ext cx="2068483" cy="2069763"/>
          </a:xfrm>
          <a:custGeom>
            <a:avLst/>
            <a:gdLst>
              <a:gd name="connsiteX0" fmla="*/ 2223936 w 2223936"/>
              <a:gd name="connsiteY0" fmla="*/ 1112656 h 2225311"/>
              <a:gd name="connsiteX1" fmla="*/ 1111968 w 2223936"/>
              <a:gd name="connsiteY1" fmla="*/ 2225312 h 2225311"/>
              <a:gd name="connsiteX2" fmla="*/ 0 w 2223936"/>
              <a:gd name="connsiteY2" fmla="*/ 1112656 h 2225311"/>
              <a:gd name="connsiteX3" fmla="*/ 1111968 w 2223936"/>
              <a:gd name="connsiteY3" fmla="*/ 0 h 2225311"/>
              <a:gd name="connsiteX4" fmla="*/ 2223936 w 2223936"/>
              <a:gd name="connsiteY4" fmla="*/ 1112656 h 2225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3936" h="2225311">
                <a:moveTo>
                  <a:pt x="2223936" y="1112656"/>
                </a:moveTo>
                <a:cubicBezTo>
                  <a:pt x="2223936" y="1727159"/>
                  <a:pt x="1726091" y="2225312"/>
                  <a:pt x="1111968" y="2225312"/>
                </a:cubicBezTo>
                <a:cubicBezTo>
                  <a:pt x="497845" y="2225312"/>
                  <a:pt x="0" y="1727159"/>
                  <a:pt x="0" y="1112656"/>
                </a:cubicBezTo>
                <a:cubicBezTo>
                  <a:pt x="0" y="498153"/>
                  <a:pt x="497845" y="0"/>
                  <a:pt x="1111968" y="0"/>
                </a:cubicBezTo>
                <a:cubicBezTo>
                  <a:pt x="1726091" y="0"/>
                  <a:pt x="2223936" y="498153"/>
                  <a:pt x="2223936" y="1112656"/>
                </a:cubicBezTo>
                <a:close/>
              </a:path>
            </a:pathLst>
          </a:custGeom>
          <a:noFill/>
          <a:ln w="12028" cap="flat">
            <a:solidFill>
              <a:srgbClr val="8CC3CA"/>
            </a:solidFill>
            <a:prstDash val="solid"/>
            <a:miter/>
          </a:ln>
        </p:spPr>
        <p:txBody>
          <a:bodyPr rtlCol="0" anchor="ctr"/>
          <a:lstStyle/>
          <a:p>
            <a:endParaRPr lang="en-DK"/>
          </a:p>
        </p:txBody>
      </p:sp>
      <p:sp>
        <p:nvSpPr>
          <p:cNvPr id="20" name="TextBox 19">
            <a:extLst>
              <a:ext uri="{FF2B5EF4-FFF2-40B4-BE49-F238E27FC236}">
                <a16:creationId xmlns:a16="http://schemas.microsoft.com/office/drawing/2014/main" id="{CFB08C2A-163F-20AC-CBF1-AE1BEFB16D86}"/>
              </a:ext>
            </a:extLst>
          </p:cNvPr>
          <p:cNvSpPr txBox="1"/>
          <p:nvPr/>
        </p:nvSpPr>
        <p:spPr>
          <a:xfrm>
            <a:off x="2017416" y="2571967"/>
            <a:ext cx="2076971" cy="458021"/>
          </a:xfrm>
          <a:prstGeom prst="rect">
            <a:avLst/>
          </a:prstGeom>
          <a:noFill/>
        </p:spPr>
        <p:txBody>
          <a:bodyPr wrap="square" rtlCol="0">
            <a:spAutoFit/>
          </a:bodyPr>
          <a:lstStyle/>
          <a:p>
            <a:pPr algn="ctr" defTabSz="914309">
              <a:defRPr/>
            </a:pPr>
            <a:r>
              <a:rPr lang="en-DK" sz="1400" b="1" kern="0">
                <a:solidFill>
                  <a:srgbClr val="FFFFFF"/>
                </a:solidFill>
                <a:latin typeface="Avenir Next LT Pro Demi" panose="020B0504020202020204" pitchFamily="34" charset="77"/>
              </a:rPr>
              <a:t>Gubra Biotech</a:t>
            </a:r>
          </a:p>
          <a:p>
            <a:pPr algn="ctr" defTabSz="914309">
              <a:defRPr/>
            </a:pPr>
            <a:r>
              <a:rPr lang="en-DK" sz="1200" kern="0">
                <a:solidFill>
                  <a:srgbClr val="FFFFFF"/>
                </a:solidFill>
                <a:latin typeface="Avenir Next LT Pro"/>
              </a:rPr>
              <a:t>Our value driver</a:t>
            </a:r>
            <a:endParaRPr lang="en-US" sz="1200" kern="0">
              <a:solidFill>
                <a:srgbClr val="FFFFFF"/>
              </a:solidFill>
              <a:latin typeface="Avenir Next LT Pro"/>
            </a:endParaRPr>
          </a:p>
        </p:txBody>
      </p:sp>
      <p:grpSp>
        <p:nvGrpSpPr>
          <p:cNvPr id="56" name="Graphic 4">
            <a:extLst>
              <a:ext uri="{FF2B5EF4-FFF2-40B4-BE49-F238E27FC236}">
                <a16:creationId xmlns:a16="http://schemas.microsoft.com/office/drawing/2014/main" id="{9D1C768A-C76B-CFCE-EA1E-B99EF3775C31}"/>
              </a:ext>
            </a:extLst>
          </p:cNvPr>
          <p:cNvGrpSpPr/>
          <p:nvPr/>
        </p:nvGrpSpPr>
        <p:grpSpPr>
          <a:xfrm>
            <a:off x="2987450" y="2311111"/>
            <a:ext cx="122631" cy="122631"/>
            <a:chOff x="5956586" y="3318795"/>
            <a:chExt cx="250317" cy="250316"/>
          </a:xfrm>
        </p:grpSpPr>
        <p:sp>
          <p:nvSpPr>
            <p:cNvPr id="77" name="Freeform 76">
              <a:extLst>
                <a:ext uri="{FF2B5EF4-FFF2-40B4-BE49-F238E27FC236}">
                  <a16:creationId xmlns:a16="http://schemas.microsoft.com/office/drawing/2014/main" id="{8D2248D2-C1F9-2916-A30A-31559B784501}"/>
                </a:ext>
              </a:extLst>
            </p:cNvPr>
            <p:cNvSpPr/>
            <p:nvPr/>
          </p:nvSpPr>
          <p:spPr>
            <a:xfrm>
              <a:off x="5963729" y="3325939"/>
              <a:ext cx="236029" cy="236029"/>
            </a:xfrm>
            <a:custGeom>
              <a:avLst/>
              <a:gdLst>
                <a:gd name="connsiteX0" fmla="*/ 236030 w 236029"/>
                <a:gd name="connsiteY0" fmla="*/ 118015 h 236029"/>
                <a:gd name="connsiteX1" fmla="*/ 118015 w 236029"/>
                <a:gd name="connsiteY1" fmla="*/ 236029 h 236029"/>
                <a:gd name="connsiteX2" fmla="*/ 0 w 236029"/>
                <a:gd name="connsiteY2" fmla="*/ 118015 h 236029"/>
                <a:gd name="connsiteX3" fmla="*/ 118015 w 236029"/>
                <a:gd name="connsiteY3" fmla="*/ 0 h 236029"/>
                <a:gd name="connsiteX4" fmla="*/ 236030 w 236029"/>
                <a:gd name="connsiteY4" fmla="*/ 118015 h 236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029" h="236029">
                  <a:moveTo>
                    <a:pt x="236030" y="118015"/>
                  </a:moveTo>
                  <a:cubicBezTo>
                    <a:pt x="236030" y="183192"/>
                    <a:pt x="183193" y="236029"/>
                    <a:pt x="118015" y="236029"/>
                  </a:cubicBezTo>
                  <a:cubicBezTo>
                    <a:pt x="52837" y="236029"/>
                    <a:pt x="0" y="183192"/>
                    <a:pt x="0" y="118015"/>
                  </a:cubicBezTo>
                  <a:cubicBezTo>
                    <a:pt x="0" y="52837"/>
                    <a:pt x="52837" y="0"/>
                    <a:pt x="118015" y="0"/>
                  </a:cubicBezTo>
                  <a:cubicBezTo>
                    <a:pt x="183193" y="0"/>
                    <a:pt x="236030" y="52837"/>
                    <a:pt x="236030" y="118015"/>
                  </a:cubicBezTo>
                  <a:close/>
                </a:path>
              </a:pathLst>
            </a:custGeom>
            <a:solidFill>
              <a:srgbClr val="2878FF">
                <a:alpha val="50000"/>
              </a:srgbClr>
            </a:solidFill>
            <a:ln w="9525" cap="flat">
              <a:noFill/>
              <a:prstDash val="solid"/>
              <a:miter/>
            </a:ln>
          </p:spPr>
          <p:txBody>
            <a:bodyPr rtlCol="0" anchor="ctr"/>
            <a:lstStyle/>
            <a:p>
              <a:endParaRPr lang="en-DK"/>
            </a:p>
          </p:txBody>
        </p:sp>
        <p:sp>
          <p:nvSpPr>
            <p:cNvPr id="78" name="Freeform 77">
              <a:extLst>
                <a:ext uri="{FF2B5EF4-FFF2-40B4-BE49-F238E27FC236}">
                  <a16:creationId xmlns:a16="http://schemas.microsoft.com/office/drawing/2014/main" id="{C51CFC5C-E35C-3A84-0002-98F94553BB47}"/>
                </a:ext>
              </a:extLst>
            </p:cNvPr>
            <p:cNvSpPr/>
            <p:nvPr/>
          </p:nvSpPr>
          <p:spPr>
            <a:xfrm>
              <a:off x="5956586" y="3318795"/>
              <a:ext cx="250317" cy="250316"/>
            </a:xfrm>
            <a:custGeom>
              <a:avLst/>
              <a:gdLst>
                <a:gd name="connsiteX0" fmla="*/ 125158 w 250317"/>
                <a:gd name="connsiteY0" fmla="*/ 250317 h 250316"/>
                <a:gd name="connsiteX1" fmla="*/ 0 w 250317"/>
                <a:gd name="connsiteY1" fmla="*/ 125158 h 250316"/>
                <a:gd name="connsiteX2" fmla="*/ 125158 w 250317"/>
                <a:gd name="connsiteY2" fmla="*/ 0 h 250316"/>
                <a:gd name="connsiteX3" fmla="*/ 250317 w 250317"/>
                <a:gd name="connsiteY3" fmla="*/ 125158 h 250316"/>
                <a:gd name="connsiteX4" fmla="*/ 125158 w 250317"/>
                <a:gd name="connsiteY4" fmla="*/ 250317 h 250316"/>
                <a:gd name="connsiteX5" fmla="*/ 125158 w 250317"/>
                <a:gd name="connsiteY5" fmla="*/ 14192 h 250316"/>
                <a:gd name="connsiteX6" fmla="*/ 14288 w 250317"/>
                <a:gd name="connsiteY6" fmla="*/ 125063 h 250316"/>
                <a:gd name="connsiteX7" fmla="*/ 125158 w 250317"/>
                <a:gd name="connsiteY7" fmla="*/ 235934 h 250316"/>
                <a:gd name="connsiteX8" fmla="*/ 236030 w 250317"/>
                <a:gd name="connsiteY8" fmla="*/ 125063 h 250316"/>
                <a:gd name="connsiteX9" fmla="*/ 125158 w 250317"/>
                <a:gd name="connsiteY9" fmla="*/ 14192 h 25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0317" h="250316">
                  <a:moveTo>
                    <a:pt x="125158" y="250317"/>
                  </a:moveTo>
                  <a:cubicBezTo>
                    <a:pt x="56102" y="250317"/>
                    <a:pt x="0" y="194120"/>
                    <a:pt x="0" y="125158"/>
                  </a:cubicBezTo>
                  <a:cubicBezTo>
                    <a:pt x="0" y="56198"/>
                    <a:pt x="56197" y="0"/>
                    <a:pt x="125158" y="0"/>
                  </a:cubicBezTo>
                  <a:cubicBezTo>
                    <a:pt x="194119" y="0"/>
                    <a:pt x="250317" y="56198"/>
                    <a:pt x="250317" y="125158"/>
                  </a:cubicBezTo>
                  <a:cubicBezTo>
                    <a:pt x="250317" y="194120"/>
                    <a:pt x="194119" y="250317"/>
                    <a:pt x="125158" y="250317"/>
                  </a:cubicBezTo>
                  <a:close/>
                  <a:moveTo>
                    <a:pt x="125158" y="14192"/>
                  </a:moveTo>
                  <a:cubicBezTo>
                    <a:pt x="64008" y="14192"/>
                    <a:pt x="14288" y="63913"/>
                    <a:pt x="14288" y="125063"/>
                  </a:cubicBezTo>
                  <a:cubicBezTo>
                    <a:pt x="14288" y="186214"/>
                    <a:pt x="64008" y="235934"/>
                    <a:pt x="125158" y="235934"/>
                  </a:cubicBezTo>
                  <a:cubicBezTo>
                    <a:pt x="186309" y="235934"/>
                    <a:pt x="236030" y="186214"/>
                    <a:pt x="236030" y="125063"/>
                  </a:cubicBezTo>
                  <a:cubicBezTo>
                    <a:pt x="236030" y="63913"/>
                    <a:pt x="186309" y="14192"/>
                    <a:pt x="125158" y="14192"/>
                  </a:cubicBezTo>
                  <a:close/>
                </a:path>
              </a:pathLst>
            </a:custGeom>
            <a:solidFill>
              <a:srgbClr val="FFFFFF"/>
            </a:solidFill>
            <a:ln w="9525" cap="flat">
              <a:noFill/>
              <a:prstDash val="solid"/>
              <a:miter/>
            </a:ln>
          </p:spPr>
          <p:txBody>
            <a:bodyPr rtlCol="0" anchor="ctr"/>
            <a:lstStyle/>
            <a:p>
              <a:endParaRPr lang="en-DK"/>
            </a:p>
          </p:txBody>
        </p:sp>
      </p:grpSp>
      <p:grpSp>
        <p:nvGrpSpPr>
          <p:cNvPr id="57" name="Graphic 4">
            <a:extLst>
              <a:ext uri="{FF2B5EF4-FFF2-40B4-BE49-F238E27FC236}">
                <a16:creationId xmlns:a16="http://schemas.microsoft.com/office/drawing/2014/main" id="{35D7B735-9A5A-19D3-FDC5-24C4B23BCC9C}"/>
              </a:ext>
            </a:extLst>
          </p:cNvPr>
          <p:cNvGrpSpPr/>
          <p:nvPr/>
        </p:nvGrpSpPr>
        <p:grpSpPr>
          <a:xfrm>
            <a:off x="3135279" y="2381713"/>
            <a:ext cx="71255" cy="71301"/>
            <a:chOff x="6258337" y="3462909"/>
            <a:chExt cx="145446" cy="145541"/>
          </a:xfrm>
        </p:grpSpPr>
        <p:sp>
          <p:nvSpPr>
            <p:cNvPr id="75" name="Freeform 74">
              <a:extLst>
                <a:ext uri="{FF2B5EF4-FFF2-40B4-BE49-F238E27FC236}">
                  <a16:creationId xmlns:a16="http://schemas.microsoft.com/office/drawing/2014/main" id="{179E8224-61CF-FF50-6FF2-DB80912F2539}"/>
                </a:ext>
              </a:extLst>
            </p:cNvPr>
            <p:cNvSpPr/>
            <p:nvPr/>
          </p:nvSpPr>
          <p:spPr>
            <a:xfrm rot="-2700000">
              <a:off x="6265389" y="3470162"/>
              <a:ext cx="131254" cy="131254"/>
            </a:xfrm>
            <a:custGeom>
              <a:avLst/>
              <a:gdLst>
                <a:gd name="connsiteX0" fmla="*/ 131255 w 131254"/>
                <a:gd name="connsiteY0" fmla="*/ 65627 h 131254"/>
                <a:gd name="connsiteX1" fmla="*/ 65627 w 131254"/>
                <a:gd name="connsiteY1" fmla="*/ 131255 h 131254"/>
                <a:gd name="connsiteX2" fmla="*/ 0 w 131254"/>
                <a:gd name="connsiteY2" fmla="*/ 65627 h 131254"/>
                <a:gd name="connsiteX3" fmla="*/ 65627 w 131254"/>
                <a:gd name="connsiteY3" fmla="*/ 0 h 131254"/>
                <a:gd name="connsiteX4" fmla="*/ 131255 w 131254"/>
                <a:gd name="connsiteY4" fmla="*/ 65627 h 13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54" h="131254">
                  <a:moveTo>
                    <a:pt x="131255" y="65627"/>
                  </a:moveTo>
                  <a:cubicBezTo>
                    <a:pt x="131255" y="101872"/>
                    <a:pt x="101872" y="131255"/>
                    <a:pt x="65627" y="131255"/>
                  </a:cubicBezTo>
                  <a:cubicBezTo>
                    <a:pt x="29382" y="131255"/>
                    <a:pt x="0" y="101872"/>
                    <a:pt x="0" y="65627"/>
                  </a:cubicBezTo>
                  <a:cubicBezTo>
                    <a:pt x="0" y="29382"/>
                    <a:pt x="29382" y="0"/>
                    <a:pt x="65627" y="0"/>
                  </a:cubicBezTo>
                  <a:cubicBezTo>
                    <a:pt x="101872" y="0"/>
                    <a:pt x="131255" y="29382"/>
                    <a:pt x="131255" y="65627"/>
                  </a:cubicBezTo>
                  <a:close/>
                </a:path>
              </a:pathLst>
            </a:custGeom>
            <a:solidFill>
              <a:srgbClr val="2878FF">
                <a:alpha val="49908"/>
              </a:srgbClr>
            </a:solidFill>
            <a:ln w="9525" cap="flat">
              <a:noFill/>
              <a:prstDash val="solid"/>
              <a:miter/>
            </a:ln>
          </p:spPr>
          <p:txBody>
            <a:bodyPr rtlCol="0" anchor="ctr"/>
            <a:lstStyle/>
            <a:p>
              <a:endParaRPr lang="en-DK"/>
            </a:p>
          </p:txBody>
        </p:sp>
        <p:sp>
          <p:nvSpPr>
            <p:cNvPr id="76" name="Freeform 75">
              <a:extLst>
                <a:ext uri="{FF2B5EF4-FFF2-40B4-BE49-F238E27FC236}">
                  <a16:creationId xmlns:a16="http://schemas.microsoft.com/office/drawing/2014/main" id="{C63B6CBD-5D3D-7474-FF0B-755C43BD64D8}"/>
                </a:ext>
              </a:extLst>
            </p:cNvPr>
            <p:cNvSpPr/>
            <p:nvPr/>
          </p:nvSpPr>
          <p:spPr>
            <a:xfrm>
              <a:off x="6258337" y="3462909"/>
              <a:ext cx="145446" cy="145541"/>
            </a:xfrm>
            <a:custGeom>
              <a:avLst/>
              <a:gdLst>
                <a:gd name="connsiteX0" fmla="*/ 72676 w 145446"/>
                <a:gd name="connsiteY0" fmla="*/ 145542 h 145541"/>
                <a:gd name="connsiteX1" fmla="*/ 0 w 145446"/>
                <a:gd name="connsiteY1" fmla="*/ 72771 h 145541"/>
                <a:gd name="connsiteX2" fmla="*/ 72676 w 145446"/>
                <a:gd name="connsiteY2" fmla="*/ 0 h 145541"/>
                <a:gd name="connsiteX3" fmla="*/ 145447 w 145446"/>
                <a:gd name="connsiteY3" fmla="*/ 72771 h 145541"/>
                <a:gd name="connsiteX4" fmla="*/ 72676 w 145446"/>
                <a:gd name="connsiteY4" fmla="*/ 145542 h 145541"/>
                <a:gd name="connsiteX5" fmla="*/ 72676 w 145446"/>
                <a:gd name="connsiteY5" fmla="*/ 14383 h 145541"/>
                <a:gd name="connsiteX6" fmla="*/ 14288 w 145446"/>
                <a:gd name="connsiteY6" fmla="*/ 72866 h 145541"/>
                <a:gd name="connsiteX7" fmla="*/ 72676 w 145446"/>
                <a:gd name="connsiteY7" fmla="*/ 131350 h 145541"/>
                <a:gd name="connsiteX8" fmla="*/ 131159 w 145446"/>
                <a:gd name="connsiteY8" fmla="*/ 72866 h 145541"/>
                <a:gd name="connsiteX9" fmla="*/ 72676 w 145446"/>
                <a:gd name="connsiteY9" fmla="*/ 14383 h 14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446" h="145541">
                  <a:moveTo>
                    <a:pt x="72676" y="145542"/>
                  </a:moveTo>
                  <a:cubicBezTo>
                    <a:pt x="32576" y="145542"/>
                    <a:pt x="0" y="112871"/>
                    <a:pt x="0" y="72771"/>
                  </a:cubicBezTo>
                  <a:cubicBezTo>
                    <a:pt x="0" y="32671"/>
                    <a:pt x="32576" y="0"/>
                    <a:pt x="72676" y="0"/>
                  </a:cubicBezTo>
                  <a:cubicBezTo>
                    <a:pt x="112776" y="0"/>
                    <a:pt x="145447" y="32671"/>
                    <a:pt x="145447" y="72771"/>
                  </a:cubicBezTo>
                  <a:cubicBezTo>
                    <a:pt x="145447" y="112871"/>
                    <a:pt x="112776" y="145542"/>
                    <a:pt x="72676" y="145542"/>
                  </a:cubicBezTo>
                  <a:close/>
                  <a:moveTo>
                    <a:pt x="72676" y="14383"/>
                  </a:moveTo>
                  <a:cubicBezTo>
                    <a:pt x="40481" y="14383"/>
                    <a:pt x="14288" y="40576"/>
                    <a:pt x="14288" y="72866"/>
                  </a:cubicBezTo>
                  <a:cubicBezTo>
                    <a:pt x="14288" y="105156"/>
                    <a:pt x="40481" y="131350"/>
                    <a:pt x="72676" y="131350"/>
                  </a:cubicBezTo>
                  <a:cubicBezTo>
                    <a:pt x="104870" y="131350"/>
                    <a:pt x="131159" y="105156"/>
                    <a:pt x="131159" y="72866"/>
                  </a:cubicBezTo>
                  <a:cubicBezTo>
                    <a:pt x="131159" y="40576"/>
                    <a:pt x="104966" y="14383"/>
                    <a:pt x="72676" y="14383"/>
                  </a:cubicBezTo>
                  <a:close/>
                </a:path>
              </a:pathLst>
            </a:custGeom>
            <a:solidFill>
              <a:srgbClr val="FFFFFF"/>
            </a:solidFill>
            <a:ln w="9525" cap="flat">
              <a:noFill/>
              <a:prstDash val="solid"/>
              <a:miter/>
            </a:ln>
          </p:spPr>
          <p:txBody>
            <a:bodyPr rtlCol="0" anchor="ctr"/>
            <a:lstStyle/>
            <a:p>
              <a:endParaRPr lang="en-DK"/>
            </a:p>
          </p:txBody>
        </p:sp>
      </p:grpSp>
      <p:sp>
        <p:nvSpPr>
          <p:cNvPr id="58" name="Freeform 57">
            <a:extLst>
              <a:ext uri="{FF2B5EF4-FFF2-40B4-BE49-F238E27FC236}">
                <a16:creationId xmlns:a16="http://schemas.microsoft.com/office/drawing/2014/main" id="{4C1490E0-621C-D8F0-1398-5B977B2FE99F}"/>
              </a:ext>
            </a:extLst>
          </p:cNvPr>
          <p:cNvSpPr/>
          <p:nvPr/>
        </p:nvSpPr>
        <p:spPr>
          <a:xfrm>
            <a:off x="3083812" y="2178445"/>
            <a:ext cx="58419" cy="58425"/>
          </a:xfrm>
          <a:custGeom>
            <a:avLst/>
            <a:gdLst>
              <a:gd name="connsiteX0" fmla="*/ 59623 w 119245"/>
              <a:gd name="connsiteY0" fmla="*/ 119257 h 119257"/>
              <a:gd name="connsiteX1" fmla="*/ 2663 w 119245"/>
              <a:gd name="connsiteY1" fmla="*/ 77252 h 119257"/>
              <a:gd name="connsiteX2" fmla="*/ 42001 w 119245"/>
              <a:gd name="connsiteY2" fmla="*/ 2671 h 119257"/>
              <a:gd name="connsiteX3" fmla="*/ 116582 w 119245"/>
              <a:gd name="connsiteY3" fmla="*/ 42009 h 119257"/>
              <a:gd name="connsiteX4" fmla="*/ 116582 w 119245"/>
              <a:gd name="connsiteY4" fmla="*/ 42009 h 119257"/>
              <a:gd name="connsiteX5" fmla="*/ 77244 w 119245"/>
              <a:gd name="connsiteY5" fmla="*/ 116590 h 119257"/>
              <a:gd name="connsiteX6" fmla="*/ 59718 w 119245"/>
              <a:gd name="connsiteY6" fmla="*/ 119257 h 119257"/>
              <a:gd name="connsiteX7" fmla="*/ 59623 w 119245"/>
              <a:gd name="connsiteY7" fmla="*/ 14292 h 119257"/>
              <a:gd name="connsiteX8" fmla="*/ 46288 w 119245"/>
              <a:gd name="connsiteY8" fmla="*/ 16292 h 119257"/>
              <a:gd name="connsiteX9" fmla="*/ 16379 w 119245"/>
              <a:gd name="connsiteY9" fmla="*/ 72966 h 119257"/>
              <a:gd name="connsiteX10" fmla="*/ 73053 w 119245"/>
              <a:gd name="connsiteY10" fmla="*/ 102874 h 119257"/>
              <a:gd name="connsiteX11" fmla="*/ 102961 w 119245"/>
              <a:gd name="connsiteY11" fmla="*/ 46200 h 119257"/>
              <a:gd name="connsiteX12" fmla="*/ 59623 w 119245"/>
              <a:gd name="connsiteY12" fmla="*/ 14292 h 11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9245" h="119257">
                <a:moveTo>
                  <a:pt x="59623" y="119257"/>
                </a:moveTo>
                <a:cubicBezTo>
                  <a:pt x="34191" y="119257"/>
                  <a:pt x="10569" y="102779"/>
                  <a:pt x="2663" y="77252"/>
                </a:cubicBezTo>
                <a:cubicBezTo>
                  <a:pt x="-7052" y="45819"/>
                  <a:pt x="10664" y="12387"/>
                  <a:pt x="42001" y="2671"/>
                </a:cubicBezTo>
                <a:cubicBezTo>
                  <a:pt x="73434" y="-7044"/>
                  <a:pt x="106867" y="10577"/>
                  <a:pt x="116582" y="42009"/>
                </a:cubicBezTo>
                <a:lnTo>
                  <a:pt x="116582" y="42009"/>
                </a:lnTo>
                <a:cubicBezTo>
                  <a:pt x="126298" y="73442"/>
                  <a:pt x="108581" y="106875"/>
                  <a:pt x="77244" y="116590"/>
                </a:cubicBezTo>
                <a:cubicBezTo>
                  <a:pt x="71434" y="118400"/>
                  <a:pt x="65528" y="119257"/>
                  <a:pt x="59718" y="119257"/>
                </a:cubicBezTo>
                <a:close/>
                <a:moveTo>
                  <a:pt x="59623" y="14292"/>
                </a:moveTo>
                <a:cubicBezTo>
                  <a:pt x="55241" y="14292"/>
                  <a:pt x="50669" y="14958"/>
                  <a:pt x="46288" y="16292"/>
                </a:cubicBezTo>
                <a:cubicBezTo>
                  <a:pt x="22380" y="23626"/>
                  <a:pt x="8950" y="49058"/>
                  <a:pt x="16379" y="72966"/>
                </a:cubicBezTo>
                <a:cubicBezTo>
                  <a:pt x="23809" y="96873"/>
                  <a:pt x="49240" y="110304"/>
                  <a:pt x="73053" y="102874"/>
                </a:cubicBezTo>
                <a:cubicBezTo>
                  <a:pt x="96961" y="95540"/>
                  <a:pt x="110391" y="70108"/>
                  <a:pt x="102961" y="46200"/>
                </a:cubicBezTo>
                <a:cubicBezTo>
                  <a:pt x="96961" y="26769"/>
                  <a:pt x="78958" y="14292"/>
                  <a:pt x="59623" y="14292"/>
                </a:cubicBezTo>
                <a:close/>
              </a:path>
            </a:pathLst>
          </a:custGeom>
          <a:solidFill>
            <a:srgbClr val="FFFFFF"/>
          </a:solidFill>
          <a:ln w="9525" cap="flat">
            <a:noFill/>
            <a:prstDash val="solid"/>
            <a:miter/>
          </a:ln>
        </p:spPr>
        <p:txBody>
          <a:bodyPr rtlCol="0" anchor="ctr"/>
          <a:lstStyle/>
          <a:p>
            <a:endParaRPr lang="en-DK"/>
          </a:p>
        </p:txBody>
      </p:sp>
      <p:grpSp>
        <p:nvGrpSpPr>
          <p:cNvPr id="59" name="Graphic 4">
            <a:extLst>
              <a:ext uri="{FF2B5EF4-FFF2-40B4-BE49-F238E27FC236}">
                <a16:creationId xmlns:a16="http://schemas.microsoft.com/office/drawing/2014/main" id="{7BAD8B16-0050-59F2-A50B-7D289C2E08FE}"/>
              </a:ext>
            </a:extLst>
          </p:cNvPr>
          <p:cNvGrpSpPr/>
          <p:nvPr/>
        </p:nvGrpSpPr>
        <p:grpSpPr>
          <a:xfrm>
            <a:off x="3019567" y="2214698"/>
            <a:ext cx="32685" cy="32718"/>
            <a:chOff x="6022143" y="3121995"/>
            <a:chExt cx="66718" cy="66784"/>
          </a:xfrm>
        </p:grpSpPr>
        <p:sp>
          <p:nvSpPr>
            <p:cNvPr id="73" name="Freeform 72">
              <a:extLst>
                <a:ext uri="{FF2B5EF4-FFF2-40B4-BE49-F238E27FC236}">
                  <a16:creationId xmlns:a16="http://schemas.microsoft.com/office/drawing/2014/main" id="{4177BEF2-DEEE-5501-B605-D5D030648908}"/>
                </a:ext>
              </a:extLst>
            </p:cNvPr>
            <p:cNvSpPr/>
            <p:nvPr/>
          </p:nvSpPr>
          <p:spPr>
            <a:xfrm>
              <a:off x="6029259" y="3129055"/>
              <a:ext cx="52486" cy="52486"/>
            </a:xfrm>
            <a:custGeom>
              <a:avLst/>
              <a:gdLst>
                <a:gd name="connsiteX0" fmla="*/ 50485 w 52486"/>
                <a:gd name="connsiteY0" fmla="*/ 16195 h 52486"/>
                <a:gd name="connsiteX1" fmla="*/ 36292 w 52486"/>
                <a:gd name="connsiteY1" fmla="*/ 50485 h 52486"/>
                <a:gd name="connsiteX2" fmla="*/ 2002 w 52486"/>
                <a:gd name="connsiteY2" fmla="*/ 36292 h 52486"/>
                <a:gd name="connsiteX3" fmla="*/ 16195 w 52486"/>
                <a:gd name="connsiteY3" fmla="*/ 2002 h 52486"/>
                <a:gd name="connsiteX4" fmla="*/ 50485 w 52486"/>
                <a:gd name="connsiteY4" fmla="*/ 16195 h 52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86" h="52486">
                  <a:moveTo>
                    <a:pt x="50485" y="16195"/>
                  </a:moveTo>
                  <a:cubicBezTo>
                    <a:pt x="56009" y="29530"/>
                    <a:pt x="49723" y="44960"/>
                    <a:pt x="36292" y="50485"/>
                  </a:cubicBezTo>
                  <a:cubicBezTo>
                    <a:pt x="22957" y="56009"/>
                    <a:pt x="7527" y="49723"/>
                    <a:pt x="2002" y="36292"/>
                  </a:cubicBezTo>
                  <a:cubicBezTo>
                    <a:pt x="-3522" y="22957"/>
                    <a:pt x="2764" y="7527"/>
                    <a:pt x="16195" y="2002"/>
                  </a:cubicBezTo>
                  <a:cubicBezTo>
                    <a:pt x="29530" y="-3522"/>
                    <a:pt x="44960" y="2764"/>
                    <a:pt x="50485" y="16195"/>
                  </a:cubicBezTo>
                  <a:close/>
                </a:path>
              </a:pathLst>
            </a:custGeom>
            <a:solidFill>
              <a:srgbClr val="2878FF">
                <a:alpha val="49872"/>
              </a:srgbClr>
            </a:solidFill>
            <a:ln w="9525" cap="flat">
              <a:noFill/>
              <a:prstDash val="solid"/>
              <a:miter/>
            </a:ln>
          </p:spPr>
          <p:txBody>
            <a:bodyPr rtlCol="0" anchor="ctr"/>
            <a:lstStyle/>
            <a:p>
              <a:endParaRPr lang="en-DK"/>
            </a:p>
          </p:txBody>
        </p:sp>
        <p:sp>
          <p:nvSpPr>
            <p:cNvPr id="74" name="Freeform 73">
              <a:extLst>
                <a:ext uri="{FF2B5EF4-FFF2-40B4-BE49-F238E27FC236}">
                  <a16:creationId xmlns:a16="http://schemas.microsoft.com/office/drawing/2014/main" id="{49FE584D-78F3-F8D1-C52C-3525397995C3}"/>
                </a:ext>
              </a:extLst>
            </p:cNvPr>
            <p:cNvSpPr/>
            <p:nvPr/>
          </p:nvSpPr>
          <p:spPr>
            <a:xfrm>
              <a:off x="6022143" y="3121995"/>
              <a:ext cx="66718" cy="66784"/>
            </a:xfrm>
            <a:custGeom>
              <a:avLst/>
              <a:gdLst>
                <a:gd name="connsiteX0" fmla="*/ 33407 w 66718"/>
                <a:gd name="connsiteY0" fmla="*/ 66784 h 66784"/>
                <a:gd name="connsiteX1" fmla="*/ 2546 w 66718"/>
                <a:gd name="connsiteY1" fmla="*/ 46210 h 66784"/>
                <a:gd name="connsiteX2" fmla="*/ 20548 w 66718"/>
                <a:gd name="connsiteY2" fmla="*/ 2586 h 66784"/>
                <a:gd name="connsiteX3" fmla="*/ 64173 w 66718"/>
                <a:gd name="connsiteY3" fmla="*/ 20588 h 66784"/>
                <a:gd name="connsiteX4" fmla="*/ 64173 w 66718"/>
                <a:gd name="connsiteY4" fmla="*/ 20588 h 66784"/>
                <a:gd name="connsiteX5" fmla="*/ 46170 w 66718"/>
                <a:gd name="connsiteY5" fmla="*/ 64213 h 66784"/>
                <a:gd name="connsiteX6" fmla="*/ 33407 w 66718"/>
                <a:gd name="connsiteY6" fmla="*/ 66784 h 66784"/>
                <a:gd name="connsiteX7" fmla="*/ 33407 w 66718"/>
                <a:gd name="connsiteY7" fmla="*/ 14302 h 66784"/>
                <a:gd name="connsiteX8" fmla="*/ 26073 w 66718"/>
                <a:gd name="connsiteY8" fmla="*/ 15730 h 66784"/>
                <a:gd name="connsiteX9" fmla="*/ 15786 w 66718"/>
                <a:gd name="connsiteY9" fmla="*/ 40686 h 66784"/>
                <a:gd name="connsiteX10" fmla="*/ 40741 w 66718"/>
                <a:gd name="connsiteY10" fmla="*/ 50973 h 66784"/>
                <a:gd name="connsiteX11" fmla="*/ 51028 w 66718"/>
                <a:gd name="connsiteY11" fmla="*/ 26017 h 66784"/>
                <a:gd name="connsiteX12" fmla="*/ 33407 w 66718"/>
                <a:gd name="connsiteY12" fmla="*/ 14302 h 66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718" h="66784">
                  <a:moveTo>
                    <a:pt x="33407" y="66784"/>
                  </a:moveTo>
                  <a:cubicBezTo>
                    <a:pt x="20358" y="66784"/>
                    <a:pt x="7880" y="59069"/>
                    <a:pt x="2546" y="46210"/>
                  </a:cubicBezTo>
                  <a:cubicBezTo>
                    <a:pt x="-4503" y="29256"/>
                    <a:pt x="3594" y="9634"/>
                    <a:pt x="20548" y="2586"/>
                  </a:cubicBezTo>
                  <a:cubicBezTo>
                    <a:pt x="37598" y="-4558"/>
                    <a:pt x="57124" y="3634"/>
                    <a:pt x="64173" y="20588"/>
                  </a:cubicBezTo>
                  <a:lnTo>
                    <a:pt x="64173" y="20588"/>
                  </a:lnTo>
                  <a:cubicBezTo>
                    <a:pt x="71221" y="37543"/>
                    <a:pt x="63125" y="57164"/>
                    <a:pt x="46170" y="64213"/>
                  </a:cubicBezTo>
                  <a:cubicBezTo>
                    <a:pt x="41979" y="65927"/>
                    <a:pt x="37693" y="66784"/>
                    <a:pt x="33407" y="66784"/>
                  </a:cubicBezTo>
                  <a:close/>
                  <a:moveTo>
                    <a:pt x="33407" y="14302"/>
                  </a:moveTo>
                  <a:cubicBezTo>
                    <a:pt x="30930" y="14302"/>
                    <a:pt x="28454" y="14778"/>
                    <a:pt x="26073" y="15730"/>
                  </a:cubicBezTo>
                  <a:cubicBezTo>
                    <a:pt x="16357" y="19731"/>
                    <a:pt x="11785" y="30970"/>
                    <a:pt x="15786" y="40686"/>
                  </a:cubicBezTo>
                  <a:cubicBezTo>
                    <a:pt x="19786" y="50401"/>
                    <a:pt x="31026" y="54973"/>
                    <a:pt x="40741" y="50973"/>
                  </a:cubicBezTo>
                  <a:cubicBezTo>
                    <a:pt x="50457" y="46972"/>
                    <a:pt x="55029" y="35733"/>
                    <a:pt x="51028" y="26017"/>
                  </a:cubicBezTo>
                  <a:cubicBezTo>
                    <a:pt x="47980" y="18683"/>
                    <a:pt x="40836" y="14302"/>
                    <a:pt x="33407" y="14302"/>
                  </a:cubicBezTo>
                  <a:close/>
                </a:path>
              </a:pathLst>
            </a:custGeom>
            <a:solidFill>
              <a:srgbClr val="FFFFFF"/>
            </a:solidFill>
            <a:ln w="9525" cap="flat">
              <a:noFill/>
              <a:prstDash val="solid"/>
              <a:miter/>
            </a:ln>
          </p:spPr>
          <p:txBody>
            <a:bodyPr rtlCol="0" anchor="ctr"/>
            <a:lstStyle/>
            <a:p>
              <a:endParaRPr lang="en-DK"/>
            </a:p>
          </p:txBody>
        </p:sp>
      </p:grpSp>
      <p:sp>
        <p:nvSpPr>
          <p:cNvPr id="61" name="Freeform 60">
            <a:extLst>
              <a:ext uri="{FF2B5EF4-FFF2-40B4-BE49-F238E27FC236}">
                <a16:creationId xmlns:a16="http://schemas.microsoft.com/office/drawing/2014/main" id="{86DAD656-8AD4-D5B6-784A-D7C9F6123DAB}"/>
              </a:ext>
            </a:extLst>
          </p:cNvPr>
          <p:cNvSpPr/>
          <p:nvPr/>
        </p:nvSpPr>
        <p:spPr>
          <a:xfrm>
            <a:off x="2897483" y="2195433"/>
            <a:ext cx="84087" cy="84087"/>
          </a:xfrm>
          <a:custGeom>
            <a:avLst/>
            <a:gdLst>
              <a:gd name="connsiteX0" fmla="*/ 85820 w 171640"/>
              <a:gd name="connsiteY0" fmla="*/ 171641 h 171640"/>
              <a:gd name="connsiteX1" fmla="*/ 0 w 171640"/>
              <a:gd name="connsiteY1" fmla="*/ 85820 h 171640"/>
              <a:gd name="connsiteX2" fmla="*/ 85820 w 171640"/>
              <a:gd name="connsiteY2" fmla="*/ 0 h 171640"/>
              <a:gd name="connsiteX3" fmla="*/ 171641 w 171640"/>
              <a:gd name="connsiteY3" fmla="*/ 85820 h 171640"/>
              <a:gd name="connsiteX4" fmla="*/ 85820 w 171640"/>
              <a:gd name="connsiteY4" fmla="*/ 171641 h 171640"/>
              <a:gd name="connsiteX5" fmla="*/ 85820 w 171640"/>
              <a:gd name="connsiteY5" fmla="*/ 14287 h 171640"/>
              <a:gd name="connsiteX6" fmla="*/ 14288 w 171640"/>
              <a:gd name="connsiteY6" fmla="*/ 85820 h 171640"/>
              <a:gd name="connsiteX7" fmla="*/ 85820 w 171640"/>
              <a:gd name="connsiteY7" fmla="*/ 157353 h 171640"/>
              <a:gd name="connsiteX8" fmla="*/ 157353 w 171640"/>
              <a:gd name="connsiteY8" fmla="*/ 85820 h 171640"/>
              <a:gd name="connsiteX9" fmla="*/ 85820 w 171640"/>
              <a:gd name="connsiteY9" fmla="*/ 14287 h 171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640" h="171640">
                <a:moveTo>
                  <a:pt x="85820" y="171641"/>
                </a:moveTo>
                <a:cubicBezTo>
                  <a:pt x="38481" y="171641"/>
                  <a:pt x="0" y="133160"/>
                  <a:pt x="0" y="85820"/>
                </a:cubicBezTo>
                <a:cubicBezTo>
                  <a:pt x="0" y="38481"/>
                  <a:pt x="38481" y="0"/>
                  <a:pt x="85820" y="0"/>
                </a:cubicBezTo>
                <a:cubicBezTo>
                  <a:pt x="133160" y="0"/>
                  <a:pt x="171641" y="38481"/>
                  <a:pt x="171641" y="85820"/>
                </a:cubicBezTo>
                <a:cubicBezTo>
                  <a:pt x="171641" y="133160"/>
                  <a:pt x="133160" y="171641"/>
                  <a:pt x="85820" y="171641"/>
                </a:cubicBezTo>
                <a:close/>
                <a:moveTo>
                  <a:pt x="85820" y="14287"/>
                </a:moveTo>
                <a:cubicBezTo>
                  <a:pt x="46387" y="14287"/>
                  <a:pt x="14288" y="46387"/>
                  <a:pt x="14288" y="85820"/>
                </a:cubicBezTo>
                <a:cubicBezTo>
                  <a:pt x="14288" y="125254"/>
                  <a:pt x="46387" y="157353"/>
                  <a:pt x="85820" y="157353"/>
                </a:cubicBezTo>
                <a:cubicBezTo>
                  <a:pt x="125254" y="157353"/>
                  <a:pt x="157353" y="125254"/>
                  <a:pt x="157353" y="85820"/>
                </a:cubicBezTo>
                <a:cubicBezTo>
                  <a:pt x="157353" y="46387"/>
                  <a:pt x="125254" y="14287"/>
                  <a:pt x="85820" y="14287"/>
                </a:cubicBezTo>
                <a:close/>
              </a:path>
            </a:pathLst>
          </a:custGeom>
          <a:solidFill>
            <a:srgbClr val="FFFFFF"/>
          </a:solidFill>
          <a:ln w="9525" cap="flat">
            <a:noFill/>
            <a:prstDash val="solid"/>
            <a:miter/>
          </a:ln>
        </p:spPr>
        <p:txBody>
          <a:bodyPr rtlCol="0" anchor="ctr"/>
          <a:lstStyle/>
          <a:p>
            <a:endParaRPr lang="en-DK"/>
          </a:p>
        </p:txBody>
      </p:sp>
      <p:sp>
        <p:nvSpPr>
          <p:cNvPr id="62" name="Freeform 61">
            <a:extLst>
              <a:ext uri="{FF2B5EF4-FFF2-40B4-BE49-F238E27FC236}">
                <a16:creationId xmlns:a16="http://schemas.microsoft.com/office/drawing/2014/main" id="{3DC93361-2B49-F4DC-6456-0663FD9D80C5}"/>
              </a:ext>
            </a:extLst>
          </p:cNvPr>
          <p:cNvSpPr/>
          <p:nvPr/>
        </p:nvSpPr>
        <p:spPr>
          <a:xfrm>
            <a:off x="2916755" y="2465334"/>
            <a:ext cx="84087" cy="84087"/>
          </a:xfrm>
          <a:custGeom>
            <a:avLst/>
            <a:gdLst>
              <a:gd name="connsiteX0" fmla="*/ 85820 w 171640"/>
              <a:gd name="connsiteY0" fmla="*/ 171641 h 171640"/>
              <a:gd name="connsiteX1" fmla="*/ 0 w 171640"/>
              <a:gd name="connsiteY1" fmla="*/ 85820 h 171640"/>
              <a:gd name="connsiteX2" fmla="*/ 85820 w 171640"/>
              <a:gd name="connsiteY2" fmla="*/ 0 h 171640"/>
              <a:gd name="connsiteX3" fmla="*/ 171641 w 171640"/>
              <a:gd name="connsiteY3" fmla="*/ 85820 h 171640"/>
              <a:gd name="connsiteX4" fmla="*/ 85820 w 171640"/>
              <a:gd name="connsiteY4" fmla="*/ 171641 h 171640"/>
              <a:gd name="connsiteX5" fmla="*/ 85820 w 171640"/>
              <a:gd name="connsiteY5" fmla="*/ 14192 h 171640"/>
              <a:gd name="connsiteX6" fmla="*/ 14288 w 171640"/>
              <a:gd name="connsiteY6" fmla="*/ 85725 h 171640"/>
              <a:gd name="connsiteX7" fmla="*/ 85820 w 171640"/>
              <a:gd name="connsiteY7" fmla="*/ 157258 h 171640"/>
              <a:gd name="connsiteX8" fmla="*/ 157353 w 171640"/>
              <a:gd name="connsiteY8" fmla="*/ 85725 h 171640"/>
              <a:gd name="connsiteX9" fmla="*/ 85820 w 171640"/>
              <a:gd name="connsiteY9" fmla="*/ 14192 h 171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640" h="171640">
                <a:moveTo>
                  <a:pt x="85820" y="171641"/>
                </a:moveTo>
                <a:cubicBezTo>
                  <a:pt x="38481" y="171641"/>
                  <a:pt x="0" y="133160"/>
                  <a:pt x="0" y="85820"/>
                </a:cubicBezTo>
                <a:cubicBezTo>
                  <a:pt x="0" y="38481"/>
                  <a:pt x="38481" y="0"/>
                  <a:pt x="85820" y="0"/>
                </a:cubicBezTo>
                <a:cubicBezTo>
                  <a:pt x="133160" y="0"/>
                  <a:pt x="171641" y="38481"/>
                  <a:pt x="171641" y="85820"/>
                </a:cubicBezTo>
                <a:cubicBezTo>
                  <a:pt x="171641" y="133160"/>
                  <a:pt x="133160" y="171641"/>
                  <a:pt x="85820" y="171641"/>
                </a:cubicBezTo>
                <a:close/>
                <a:moveTo>
                  <a:pt x="85820" y="14192"/>
                </a:moveTo>
                <a:cubicBezTo>
                  <a:pt x="46387" y="14192"/>
                  <a:pt x="14288" y="46291"/>
                  <a:pt x="14288" y="85725"/>
                </a:cubicBezTo>
                <a:cubicBezTo>
                  <a:pt x="14288" y="125159"/>
                  <a:pt x="46387" y="157258"/>
                  <a:pt x="85820" y="157258"/>
                </a:cubicBezTo>
                <a:cubicBezTo>
                  <a:pt x="125254" y="157258"/>
                  <a:pt x="157353" y="125159"/>
                  <a:pt x="157353" y="85725"/>
                </a:cubicBezTo>
                <a:cubicBezTo>
                  <a:pt x="157353" y="46291"/>
                  <a:pt x="125254" y="14192"/>
                  <a:pt x="85820" y="14192"/>
                </a:cubicBezTo>
                <a:close/>
              </a:path>
            </a:pathLst>
          </a:custGeom>
          <a:solidFill>
            <a:srgbClr val="FFFFFF"/>
          </a:solidFill>
          <a:ln w="9525" cap="flat">
            <a:noFill/>
            <a:prstDash val="solid"/>
            <a:miter/>
          </a:ln>
        </p:spPr>
        <p:txBody>
          <a:bodyPr rtlCol="0" anchor="ctr"/>
          <a:lstStyle/>
          <a:p>
            <a:endParaRPr lang="en-DK"/>
          </a:p>
        </p:txBody>
      </p:sp>
      <p:grpSp>
        <p:nvGrpSpPr>
          <p:cNvPr id="63" name="Graphic 4">
            <a:extLst>
              <a:ext uri="{FF2B5EF4-FFF2-40B4-BE49-F238E27FC236}">
                <a16:creationId xmlns:a16="http://schemas.microsoft.com/office/drawing/2014/main" id="{D494198D-C4C8-608E-FBB1-815EA1E2B734}"/>
              </a:ext>
            </a:extLst>
          </p:cNvPr>
          <p:cNvGrpSpPr/>
          <p:nvPr/>
        </p:nvGrpSpPr>
        <p:grpSpPr>
          <a:xfrm>
            <a:off x="3128840" y="2246856"/>
            <a:ext cx="84087" cy="84087"/>
            <a:chOff x="6245193" y="3187636"/>
            <a:chExt cx="171640" cy="171640"/>
          </a:xfrm>
        </p:grpSpPr>
        <p:sp>
          <p:nvSpPr>
            <p:cNvPr id="71" name="Freeform 70">
              <a:extLst>
                <a:ext uri="{FF2B5EF4-FFF2-40B4-BE49-F238E27FC236}">
                  <a16:creationId xmlns:a16="http://schemas.microsoft.com/office/drawing/2014/main" id="{A7155735-3877-1628-B60F-CAD14D68A2CA}"/>
                </a:ext>
              </a:extLst>
            </p:cNvPr>
            <p:cNvSpPr/>
            <p:nvPr/>
          </p:nvSpPr>
          <p:spPr>
            <a:xfrm>
              <a:off x="6252337" y="3194780"/>
              <a:ext cx="157353" cy="157352"/>
            </a:xfrm>
            <a:custGeom>
              <a:avLst/>
              <a:gdLst>
                <a:gd name="connsiteX0" fmla="*/ 157353 w 157353"/>
                <a:gd name="connsiteY0" fmla="*/ 78677 h 157352"/>
                <a:gd name="connsiteX1" fmla="*/ 78677 w 157353"/>
                <a:gd name="connsiteY1" fmla="*/ 157353 h 157352"/>
                <a:gd name="connsiteX2" fmla="*/ 0 w 157353"/>
                <a:gd name="connsiteY2" fmla="*/ 78677 h 157352"/>
                <a:gd name="connsiteX3" fmla="*/ 78677 w 157353"/>
                <a:gd name="connsiteY3" fmla="*/ 0 h 157352"/>
                <a:gd name="connsiteX4" fmla="*/ 157353 w 157353"/>
                <a:gd name="connsiteY4" fmla="*/ 78677 h 157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53" h="157352">
                  <a:moveTo>
                    <a:pt x="157353" y="78677"/>
                  </a:moveTo>
                  <a:cubicBezTo>
                    <a:pt x="157353" y="122128"/>
                    <a:pt x="122128" y="157353"/>
                    <a:pt x="78677" y="157353"/>
                  </a:cubicBezTo>
                  <a:cubicBezTo>
                    <a:pt x="35225" y="157353"/>
                    <a:pt x="0" y="122128"/>
                    <a:pt x="0" y="78677"/>
                  </a:cubicBezTo>
                  <a:cubicBezTo>
                    <a:pt x="0" y="35225"/>
                    <a:pt x="35225" y="0"/>
                    <a:pt x="78677" y="0"/>
                  </a:cubicBezTo>
                  <a:cubicBezTo>
                    <a:pt x="122128" y="0"/>
                    <a:pt x="157353" y="35225"/>
                    <a:pt x="157353" y="78677"/>
                  </a:cubicBezTo>
                  <a:close/>
                </a:path>
              </a:pathLst>
            </a:custGeom>
            <a:solidFill>
              <a:srgbClr val="2878FF">
                <a:alpha val="49773"/>
              </a:srgbClr>
            </a:solidFill>
            <a:ln w="9525" cap="flat">
              <a:noFill/>
              <a:prstDash val="solid"/>
              <a:miter/>
            </a:ln>
          </p:spPr>
          <p:txBody>
            <a:bodyPr rtlCol="0" anchor="ctr"/>
            <a:lstStyle/>
            <a:p>
              <a:endParaRPr lang="en-DK"/>
            </a:p>
          </p:txBody>
        </p:sp>
        <p:sp>
          <p:nvSpPr>
            <p:cNvPr id="72" name="Freeform 71">
              <a:extLst>
                <a:ext uri="{FF2B5EF4-FFF2-40B4-BE49-F238E27FC236}">
                  <a16:creationId xmlns:a16="http://schemas.microsoft.com/office/drawing/2014/main" id="{07CA9F58-A676-EDA9-A335-07B78C8DC966}"/>
                </a:ext>
              </a:extLst>
            </p:cNvPr>
            <p:cNvSpPr/>
            <p:nvPr/>
          </p:nvSpPr>
          <p:spPr>
            <a:xfrm>
              <a:off x="6245193" y="3187636"/>
              <a:ext cx="171640" cy="171640"/>
            </a:xfrm>
            <a:custGeom>
              <a:avLst/>
              <a:gdLst>
                <a:gd name="connsiteX0" fmla="*/ 85820 w 171640"/>
                <a:gd name="connsiteY0" fmla="*/ 171641 h 171640"/>
                <a:gd name="connsiteX1" fmla="*/ 0 w 171640"/>
                <a:gd name="connsiteY1" fmla="*/ 85820 h 171640"/>
                <a:gd name="connsiteX2" fmla="*/ 85820 w 171640"/>
                <a:gd name="connsiteY2" fmla="*/ 0 h 171640"/>
                <a:gd name="connsiteX3" fmla="*/ 171640 w 171640"/>
                <a:gd name="connsiteY3" fmla="*/ 85820 h 171640"/>
                <a:gd name="connsiteX4" fmla="*/ 85820 w 171640"/>
                <a:gd name="connsiteY4" fmla="*/ 171641 h 171640"/>
                <a:gd name="connsiteX5" fmla="*/ 85820 w 171640"/>
                <a:gd name="connsiteY5" fmla="*/ 14192 h 171640"/>
                <a:gd name="connsiteX6" fmla="*/ 14288 w 171640"/>
                <a:gd name="connsiteY6" fmla="*/ 85725 h 171640"/>
                <a:gd name="connsiteX7" fmla="*/ 85820 w 171640"/>
                <a:gd name="connsiteY7" fmla="*/ 157258 h 171640"/>
                <a:gd name="connsiteX8" fmla="*/ 157353 w 171640"/>
                <a:gd name="connsiteY8" fmla="*/ 85725 h 171640"/>
                <a:gd name="connsiteX9" fmla="*/ 85820 w 171640"/>
                <a:gd name="connsiteY9" fmla="*/ 14192 h 171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640" h="171640">
                  <a:moveTo>
                    <a:pt x="85820" y="171641"/>
                  </a:moveTo>
                  <a:cubicBezTo>
                    <a:pt x="38481" y="171641"/>
                    <a:pt x="0" y="133160"/>
                    <a:pt x="0" y="85820"/>
                  </a:cubicBezTo>
                  <a:cubicBezTo>
                    <a:pt x="0" y="38481"/>
                    <a:pt x="38481" y="0"/>
                    <a:pt x="85820" y="0"/>
                  </a:cubicBezTo>
                  <a:cubicBezTo>
                    <a:pt x="133160" y="0"/>
                    <a:pt x="171640" y="38481"/>
                    <a:pt x="171640" y="85820"/>
                  </a:cubicBezTo>
                  <a:cubicBezTo>
                    <a:pt x="171640" y="133160"/>
                    <a:pt x="133160" y="171641"/>
                    <a:pt x="85820" y="171641"/>
                  </a:cubicBezTo>
                  <a:close/>
                  <a:moveTo>
                    <a:pt x="85820" y="14192"/>
                  </a:moveTo>
                  <a:cubicBezTo>
                    <a:pt x="46387" y="14192"/>
                    <a:pt x="14288" y="46292"/>
                    <a:pt x="14288" y="85725"/>
                  </a:cubicBezTo>
                  <a:cubicBezTo>
                    <a:pt x="14288" y="125158"/>
                    <a:pt x="46387" y="157258"/>
                    <a:pt x="85820" y="157258"/>
                  </a:cubicBezTo>
                  <a:cubicBezTo>
                    <a:pt x="125254" y="157258"/>
                    <a:pt x="157353" y="125158"/>
                    <a:pt x="157353" y="85725"/>
                  </a:cubicBezTo>
                  <a:cubicBezTo>
                    <a:pt x="157353" y="46292"/>
                    <a:pt x="125254" y="14192"/>
                    <a:pt x="85820" y="14192"/>
                  </a:cubicBezTo>
                  <a:close/>
                </a:path>
              </a:pathLst>
            </a:custGeom>
            <a:solidFill>
              <a:srgbClr val="FFFFFF"/>
            </a:solidFill>
            <a:ln w="9525" cap="flat">
              <a:noFill/>
              <a:prstDash val="solid"/>
              <a:miter/>
            </a:ln>
          </p:spPr>
          <p:txBody>
            <a:bodyPr rtlCol="0" anchor="ctr"/>
            <a:lstStyle/>
            <a:p>
              <a:endParaRPr lang="en-DK"/>
            </a:p>
          </p:txBody>
        </p:sp>
      </p:grpSp>
      <p:sp>
        <p:nvSpPr>
          <p:cNvPr id="64" name="Freeform 63">
            <a:extLst>
              <a:ext uri="{FF2B5EF4-FFF2-40B4-BE49-F238E27FC236}">
                <a16:creationId xmlns:a16="http://schemas.microsoft.com/office/drawing/2014/main" id="{4D63EE68-C0FF-C45C-A48B-A3FB5E740AAA}"/>
              </a:ext>
            </a:extLst>
          </p:cNvPr>
          <p:cNvSpPr/>
          <p:nvPr/>
        </p:nvSpPr>
        <p:spPr>
          <a:xfrm rot="19102198">
            <a:off x="2981023" y="2259839"/>
            <a:ext cx="6999" cy="77368"/>
          </a:xfrm>
          <a:custGeom>
            <a:avLst/>
            <a:gdLst>
              <a:gd name="connsiteX0" fmla="*/ 0 w 14287"/>
              <a:gd name="connsiteY0" fmla="*/ 0 h 157924"/>
              <a:gd name="connsiteX1" fmla="*/ 14287 w 14287"/>
              <a:gd name="connsiteY1" fmla="*/ 0 h 157924"/>
              <a:gd name="connsiteX2" fmla="*/ 14287 w 14287"/>
              <a:gd name="connsiteY2" fmla="*/ 157925 h 157924"/>
              <a:gd name="connsiteX3" fmla="*/ 0 w 14287"/>
              <a:gd name="connsiteY3" fmla="*/ 157925 h 157924"/>
            </a:gdLst>
            <a:ahLst/>
            <a:cxnLst>
              <a:cxn ang="0">
                <a:pos x="connsiteX0" y="connsiteY0"/>
              </a:cxn>
              <a:cxn ang="0">
                <a:pos x="connsiteX1" y="connsiteY1"/>
              </a:cxn>
              <a:cxn ang="0">
                <a:pos x="connsiteX2" y="connsiteY2"/>
              </a:cxn>
              <a:cxn ang="0">
                <a:pos x="connsiteX3" y="connsiteY3"/>
              </a:cxn>
            </a:cxnLst>
            <a:rect l="l" t="t" r="r" b="b"/>
            <a:pathLst>
              <a:path w="14287" h="157924">
                <a:moveTo>
                  <a:pt x="0" y="0"/>
                </a:moveTo>
                <a:lnTo>
                  <a:pt x="14287" y="0"/>
                </a:lnTo>
                <a:lnTo>
                  <a:pt x="14287" y="157925"/>
                </a:lnTo>
                <a:lnTo>
                  <a:pt x="0" y="157925"/>
                </a:lnTo>
                <a:close/>
              </a:path>
            </a:pathLst>
          </a:custGeom>
          <a:solidFill>
            <a:srgbClr val="FFFFFF"/>
          </a:solidFill>
          <a:ln w="9525" cap="flat">
            <a:noFill/>
            <a:prstDash val="solid"/>
            <a:miter/>
          </a:ln>
        </p:spPr>
        <p:txBody>
          <a:bodyPr rtlCol="0" anchor="ctr"/>
          <a:lstStyle/>
          <a:p>
            <a:endParaRPr lang="en-DK"/>
          </a:p>
        </p:txBody>
      </p:sp>
      <p:sp>
        <p:nvSpPr>
          <p:cNvPr id="65" name="Freeform 64">
            <a:extLst>
              <a:ext uri="{FF2B5EF4-FFF2-40B4-BE49-F238E27FC236}">
                <a16:creationId xmlns:a16="http://schemas.microsoft.com/office/drawing/2014/main" id="{C1C25DD6-9AC8-303C-24AD-11ABD10E71FD}"/>
              </a:ext>
            </a:extLst>
          </p:cNvPr>
          <p:cNvSpPr/>
          <p:nvPr/>
        </p:nvSpPr>
        <p:spPr>
          <a:xfrm rot="17821800">
            <a:off x="3120256" y="2381252"/>
            <a:ext cx="6999" cy="38404"/>
          </a:xfrm>
          <a:custGeom>
            <a:avLst/>
            <a:gdLst>
              <a:gd name="connsiteX0" fmla="*/ 0 w 14287"/>
              <a:gd name="connsiteY0" fmla="*/ 0 h 78390"/>
              <a:gd name="connsiteX1" fmla="*/ 14288 w 14287"/>
              <a:gd name="connsiteY1" fmla="*/ 0 h 78390"/>
              <a:gd name="connsiteX2" fmla="*/ 14288 w 14287"/>
              <a:gd name="connsiteY2" fmla="*/ 78391 h 78390"/>
              <a:gd name="connsiteX3" fmla="*/ 0 w 14287"/>
              <a:gd name="connsiteY3" fmla="*/ 78391 h 78390"/>
            </a:gdLst>
            <a:ahLst/>
            <a:cxnLst>
              <a:cxn ang="0">
                <a:pos x="connsiteX0" y="connsiteY0"/>
              </a:cxn>
              <a:cxn ang="0">
                <a:pos x="connsiteX1" y="connsiteY1"/>
              </a:cxn>
              <a:cxn ang="0">
                <a:pos x="connsiteX2" y="connsiteY2"/>
              </a:cxn>
              <a:cxn ang="0">
                <a:pos x="connsiteX3" y="connsiteY3"/>
              </a:cxn>
            </a:cxnLst>
            <a:rect l="l" t="t" r="r" b="b"/>
            <a:pathLst>
              <a:path w="14287" h="78390">
                <a:moveTo>
                  <a:pt x="0" y="0"/>
                </a:moveTo>
                <a:lnTo>
                  <a:pt x="14288" y="0"/>
                </a:lnTo>
                <a:lnTo>
                  <a:pt x="14288" y="78391"/>
                </a:lnTo>
                <a:lnTo>
                  <a:pt x="0" y="78391"/>
                </a:lnTo>
                <a:close/>
              </a:path>
            </a:pathLst>
          </a:custGeom>
          <a:solidFill>
            <a:srgbClr val="FFFFFF"/>
          </a:solidFill>
          <a:ln w="9525" cap="flat">
            <a:noFill/>
            <a:prstDash val="solid"/>
            <a:miter/>
          </a:ln>
        </p:spPr>
        <p:txBody>
          <a:bodyPr rtlCol="0" anchor="ctr"/>
          <a:lstStyle/>
          <a:p>
            <a:endParaRPr lang="en-DK"/>
          </a:p>
        </p:txBody>
      </p:sp>
      <p:sp>
        <p:nvSpPr>
          <p:cNvPr id="66" name="Freeform 65">
            <a:extLst>
              <a:ext uri="{FF2B5EF4-FFF2-40B4-BE49-F238E27FC236}">
                <a16:creationId xmlns:a16="http://schemas.microsoft.com/office/drawing/2014/main" id="{3243F384-6896-37C8-77BA-D3C06F4D89AB}"/>
              </a:ext>
            </a:extLst>
          </p:cNvPr>
          <p:cNvSpPr/>
          <p:nvPr/>
        </p:nvSpPr>
        <p:spPr>
          <a:xfrm rot="18221399">
            <a:off x="2962605" y="2442775"/>
            <a:ext cx="69528" cy="6999"/>
          </a:xfrm>
          <a:custGeom>
            <a:avLst/>
            <a:gdLst>
              <a:gd name="connsiteX0" fmla="*/ 0 w 141922"/>
              <a:gd name="connsiteY0" fmla="*/ 0 h 14287"/>
              <a:gd name="connsiteX1" fmla="*/ 141922 w 141922"/>
              <a:gd name="connsiteY1" fmla="*/ 0 h 14287"/>
              <a:gd name="connsiteX2" fmla="*/ 141922 w 141922"/>
              <a:gd name="connsiteY2" fmla="*/ 14288 h 14287"/>
              <a:gd name="connsiteX3" fmla="*/ 0 w 141922"/>
              <a:gd name="connsiteY3" fmla="*/ 14288 h 14287"/>
            </a:gdLst>
            <a:ahLst/>
            <a:cxnLst>
              <a:cxn ang="0">
                <a:pos x="connsiteX0" y="connsiteY0"/>
              </a:cxn>
              <a:cxn ang="0">
                <a:pos x="connsiteX1" y="connsiteY1"/>
              </a:cxn>
              <a:cxn ang="0">
                <a:pos x="connsiteX2" y="connsiteY2"/>
              </a:cxn>
              <a:cxn ang="0">
                <a:pos x="connsiteX3" y="connsiteY3"/>
              </a:cxn>
            </a:cxnLst>
            <a:rect l="l" t="t" r="r" b="b"/>
            <a:pathLst>
              <a:path w="141922" h="14287">
                <a:moveTo>
                  <a:pt x="0" y="0"/>
                </a:moveTo>
                <a:lnTo>
                  <a:pt x="141922" y="0"/>
                </a:lnTo>
                <a:lnTo>
                  <a:pt x="141922" y="14288"/>
                </a:lnTo>
                <a:lnTo>
                  <a:pt x="0" y="14288"/>
                </a:lnTo>
                <a:close/>
              </a:path>
            </a:pathLst>
          </a:custGeom>
          <a:solidFill>
            <a:srgbClr val="FFFFFF"/>
          </a:solidFill>
          <a:ln w="9525" cap="flat">
            <a:noFill/>
            <a:prstDash val="solid"/>
            <a:miter/>
          </a:ln>
        </p:spPr>
        <p:txBody>
          <a:bodyPr rtlCol="0" anchor="ctr"/>
          <a:lstStyle/>
          <a:p>
            <a:endParaRPr lang="en-DK"/>
          </a:p>
        </p:txBody>
      </p:sp>
      <p:sp>
        <p:nvSpPr>
          <p:cNvPr id="67" name="Freeform 66">
            <a:extLst>
              <a:ext uri="{FF2B5EF4-FFF2-40B4-BE49-F238E27FC236}">
                <a16:creationId xmlns:a16="http://schemas.microsoft.com/office/drawing/2014/main" id="{D3415A01-5C5B-25E0-76F6-D7697B48C144}"/>
              </a:ext>
            </a:extLst>
          </p:cNvPr>
          <p:cNvSpPr/>
          <p:nvPr/>
        </p:nvSpPr>
        <p:spPr>
          <a:xfrm rot="19706401">
            <a:off x="3091374" y="2318018"/>
            <a:ext cx="51143" cy="6999"/>
          </a:xfrm>
          <a:custGeom>
            <a:avLst/>
            <a:gdLst>
              <a:gd name="connsiteX0" fmla="*/ 0 w 104394"/>
              <a:gd name="connsiteY0" fmla="*/ 0 h 14287"/>
              <a:gd name="connsiteX1" fmla="*/ 104394 w 104394"/>
              <a:gd name="connsiteY1" fmla="*/ 0 h 14287"/>
              <a:gd name="connsiteX2" fmla="*/ 104394 w 104394"/>
              <a:gd name="connsiteY2" fmla="*/ 14288 h 14287"/>
              <a:gd name="connsiteX3" fmla="*/ 0 w 104394"/>
              <a:gd name="connsiteY3" fmla="*/ 14288 h 14287"/>
            </a:gdLst>
            <a:ahLst/>
            <a:cxnLst>
              <a:cxn ang="0">
                <a:pos x="connsiteX0" y="connsiteY0"/>
              </a:cxn>
              <a:cxn ang="0">
                <a:pos x="connsiteX1" y="connsiteY1"/>
              </a:cxn>
              <a:cxn ang="0">
                <a:pos x="connsiteX2" y="connsiteY2"/>
              </a:cxn>
              <a:cxn ang="0">
                <a:pos x="connsiteX3" y="connsiteY3"/>
              </a:cxn>
            </a:cxnLst>
            <a:rect l="l" t="t" r="r" b="b"/>
            <a:pathLst>
              <a:path w="104394" h="14287">
                <a:moveTo>
                  <a:pt x="0" y="0"/>
                </a:moveTo>
                <a:lnTo>
                  <a:pt x="104394" y="0"/>
                </a:lnTo>
                <a:lnTo>
                  <a:pt x="104394" y="14288"/>
                </a:lnTo>
                <a:lnTo>
                  <a:pt x="0" y="14288"/>
                </a:lnTo>
                <a:close/>
              </a:path>
            </a:pathLst>
          </a:custGeom>
          <a:solidFill>
            <a:srgbClr val="FFFFFF"/>
          </a:solidFill>
          <a:ln w="9525" cap="flat">
            <a:noFill/>
            <a:prstDash val="solid"/>
            <a:miter/>
          </a:ln>
        </p:spPr>
        <p:txBody>
          <a:bodyPr rtlCol="0" anchor="ctr"/>
          <a:lstStyle/>
          <a:p>
            <a:endParaRPr lang="en-DK"/>
          </a:p>
        </p:txBody>
      </p:sp>
      <p:sp>
        <p:nvSpPr>
          <p:cNvPr id="68" name="Freeform 67">
            <a:extLst>
              <a:ext uri="{FF2B5EF4-FFF2-40B4-BE49-F238E27FC236}">
                <a16:creationId xmlns:a16="http://schemas.microsoft.com/office/drawing/2014/main" id="{2A56A7B7-19F0-3C7A-1252-5920EC230D59}"/>
              </a:ext>
            </a:extLst>
          </p:cNvPr>
          <p:cNvSpPr/>
          <p:nvPr/>
        </p:nvSpPr>
        <p:spPr>
          <a:xfrm rot="20493000">
            <a:off x="3047727" y="2214673"/>
            <a:ext cx="40643" cy="6999"/>
          </a:xfrm>
          <a:custGeom>
            <a:avLst/>
            <a:gdLst>
              <a:gd name="connsiteX0" fmla="*/ 0 w 82962"/>
              <a:gd name="connsiteY0" fmla="*/ 0 h 14287"/>
              <a:gd name="connsiteX1" fmla="*/ 82963 w 82962"/>
              <a:gd name="connsiteY1" fmla="*/ 0 h 14287"/>
              <a:gd name="connsiteX2" fmla="*/ 82963 w 82962"/>
              <a:gd name="connsiteY2" fmla="*/ 14287 h 14287"/>
              <a:gd name="connsiteX3" fmla="*/ 0 w 82962"/>
              <a:gd name="connsiteY3" fmla="*/ 14287 h 14287"/>
            </a:gdLst>
            <a:ahLst/>
            <a:cxnLst>
              <a:cxn ang="0">
                <a:pos x="connsiteX0" y="connsiteY0"/>
              </a:cxn>
              <a:cxn ang="0">
                <a:pos x="connsiteX1" y="connsiteY1"/>
              </a:cxn>
              <a:cxn ang="0">
                <a:pos x="connsiteX2" y="connsiteY2"/>
              </a:cxn>
              <a:cxn ang="0">
                <a:pos x="connsiteX3" y="connsiteY3"/>
              </a:cxn>
            </a:cxnLst>
            <a:rect l="l" t="t" r="r" b="b"/>
            <a:pathLst>
              <a:path w="82962" h="14287">
                <a:moveTo>
                  <a:pt x="0" y="0"/>
                </a:moveTo>
                <a:lnTo>
                  <a:pt x="82963" y="0"/>
                </a:lnTo>
                <a:lnTo>
                  <a:pt x="82963" y="14287"/>
                </a:lnTo>
                <a:lnTo>
                  <a:pt x="0" y="14287"/>
                </a:lnTo>
                <a:close/>
              </a:path>
            </a:pathLst>
          </a:custGeom>
          <a:solidFill>
            <a:srgbClr val="FFFFFF"/>
          </a:solidFill>
          <a:ln w="9525" cap="flat">
            <a:noFill/>
            <a:prstDash val="solid"/>
            <a:miter/>
          </a:ln>
        </p:spPr>
        <p:txBody>
          <a:bodyPr rtlCol="0" anchor="ctr"/>
          <a:lstStyle/>
          <a:p>
            <a:endParaRPr lang="en-DK"/>
          </a:p>
        </p:txBody>
      </p:sp>
      <p:sp>
        <p:nvSpPr>
          <p:cNvPr id="69" name="Freeform 68">
            <a:extLst>
              <a:ext uri="{FF2B5EF4-FFF2-40B4-BE49-F238E27FC236}">
                <a16:creationId xmlns:a16="http://schemas.microsoft.com/office/drawing/2014/main" id="{CDCF85F0-A10C-C44D-26F1-FC465A465E94}"/>
              </a:ext>
            </a:extLst>
          </p:cNvPr>
          <p:cNvSpPr/>
          <p:nvPr/>
        </p:nvSpPr>
        <p:spPr>
          <a:xfrm>
            <a:off x="3045313" y="2336776"/>
            <a:ext cx="39104" cy="39150"/>
          </a:xfrm>
          <a:custGeom>
            <a:avLst/>
            <a:gdLst>
              <a:gd name="connsiteX0" fmla="*/ 72676 w 79819"/>
              <a:gd name="connsiteY0" fmla="*/ 79915 h 79914"/>
              <a:gd name="connsiteX1" fmla="*/ 65532 w 79819"/>
              <a:gd name="connsiteY1" fmla="*/ 72771 h 79914"/>
              <a:gd name="connsiteX2" fmla="*/ 7144 w 79819"/>
              <a:gd name="connsiteY2" fmla="*/ 14288 h 79914"/>
              <a:gd name="connsiteX3" fmla="*/ 0 w 79819"/>
              <a:gd name="connsiteY3" fmla="*/ 7144 h 79914"/>
              <a:gd name="connsiteX4" fmla="*/ 7144 w 79819"/>
              <a:gd name="connsiteY4" fmla="*/ 0 h 79914"/>
              <a:gd name="connsiteX5" fmla="*/ 79820 w 79819"/>
              <a:gd name="connsiteY5" fmla="*/ 72771 h 79914"/>
              <a:gd name="connsiteX6" fmla="*/ 72676 w 79819"/>
              <a:gd name="connsiteY6" fmla="*/ 79915 h 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819" h="79914">
                <a:moveTo>
                  <a:pt x="72676" y="79915"/>
                </a:moveTo>
                <a:cubicBezTo>
                  <a:pt x="68771" y="79915"/>
                  <a:pt x="65532" y="76676"/>
                  <a:pt x="65532" y="72771"/>
                </a:cubicBezTo>
                <a:cubicBezTo>
                  <a:pt x="65532" y="40576"/>
                  <a:pt x="39338" y="14288"/>
                  <a:pt x="7144" y="14288"/>
                </a:cubicBezTo>
                <a:cubicBezTo>
                  <a:pt x="3239" y="14288"/>
                  <a:pt x="0" y="11049"/>
                  <a:pt x="0" y="7144"/>
                </a:cubicBezTo>
                <a:cubicBezTo>
                  <a:pt x="0" y="3239"/>
                  <a:pt x="3239" y="0"/>
                  <a:pt x="7144" y="0"/>
                </a:cubicBezTo>
                <a:cubicBezTo>
                  <a:pt x="47244" y="0"/>
                  <a:pt x="79820" y="32671"/>
                  <a:pt x="79820" y="72771"/>
                </a:cubicBezTo>
                <a:cubicBezTo>
                  <a:pt x="79820" y="76676"/>
                  <a:pt x="76581" y="79915"/>
                  <a:pt x="72676" y="79915"/>
                </a:cubicBezTo>
                <a:close/>
              </a:path>
            </a:pathLst>
          </a:custGeom>
          <a:solidFill>
            <a:srgbClr val="FFFFFF"/>
          </a:solidFill>
          <a:ln w="9525" cap="flat">
            <a:noFill/>
            <a:prstDash val="solid"/>
            <a:miter/>
          </a:ln>
        </p:spPr>
        <p:txBody>
          <a:bodyPr rtlCol="0" anchor="ctr"/>
          <a:lstStyle/>
          <a:p>
            <a:endParaRPr lang="en-DK"/>
          </a:p>
        </p:txBody>
      </p:sp>
      <p:sp>
        <p:nvSpPr>
          <p:cNvPr id="70" name="Freeform 69">
            <a:extLst>
              <a:ext uri="{FF2B5EF4-FFF2-40B4-BE49-F238E27FC236}">
                <a16:creationId xmlns:a16="http://schemas.microsoft.com/office/drawing/2014/main" id="{0DA5A8C5-8A05-3BD3-C31C-24421DD65439}"/>
              </a:ext>
            </a:extLst>
          </p:cNvPr>
          <p:cNvSpPr/>
          <p:nvPr/>
        </p:nvSpPr>
        <p:spPr>
          <a:xfrm rot="19269599">
            <a:off x="3135856" y="2222111"/>
            <a:ext cx="6999" cy="38917"/>
          </a:xfrm>
          <a:custGeom>
            <a:avLst/>
            <a:gdLst>
              <a:gd name="connsiteX0" fmla="*/ 0 w 14287"/>
              <a:gd name="connsiteY0" fmla="*/ 0 h 79438"/>
              <a:gd name="connsiteX1" fmla="*/ 14287 w 14287"/>
              <a:gd name="connsiteY1" fmla="*/ 0 h 79438"/>
              <a:gd name="connsiteX2" fmla="*/ 14287 w 14287"/>
              <a:gd name="connsiteY2" fmla="*/ 79438 h 79438"/>
              <a:gd name="connsiteX3" fmla="*/ 0 w 14287"/>
              <a:gd name="connsiteY3" fmla="*/ 79438 h 79438"/>
            </a:gdLst>
            <a:ahLst/>
            <a:cxnLst>
              <a:cxn ang="0">
                <a:pos x="connsiteX0" y="connsiteY0"/>
              </a:cxn>
              <a:cxn ang="0">
                <a:pos x="connsiteX1" y="connsiteY1"/>
              </a:cxn>
              <a:cxn ang="0">
                <a:pos x="connsiteX2" y="connsiteY2"/>
              </a:cxn>
              <a:cxn ang="0">
                <a:pos x="connsiteX3" y="connsiteY3"/>
              </a:cxn>
            </a:cxnLst>
            <a:rect l="l" t="t" r="r" b="b"/>
            <a:pathLst>
              <a:path w="14287" h="79438">
                <a:moveTo>
                  <a:pt x="0" y="0"/>
                </a:moveTo>
                <a:lnTo>
                  <a:pt x="14287" y="0"/>
                </a:lnTo>
                <a:lnTo>
                  <a:pt x="14287" y="79438"/>
                </a:lnTo>
                <a:lnTo>
                  <a:pt x="0" y="79438"/>
                </a:lnTo>
                <a:close/>
              </a:path>
            </a:pathLst>
          </a:custGeom>
          <a:solidFill>
            <a:srgbClr val="FFFFFF"/>
          </a:solidFill>
          <a:ln w="9525" cap="flat">
            <a:noFill/>
            <a:prstDash val="solid"/>
            <a:miter/>
          </a:ln>
        </p:spPr>
        <p:txBody>
          <a:bodyPr rtlCol="0" anchor="ctr"/>
          <a:lstStyle/>
          <a:p>
            <a:endParaRPr lang="en-DK"/>
          </a:p>
        </p:txBody>
      </p:sp>
      <p:sp>
        <p:nvSpPr>
          <p:cNvPr id="23" name="TextBox 22">
            <a:extLst>
              <a:ext uri="{FF2B5EF4-FFF2-40B4-BE49-F238E27FC236}">
                <a16:creationId xmlns:a16="http://schemas.microsoft.com/office/drawing/2014/main" id="{984D178C-DBB6-E02C-C252-08EAD8F1AE34}"/>
              </a:ext>
            </a:extLst>
          </p:cNvPr>
          <p:cNvSpPr txBox="1"/>
          <p:nvPr/>
        </p:nvSpPr>
        <p:spPr>
          <a:xfrm>
            <a:off x="550656" y="5164144"/>
            <a:ext cx="2060457" cy="458021"/>
          </a:xfrm>
          <a:prstGeom prst="rect">
            <a:avLst/>
          </a:prstGeom>
          <a:noFill/>
        </p:spPr>
        <p:txBody>
          <a:bodyPr wrap="square" rtlCol="0">
            <a:spAutoFit/>
          </a:bodyPr>
          <a:lstStyle/>
          <a:p>
            <a:pPr algn="ctr" defTabSz="914309">
              <a:defRPr/>
            </a:pPr>
            <a:r>
              <a:rPr lang="en-DK" sz="1400" b="1" kern="0">
                <a:solidFill>
                  <a:srgbClr val="FFFFFF"/>
                </a:solidFill>
                <a:latin typeface="Avenir Next LT Pro Demi" panose="020B0504020202020204" pitchFamily="34" charset="77"/>
              </a:rPr>
              <a:t>Gubra CRO</a:t>
            </a:r>
          </a:p>
          <a:p>
            <a:pPr algn="ctr" defTabSz="914309">
              <a:defRPr/>
            </a:pPr>
            <a:r>
              <a:rPr lang="en-DK" sz="1200" kern="0">
                <a:solidFill>
                  <a:srgbClr val="FFFFFF"/>
                </a:solidFill>
                <a:latin typeface="Avenir Next LT Pro"/>
              </a:rPr>
              <a:t>Our value enabler</a:t>
            </a:r>
            <a:endParaRPr lang="en-US" sz="1200" kern="0">
              <a:solidFill>
                <a:srgbClr val="FFFFFF"/>
              </a:solidFill>
              <a:latin typeface="Avenir Next LT Pro"/>
            </a:endParaRPr>
          </a:p>
        </p:txBody>
      </p:sp>
      <p:grpSp>
        <p:nvGrpSpPr>
          <p:cNvPr id="26" name="Graphic 17">
            <a:extLst>
              <a:ext uri="{FF2B5EF4-FFF2-40B4-BE49-F238E27FC236}">
                <a16:creationId xmlns:a16="http://schemas.microsoft.com/office/drawing/2014/main" id="{61F2B437-2526-3837-CE30-9C51C7906C93}"/>
              </a:ext>
            </a:extLst>
          </p:cNvPr>
          <p:cNvGrpSpPr/>
          <p:nvPr/>
        </p:nvGrpSpPr>
        <p:grpSpPr>
          <a:xfrm>
            <a:off x="1433009" y="4757620"/>
            <a:ext cx="295751" cy="371088"/>
            <a:chOff x="8959092" y="2103540"/>
            <a:chExt cx="609504" cy="764762"/>
          </a:xfrm>
        </p:grpSpPr>
        <p:grpSp>
          <p:nvGrpSpPr>
            <p:cNvPr id="45" name="Graphic 17">
              <a:extLst>
                <a:ext uri="{FF2B5EF4-FFF2-40B4-BE49-F238E27FC236}">
                  <a16:creationId xmlns:a16="http://schemas.microsoft.com/office/drawing/2014/main" id="{5856F9F1-797A-87EC-C39C-762796DC5C38}"/>
                </a:ext>
              </a:extLst>
            </p:cNvPr>
            <p:cNvGrpSpPr/>
            <p:nvPr/>
          </p:nvGrpSpPr>
          <p:grpSpPr>
            <a:xfrm>
              <a:off x="9062628" y="2103540"/>
              <a:ext cx="117824" cy="531876"/>
              <a:chOff x="9062628" y="2103540"/>
              <a:chExt cx="117824" cy="531876"/>
            </a:xfrm>
          </p:grpSpPr>
          <p:sp>
            <p:nvSpPr>
              <p:cNvPr id="54" name="Freeform 53">
                <a:extLst>
                  <a:ext uri="{FF2B5EF4-FFF2-40B4-BE49-F238E27FC236}">
                    <a16:creationId xmlns:a16="http://schemas.microsoft.com/office/drawing/2014/main" id="{746F6CCB-D218-BAFA-8501-3873A961AD4D}"/>
                  </a:ext>
                </a:extLst>
              </p:cNvPr>
              <p:cNvSpPr/>
              <p:nvPr/>
            </p:nvSpPr>
            <p:spPr>
              <a:xfrm>
                <a:off x="9069772" y="2110683"/>
                <a:ext cx="103441" cy="517588"/>
              </a:xfrm>
              <a:custGeom>
                <a:avLst/>
                <a:gdLst>
                  <a:gd name="connsiteX0" fmla="*/ 103442 w 103441"/>
                  <a:gd name="connsiteY0" fmla="*/ 51721 h 517588"/>
                  <a:gd name="connsiteX1" fmla="*/ 103442 w 103441"/>
                  <a:gd name="connsiteY1" fmla="*/ 0 h 517588"/>
                  <a:gd name="connsiteX2" fmla="*/ 0 w 103441"/>
                  <a:gd name="connsiteY2" fmla="*/ 0 h 517588"/>
                  <a:gd name="connsiteX3" fmla="*/ 0 w 103441"/>
                  <a:gd name="connsiteY3" fmla="*/ 51721 h 517588"/>
                  <a:gd name="connsiteX4" fmla="*/ 25813 w 103441"/>
                  <a:gd name="connsiteY4" fmla="*/ 51721 h 517588"/>
                  <a:gd name="connsiteX5" fmla="*/ 25813 w 103441"/>
                  <a:gd name="connsiteY5" fmla="*/ 103537 h 517588"/>
                  <a:gd name="connsiteX6" fmla="*/ 0 w 103441"/>
                  <a:gd name="connsiteY6" fmla="*/ 103537 h 517588"/>
                  <a:gd name="connsiteX7" fmla="*/ 0 w 103441"/>
                  <a:gd name="connsiteY7" fmla="*/ 388144 h 517588"/>
                  <a:gd name="connsiteX8" fmla="*/ 25813 w 103441"/>
                  <a:gd name="connsiteY8" fmla="*/ 388144 h 517588"/>
                  <a:gd name="connsiteX9" fmla="*/ 25813 w 103441"/>
                  <a:gd name="connsiteY9" fmla="*/ 517589 h 517588"/>
                  <a:gd name="connsiteX10" fmla="*/ 77629 w 103441"/>
                  <a:gd name="connsiteY10" fmla="*/ 517589 h 517588"/>
                  <a:gd name="connsiteX11" fmla="*/ 77629 w 103441"/>
                  <a:gd name="connsiteY11" fmla="*/ 388144 h 517588"/>
                  <a:gd name="connsiteX12" fmla="*/ 103442 w 103441"/>
                  <a:gd name="connsiteY12" fmla="*/ 388144 h 517588"/>
                  <a:gd name="connsiteX13" fmla="*/ 103442 w 103441"/>
                  <a:gd name="connsiteY13" fmla="*/ 103537 h 517588"/>
                  <a:gd name="connsiteX14" fmla="*/ 77629 w 103441"/>
                  <a:gd name="connsiteY14" fmla="*/ 103537 h 517588"/>
                  <a:gd name="connsiteX15" fmla="*/ 77629 w 103441"/>
                  <a:gd name="connsiteY15" fmla="*/ 51721 h 517588"/>
                  <a:gd name="connsiteX16" fmla="*/ 103442 w 103441"/>
                  <a:gd name="connsiteY16" fmla="*/ 51721 h 5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441" h="517588">
                    <a:moveTo>
                      <a:pt x="103442" y="51721"/>
                    </a:moveTo>
                    <a:lnTo>
                      <a:pt x="103442" y="0"/>
                    </a:lnTo>
                    <a:lnTo>
                      <a:pt x="0" y="0"/>
                    </a:lnTo>
                    <a:lnTo>
                      <a:pt x="0" y="51721"/>
                    </a:lnTo>
                    <a:lnTo>
                      <a:pt x="25813" y="51721"/>
                    </a:lnTo>
                    <a:lnTo>
                      <a:pt x="25813" y="103537"/>
                    </a:lnTo>
                    <a:lnTo>
                      <a:pt x="0" y="103537"/>
                    </a:lnTo>
                    <a:lnTo>
                      <a:pt x="0" y="388144"/>
                    </a:lnTo>
                    <a:lnTo>
                      <a:pt x="25813" y="388144"/>
                    </a:lnTo>
                    <a:lnTo>
                      <a:pt x="25813" y="517589"/>
                    </a:lnTo>
                    <a:lnTo>
                      <a:pt x="77629" y="517589"/>
                    </a:lnTo>
                    <a:lnTo>
                      <a:pt x="77629" y="388144"/>
                    </a:lnTo>
                    <a:lnTo>
                      <a:pt x="103442" y="388144"/>
                    </a:lnTo>
                    <a:lnTo>
                      <a:pt x="103442" y="103537"/>
                    </a:lnTo>
                    <a:lnTo>
                      <a:pt x="77629" y="103537"/>
                    </a:lnTo>
                    <a:lnTo>
                      <a:pt x="77629" y="51721"/>
                    </a:lnTo>
                    <a:lnTo>
                      <a:pt x="103442" y="51721"/>
                    </a:lnTo>
                    <a:close/>
                  </a:path>
                </a:pathLst>
              </a:custGeom>
              <a:solidFill>
                <a:srgbClr val="2878FF">
                  <a:alpha val="50183"/>
                </a:srgbClr>
              </a:solidFill>
              <a:ln w="9525" cap="flat">
                <a:noFill/>
                <a:prstDash val="solid"/>
                <a:miter/>
              </a:ln>
            </p:spPr>
            <p:txBody>
              <a:bodyPr rtlCol="0" anchor="ctr"/>
              <a:lstStyle/>
              <a:p>
                <a:endParaRPr lang="en-DK"/>
              </a:p>
            </p:txBody>
          </p:sp>
          <p:sp>
            <p:nvSpPr>
              <p:cNvPr id="55" name="Freeform 54">
                <a:extLst>
                  <a:ext uri="{FF2B5EF4-FFF2-40B4-BE49-F238E27FC236}">
                    <a16:creationId xmlns:a16="http://schemas.microsoft.com/office/drawing/2014/main" id="{74D9682E-AEAC-91DE-5627-7F7C94BB8B75}"/>
                  </a:ext>
                </a:extLst>
              </p:cNvPr>
              <p:cNvSpPr/>
              <p:nvPr/>
            </p:nvSpPr>
            <p:spPr>
              <a:xfrm>
                <a:off x="9062628" y="2103540"/>
                <a:ext cx="117824" cy="531876"/>
              </a:xfrm>
              <a:custGeom>
                <a:avLst/>
                <a:gdLst>
                  <a:gd name="connsiteX0" fmla="*/ 84773 w 117824"/>
                  <a:gd name="connsiteY0" fmla="*/ 531876 h 531876"/>
                  <a:gd name="connsiteX1" fmla="*/ 33052 w 117824"/>
                  <a:gd name="connsiteY1" fmla="*/ 531876 h 531876"/>
                  <a:gd name="connsiteX2" fmla="*/ 25908 w 117824"/>
                  <a:gd name="connsiteY2" fmla="*/ 524732 h 531876"/>
                  <a:gd name="connsiteX3" fmla="*/ 25908 w 117824"/>
                  <a:gd name="connsiteY3" fmla="*/ 402526 h 531876"/>
                  <a:gd name="connsiteX4" fmla="*/ 7144 w 117824"/>
                  <a:gd name="connsiteY4" fmla="*/ 402526 h 531876"/>
                  <a:gd name="connsiteX5" fmla="*/ 0 w 117824"/>
                  <a:gd name="connsiteY5" fmla="*/ 395383 h 531876"/>
                  <a:gd name="connsiteX6" fmla="*/ 0 w 117824"/>
                  <a:gd name="connsiteY6" fmla="*/ 110681 h 531876"/>
                  <a:gd name="connsiteX7" fmla="*/ 7144 w 117824"/>
                  <a:gd name="connsiteY7" fmla="*/ 103537 h 531876"/>
                  <a:gd name="connsiteX8" fmla="*/ 25908 w 117824"/>
                  <a:gd name="connsiteY8" fmla="*/ 103537 h 531876"/>
                  <a:gd name="connsiteX9" fmla="*/ 25908 w 117824"/>
                  <a:gd name="connsiteY9" fmla="*/ 66104 h 531876"/>
                  <a:gd name="connsiteX10" fmla="*/ 7144 w 117824"/>
                  <a:gd name="connsiteY10" fmla="*/ 66104 h 531876"/>
                  <a:gd name="connsiteX11" fmla="*/ 0 w 117824"/>
                  <a:gd name="connsiteY11" fmla="*/ 58960 h 531876"/>
                  <a:gd name="connsiteX12" fmla="*/ 0 w 117824"/>
                  <a:gd name="connsiteY12" fmla="*/ 7144 h 531876"/>
                  <a:gd name="connsiteX13" fmla="*/ 7144 w 117824"/>
                  <a:gd name="connsiteY13" fmla="*/ 0 h 531876"/>
                  <a:gd name="connsiteX14" fmla="*/ 110681 w 117824"/>
                  <a:gd name="connsiteY14" fmla="*/ 0 h 531876"/>
                  <a:gd name="connsiteX15" fmla="*/ 117824 w 117824"/>
                  <a:gd name="connsiteY15" fmla="*/ 7144 h 531876"/>
                  <a:gd name="connsiteX16" fmla="*/ 117824 w 117824"/>
                  <a:gd name="connsiteY16" fmla="*/ 58865 h 531876"/>
                  <a:gd name="connsiteX17" fmla="*/ 110681 w 117824"/>
                  <a:gd name="connsiteY17" fmla="*/ 66008 h 531876"/>
                  <a:gd name="connsiteX18" fmla="*/ 91916 w 117824"/>
                  <a:gd name="connsiteY18" fmla="*/ 66008 h 531876"/>
                  <a:gd name="connsiteX19" fmla="*/ 91916 w 117824"/>
                  <a:gd name="connsiteY19" fmla="*/ 103442 h 531876"/>
                  <a:gd name="connsiteX20" fmla="*/ 110681 w 117824"/>
                  <a:gd name="connsiteY20" fmla="*/ 103442 h 531876"/>
                  <a:gd name="connsiteX21" fmla="*/ 117824 w 117824"/>
                  <a:gd name="connsiteY21" fmla="*/ 110585 h 531876"/>
                  <a:gd name="connsiteX22" fmla="*/ 117824 w 117824"/>
                  <a:gd name="connsiteY22" fmla="*/ 395192 h 531876"/>
                  <a:gd name="connsiteX23" fmla="*/ 110681 w 117824"/>
                  <a:gd name="connsiteY23" fmla="*/ 402336 h 531876"/>
                  <a:gd name="connsiteX24" fmla="*/ 91916 w 117824"/>
                  <a:gd name="connsiteY24" fmla="*/ 402336 h 531876"/>
                  <a:gd name="connsiteX25" fmla="*/ 91916 w 117824"/>
                  <a:gd name="connsiteY25" fmla="*/ 524542 h 531876"/>
                  <a:gd name="connsiteX26" fmla="*/ 84773 w 117824"/>
                  <a:gd name="connsiteY26" fmla="*/ 531686 h 531876"/>
                  <a:gd name="connsiteX27" fmla="*/ 40196 w 117824"/>
                  <a:gd name="connsiteY27" fmla="*/ 517589 h 531876"/>
                  <a:gd name="connsiteX28" fmla="*/ 77629 w 117824"/>
                  <a:gd name="connsiteY28" fmla="*/ 517589 h 531876"/>
                  <a:gd name="connsiteX29" fmla="*/ 77629 w 117824"/>
                  <a:gd name="connsiteY29" fmla="*/ 395383 h 531876"/>
                  <a:gd name="connsiteX30" fmla="*/ 84773 w 117824"/>
                  <a:gd name="connsiteY30" fmla="*/ 388239 h 531876"/>
                  <a:gd name="connsiteX31" fmla="*/ 103537 w 117824"/>
                  <a:gd name="connsiteY31" fmla="*/ 388239 h 531876"/>
                  <a:gd name="connsiteX32" fmla="*/ 103537 w 117824"/>
                  <a:gd name="connsiteY32" fmla="*/ 117824 h 531876"/>
                  <a:gd name="connsiteX33" fmla="*/ 84773 w 117824"/>
                  <a:gd name="connsiteY33" fmla="*/ 117824 h 531876"/>
                  <a:gd name="connsiteX34" fmla="*/ 77629 w 117824"/>
                  <a:gd name="connsiteY34" fmla="*/ 110681 h 531876"/>
                  <a:gd name="connsiteX35" fmla="*/ 77629 w 117824"/>
                  <a:gd name="connsiteY35" fmla="*/ 58960 h 531876"/>
                  <a:gd name="connsiteX36" fmla="*/ 84773 w 117824"/>
                  <a:gd name="connsiteY36" fmla="*/ 51816 h 531876"/>
                  <a:gd name="connsiteX37" fmla="*/ 103537 w 117824"/>
                  <a:gd name="connsiteY37" fmla="*/ 51816 h 531876"/>
                  <a:gd name="connsiteX38" fmla="*/ 103537 w 117824"/>
                  <a:gd name="connsiteY38" fmla="*/ 14288 h 531876"/>
                  <a:gd name="connsiteX39" fmla="*/ 14288 w 117824"/>
                  <a:gd name="connsiteY39" fmla="*/ 14288 h 531876"/>
                  <a:gd name="connsiteX40" fmla="*/ 14288 w 117824"/>
                  <a:gd name="connsiteY40" fmla="*/ 51721 h 531876"/>
                  <a:gd name="connsiteX41" fmla="*/ 33052 w 117824"/>
                  <a:gd name="connsiteY41" fmla="*/ 51721 h 531876"/>
                  <a:gd name="connsiteX42" fmla="*/ 40196 w 117824"/>
                  <a:gd name="connsiteY42" fmla="*/ 58865 h 531876"/>
                  <a:gd name="connsiteX43" fmla="*/ 40196 w 117824"/>
                  <a:gd name="connsiteY43" fmla="*/ 110585 h 531876"/>
                  <a:gd name="connsiteX44" fmla="*/ 33052 w 117824"/>
                  <a:gd name="connsiteY44" fmla="*/ 117729 h 531876"/>
                  <a:gd name="connsiteX45" fmla="*/ 14288 w 117824"/>
                  <a:gd name="connsiteY45" fmla="*/ 117729 h 531876"/>
                  <a:gd name="connsiteX46" fmla="*/ 14288 w 117824"/>
                  <a:gd name="connsiteY46" fmla="*/ 388049 h 531876"/>
                  <a:gd name="connsiteX47" fmla="*/ 33052 w 117824"/>
                  <a:gd name="connsiteY47" fmla="*/ 388049 h 531876"/>
                  <a:gd name="connsiteX48" fmla="*/ 40196 w 117824"/>
                  <a:gd name="connsiteY48" fmla="*/ 395192 h 531876"/>
                  <a:gd name="connsiteX49" fmla="*/ 40196 w 117824"/>
                  <a:gd name="connsiteY49" fmla="*/ 517398 h 53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7824" h="531876">
                    <a:moveTo>
                      <a:pt x="84773" y="531876"/>
                    </a:moveTo>
                    <a:lnTo>
                      <a:pt x="33052" y="531876"/>
                    </a:lnTo>
                    <a:cubicBezTo>
                      <a:pt x="29147" y="531876"/>
                      <a:pt x="25908" y="528638"/>
                      <a:pt x="25908" y="524732"/>
                    </a:cubicBezTo>
                    <a:lnTo>
                      <a:pt x="25908" y="402526"/>
                    </a:lnTo>
                    <a:lnTo>
                      <a:pt x="7144" y="402526"/>
                    </a:lnTo>
                    <a:cubicBezTo>
                      <a:pt x="3239" y="402526"/>
                      <a:pt x="0" y="399288"/>
                      <a:pt x="0" y="395383"/>
                    </a:cubicBezTo>
                    <a:lnTo>
                      <a:pt x="0" y="110681"/>
                    </a:lnTo>
                    <a:cubicBezTo>
                      <a:pt x="0" y="106775"/>
                      <a:pt x="3239" y="103537"/>
                      <a:pt x="7144" y="103537"/>
                    </a:cubicBezTo>
                    <a:lnTo>
                      <a:pt x="25908" y="103537"/>
                    </a:lnTo>
                    <a:lnTo>
                      <a:pt x="25908" y="66104"/>
                    </a:lnTo>
                    <a:lnTo>
                      <a:pt x="7144" y="66104"/>
                    </a:lnTo>
                    <a:cubicBezTo>
                      <a:pt x="3239" y="66104"/>
                      <a:pt x="0" y="62865"/>
                      <a:pt x="0" y="58960"/>
                    </a:cubicBezTo>
                    <a:lnTo>
                      <a:pt x="0" y="7144"/>
                    </a:lnTo>
                    <a:cubicBezTo>
                      <a:pt x="0" y="3239"/>
                      <a:pt x="3239" y="0"/>
                      <a:pt x="7144" y="0"/>
                    </a:cubicBezTo>
                    <a:lnTo>
                      <a:pt x="110681" y="0"/>
                    </a:lnTo>
                    <a:cubicBezTo>
                      <a:pt x="114586" y="0"/>
                      <a:pt x="117824" y="3239"/>
                      <a:pt x="117824" y="7144"/>
                    </a:cubicBezTo>
                    <a:lnTo>
                      <a:pt x="117824" y="58865"/>
                    </a:lnTo>
                    <a:cubicBezTo>
                      <a:pt x="117824" y="62770"/>
                      <a:pt x="114586" y="66008"/>
                      <a:pt x="110681" y="66008"/>
                    </a:cubicBezTo>
                    <a:lnTo>
                      <a:pt x="91916" y="66008"/>
                    </a:lnTo>
                    <a:lnTo>
                      <a:pt x="91916" y="103442"/>
                    </a:lnTo>
                    <a:lnTo>
                      <a:pt x="110681" y="103442"/>
                    </a:lnTo>
                    <a:cubicBezTo>
                      <a:pt x="114586" y="103442"/>
                      <a:pt x="117824" y="106680"/>
                      <a:pt x="117824" y="110585"/>
                    </a:cubicBezTo>
                    <a:lnTo>
                      <a:pt x="117824" y="395192"/>
                    </a:lnTo>
                    <a:cubicBezTo>
                      <a:pt x="117824" y="399098"/>
                      <a:pt x="114586" y="402336"/>
                      <a:pt x="110681" y="402336"/>
                    </a:cubicBezTo>
                    <a:lnTo>
                      <a:pt x="91916" y="402336"/>
                    </a:lnTo>
                    <a:lnTo>
                      <a:pt x="91916" y="524542"/>
                    </a:lnTo>
                    <a:cubicBezTo>
                      <a:pt x="91916" y="528447"/>
                      <a:pt x="88678" y="531686"/>
                      <a:pt x="84773" y="531686"/>
                    </a:cubicBezTo>
                    <a:close/>
                    <a:moveTo>
                      <a:pt x="40196" y="517589"/>
                    </a:moveTo>
                    <a:lnTo>
                      <a:pt x="77629" y="517589"/>
                    </a:lnTo>
                    <a:lnTo>
                      <a:pt x="77629" y="395383"/>
                    </a:lnTo>
                    <a:cubicBezTo>
                      <a:pt x="77629" y="391478"/>
                      <a:pt x="80867" y="388239"/>
                      <a:pt x="84773" y="388239"/>
                    </a:cubicBezTo>
                    <a:lnTo>
                      <a:pt x="103537" y="388239"/>
                    </a:lnTo>
                    <a:lnTo>
                      <a:pt x="103537" y="117824"/>
                    </a:lnTo>
                    <a:lnTo>
                      <a:pt x="84773" y="117824"/>
                    </a:lnTo>
                    <a:cubicBezTo>
                      <a:pt x="80867" y="117824"/>
                      <a:pt x="77629" y="114586"/>
                      <a:pt x="77629" y="110681"/>
                    </a:cubicBezTo>
                    <a:lnTo>
                      <a:pt x="77629" y="58960"/>
                    </a:lnTo>
                    <a:cubicBezTo>
                      <a:pt x="77629" y="55055"/>
                      <a:pt x="80867" y="51816"/>
                      <a:pt x="84773" y="51816"/>
                    </a:cubicBezTo>
                    <a:lnTo>
                      <a:pt x="103537" y="51816"/>
                    </a:lnTo>
                    <a:lnTo>
                      <a:pt x="103537" y="14288"/>
                    </a:lnTo>
                    <a:lnTo>
                      <a:pt x="14288" y="14288"/>
                    </a:lnTo>
                    <a:lnTo>
                      <a:pt x="14288" y="51721"/>
                    </a:lnTo>
                    <a:lnTo>
                      <a:pt x="33052" y="51721"/>
                    </a:lnTo>
                    <a:cubicBezTo>
                      <a:pt x="36957" y="51721"/>
                      <a:pt x="40196" y="54959"/>
                      <a:pt x="40196" y="58865"/>
                    </a:cubicBezTo>
                    <a:lnTo>
                      <a:pt x="40196" y="110585"/>
                    </a:lnTo>
                    <a:cubicBezTo>
                      <a:pt x="40196" y="114491"/>
                      <a:pt x="36957" y="117729"/>
                      <a:pt x="33052" y="117729"/>
                    </a:cubicBezTo>
                    <a:lnTo>
                      <a:pt x="14288" y="117729"/>
                    </a:lnTo>
                    <a:lnTo>
                      <a:pt x="14288" y="388049"/>
                    </a:lnTo>
                    <a:lnTo>
                      <a:pt x="33052" y="388049"/>
                    </a:lnTo>
                    <a:cubicBezTo>
                      <a:pt x="36957" y="388049"/>
                      <a:pt x="40196" y="391287"/>
                      <a:pt x="40196" y="395192"/>
                    </a:cubicBezTo>
                    <a:lnTo>
                      <a:pt x="40196" y="517398"/>
                    </a:lnTo>
                    <a:close/>
                  </a:path>
                </a:pathLst>
              </a:custGeom>
              <a:solidFill>
                <a:srgbClr val="FFFFFF"/>
              </a:solidFill>
              <a:ln w="9525" cap="flat">
                <a:noFill/>
                <a:prstDash val="solid"/>
                <a:miter/>
              </a:ln>
            </p:spPr>
            <p:txBody>
              <a:bodyPr rtlCol="0" anchor="ctr"/>
              <a:lstStyle/>
              <a:p>
                <a:endParaRPr lang="en-DK"/>
              </a:p>
            </p:txBody>
          </p:sp>
        </p:grpSp>
        <p:sp>
          <p:nvSpPr>
            <p:cNvPr id="46" name="Freeform 45">
              <a:extLst>
                <a:ext uri="{FF2B5EF4-FFF2-40B4-BE49-F238E27FC236}">
                  <a16:creationId xmlns:a16="http://schemas.microsoft.com/office/drawing/2014/main" id="{67708EC9-026A-5BA1-EF04-8F5E44391391}"/>
                </a:ext>
              </a:extLst>
            </p:cNvPr>
            <p:cNvSpPr/>
            <p:nvPr/>
          </p:nvSpPr>
          <p:spPr>
            <a:xfrm>
              <a:off x="9010812" y="2672849"/>
              <a:ext cx="247173" cy="14287"/>
            </a:xfrm>
            <a:custGeom>
              <a:avLst/>
              <a:gdLst>
                <a:gd name="connsiteX0" fmla="*/ 240125 w 247173"/>
                <a:gd name="connsiteY0" fmla="*/ 14288 h 14287"/>
                <a:gd name="connsiteX1" fmla="*/ 7144 w 247173"/>
                <a:gd name="connsiteY1" fmla="*/ 14288 h 14287"/>
                <a:gd name="connsiteX2" fmla="*/ 0 w 247173"/>
                <a:gd name="connsiteY2" fmla="*/ 7144 h 14287"/>
                <a:gd name="connsiteX3" fmla="*/ 7144 w 247173"/>
                <a:gd name="connsiteY3" fmla="*/ 0 h 14287"/>
                <a:gd name="connsiteX4" fmla="*/ 240030 w 247173"/>
                <a:gd name="connsiteY4" fmla="*/ 0 h 14287"/>
                <a:gd name="connsiteX5" fmla="*/ 247174 w 247173"/>
                <a:gd name="connsiteY5" fmla="*/ 7144 h 14287"/>
                <a:gd name="connsiteX6" fmla="*/ 240030 w 24717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173" h="14287">
                  <a:moveTo>
                    <a:pt x="240125" y="14288"/>
                  </a:moveTo>
                  <a:lnTo>
                    <a:pt x="7144" y="14288"/>
                  </a:lnTo>
                  <a:cubicBezTo>
                    <a:pt x="3239" y="14288"/>
                    <a:pt x="0" y="11049"/>
                    <a:pt x="0" y="7144"/>
                  </a:cubicBezTo>
                  <a:cubicBezTo>
                    <a:pt x="0" y="3239"/>
                    <a:pt x="3239" y="0"/>
                    <a:pt x="7144" y="0"/>
                  </a:cubicBezTo>
                  <a:lnTo>
                    <a:pt x="240030" y="0"/>
                  </a:lnTo>
                  <a:cubicBezTo>
                    <a:pt x="243935" y="0"/>
                    <a:pt x="247174" y="3239"/>
                    <a:pt x="247174" y="7144"/>
                  </a:cubicBezTo>
                  <a:cubicBezTo>
                    <a:pt x="247174" y="11049"/>
                    <a:pt x="243935" y="14288"/>
                    <a:pt x="240030" y="14288"/>
                  </a:cubicBezTo>
                  <a:close/>
                </a:path>
              </a:pathLst>
            </a:custGeom>
            <a:solidFill>
              <a:srgbClr val="FFFFFF"/>
            </a:solidFill>
            <a:ln w="9525" cap="flat">
              <a:noFill/>
              <a:prstDash val="solid"/>
              <a:miter/>
            </a:ln>
          </p:spPr>
          <p:txBody>
            <a:bodyPr rtlCol="0" anchor="ctr"/>
            <a:lstStyle/>
            <a:p>
              <a:endParaRPr lang="en-DK"/>
            </a:p>
          </p:txBody>
        </p:sp>
        <p:grpSp>
          <p:nvGrpSpPr>
            <p:cNvPr id="47" name="Graphic 17">
              <a:extLst>
                <a:ext uri="{FF2B5EF4-FFF2-40B4-BE49-F238E27FC236}">
                  <a16:creationId xmlns:a16="http://schemas.microsoft.com/office/drawing/2014/main" id="{D08CA8BC-81BD-8D4D-D44D-CEE872075D20}"/>
                </a:ext>
              </a:extLst>
            </p:cNvPr>
            <p:cNvGrpSpPr/>
            <p:nvPr/>
          </p:nvGrpSpPr>
          <p:grpSpPr>
            <a:xfrm>
              <a:off x="9062628" y="2750477"/>
              <a:ext cx="117824" cy="66008"/>
              <a:chOff x="9062628" y="2750477"/>
              <a:chExt cx="117824" cy="66008"/>
            </a:xfrm>
          </p:grpSpPr>
          <p:sp>
            <p:nvSpPr>
              <p:cNvPr id="52" name="Freeform 51">
                <a:extLst>
                  <a:ext uri="{FF2B5EF4-FFF2-40B4-BE49-F238E27FC236}">
                    <a16:creationId xmlns:a16="http://schemas.microsoft.com/office/drawing/2014/main" id="{8D5B7629-305E-255C-F70D-EECCE45FD5AB}"/>
                  </a:ext>
                </a:extLst>
              </p:cNvPr>
              <p:cNvSpPr/>
              <p:nvPr/>
            </p:nvSpPr>
            <p:spPr>
              <a:xfrm>
                <a:off x="9069772" y="2757621"/>
                <a:ext cx="103536" cy="51720"/>
              </a:xfrm>
              <a:custGeom>
                <a:avLst/>
                <a:gdLst>
                  <a:gd name="connsiteX0" fmla="*/ 0 w 103536"/>
                  <a:gd name="connsiteY0" fmla="*/ 0 h 51720"/>
                  <a:gd name="connsiteX1" fmla="*/ 103537 w 103536"/>
                  <a:gd name="connsiteY1" fmla="*/ 0 h 51720"/>
                  <a:gd name="connsiteX2" fmla="*/ 103537 w 103536"/>
                  <a:gd name="connsiteY2" fmla="*/ 51721 h 51720"/>
                  <a:gd name="connsiteX3" fmla="*/ 0 w 103536"/>
                  <a:gd name="connsiteY3" fmla="*/ 51721 h 51720"/>
                </a:gdLst>
                <a:ahLst/>
                <a:cxnLst>
                  <a:cxn ang="0">
                    <a:pos x="connsiteX0" y="connsiteY0"/>
                  </a:cxn>
                  <a:cxn ang="0">
                    <a:pos x="connsiteX1" y="connsiteY1"/>
                  </a:cxn>
                  <a:cxn ang="0">
                    <a:pos x="connsiteX2" y="connsiteY2"/>
                  </a:cxn>
                  <a:cxn ang="0">
                    <a:pos x="connsiteX3" y="connsiteY3"/>
                  </a:cxn>
                </a:cxnLst>
                <a:rect l="l" t="t" r="r" b="b"/>
                <a:pathLst>
                  <a:path w="103536" h="51720">
                    <a:moveTo>
                      <a:pt x="0" y="0"/>
                    </a:moveTo>
                    <a:lnTo>
                      <a:pt x="103537" y="0"/>
                    </a:lnTo>
                    <a:lnTo>
                      <a:pt x="103537" y="51721"/>
                    </a:lnTo>
                    <a:lnTo>
                      <a:pt x="0" y="51721"/>
                    </a:lnTo>
                    <a:close/>
                  </a:path>
                </a:pathLst>
              </a:custGeom>
              <a:solidFill>
                <a:srgbClr val="2878FF">
                  <a:alpha val="50132"/>
                </a:srgbClr>
              </a:solidFill>
              <a:ln w="9525" cap="flat">
                <a:noFill/>
                <a:prstDash val="solid"/>
                <a:miter/>
              </a:ln>
            </p:spPr>
            <p:txBody>
              <a:bodyPr rtlCol="0" anchor="ctr"/>
              <a:lstStyle/>
              <a:p>
                <a:endParaRPr lang="en-DK"/>
              </a:p>
            </p:txBody>
          </p:sp>
          <p:sp>
            <p:nvSpPr>
              <p:cNvPr id="53" name="Freeform 52">
                <a:extLst>
                  <a:ext uri="{FF2B5EF4-FFF2-40B4-BE49-F238E27FC236}">
                    <a16:creationId xmlns:a16="http://schemas.microsoft.com/office/drawing/2014/main" id="{C2B62F74-CE44-1655-7A7A-D0DDCE818AAE}"/>
                  </a:ext>
                </a:extLst>
              </p:cNvPr>
              <p:cNvSpPr/>
              <p:nvPr/>
            </p:nvSpPr>
            <p:spPr>
              <a:xfrm>
                <a:off x="9062628" y="2750477"/>
                <a:ext cx="117824" cy="66008"/>
              </a:xfrm>
              <a:custGeom>
                <a:avLst/>
                <a:gdLst>
                  <a:gd name="connsiteX0" fmla="*/ 110681 w 117824"/>
                  <a:gd name="connsiteY0" fmla="*/ 66008 h 66008"/>
                  <a:gd name="connsiteX1" fmla="*/ 7144 w 117824"/>
                  <a:gd name="connsiteY1" fmla="*/ 66008 h 66008"/>
                  <a:gd name="connsiteX2" fmla="*/ 0 w 117824"/>
                  <a:gd name="connsiteY2" fmla="*/ 58865 h 66008"/>
                  <a:gd name="connsiteX3" fmla="*/ 0 w 117824"/>
                  <a:gd name="connsiteY3" fmla="*/ 7144 h 66008"/>
                  <a:gd name="connsiteX4" fmla="*/ 7144 w 117824"/>
                  <a:gd name="connsiteY4" fmla="*/ 0 h 66008"/>
                  <a:gd name="connsiteX5" fmla="*/ 110681 w 117824"/>
                  <a:gd name="connsiteY5" fmla="*/ 0 h 66008"/>
                  <a:gd name="connsiteX6" fmla="*/ 117824 w 117824"/>
                  <a:gd name="connsiteY6" fmla="*/ 7144 h 66008"/>
                  <a:gd name="connsiteX7" fmla="*/ 117824 w 117824"/>
                  <a:gd name="connsiteY7" fmla="*/ 58865 h 66008"/>
                  <a:gd name="connsiteX8" fmla="*/ 110681 w 117824"/>
                  <a:gd name="connsiteY8" fmla="*/ 66008 h 66008"/>
                  <a:gd name="connsiteX9" fmla="*/ 14288 w 117824"/>
                  <a:gd name="connsiteY9" fmla="*/ 51721 h 66008"/>
                  <a:gd name="connsiteX10" fmla="*/ 103537 w 117824"/>
                  <a:gd name="connsiteY10" fmla="*/ 51721 h 66008"/>
                  <a:gd name="connsiteX11" fmla="*/ 103537 w 117824"/>
                  <a:gd name="connsiteY11" fmla="*/ 14288 h 66008"/>
                  <a:gd name="connsiteX12" fmla="*/ 14288 w 117824"/>
                  <a:gd name="connsiteY12" fmla="*/ 14288 h 66008"/>
                  <a:gd name="connsiteX13" fmla="*/ 14288 w 117824"/>
                  <a:gd name="connsiteY13" fmla="*/ 51721 h 66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824" h="66008">
                    <a:moveTo>
                      <a:pt x="110681" y="66008"/>
                    </a:moveTo>
                    <a:lnTo>
                      <a:pt x="7144" y="66008"/>
                    </a:lnTo>
                    <a:cubicBezTo>
                      <a:pt x="3239" y="66008"/>
                      <a:pt x="0" y="62770"/>
                      <a:pt x="0" y="58865"/>
                    </a:cubicBezTo>
                    <a:lnTo>
                      <a:pt x="0" y="7144"/>
                    </a:lnTo>
                    <a:cubicBezTo>
                      <a:pt x="0" y="3239"/>
                      <a:pt x="3239" y="0"/>
                      <a:pt x="7144" y="0"/>
                    </a:cubicBezTo>
                    <a:lnTo>
                      <a:pt x="110681" y="0"/>
                    </a:lnTo>
                    <a:cubicBezTo>
                      <a:pt x="114586" y="0"/>
                      <a:pt x="117824" y="3239"/>
                      <a:pt x="117824" y="7144"/>
                    </a:cubicBezTo>
                    <a:lnTo>
                      <a:pt x="117824" y="58865"/>
                    </a:lnTo>
                    <a:cubicBezTo>
                      <a:pt x="117824" y="62770"/>
                      <a:pt x="114586" y="66008"/>
                      <a:pt x="110681" y="66008"/>
                    </a:cubicBezTo>
                    <a:close/>
                    <a:moveTo>
                      <a:pt x="14288" y="51721"/>
                    </a:moveTo>
                    <a:lnTo>
                      <a:pt x="103537" y="51721"/>
                    </a:lnTo>
                    <a:lnTo>
                      <a:pt x="103537" y="14288"/>
                    </a:lnTo>
                    <a:lnTo>
                      <a:pt x="14288" y="14288"/>
                    </a:lnTo>
                    <a:lnTo>
                      <a:pt x="14288" y="51721"/>
                    </a:lnTo>
                    <a:close/>
                  </a:path>
                </a:pathLst>
              </a:custGeom>
              <a:solidFill>
                <a:srgbClr val="FFFFFF"/>
              </a:solidFill>
              <a:ln w="9525" cap="flat">
                <a:noFill/>
                <a:prstDash val="solid"/>
                <a:miter/>
              </a:ln>
            </p:spPr>
            <p:txBody>
              <a:bodyPr rtlCol="0" anchor="ctr"/>
              <a:lstStyle/>
              <a:p>
                <a:endParaRPr lang="en-DK"/>
              </a:p>
            </p:txBody>
          </p:sp>
        </p:grpSp>
        <p:grpSp>
          <p:nvGrpSpPr>
            <p:cNvPr id="48" name="Graphic 17">
              <a:extLst>
                <a:ext uri="{FF2B5EF4-FFF2-40B4-BE49-F238E27FC236}">
                  <a16:creationId xmlns:a16="http://schemas.microsoft.com/office/drawing/2014/main" id="{C9FC2581-8D73-52EC-F743-310F8BFBD42E}"/>
                </a:ext>
              </a:extLst>
            </p:cNvPr>
            <p:cNvGrpSpPr/>
            <p:nvPr/>
          </p:nvGrpSpPr>
          <p:grpSpPr>
            <a:xfrm>
              <a:off x="9191978" y="2207076"/>
              <a:ext cx="143636" cy="143637"/>
              <a:chOff x="9191978" y="2207076"/>
              <a:chExt cx="143636" cy="143637"/>
            </a:xfrm>
          </p:grpSpPr>
          <p:sp>
            <p:nvSpPr>
              <p:cNvPr id="50" name="Freeform 49">
                <a:extLst>
                  <a:ext uri="{FF2B5EF4-FFF2-40B4-BE49-F238E27FC236}">
                    <a16:creationId xmlns:a16="http://schemas.microsoft.com/office/drawing/2014/main" id="{1F72B205-8C67-37C8-E0C8-2FAE9C49D379}"/>
                  </a:ext>
                </a:extLst>
              </p:cNvPr>
              <p:cNvSpPr/>
              <p:nvPr/>
            </p:nvSpPr>
            <p:spPr>
              <a:xfrm>
                <a:off x="9199122" y="2214220"/>
                <a:ext cx="129349" cy="129349"/>
              </a:xfrm>
              <a:custGeom>
                <a:avLst/>
                <a:gdLst>
                  <a:gd name="connsiteX0" fmla="*/ 129349 w 129349"/>
                  <a:gd name="connsiteY0" fmla="*/ 64675 h 129349"/>
                  <a:gd name="connsiteX1" fmla="*/ 64675 w 129349"/>
                  <a:gd name="connsiteY1" fmla="*/ 129350 h 129349"/>
                  <a:gd name="connsiteX2" fmla="*/ 0 w 129349"/>
                  <a:gd name="connsiteY2" fmla="*/ 64675 h 129349"/>
                  <a:gd name="connsiteX3" fmla="*/ 64675 w 129349"/>
                  <a:gd name="connsiteY3" fmla="*/ 0 h 129349"/>
                  <a:gd name="connsiteX4" fmla="*/ 129349 w 129349"/>
                  <a:gd name="connsiteY4" fmla="*/ 64675 h 129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349" h="129349">
                    <a:moveTo>
                      <a:pt x="129349" y="64675"/>
                    </a:moveTo>
                    <a:cubicBezTo>
                      <a:pt x="129349" y="100394"/>
                      <a:pt x="100394" y="129350"/>
                      <a:pt x="64675" y="129350"/>
                    </a:cubicBezTo>
                    <a:cubicBezTo>
                      <a:pt x="28956" y="129350"/>
                      <a:pt x="0" y="100394"/>
                      <a:pt x="0" y="64675"/>
                    </a:cubicBezTo>
                    <a:cubicBezTo>
                      <a:pt x="0" y="28956"/>
                      <a:pt x="28956" y="0"/>
                      <a:pt x="64675" y="0"/>
                    </a:cubicBezTo>
                    <a:cubicBezTo>
                      <a:pt x="100394" y="0"/>
                      <a:pt x="129349" y="28956"/>
                      <a:pt x="129349" y="64675"/>
                    </a:cubicBezTo>
                    <a:close/>
                  </a:path>
                </a:pathLst>
              </a:custGeom>
              <a:solidFill>
                <a:srgbClr val="2878FF">
                  <a:alpha val="50259"/>
                </a:srgbClr>
              </a:solidFill>
              <a:ln w="9525" cap="flat">
                <a:noFill/>
                <a:prstDash val="solid"/>
                <a:miter/>
              </a:ln>
            </p:spPr>
            <p:txBody>
              <a:bodyPr rtlCol="0" anchor="ctr"/>
              <a:lstStyle/>
              <a:p>
                <a:endParaRPr lang="en-DK"/>
              </a:p>
            </p:txBody>
          </p:sp>
          <p:sp>
            <p:nvSpPr>
              <p:cNvPr id="51" name="Freeform 50">
                <a:extLst>
                  <a:ext uri="{FF2B5EF4-FFF2-40B4-BE49-F238E27FC236}">
                    <a16:creationId xmlns:a16="http://schemas.microsoft.com/office/drawing/2014/main" id="{B5865CB1-B77A-C498-E9D6-203F1C92829C}"/>
                  </a:ext>
                </a:extLst>
              </p:cNvPr>
              <p:cNvSpPr/>
              <p:nvPr/>
            </p:nvSpPr>
            <p:spPr>
              <a:xfrm>
                <a:off x="9191978" y="2207076"/>
                <a:ext cx="143636" cy="143637"/>
              </a:xfrm>
              <a:custGeom>
                <a:avLst/>
                <a:gdLst>
                  <a:gd name="connsiteX0" fmla="*/ 71818 w 143636"/>
                  <a:gd name="connsiteY0" fmla="*/ 143637 h 143637"/>
                  <a:gd name="connsiteX1" fmla="*/ 0 w 143636"/>
                  <a:gd name="connsiteY1" fmla="*/ 71819 h 143637"/>
                  <a:gd name="connsiteX2" fmla="*/ 71818 w 143636"/>
                  <a:gd name="connsiteY2" fmla="*/ 0 h 143637"/>
                  <a:gd name="connsiteX3" fmla="*/ 143637 w 143636"/>
                  <a:gd name="connsiteY3" fmla="*/ 71819 h 143637"/>
                  <a:gd name="connsiteX4" fmla="*/ 71818 w 143636"/>
                  <a:gd name="connsiteY4" fmla="*/ 143637 h 143637"/>
                  <a:gd name="connsiteX5" fmla="*/ 71818 w 143636"/>
                  <a:gd name="connsiteY5" fmla="*/ 14288 h 143637"/>
                  <a:gd name="connsiteX6" fmla="*/ 14288 w 143636"/>
                  <a:gd name="connsiteY6" fmla="*/ 71819 h 143637"/>
                  <a:gd name="connsiteX7" fmla="*/ 71818 w 143636"/>
                  <a:gd name="connsiteY7" fmla="*/ 129350 h 143637"/>
                  <a:gd name="connsiteX8" fmla="*/ 129349 w 143636"/>
                  <a:gd name="connsiteY8" fmla="*/ 71819 h 143637"/>
                  <a:gd name="connsiteX9" fmla="*/ 71818 w 143636"/>
                  <a:gd name="connsiteY9" fmla="*/ 14288 h 14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636" h="143637">
                    <a:moveTo>
                      <a:pt x="71818" y="143637"/>
                    </a:moveTo>
                    <a:cubicBezTo>
                      <a:pt x="32194" y="143637"/>
                      <a:pt x="0" y="111443"/>
                      <a:pt x="0" y="71819"/>
                    </a:cubicBezTo>
                    <a:cubicBezTo>
                      <a:pt x="0" y="32195"/>
                      <a:pt x="32194" y="0"/>
                      <a:pt x="71818" y="0"/>
                    </a:cubicBezTo>
                    <a:cubicBezTo>
                      <a:pt x="111443" y="0"/>
                      <a:pt x="143637" y="32195"/>
                      <a:pt x="143637" y="71819"/>
                    </a:cubicBezTo>
                    <a:cubicBezTo>
                      <a:pt x="143637" y="111443"/>
                      <a:pt x="111443" y="143637"/>
                      <a:pt x="71818" y="143637"/>
                    </a:cubicBezTo>
                    <a:close/>
                    <a:moveTo>
                      <a:pt x="71818" y="14288"/>
                    </a:moveTo>
                    <a:cubicBezTo>
                      <a:pt x="40100" y="14288"/>
                      <a:pt x="14288" y="40100"/>
                      <a:pt x="14288" y="71819"/>
                    </a:cubicBezTo>
                    <a:cubicBezTo>
                      <a:pt x="14288" y="103537"/>
                      <a:pt x="40100" y="129350"/>
                      <a:pt x="71818" y="129350"/>
                    </a:cubicBezTo>
                    <a:cubicBezTo>
                      <a:pt x="103537" y="129350"/>
                      <a:pt x="129349" y="103537"/>
                      <a:pt x="129349" y="71819"/>
                    </a:cubicBezTo>
                    <a:cubicBezTo>
                      <a:pt x="129349" y="40100"/>
                      <a:pt x="103537" y="14288"/>
                      <a:pt x="71818" y="14288"/>
                    </a:cubicBezTo>
                    <a:close/>
                  </a:path>
                </a:pathLst>
              </a:custGeom>
              <a:solidFill>
                <a:srgbClr val="FFFFFF"/>
              </a:solidFill>
              <a:ln w="9525" cap="flat">
                <a:noFill/>
                <a:prstDash val="solid"/>
                <a:miter/>
              </a:ln>
            </p:spPr>
            <p:txBody>
              <a:bodyPr rtlCol="0" anchor="ctr"/>
              <a:lstStyle/>
              <a:p>
                <a:endParaRPr lang="en-DK"/>
              </a:p>
            </p:txBody>
          </p:sp>
        </p:grpSp>
        <p:sp>
          <p:nvSpPr>
            <p:cNvPr id="49" name="Freeform 48">
              <a:extLst>
                <a:ext uri="{FF2B5EF4-FFF2-40B4-BE49-F238E27FC236}">
                  <a16:creationId xmlns:a16="http://schemas.microsoft.com/office/drawing/2014/main" id="{BC61A837-5873-ED13-7053-656766C3827D}"/>
                </a:ext>
              </a:extLst>
            </p:cNvPr>
            <p:cNvSpPr/>
            <p:nvPr/>
          </p:nvSpPr>
          <p:spPr>
            <a:xfrm>
              <a:off x="8959092" y="2235672"/>
              <a:ext cx="609504" cy="632630"/>
            </a:xfrm>
            <a:custGeom>
              <a:avLst/>
              <a:gdLst>
                <a:gd name="connsiteX0" fmla="*/ 602361 w 609504"/>
                <a:gd name="connsiteY0" fmla="*/ 632630 h 632630"/>
                <a:gd name="connsiteX1" fmla="*/ 7144 w 609504"/>
                <a:gd name="connsiteY1" fmla="*/ 632630 h 632630"/>
                <a:gd name="connsiteX2" fmla="*/ 0 w 609504"/>
                <a:gd name="connsiteY2" fmla="*/ 625486 h 632630"/>
                <a:gd name="connsiteX3" fmla="*/ 0 w 609504"/>
                <a:gd name="connsiteY3" fmla="*/ 599578 h 632630"/>
                <a:gd name="connsiteX4" fmla="*/ 33052 w 609504"/>
                <a:gd name="connsiteY4" fmla="*/ 566527 h 632630"/>
                <a:gd name="connsiteX5" fmla="*/ 310610 w 609504"/>
                <a:gd name="connsiteY5" fmla="*/ 566527 h 632630"/>
                <a:gd name="connsiteX6" fmla="*/ 310610 w 609504"/>
                <a:gd name="connsiteY6" fmla="*/ 496042 h 632630"/>
                <a:gd name="connsiteX7" fmla="*/ 317754 w 609504"/>
                <a:gd name="connsiteY7" fmla="*/ 488898 h 632630"/>
                <a:gd name="connsiteX8" fmla="*/ 517589 w 609504"/>
                <a:gd name="connsiteY8" fmla="*/ 289063 h 632630"/>
                <a:gd name="connsiteX9" fmla="*/ 352711 w 609504"/>
                <a:gd name="connsiteY9" fmla="*/ 92277 h 632630"/>
                <a:gd name="connsiteX10" fmla="*/ 346900 w 609504"/>
                <a:gd name="connsiteY10" fmla="*/ 83990 h 632630"/>
                <a:gd name="connsiteX11" fmla="*/ 355187 w 609504"/>
                <a:gd name="connsiteY11" fmla="*/ 78180 h 632630"/>
                <a:gd name="connsiteX12" fmla="*/ 531876 w 609504"/>
                <a:gd name="connsiteY12" fmla="*/ 289063 h 632630"/>
                <a:gd name="connsiteX13" fmla="*/ 324898 w 609504"/>
                <a:gd name="connsiteY13" fmla="*/ 503090 h 632630"/>
                <a:gd name="connsiteX14" fmla="*/ 324898 w 609504"/>
                <a:gd name="connsiteY14" fmla="*/ 573670 h 632630"/>
                <a:gd name="connsiteX15" fmla="*/ 317754 w 609504"/>
                <a:gd name="connsiteY15" fmla="*/ 580814 h 632630"/>
                <a:gd name="connsiteX16" fmla="*/ 33052 w 609504"/>
                <a:gd name="connsiteY16" fmla="*/ 580814 h 632630"/>
                <a:gd name="connsiteX17" fmla="*/ 14288 w 609504"/>
                <a:gd name="connsiteY17" fmla="*/ 599578 h 632630"/>
                <a:gd name="connsiteX18" fmla="*/ 14288 w 609504"/>
                <a:gd name="connsiteY18" fmla="*/ 618343 h 632630"/>
                <a:gd name="connsiteX19" fmla="*/ 595217 w 609504"/>
                <a:gd name="connsiteY19" fmla="*/ 618343 h 632630"/>
                <a:gd name="connsiteX20" fmla="*/ 595217 w 609504"/>
                <a:gd name="connsiteY20" fmla="*/ 599578 h 632630"/>
                <a:gd name="connsiteX21" fmla="*/ 576453 w 609504"/>
                <a:gd name="connsiteY21" fmla="*/ 580814 h 632630"/>
                <a:gd name="connsiteX22" fmla="*/ 511778 w 609504"/>
                <a:gd name="connsiteY22" fmla="*/ 580814 h 632630"/>
                <a:gd name="connsiteX23" fmla="*/ 504635 w 609504"/>
                <a:gd name="connsiteY23" fmla="*/ 573670 h 632630"/>
                <a:gd name="connsiteX24" fmla="*/ 504635 w 609504"/>
                <a:gd name="connsiteY24" fmla="*/ 496804 h 632630"/>
                <a:gd name="connsiteX25" fmla="*/ 506921 w 609504"/>
                <a:gd name="connsiteY25" fmla="*/ 491565 h 632630"/>
                <a:gd name="connsiteX26" fmla="*/ 595217 w 609504"/>
                <a:gd name="connsiteY26" fmla="*/ 288968 h 632630"/>
                <a:gd name="connsiteX27" fmla="*/ 357569 w 609504"/>
                <a:gd name="connsiteY27" fmla="*/ 14267 h 632630"/>
                <a:gd name="connsiteX28" fmla="*/ 351473 w 609504"/>
                <a:gd name="connsiteY28" fmla="*/ 6171 h 632630"/>
                <a:gd name="connsiteX29" fmla="*/ 359569 w 609504"/>
                <a:gd name="connsiteY29" fmla="*/ 75 h 632630"/>
                <a:gd name="connsiteX30" fmla="*/ 609505 w 609504"/>
                <a:gd name="connsiteY30" fmla="*/ 288873 h 632630"/>
                <a:gd name="connsiteX31" fmla="*/ 518922 w 609504"/>
                <a:gd name="connsiteY31" fmla="*/ 499756 h 632630"/>
                <a:gd name="connsiteX32" fmla="*/ 518922 w 609504"/>
                <a:gd name="connsiteY32" fmla="*/ 566336 h 632630"/>
                <a:gd name="connsiteX33" fmla="*/ 576453 w 609504"/>
                <a:gd name="connsiteY33" fmla="*/ 566336 h 632630"/>
                <a:gd name="connsiteX34" fmla="*/ 609505 w 609504"/>
                <a:gd name="connsiteY34" fmla="*/ 599388 h 632630"/>
                <a:gd name="connsiteX35" fmla="*/ 609505 w 609504"/>
                <a:gd name="connsiteY35" fmla="*/ 625296 h 632630"/>
                <a:gd name="connsiteX36" fmla="*/ 602361 w 609504"/>
                <a:gd name="connsiteY36" fmla="*/ 632440 h 63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9504" h="632630">
                  <a:moveTo>
                    <a:pt x="602361" y="632630"/>
                  </a:moveTo>
                  <a:lnTo>
                    <a:pt x="7144" y="632630"/>
                  </a:lnTo>
                  <a:cubicBezTo>
                    <a:pt x="3239" y="632630"/>
                    <a:pt x="0" y="629392"/>
                    <a:pt x="0" y="625486"/>
                  </a:cubicBezTo>
                  <a:lnTo>
                    <a:pt x="0" y="599578"/>
                  </a:lnTo>
                  <a:cubicBezTo>
                    <a:pt x="0" y="581386"/>
                    <a:pt x="14859" y="566527"/>
                    <a:pt x="33052" y="566527"/>
                  </a:cubicBezTo>
                  <a:lnTo>
                    <a:pt x="310610" y="566527"/>
                  </a:lnTo>
                  <a:lnTo>
                    <a:pt x="310610" y="496042"/>
                  </a:lnTo>
                  <a:cubicBezTo>
                    <a:pt x="310610" y="492136"/>
                    <a:pt x="313849" y="488898"/>
                    <a:pt x="317754" y="488898"/>
                  </a:cubicBezTo>
                  <a:cubicBezTo>
                    <a:pt x="427958" y="488898"/>
                    <a:pt x="517589" y="399268"/>
                    <a:pt x="517589" y="289063"/>
                  </a:cubicBezTo>
                  <a:cubicBezTo>
                    <a:pt x="517589" y="191908"/>
                    <a:pt x="448247" y="109136"/>
                    <a:pt x="352711" y="92277"/>
                  </a:cubicBezTo>
                  <a:cubicBezTo>
                    <a:pt x="348806" y="91610"/>
                    <a:pt x="346234" y="87895"/>
                    <a:pt x="346900" y="83990"/>
                  </a:cubicBezTo>
                  <a:cubicBezTo>
                    <a:pt x="347567" y="80085"/>
                    <a:pt x="351187" y="77513"/>
                    <a:pt x="355187" y="78180"/>
                  </a:cubicBezTo>
                  <a:cubicBezTo>
                    <a:pt x="457581" y="96277"/>
                    <a:pt x="531876" y="184955"/>
                    <a:pt x="531876" y="289063"/>
                  </a:cubicBezTo>
                  <a:cubicBezTo>
                    <a:pt x="531876" y="404792"/>
                    <a:pt x="439674" y="499280"/>
                    <a:pt x="324898" y="503090"/>
                  </a:cubicBezTo>
                  <a:lnTo>
                    <a:pt x="324898" y="573670"/>
                  </a:lnTo>
                  <a:cubicBezTo>
                    <a:pt x="324898" y="577576"/>
                    <a:pt x="321659" y="580814"/>
                    <a:pt x="317754" y="580814"/>
                  </a:cubicBezTo>
                  <a:lnTo>
                    <a:pt x="33052" y="580814"/>
                  </a:lnTo>
                  <a:cubicBezTo>
                    <a:pt x="22765" y="580814"/>
                    <a:pt x="14288" y="589196"/>
                    <a:pt x="14288" y="599578"/>
                  </a:cubicBezTo>
                  <a:lnTo>
                    <a:pt x="14288" y="618343"/>
                  </a:lnTo>
                  <a:lnTo>
                    <a:pt x="595217" y="618343"/>
                  </a:lnTo>
                  <a:lnTo>
                    <a:pt x="595217" y="599578"/>
                  </a:lnTo>
                  <a:cubicBezTo>
                    <a:pt x="595217" y="589291"/>
                    <a:pt x="586835" y="580814"/>
                    <a:pt x="576453" y="580814"/>
                  </a:cubicBezTo>
                  <a:lnTo>
                    <a:pt x="511778" y="580814"/>
                  </a:lnTo>
                  <a:cubicBezTo>
                    <a:pt x="507873" y="580814"/>
                    <a:pt x="504635" y="577576"/>
                    <a:pt x="504635" y="573670"/>
                  </a:cubicBezTo>
                  <a:lnTo>
                    <a:pt x="504635" y="496804"/>
                  </a:lnTo>
                  <a:cubicBezTo>
                    <a:pt x="504635" y="494803"/>
                    <a:pt x="505492" y="492898"/>
                    <a:pt x="506921" y="491565"/>
                  </a:cubicBezTo>
                  <a:cubicBezTo>
                    <a:pt x="563880" y="438320"/>
                    <a:pt x="595217" y="366406"/>
                    <a:pt x="595217" y="288968"/>
                  </a:cubicBezTo>
                  <a:cubicBezTo>
                    <a:pt x="595217" y="151903"/>
                    <a:pt x="493014" y="33793"/>
                    <a:pt x="357569" y="14267"/>
                  </a:cubicBezTo>
                  <a:cubicBezTo>
                    <a:pt x="353663" y="13696"/>
                    <a:pt x="350901" y="10076"/>
                    <a:pt x="351473" y="6171"/>
                  </a:cubicBezTo>
                  <a:cubicBezTo>
                    <a:pt x="352044" y="2266"/>
                    <a:pt x="355568" y="-497"/>
                    <a:pt x="359569" y="75"/>
                  </a:cubicBezTo>
                  <a:cubicBezTo>
                    <a:pt x="502063" y="20554"/>
                    <a:pt x="609505" y="144760"/>
                    <a:pt x="609505" y="288873"/>
                  </a:cubicBezTo>
                  <a:cubicBezTo>
                    <a:pt x="609505" y="369264"/>
                    <a:pt x="577406" y="444035"/>
                    <a:pt x="518922" y="499756"/>
                  </a:cubicBezTo>
                  <a:lnTo>
                    <a:pt x="518922" y="566336"/>
                  </a:lnTo>
                  <a:lnTo>
                    <a:pt x="576453" y="566336"/>
                  </a:lnTo>
                  <a:cubicBezTo>
                    <a:pt x="594646" y="566336"/>
                    <a:pt x="609505" y="581195"/>
                    <a:pt x="609505" y="599388"/>
                  </a:cubicBezTo>
                  <a:lnTo>
                    <a:pt x="609505" y="625296"/>
                  </a:lnTo>
                  <a:cubicBezTo>
                    <a:pt x="609505" y="629201"/>
                    <a:pt x="606266" y="632440"/>
                    <a:pt x="602361" y="632440"/>
                  </a:cubicBezTo>
                  <a:close/>
                </a:path>
              </a:pathLst>
            </a:custGeom>
            <a:solidFill>
              <a:srgbClr val="FFFFFF"/>
            </a:solidFill>
            <a:ln w="9525" cap="flat">
              <a:noFill/>
              <a:prstDash val="solid"/>
              <a:miter/>
            </a:ln>
          </p:spPr>
          <p:txBody>
            <a:bodyPr rtlCol="0" anchor="ctr"/>
            <a:lstStyle/>
            <a:p>
              <a:endParaRPr lang="en-DK"/>
            </a:p>
          </p:txBody>
        </p:sp>
      </p:grpSp>
      <p:sp>
        <p:nvSpPr>
          <p:cNvPr id="27" name="TextBox 26">
            <a:extLst>
              <a:ext uri="{FF2B5EF4-FFF2-40B4-BE49-F238E27FC236}">
                <a16:creationId xmlns:a16="http://schemas.microsoft.com/office/drawing/2014/main" id="{56D6B7EE-693F-3A13-2968-B066ACC6EDF9}"/>
              </a:ext>
            </a:extLst>
          </p:cNvPr>
          <p:cNvSpPr txBox="1"/>
          <p:nvPr/>
        </p:nvSpPr>
        <p:spPr>
          <a:xfrm>
            <a:off x="3493097" y="5124811"/>
            <a:ext cx="2076971" cy="458021"/>
          </a:xfrm>
          <a:prstGeom prst="rect">
            <a:avLst/>
          </a:prstGeom>
          <a:noFill/>
        </p:spPr>
        <p:txBody>
          <a:bodyPr wrap="square" rtlCol="0">
            <a:spAutoFit/>
          </a:bodyPr>
          <a:lstStyle/>
          <a:p>
            <a:pPr algn="ctr" defTabSz="914309">
              <a:defRPr/>
            </a:pPr>
            <a:r>
              <a:rPr lang="en-DK" sz="1400" kern="0">
                <a:solidFill>
                  <a:srgbClr val="FFFFFF"/>
                </a:solidFill>
                <a:latin typeface="Avenir Next LT Pro Demi" panose="020B0504020202020204" pitchFamily="34" charset="77"/>
              </a:rPr>
              <a:t>Gubra Ventures</a:t>
            </a:r>
          </a:p>
          <a:p>
            <a:pPr algn="ctr" defTabSz="914309">
              <a:defRPr/>
            </a:pPr>
            <a:r>
              <a:rPr lang="en-DK" sz="1200" kern="0" spc="-50">
                <a:solidFill>
                  <a:srgbClr val="FFFFFF"/>
                </a:solidFill>
                <a:latin typeface="Avenir Next LT Pro"/>
              </a:rPr>
              <a:t>Our value accelerator</a:t>
            </a:r>
            <a:endParaRPr lang="en-US" sz="1200" kern="0" spc="-50">
              <a:solidFill>
                <a:srgbClr val="FFFFFF"/>
              </a:solidFill>
              <a:latin typeface="Avenir Next LT Pro"/>
            </a:endParaRPr>
          </a:p>
        </p:txBody>
      </p:sp>
      <p:grpSp>
        <p:nvGrpSpPr>
          <p:cNvPr id="28" name="Graphic 128">
            <a:extLst>
              <a:ext uri="{FF2B5EF4-FFF2-40B4-BE49-F238E27FC236}">
                <a16:creationId xmlns:a16="http://schemas.microsoft.com/office/drawing/2014/main" id="{CEE60B42-CBF9-69D9-C35E-AFFBF5A63894}"/>
              </a:ext>
            </a:extLst>
          </p:cNvPr>
          <p:cNvGrpSpPr/>
          <p:nvPr/>
        </p:nvGrpSpPr>
        <p:grpSpPr>
          <a:xfrm>
            <a:off x="4352730" y="4789644"/>
            <a:ext cx="306973" cy="306973"/>
            <a:chOff x="4455955" y="3908292"/>
            <a:chExt cx="578384" cy="578384"/>
          </a:xfrm>
        </p:grpSpPr>
        <p:sp>
          <p:nvSpPr>
            <p:cNvPr id="34" name="Freeform 33">
              <a:extLst>
                <a:ext uri="{FF2B5EF4-FFF2-40B4-BE49-F238E27FC236}">
                  <a16:creationId xmlns:a16="http://schemas.microsoft.com/office/drawing/2014/main" id="{BD85F34C-C4E6-7BAE-A52E-94F5A0F47E4C}"/>
                </a:ext>
              </a:extLst>
            </p:cNvPr>
            <p:cNvSpPr/>
            <p:nvPr/>
          </p:nvSpPr>
          <p:spPr>
            <a:xfrm>
              <a:off x="4834261" y="3917584"/>
              <a:ext cx="190623" cy="196340"/>
            </a:xfrm>
            <a:custGeom>
              <a:avLst/>
              <a:gdLst>
                <a:gd name="connsiteX0" fmla="*/ 179352 w 190623"/>
                <a:gd name="connsiteY0" fmla="*/ 0 h 196340"/>
                <a:gd name="connsiteX1" fmla="*/ 102744 w 190623"/>
                <a:gd name="connsiteY1" fmla="*/ 4574 h 196340"/>
                <a:gd name="connsiteX2" fmla="*/ 13721 w 190623"/>
                <a:gd name="connsiteY2" fmla="*/ 29729 h 196340"/>
                <a:gd name="connsiteX3" fmla="*/ 0 w 190623"/>
                <a:gd name="connsiteY3" fmla="*/ 40019 h 196340"/>
                <a:gd name="connsiteX4" fmla="*/ 148480 w 190623"/>
                <a:gd name="connsiteY4" fmla="*/ 196340 h 196340"/>
                <a:gd name="connsiteX5" fmla="*/ 169062 w 190623"/>
                <a:gd name="connsiteY5" fmla="*/ 151747 h 196340"/>
                <a:gd name="connsiteX6" fmla="*/ 184906 w 190623"/>
                <a:gd name="connsiteY6" fmla="*/ 90166 h 196340"/>
                <a:gd name="connsiteX7" fmla="*/ 190623 w 190623"/>
                <a:gd name="connsiteY7" fmla="*/ 40019 h 196340"/>
                <a:gd name="connsiteX8" fmla="*/ 179352 w 190623"/>
                <a:gd name="connsiteY8" fmla="*/ 0 h 19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623" h="196340">
                  <a:moveTo>
                    <a:pt x="179352" y="0"/>
                  </a:moveTo>
                  <a:lnTo>
                    <a:pt x="102744" y="4574"/>
                  </a:lnTo>
                  <a:lnTo>
                    <a:pt x="13721" y="29729"/>
                  </a:lnTo>
                  <a:lnTo>
                    <a:pt x="0" y="40019"/>
                  </a:lnTo>
                  <a:lnTo>
                    <a:pt x="148480" y="196340"/>
                  </a:lnTo>
                  <a:lnTo>
                    <a:pt x="169062" y="151747"/>
                  </a:lnTo>
                  <a:lnTo>
                    <a:pt x="184906" y="90166"/>
                  </a:lnTo>
                  <a:lnTo>
                    <a:pt x="190623" y="40019"/>
                  </a:lnTo>
                  <a:lnTo>
                    <a:pt x="179352" y="0"/>
                  </a:lnTo>
                  <a:close/>
                </a:path>
              </a:pathLst>
            </a:custGeom>
            <a:solidFill>
              <a:srgbClr val="2978FF">
                <a:alpha val="49641"/>
              </a:srgbClr>
            </a:solidFill>
            <a:ln w="16329" cap="flat">
              <a:noFill/>
              <a:prstDash val="solid"/>
              <a:miter/>
            </a:ln>
          </p:spPr>
          <p:txBody>
            <a:bodyPr rtlCol="0" anchor="ctr"/>
            <a:lstStyle/>
            <a:p>
              <a:endParaRPr lang="en-DK"/>
            </a:p>
          </p:txBody>
        </p:sp>
        <p:sp>
          <p:nvSpPr>
            <p:cNvPr id="35" name="Freeform 34">
              <a:extLst>
                <a:ext uri="{FF2B5EF4-FFF2-40B4-BE49-F238E27FC236}">
                  <a16:creationId xmlns:a16="http://schemas.microsoft.com/office/drawing/2014/main" id="{23DFA592-6690-CE94-19FD-98859FC37E07}"/>
                </a:ext>
              </a:extLst>
            </p:cNvPr>
            <p:cNvSpPr/>
            <p:nvPr/>
          </p:nvSpPr>
          <p:spPr>
            <a:xfrm>
              <a:off x="4532890" y="4255544"/>
              <a:ext cx="146193" cy="152890"/>
            </a:xfrm>
            <a:custGeom>
              <a:avLst/>
              <a:gdLst>
                <a:gd name="connsiteX0" fmla="*/ 29729 w 146193"/>
                <a:gd name="connsiteY0" fmla="*/ 0 h 152890"/>
                <a:gd name="connsiteX1" fmla="*/ 0 w 146193"/>
                <a:gd name="connsiteY1" fmla="*/ 68441 h 152890"/>
                <a:gd name="connsiteX2" fmla="*/ 81182 w 146193"/>
                <a:gd name="connsiteY2" fmla="*/ 152891 h 152890"/>
                <a:gd name="connsiteX3" fmla="*/ 146193 w 146193"/>
                <a:gd name="connsiteY3" fmla="*/ 122018 h 152890"/>
                <a:gd name="connsiteX4" fmla="*/ 29729 w 146193"/>
                <a:gd name="connsiteY4" fmla="*/ 0 h 152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193" h="152890">
                  <a:moveTo>
                    <a:pt x="29729" y="0"/>
                  </a:moveTo>
                  <a:lnTo>
                    <a:pt x="0" y="68441"/>
                  </a:lnTo>
                  <a:lnTo>
                    <a:pt x="81182" y="152891"/>
                  </a:lnTo>
                  <a:lnTo>
                    <a:pt x="146193" y="122018"/>
                  </a:lnTo>
                  <a:lnTo>
                    <a:pt x="29729" y="0"/>
                  </a:lnTo>
                  <a:close/>
                </a:path>
              </a:pathLst>
            </a:custGeom>
            <a:solidFill>
              <a:srgbClr val="2978FF">
                <a:alpha val="50000"/>
              </a:srgbClr>
            </a:solidFill>
            <a:ln w="16329" cap="flat">
              <a:noFill/>
              <a:prstDash val="solid"/>
              <a:miter/>
            </a:ln>
          </p:spPr>
          <p:txBody>
            <a:bodyPr rtlCol="0" anchor="ctr"/>
            <a:lstStyle/>
            <a:p>
              <a:endParaRPr lang="en-DK"/>
            </a:p>
          </p:txBody>
        </p:sp>
        <p:sp>
          <p:nvSpPr>
            <p:cNvPr id="36" name="Freeform 35">
              <a:extLst>
                <a:ext uri="{FF2B5EF4-FFF2-40B4-BE49-F238E27FC236}">
                  <a16:creationId xmlns:a16="http://schemas.microsoft.com/office/drawing/2014/main" id="{7225D97B-98E8-4543-4171-2330B4B227C0}"/>
                </a:ext>
              </a:extLst>
            </p:cNvPr>
            <p:cNvSpPr/>
            <p:nvPr/>
          </p:nvSpPr>
          <p:spPr>
            <a:xfrm>
              <a:off x="4726412" y="4073741"/>
              <a:ext cx="142518" cy="142273"/>
            </a:xfrm>
            <a:custGeom>
              <a:avLst/>
              <a:gdLst>
                <a:gd name="connsiteX0" fmla="*/ 71259 w 142518"/>
                <a:gd name="connsiteY0" fmla="*/ 21071 h 142273"/>
                <a:gd name="connsiteX1" fmla="*/ 29443 w 142518"/>
                <a:gd name="connsiteY1" fmla="*/ 43450 h 142273"/>
                <a:gd name="connsiteX2" fmla="*/ 29443 w 142518"/>
                <a:gd name="connsiteY2" fmla="*/ 98987 h 142273"/>
                <a:gd name="connsiteX3" fmla="*/ 71259 w 142518"/>
                <a:gd name="connsiteY3" fmla="*/ 121365 h 142273"/>
                <a:gd name="connsiteX4" fmla="*/ 71259 w 142518"/>
                <a:gd name="connsiteY4" fmla="*/ 121365 h 142273"/>
                <a:gd name="connsiteX5" fmla="*/ 113075 w 142518"/>
                <a:gd name="connsiteY5" fmla="*/ 98987 h 142273"/>
                <a:gd name="connsiteX6" fmla="*/ 113075 w 142518"/>
                <a:gd name="connsiteY6" fmla="*/ 43450 h 142273"/>
                <a:gd name="connsiteX7" fmla="*/ 71259 w 142518"/>
                <a:gd name="connsiteY7" fmla="*/ 21071 h 142273"/>
                <a:gd name="connsiteX8" fmla="*/ 71259 w 142518"/>
                <a:gd name="connsiteY8" fmla="*/ 21071 h 142273"/>
                <a:gd name="connsiteX9" fmla="*/ 71259 w 142518"/>
                <a:gd name="connsiteY9" fmla="*/ 142273 h 142273"/>
                <a:gd name="connsiteX10" fmla="*/ 71259 w 142518"/>
                <a:gd name="connsiteY10" fmla="*/ 142273 h 142273"/>
                <a:gd name="connsiteX11" fmla="*/ 12128 w 142518"/>
                <a:gd name="connsiteY11" fmla="*/ 110748 h 142273"/>
                <a:gd name="connsiteX12" fmla="*/ 12128 w 142518"/>
                <a:gd name="connsiteY12" fmla="*/ 31526 h 142273"/>
                <a:gd name="connsiteX13" fmla="*/ 71259 w 142518"/>
                <a:gd name="connsiteY13" fmla="*/ 0 h 142273"/>
                <a:gd name="connsiteX14" fmla="*/ 71259 w 142518"/>
                <a:gd name="connsiteY14" fmla="*/ 0 h 142273"/>
                <a:gd name="connsiteX15" fmla="*/ 130390 w 142518"/>
                <a:gd name="connsiteY15" fmla="*/ 31526 h 142273"/>
                <a:gd name="connsiteX16" fmla="*/ 130390 w 142518"/>
                <a:gd name="connsiteY16" fmla="*/ 110748 h 142273"/>
                <a:gd name="connsiteX17" fmla="*/ 71259 w 142518"/>
                <a:gd name="connsiteY17" fmla="*/ 142273 h 14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518" h="142273">
                  <a:moveTo>
                    <a:pt x="71259" y="21071"/>
                  </a:moveTo>
                  <a:cubicBezTo>
                    <a:pt x="54435" y="21071"/>
                    <a:pt x="39244" y="29239"/>
                    <a:pt x="29443" y="43450"/>
                  </a:cubicBezTo>
                  <a:cubicBezTo>
                    <a:pt x="18335" y="59784"/>
                    <a:pt x="18335" y="82652"/>
                    <a:pt x="29443" y="98987"/>
                  </a:cubicBezTo>
                  <a:cubicBezTo>
                    <a:pt x="39080" y="113198"/>
                    <a:pt x="54271" y="121365"/>
                    <a:pt x="71259" y="121365"/>
                  </a:cubicBezTo>
                  <a:lnTo>
                    <a:pt x="71259" y="121365"/>
                  </a:lnTo>
                  <a:cubicBezTo>
                    <a:pt x="88084" y="121365"/>
                    <a:pt x="103275" y="113198"/>
                    <a:pt x="113075" y="98987"/>
                  </a:cubicBezTo>
                  <a:cubicBezTo>
                    <a:pt x="124183" y="82652"/>
                    <a:pt x="124183" y="59784"/>
                    <a:pt x="113075" y="43450"/>
                  </a:cubicBezTo>
                  <a:cubicBezTo>
                    <a:pt x="103438" y="29239"/>
                    <a:pt x="88247" y="21071"/>
                    <a:pt x="71259" y="21071"/>
                  </a:cubicBezTo>
                  <a:lnTo>
                    <a:pt x="71259" y="21071"/>
                  </a:lnTo>
                  <a:close/>
                  <a:moveTo>
                    <a:pt x="71259" y="142273"/>
                  </a:moveTo>
                  <a:lnTo>
                    <a:pt x="71259" y="142273"/>
                  </a:lnTo>
                  <a:cubicBezTo>
                    <a:pt x="47737" y="142273"/>
                    <a:pt x="25523" y="130512"/>
                    <a:pt x="12128" y="110748"/>
                  </a:cubicBezTo>
                  <a:cubicBezTo>
                    <a:pt x="-4043" y="87063"/>
                    <a:pt x="-4043" y="55210"/>
                    <a:pt x="12128" y="31526"/>
                  </a:cubicBezTo>
                  <a:cubicBezTo>
                    <a:pt x="25523" y="11761"/>
                    <a:pt x="47737" y="0"/>
                    <a:pt x="71259" y="0"/>
                  </a:cubicBezTo>
                  <a:lnTo>
                    <a:pt x="71259" y="0"/>
                  </a:lnTo>
                  <a:cubicBezTo>
                    <a:pt x="94781" y="0"/>
                    <a:pt x="116996" y="11761"/>
                    <a:pt x="130390" y="31526"/>
                  </a:cubicBezTo>
                  <a:cubicBezTo>
                    <a:pt x="146561" y="55210"/>
                    <a:pt x="146561" y="87063"/>
                    <a:pt x="130390" y="110748"/>
                  </a:cubicBezTo>
                  <a:cubicBezTo>
                    <a:pt x="116996" y="130512"/>
                    <a:pt x="94781" y="142273"/>
                    <a:pt x="71259" y="142273"/>
                  </a:cubicBezTo>
                </a:path>
              </a:pathLst>
            </a:custGeom>
            <a:solidFill>
              <a:srgbClr val="FFFFFF"/>
            </a:solidFill>
            <a:ln w="16329" cap="flat">
              <a:noFill/>
              <a:prstDash val="solid"/>
              <a:miter/>
            </a:ln>
          </p:spPr>
          <p:txBody>
            <a:bodyPr rtlCol="0" anchor="ctr"/>
            <a:lstStyle/>
            <a:p>
              <a:endParaRPr lang="en-DK"/>
            </a:p>
          </p:txBody>
        </p:sp>
        <p:sp>
          <p:nvSpPr>
            <p:cNvPr id="37" name="Freeform 36">
              <a:extLst>
                <a:ext uri="{FF2B5EF4-FFF2-40B4-BE49-F238E27FC236}">
                  <a16:creationId xmlns:a16="http://schemas.microsoft.com/office/drawing/2014/main" id="{8234553C-4ED0-872C-E61B-678CB58E7F57}"/>
                </a:ext>
              </a:extLst>
            </p:cNvPr>
            <p:cNvSpPr/>
            <p:nvPr/>
          </p:nvSpPr>
          <p:spPr>
            <a:xfrm>
              <a:off x="4813557" y="3946537"/>
              <a:ext cx="182537" cy="182741"/>
            </a:xfrm>
            <a:custGeom>
              <a:avLst/>
              <a:gdLst>
                <a:gd name="connsiteX0" fmla="*/ 172124 w 182537"/>
                <a:gd name="connsiteY0" fmla="*/ 182742 h 182741"/>
                <a:gd name="connsiteX1" fmla="*/ 164774 w 182537"/>
                <a:gd name="connsiteY1" fmla="*/ 179638 h 182741"/>
                <a:gd name="connsiteX2" fmla="*/ 3063 w 182537"/>
                <a:gd name="connsiteY2" fmla="*/ 17927 h 182741"/>
                <a:gd name="connsiteX3" fmla="*/ 3063 w 182537"/>
                <a:gd name="connsiteY3" fmla="*/ 3063 h 182741"/>
                <a:gd name="connsiteX4" fmla="*/ 17927 w 182537"/>
                <a:gd name="connsiteY4" fmla="*/ 3063 h 182741"/>
                <a:gd name="connsiteX5" fmla="*/ 179475 w 182537"/>
                <a:gd name="connsiteY5" fmla="*/ 164774 h 182741"/>
                <a:gd name="connsiteX6" fmla="*/ 179475 w 182537"/>
                <a:gd name="connsiteY6" fmla="*/ 179638 h 182741"/>
                <a:gd name="connsiteX7" fmla="*/ 171961 w 182537"/>
                <a:gd name="connsiteY7" fmla="*/ 182742 h 182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537" h="182741">
                  <a:moveTo>
                    <a:pt x="172124" y="182742"/>
                  </a:moveTo>
                  <a:cubicBezTo>
                    <a:pt x="169347" y="182742"/>
                    <a:pt x="166734" y="181762"/>
                    <a:pt x="164774" y="179638"/>
                  </a:cubicBezTo>
                  <a:lnTo>
                    <a:pt x="3063" y="17927"/>
                  </a:lnTo>
                  <a:cubicBezTo>
                    <a:pt x="-1021" y="13843"/>
                    <a:pt x="-1021" y="7146"/>
                    <a:pt x="3063" y="3063"/>
                  </a:cubicBezTo>
                  <a:cubicBezTo>
                    <a:pt x="7146" y="-1021"/>
                    <a:pt x="13843" y="-1021"/>
                    <a:pt x="17927" y="3063"/>
                  </a:cubicBezTo>
                  <a:lnTo>
                    <a:pt x="179475" y="164774"/>
                  </a:lnTo>
                  <a:cubicBezTo>
                    <a:pt x="183558" y="168857"/>
                    <a:pt x="183558" y="175555"/>
                    <a:pt x="179475" y="179638"/>
                  </a:cubicBezTo>
                  <a:cubicBezTo>
                    <a:pt x="177351" y="181598"/>
                    <a:pt x="174738" y="182742"/>
                    <a:pt x="171961" y="182742"/>
                  </a:cubicBezTo>
                </a:path>
              </a:pathLst>
            </a:custGeom>
            <a:solidFill>
              <a:srgbClr val="FFFFFF"/>
            </a:solidFill>
            <a:ln w="16329" cap="flat">
              <a:noFill/>
              <a:prstDash val="solid"/>
              <a:miter/>
            </a:ln>
          </p:spPr>
          <p:txBody>
            <a:bodyPr rtlCol="0" anchor="ctr"/>
            <a:lstStyle/>
            <a:p>
              <a:endParaRPr lang="en-DK"/>
            </a:p>
          </p:txBody>
        </p:sp>
        <p:sp>
          <p:nvSpPr>
            <p:cNvPr id="38" name="Freeform 37">
              <a:extLst>
                <a:ext uri="{FF2B5EF4-FFF2-40B4-BE49-F238E27FC236}">
                  <a16:creationId xmlns:a16="http://schemas.microsoft.com/office/drawing/2014/main" id="{1E2DC1DA-3152-CFCF-03EE-F64D8E8FA8E2}"/>
                </a:ext>
              </a:extLst>
            </p:cNvPr>
            <p:cNvSpPr/>
            <p:nvPr/>
          </p:nvSpPr>
          <p:spPr>
            <a:xfrm>
              <a:off x="4558576" y="4253298"/>
              <a:ext cx="131084" cy="131288"/>
            </a:xfrm>
            <a:custGeom>
              <a:avLst/>
              <a:gdLst>
                <a:gd name="connsiteX0" fmla="*/ 120671 w 131084"/>
                <a:gd name="connsiteY0" fmla="*/ 131288 h 131288"/>
                <a:gd name="connsiteX1" fmla="*/ 113320 w 131084"/>
                <a:gd name="connsiteY1" fmla="*/ 128185 h 131288"/>
                <a:gd name="connsiteX2" fmla="*/ 3063 w 131084"/>
                <a:gd name="connsiteY2" fmla="*/ 17927 h 131288"/>
                <a:gd name="connsiteX3" fmla="*/ 3063 w 131084"/>
                <a:gd name="connsiteY3" fmla="*/ 3063 h 131288"/>
                <a:gd name="connsiteX4" fmla="*/ 17927 w 131084"/>
                <a:gd name="connsiteY4" fmla="*/ 3063 h 131288"/>
                <a:gd name="connsiteX5" fmla="*/ 128021 w 131084"/>
                <a:gd name="connsiteY5" fmla="*/ 113320 h 131288"/>
                <a:gd name="connsiteX6" fmla="*/ 128021 w 131084"/>
                <a:gd name="connsiteY6" fmla="*/ 128185 h 131288"/>
                <a:gd name="connsiteX7" fmla="*/ 120671 w 131084"/>
                <a:gd name="connsiteY7" fmla="*/ 131288 h 13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084" h="131288">
                  <a:moveTo>
                    <a:pt x="120671" y="131288"/>
                  </a:moveTo>
                  <a:cubicBezTo>
                    <a:pt x="118057" y="131288"/>
                    <a:pt x="115280" y="130308"/>
                    <a:pt x="113320" y="128185"/>
                  </a:cubicBezTo>
                  <a:lnTo>
                    <a:pt x="3063" y="17927"/>
                  </a:lnTo>
                  <a:cubicBezTo>
                    <a:pt x="-1021" y="13843"/>
                    <a:pt x="-1021" y="7146"/>
                    <a:pt x="3063" y="3063"/>
                  </a:cubicBezTo>
                  <a:cubicBezTo>
                    <a:pt x="7146" y="-1021"/>
                    <a:pt x="13843" y="-1021"/>
                    <a:pt x="17927" y="3063"/>
                  </a:cubicBezTo>
                  <a:lnTo>
                    <a:pt x="128021" y="113320"/>
                  </a:lnTo>
                  <a:cubicBezTo>
                    <a:pt x="132105" y="117404"/>
                    <a:pt x="132105" y="124101"/>
                    <a:pt x="128021" y="128185"/>
                  </a:cubicBezTo>
                  <a:cubicBezTo>
                    <a:pt x="125898" y="130145"/>
                    <a:pt x="123284" y="131288"/>
                    <a:pt x="120671" y="131288"/>
                  </a:cubicBezTo>
                </a:path>
              </a:pathLst>
            </a:custGeom>
            <a:solidFill>
              <a:srgbClr val="FFFFFF"/>
            </a:solidFill>
            <a:ln w="16329" cap="flat">
              <a:noFill/>
              <a:prstDash val="solid"/>
              <a:miter/>
            </a:ln>
          </p:spPr>
          <p:txBody>
            <a:bodyPr rtlCol="0" anchor="ctr"/>
            <a:lstStyle/>
            <a:p>
              <a:endParaRPr lang="en-DK"/>
            </a:p>
          </p:txBody>
        </p:sp>
        <p:sp>
          <p:nvSpPr>
            <p:cNvPr id="39" name="Freeform 38">
              <a:extLst>
                <a:ext uri="{FF2B5EF4-FFF2-40B4-BE49-F238E27FC236}">
                  <a16:creationId xmlns:a16="http://schemas.microsoft.com/office/drawing/2014/main" id="{73F716B5-3619-2BE2-35B1-C52641D321E8}"/>
                </a:ext>
              </a:extLst>
            </p:cNvPr>
            <p:cNvSpPr/>
            <p:nvPr/>
          </p:nvSpPr>
          <p:spPr>
            <a:xfrm>
              <a:off x="4455955" y="4092321"/>
              <a:ext cx="158159" cy="146725"/>
            </a:xfrm>
            <a:custGeom>
              <a:avLst/>
              <a:gdLst>
                <a:gd name="connsiteX0" fmla="*/ 18785 w 158159"/>
                <a:gd name="connsiteY0" fmla="*/ 73383 h 146725"/>
                <a:gd name="connsiteX1" fmla="*/ 18785 w 158159"/>
                <a:gd name="connsiteY1" fmla="*/ 73383 h 146725"/>
                <a:gd name="connsiteX2" fmla="*/ 18785 w 158159"/>
                <a:gd name="connsiteY2" fmla="*/ 73383 h 146725"/>
                <a:gd name="connsiteX3" fmla="*/ 77752 w 158159"/>
                <a:gd name="connsiteY3" fmla="*/ 146725 h 146725"/>
                <a:gd name="connsiteX4" fmla="*/ 70402 w 158159"/>
                <a:gd name="connsiteY4" fmla="*/ 143622 h 146725"/>
                <a:gd name="connsiteX5" fmla="*/ 3920 w 158159"/>
                <a:gd name="connsiteY5" fmla="*/ 77140 h 146725"/>
                <a:gd name="connsiteX6" fmla="*/ 0 w 158159"/>
                <a:gd name="connsiteY6" fmla="*/ 67830 h 146725"/>
                <a:gd name="connsiteX7" fmla="*/ 3920 w 158159"/>
                <a:gd name="connsiteY7" fmla="*/ 58519 h 146725"/>
                <a:gd name="connsiteX8" fmla="*/ 27605 w 158159"/>
                <a:gd name="connsiteY8" fmla="*/ 34834 h 146725"/>
                <a:gd name="connsiteX9" fmla="*/ 61091 w 158159"/>
                <a:gd name="connsiteY9" fmla="*/ 16866 h 146725"/>
                <a:gd name="connsiteX10" fmla="*/ 145540 w 158159"/>
                <a:gd name="connsiteY10" fmla="*/ 205 h 146725"/>
                <a:gd name="connsiteX11" fmla="*/ 157954 w 158159"/>
                <a:gd name="connsiteY11" fmla="*/ 8536 h 146725"/>
                <a:gd name="connsiteX12" fmla="*/ 149624 w 158159"/>
                <a:gd name="connsiteY12" fmla="*/ 20950 h 146725"/>
                <a:gd name="connsiteX13" fmla="*/ 65174 w 158159"/>
                <a:gd name="connsiteY13" fmla="*/ 37611 h 146725"/>
                <a:gd name="connsiteX14" fmla="*/ 42470 w 158159"/>
                <a:gd name="connsiteY14" fmla="*/ 49698 h 146725"/>
                <a:gd name="connsiteX15" fmla="*/ 24338 w 158159"/>
                <a:gd name="connsiteY15" fmla="*/ 67830 h 146725"/>
                <a:gd name="connsiteX16" fmla="*/ 85266 w 158159"/>
                <a:gd name="connsiteY16" fmla="*/ 128757 h 146725"/>
                <a:gd name="connsiteX17" fmla="*/ 85266 w 158159"/>
                <a:gd name="connsiteY17" fmla="*/ 143622 h 146725"/>
                <a:gd name="connsiteX18" fmla="*/ 77915 w 158159"/>
                <a:gd name="connsiteY18" fmla="*/ 146725 h 14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59" h="146725">
                  <a:moveTo>
                    <a:pt x="18785" y="73383"/>
                  </a:moveTo>
                  <a:lnTo>
                    <a:pt x="18785" y="73383"/>
                  </a:lnTo>
                  <a:cubicBezTo>
                    <a:pt x="18785" y="73383"/>
                    <a:pt x="18785" y="73383"/>
                    <a:pt x="18785" y="73383"/>
                  </a:cubicBezTo>
                  <a:moveTo>
                    <a:pt x="77752" y="146725"/>
                  </a:moveTo>
                  <a:cubicBezTo>
                    <a:pt x="75139" y="146725"/>
                    <a:pt x="72362" y="145745"/>
                    <a:pt x="70402" y="143622"/>
                  </a:cubicBezTo>
                  <a:lnTo>
                    <a:pt x="3920" y="77140"/>
                  </a:lnTo>
                  <a:cubicBezTo>
                    <a:pt x="1470" y="74690"/>
                    <a:pt x="0" y="71260"/>
                    <a:pt x="0" y="67830"/>
                  </a:cubicBezTo>
                  <a:cubicBezTo>
                    <a:pt x="0" y="64399"/>
                    <a:pt x="1470" y="60969"/>
                    <a:pt x="3920" y="58519"/>
                  </a:cubicBezTo>
                  <a:lnTo>
                    <a:pt x="27605" y="34834"/>
                  </a:lnTo>
                  <a:cubicBezTo>
                    <a:pt x="36753" y="25687"/>
                    <a:pt x="48350" y="19480"/>
                    <a:pt x="61091" y="16866"/>
                  </a:cubicBezTo>
                  <a:lnTo>
                    <a:pt x="145540" y="205"/>
                  </a:lnTo>
                  <a:cubicBezTo>
                    <a:pt x="151257" y="-938"/>
                    <a:pt x="156811" y="2819"/>
                    <a:pt x="157954" y="8536"/>
                  </a:cubicBezTo>
                  <a:cubicBezTo>
                    <a:pt x="159098" y="14253"/>
                    <a:pt x="155341" y="19806"/>
                    <a:pt x="149624" y="20950"/>
                  </a:cubicBezTo>
                  <a:lnTo>
                    <a:pt x="65174" y="37611"/>
                  </a:lnTo>
                  <a:cubicBezTo>
                    <a:pt x="56517" y="39244"/>
                    <a:pt x="48677" y="43491"/>
                    <a:pt x="42470" y="49698"/>
                  </a:cubicBezTo>
                  <a:lnTo>
                    <a:pt x="24338" y="67830"/>
                  </a:lnTo>
                  <a:lnTo>
                    <a:pt x="85266" y="128757"/>
                  </a:lnTo>
                  <a:cubicBezTo>
                    <a:pt x="89349" y="132841"/>
                    <a:pt x="89349" y="139538"/>
                    <a:pt x="85266" y="143622"/>
                  </a:cubicBezTo>
                  <a:cubicBezTo>
                    <a:pt x="83142" y="145582"/>
                    <a:pt x="80529" y="146725"/>
                    <a:pt x="77915" y="146725"/>
                  </a:cubicBezTo>
                </a:path>
              </a:pathLst>
            </a:custGeom>
            <a:solidFill>
              <a:srgbClr val="FFFFFF"/>
            </a:solidFill>
            <a:ln w="16329" cap="flat">
              <a:noFill/>
              <a:prstDash val="solid"/>
              <a:miter/>
            </a:ln>
          </p:spPr>
          <p:txBody>
            <a:bodyPr rtlCol="0" anchor="ctr"/>
            <a:lstStyle/>
            <a:p>
              <a:endParaRPr lang="en-DK"/>
            </a:p>
          </p:txBody>
        </p:sp>
        <p:sp>
          <p:nvSpPr>
            <p:cNvPr id="40" name="Freeform 39">
              <a:extLst>
                <a:ext uri="{FF2B5EF4-FFF2-40B4-BE49-F238E27FC236}">
                  <a16:creationId xmlns:a16="http://schemas.microsoft.com/office/drawing/2014/main" id="{1CC517F9-3C95-3D71-018D-D57E36111D84}"/>
                </a:ext>
              </a:extLst>
            </p:cNvPr>
            <p:cNvSpPr/>
            <p:nvPr/>
          </p:nvSpPr>
          <p:spPr>
            <a:xfrm>
              <a:off x="4703462" y="4328725"/>
              <a:ext cx="146684" cy="157951"/>
            </a:xfrm>
            <a:custGeom>
              <a:avLst/>
              <a:gdLst>
                <a:gd name="connsiteX0" fmla="*/ 78855 w 146684"/>
                <a:gd name="connsiteY0" fmla="*/ 157952 h 157951"/>
                <a:gd name="connsiteX1" fmla="*/ 69544 w 146684"/>
                <a:gd name="connsiteY1" fmla="*/ 154195 h 157951"/>
                <a:gd name="connsiteX2" fmla="*/ 3063 w 146684"/>
                <a:gd name="connsiteY2" fmla="*/ 87713 h 157951"/>
                <a:gd name="connsiteX3" fmla="*/ 3063 w 146684"/>
                <a:gd name="connsiteY3" fmla="*/ 72849 h 157951"/>
                <a:gd name="connsiteX4" fmla="*/ 17927 w 146684"/>
                <a:gd name="connsiteY4" fmla="*/ 72849 h 157951"/>
                <a:gd name="connsiteX5" fmla="*/ 78855 w 146684"/>
                <a:gd name="connsiteY5" fmla="*/ 133777 h 157951"/>
                <a:gd name="connsiteX6" fmla="*/ 96986 w 146684"/>
                <a:gd name="connsiteY6" fmla="*/ 115645 h 157951"/>
                <a:gd name="connsiteX7" fmla="*/ 109073 w 146684"/>
                <a:gd name="connsiteY7" fmla="*/ 92940 h 157951"/>
                <a:gd name="connsiteX8" fmla="*/ 125734 w 146684"/>
                <a:gd name="connsiteY8" fmla="*/ 8491 h 157951"/>
                <a:gd name="connsiteX9" fmla="*/ 138149 w 146684"/>
                <a:gd name="connsiteY9" fmla="*/ 161 h 157951"/>
                <a:gd name="connsiteX10" fmla="*/ 146479 w 146684"/>
                <a:gd name="connsiteY10" fmla="*/ 12575 h 157951"/>
                <a:gd name="connsiteX11" fmla="*/ 129818 w 146684"/>
                <a:gd name="connsiteY11" fmla="*/ 97024 h 157951"/>
                <a:gd name="connsiteX12" fmla="*/ 111850 w 146684"/>
                <a:gd name="connsiteY12" fmla="*/ 130510 h 157951"/>
                <a:gd name="connsiteX13" fmla="*/ 88165 w 146684"/>
                <a:gd name="connsiteY13" fmla="*/ 154195 h 157951"/>
                <a:gd name="connsiteX14" fmla="*/ 78855 w 146684"/>
                <a:gd name="connsiteY14" fmla="*/ 157952 h 15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6684" h="157951">
                  <a:moveTo>
                    <a:pt x="78855" y="157952"/>
                  </a:moveTo>
                  <a:cubicBezTo>
                    <a:pt x="75588" y="157952"/>
                    <a:pt x="72157" y="156645"/>
                    <a:pt x="69544" y="154195"/>
                  </a:cubicBezTo>
                  <a:lnTo>
                    <a:pt x="3063" y="87713"/>
                  </a:lnTo>
                  <a:cubicBezTo>
                    <a:pt x="-1021" y="83630"/>
                    <a:pt x="-1021" y="76933"/>
                    <a:pt x="3063" y="72849"/>
                  </a:cubicBezTo>
                  <a:cubicBezTo>
                    <a:pt x="7146" y="68765"/>
                    <a:pt x="13843" y="68765"/>
                    <a:pt x="17927" y="72849"/>
                  </a:cubicBezTo>
                  <a:lnTo>
                    <a:pt x="78855" y="133777"/>
                  </a:lnTo>
                  <a:lnTo>
                    <a:pt x="96986" y="115645"/>
                  </a:lnTo>
                  <a:cubicBezTo>
                    <a:pt x="103193" y="109438"/>
                    <a:pt x="107440" y="101598"/>
                    <a:pt x="109073" y="92940"/>
                  </a:cubicBezTo>
                  <a:lnTo>
                    <a:pt x="125734" y="8491"/>
                  </a:lnTo>
                  <a:cubicBezTo>
                    <a:pt x="126878" y="2774"/>
                    <a:pt x="132432" y="-819"/>
                    <a:pt x="138149" y="161"/>
                  </a:cubicBezTo>
                  <a:cubicBezTo>
                    <a:pt x="143866" y="1304"/>
                    <a:pt x="147623" y="6858"/>
                    <a:pt x="146479" y="12575"/>
                  </a:cubicBezTo>
                  <a:lnTo>
                    <a:pt x="129818" y="97024"/>
                  </a:lnTo>
                  <a:cubicBezTo>
                    <a:pt x="127205" y="109765"/>
                    <a:pt x="121161" y="121362"/>
                    <a:pt x="111850" y="130510"/>
                  </a:cubicBezTo>
                  <a:lnTo>
                    <a:pt x="88165" y="154195"/>
                  </a:lnTo>
                  <a:cubicBezTo>
                    <a:pt x="85552" y="156808"/>
                    <a:pt x="82285" y="157952"/>
                    <a:pt x="78855" y="157952"/>
                  </a:cubicBezTo>
                </a:path>
              </a:pathLst>
            </a:custGeom>
            <a:solidFill>
              <a:srgbClr val="FFFFFF"/>
            </a:solidFill>
            <a:ln w="16329" cap="flat">
              <a:noFill/>
              <a:prstDash val="solid"/>
              <a:miter/>
            </a:ln>
          </p:spPr>
          <p:txBody>
            <a:bodyPr rtlCol="0" anchor="ctr"/>
            <a:lstStyle/>
            <a:p>
              <a:endParaRPr lang="en-DK"/>
            </a:p>
          </p:txBody>
        </p:sp>
        <p:sp>
          <p:nvSpPr>
            <p:cNvPr id="41" name="Freeform 40">
              <a:extLst>
                <a:ext uri="{FF2B5EF4-FFF2-40B4-BE49-F238E27FC236}">
                  <a16:creationId xmlns:a16="http://schemas.microsoft.com/office/drawing/2014/main" id="{0EA9D863-6EB5-FC47-C1A0-946AAE7C320B}"/>
                </a:ext>
              </a:extLst>
            </p:cNvPr>
            <p:cNvSpPr/>
            <p:nvPr/>
          </p:nvSpPr>
          <p:spPr>
            <a:xfrm>
              <a:off x="4523019" y="3908292"/>
              <a:ext cx="511320" cy="511250"/>
            </a:xfrm>
            <a:custGeom>
              <a:avLst/>
              <a:gdLst>
                <a:gd name="connsiteX0" fmla="*/ 21795 w 511320"/>
                <a:gd name="connsiteY0" fmla="*/ 414060 h 511250"/>
                <a:gd name="connsiteX1" fmla="*/ 97260 w 511320"/>
                <a:gd name="connsiteY1" fmla="*/ 489525 h 511250"/>
                <a:gd name="connsiteX2" fmla="*/ 156718 w 511320"/>
                <a:gd name="connsiteY2" fmla="*/ 462247 h 511250"/>
                <a:gd name="connsiteX3" fmla="*/ 490267 w 511320"/>
                <a:gd name="connsiteY3" fmla="*/ 21216 h 511250"/>
                <a:gd name="connsiteX4" fmla="*/ 49074 w 511320"/>
                <a:gd name="connsiteY4" fmla="*/ 354603 h 511250"/>
                <a:gd name="connsiteX5" fmla="*/ 21795 w 511320"/>
                <a:gd name="connsiteY5" fmla="*/ 413897 h 511250"/>
                <a:gd name="connsiteX6" fmla="*/ 96607 w 511320"/>
                <a:gd name="connsiteY6" fmla="*/ 511250 h 511250"/>
                <a:gd name="connsiteX7" fmla="*/ 84029 w 511320"/>
                <a:gd name="connsiteY7" fmla="*/ 506023 h 511250"/>
                <a:gd name="connsiteX8" fmla="*/ 5134 w 511320"/>
                <a:gd name="connsiteY8" fmla="*/ 427128 h 511250"/>
                <a:gd name="connsiteX9" fmla="*/ 1540 w 511320"/>
                <a:gd name="connsiteY9" fmla="*/ 407363 h 511250"/>
                <a:gd name="connsiteX10" fmla="*/ 29962 w 511320"/>
                <a:gd name="connsiteY10" fmla="*/ 345619 h 511250"/>
                <a:gd name="connsiteX11" fmla="*/ 497455 w 511320"/>
                <a:gd name="connsiteY11" fmla="*/ 145 h 511250"/>
                <a:gd name="connsiteX12" fmla="*/ 511176 w 511320"/>
                <a:gd name="connsiteY12" fmla="*/ 13866 h 511250"/>
                <a:gd name="connsiteX13" fmla="*/ 165538 w 511320"/>
                <a:gd name="connsiteY13" fmla="*/ 481195 h 511250"/>
                <a:gd name="connsiteX14" fmla="*/ 103794 w 511320"/>
                <a:gd name="connsiteY14" fmla="*/ 509617 h 511250"/>
                <a:gd name="connsiteX15" fmla="*/ 96444 w 511320"/>
                <a:gd name="connsiteY15" fmla="*/ 511250 h 51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1320" h="511250">
                  <a:moveTo>
                    <a:pt x="21795" y="414060"/>
                  </a:moveTo>
                  <a:lnTo>
                    <a:pt x="97260" y="489525"/>
                  </a:lnTo>
                  <a:lnTo>
                    <a:pt x="156718" y="462247"/>
                  </a:lnTo>
                  <a:cubicBezTo>
                    <a:pt x="392097" y="350192"/>
                    <a:pt x="492391" y="218047"/>
                    <a:pt x="490267" y="21216"/>
                  </a:cubicBezTo>
                  <a:cubicBezTo>
                    <a:pt x="293274" y="18930"/>
                    <a:pt x="161291" y="119223"/>
                    <a:pt x="49074" y="354603"/>
                  </a:cubicBezTo>
                  <a:lnTo>
                    <a:pt x="21795" y="413897"/>
                  </a:lnTo>
                  <a:close/>
                  <a:moveTo>
                    <a:pt x="96607" y="511250"/>
                  </a:moveTo>
                  <a:cubicBezTo>
                    <a:pt x="92033" y="511250"/>
                    <a:pt x="87460" y="509453"/>
                    <a:pt x="84029" y="506023"/>
                  </a:cubicBezTo>
                  <a:lnTo>
                    <a:pt x="5134" y="427128"/>
                  </a:lnTo>
                  <a:cubicBezTo>
                    <a:pt x="-93" y="421901"/>
                    <a:pt x="-1400" y="413897"/>
                    <a:pt x="1540" y="407363"/>
                  </a:cubicBezTo>
                  <a:lnTo>
                    <a:pt x="29962" y="345619"/>
                  </a:lnTo>
                  <a:cubicBezTo>
                    <a:pt x="147571" y="98968"/>
                    <a:pt x="287067" y="-4429"/>
                    <a:pt x="497455" y="145"/>
                  </a:cubicBezTo>
                  <a:cubicBezTo>
                    <a:pt x="504805" y="308"/>
                    <a:pt x="511012" y="6515"/>
                    <a:pt x="511176" y="13866"/>
                  </a:cubicBezTo>
                  <a:cubicBezTo>
                    <a:pt x="515749" y="223927"/>
                    <a:pt x="412515" y="363750"/>
                    <a:pt x="165538" y="481195"/>
                  </a:cubicBezTo>
                  <a:lnTo>
                    <a:pt x="103794" y="509617"/>
                  </a:lnTo>
                  <a:cubicBezTo>
                    <a:pt x="101507" y="510760"/>
                    <a:pt x="98894" y="511250"/>
                    <a:pt x="96444" y="511250"/>
                  </a:cubicBezTo>
                </a:path>
              </a:pathLst>
            </a:custGeom>
            <a:solidFill>
              <a:srgbClr val="FFFFFF"/>
            </a:solidFill>
            <a:ln w="16329" cap="flat">
              <a:noFill/>
              <a:prstDash val="solid"/>
              <a:miter/>
            </a:ln>
          </p:spPr>
          <p:txBody>
            <a:bodyPr rtlCol="0" anchor="ctr"/>
            <a:lstStyle/>
            <a:p>
              <a:endParaRPr lang="en-DK"/>
            </a:p>
          </p:txBody>
        </p:sp>
        <p:sp>
          <p:nvSpPr>
            <p:cNvPr id="42" name="Freeform 41">
              <a:extLst>
                <a:ext uri="{FF2B5EF4-FFF2-40B4-BE49-F238E27FC236}">
                  <a16:creationId xmlns:a16="http://schemas.microsoft.com/office/drawing/2014/main" id="{23B0DA09-407C-AD79-4F19-44478E0D9448}"/>
                </a:ext>
              </a:extLst>
            </p:cNvPr>
            <p:cNvSpPr/>
            <p:nvPr/>
          </p:nvSpPr>
          <p:spPr>
            <a:xfrm>
              <a:off x="4484581" y="4386587"/>
              <a:ext cx="71299" cy="71340"/>
            </a:xfrm>
            <a:custGeom>
              <a:avLst/>
              <a:gdLst>
                <a:gd name="connsiteX0" fmla="*/ 10577 w 71299"/>
                <a:gd name="connsiteY0" fmla="*/ 71341 h 71340"/>
                <a:gd name="connsiteX1" fmla="*/ 3063 w 71299"/>
                <a:gd name="connsiteY1" fmla="*/ 68237 h 71340"/>
                <a:gd name="connsiteX2" fmla="*/ 3063 w 71299"/>
                <a:gd name="connsiteY2" fmla="*/ 53373 h 71340"/>
                <a:gd name="connsiteX3" fmla="*/ 53373 w 71299"/>
                <a:gd name="connsiteY3" fmla="*/ 3063 h 71340"/>
                <a:gd name="connsiteX4" fmla="*/ 68237 w 71299"/>
                <a:gd name="connsiteY4" fmla="*/ 3063 h 71340"/>
                <a:gd name="connsiteX5" fmla="*/ 68237 w 71299"/>
                <a:gd name="connsiteY5" fmla="*/ 17927 h 71340"/>
                <a:gd name="connsiteX6" fmla="*/ 17927 w 71299"/>
                <a:gd name="connsiteY6" fmla="*/ 68237 h 71340"/>
                <a:gd name="connsiteX7" fmla="*/ 10577 w 71299"/>
                <a:gd name="connsiteY7" fmla="*/ 71341 h 7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99" h="71340">
                  <a:moveTo>
                    <a:pt x="10577" y="71341"/>
                  </a:moveTo>
                  <a:cubicBezTo>
                    <a:pt x="7963" y="71341"/>
                    <a:pt x="5186" y="70361"/>
                    <a:pt x="3063" y="68237"/>
                  </a:cubicBezTo>
                  <a:cubicBezTo>
                    <a:pt x="-1021" y="64154"/>
                    <a:pt x="-1021" y="57456"/>
                    <a:pt x="3063" y="53373"/>
                  </a:cubicBezTo>
                  <a:lnTo>
                    <a:pt x="53373" y="3063"/>
                  </a:lnTo>
                  <a:cubicBezTo>
                    <a:pt x="57456" y="-1021"/>
                    <a:pt x="64154" y="-1021"/>
                    <a:pt x="68237" y="3063"/>
                  </a:cubicBezTo>
                  <a:cubicBezTo>
                    <a:pt x="72321" y="7146"/>
                    <a:pt x="72321" y="13843"/>
                    <a:pt x="68237" y="17927"/>
                  </a:cubicBezTo>
                  <a:lnTo>
                    <a:pt x="17927" y="68237"/>
                  </a:lnTo>
                  <a:cubicBezTo>
                    <a:pt x="15804" y="70361"/>
                    <a:pt x="13190" y="71341"/>
                    <a:pt x="10577" y="71341"/>
                  </a:cubicBezTo>
                </a:path>
              </a:pathLst>
            </a:custGeom>
            <a:solidFill>
              <a:srgbClr val="FFFFFF"/>
            </a:solidFill>
            <a:ln w="16329" cap="flat">
              <a:noFill/>
              <a:prstDash val="solid"/>
              <a:miter/>
            </a:ln>
          </p:spPr>
          <p:txBody>
            <a:bodyPr rtlCol="0" anchor="ctr"/>
            <a:lstStyle/>
            <a:p>
              <a:endParaRPr lang="en-DK"/>
            </a:p>
          </p:txBody>
        </p:sp>
        <p:sp>
          <p:nvSpPr>
            <p:cNvPr id="43" name="Freeform 42">
              <a:extLst>
                <a:ext uri="{FF2B5EF4-FFF2-40B4-BE49-F238E27FC236}">
                  <a16:creationId xmlns:a16="http://schemas.microsoft.com/office/drawing/2014/main" id="{AFA8911B-C67B-B338-A599-6A9E2E83688B}"/>
                </a:ext>
              </a:extLst>
            </p:cNvPr>
            <p:cNvSpPr/>
            <p:nvPr/>
          </p:nvSpPr>
          <p:spPr>
            <a:xfrm>
              <a:off x="4464653" y="4346894"/>
              <a:ext cx="51371" cy="51412"/>
            </a:xfrm>
            <a:custGeom>
              <a:avLst/>
              <a:gdLst>
                <a:gd name="connsiteX0" fmla="*/ 10577 w 51371"/>
                <a:gd name="connsiteY0" fmla="*/ 51413 h 51412"/>
                <a:gd name="connsiteX1" fmla="*/ 3063 w 51371"/>
                <a:gd name="connsiteY1" fmla="*/ 48309 h 51412"/>
                <a:gd name="connsiteX2" fmla="*/ 3063 w 51371"/>
                <a:gd name="connsiteY2" fmla="*/ 33445 h 51412"/>
                <a:gd name="connsiteX3" fmla="*/ 33445 w 51371"/>
                <a:gd name="connsiteY3" fmla="*/ 3063 h 51412"/>
                <a:gd name="connsiteX4" fmla="*/ 48309 w 51371"/>
                <a:gd name="connsiteY4" fmla="*/ 3063 h 51412"/>
                <a:gd name="connsiteX5" fmla="*/ 48309 w 51371"/>
                <a:gd name="connsiteY5" fmla="*/ 17927 h 51412"/>
                <a:gd name="connsiteX6" fmla="*/ 17927 w 51371"/>
                <a:gd name="connsiteY6" fmla="*/ 48309 h 51412"/>
                <a:gd name="connsiteX7" fmla="*/ 10413 w 51371"/>
                <a:gd name="connsiteY7" fmla="*/ 51413 h 5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371" h="51412">
                  <a:moveTo>
                    <a:pt x="10577" y="51413"/>
                  </a:moveTo>
                  <a:cubicBezTo>
                    <a:pt x="7963" y="51413"/>
                    <a:pt x="5186" y="50433"/>
                    <a:pt x="3063" y="48309"/>
                  </a:cubicBezTo>
                  <a:cubicBezTo>
                    <a:pt x="-1021" y="44226"/>
                    <a:pt x="-1021" y="37528"/>
                    <a:pt x="3063" y="33445"/>
                  </a:cubicBezTo>
                  <a:lnTo>
                    <a:pt x="33445" y="3063"/>
                  </a:lnTo>
                  <a:cubicBezTo>
                    <a:pt x="37528" y="-1021"/>
                    <a:pt x="44226" y="-1021"/>
                    <a:pt x="48309" y="3063"/>
                  </a:cubicBezTo>
                  <a:cubicBezTo>
                    <a:pt x="52393" y="7146"/>
                    <a:pt x="52393" y="13843"/>
                    <a:pt x="48309" y="17927"/>
                  </a:cubicBezTo>
                  <a:lnTo>
                    <a:pt x="17927" y="48309"/>
                  </a:lnTo>
                  <a:cubicBezTo>
                    <a:pt x="15804" y="50269"/>
                    <a:pt x="13190" y="51413"/>
                    <a:pt x="10413" y="51413"/>
                  </a:cubicBezTo>
                </a:path>
              </a:pathLst>
            </a:custGeom>
            <a:solidFill>
              <a:srgbClr val="FFFFFF"/>
            </a:solidFill>
            <a:ln w="16329" cap="flat">
              <a:noFill/>
              <a:prstDash val="solid"/>
              <a:miter/>
            </a:ln>
          </p:spPr>
          <p:txBody>
            <a:bodyPr rtlCol="0" anchor="ctr"/>
            <a:lstStyle/>
            <a:p>
              <a:endParaRPr lang="en-DK"/>
            </a:p>
          </p:txBody>
        </p:sp>
        <p:sp>
          <p:nvSpPr>
            <p:cNvPr id="44" name="Freeform 43">
              <a:extLst>
                <a:ext uri="{FF2B5EF4-FFF2-40B4-BE49-F238E27FC236}">
                  <a16:creationId xmlns:a16="http://schemas.microsoft.com/office/drawing/2014/main" id="{BCB4338A-3E3A-68C7-9BA0-DEEE8EC7F13E}"/>
                </a:ext>
              </a:extLst>
            </p:cNvPr>
            <p:cNvSpPr/>
            <p:nvPr/>
          </p:nvSpPr>
          <p:spPr>
            <a:xfrm>
              <a:off x="4544365" y="4426443"/>
              <a:ext cx="51371" cy="51412"/>
            </a:xfrm>
            <a:custGeom>
              <a:avLst/>
              <a:gdLst>
                <a:gd name="connsiteX0" fmla="*/ 10413 w 51371"/>
                <a:gd name="connsiteY0" fmla="*/ 51413 h 51412"/>
                <a:gd name="connsiteX1" fmla="*/ 3063 w 51371"/>
                <a:gd name="connsiteY1" fmla="*/ 48309 h 51412"/>
                <a:gd name="connsiteX2" fmla="*/ 3063 w 51371"/>
                <a:gd name="connsiteY2" fmla="*/ 33445 h 51412"/>
                <a:gd name="connsiteX3" fmla="*/ 33445 w 51371"/>
                <a:gd name="connsiteY3" fmla="*/ 3063 h 51412"/>
                <a:gd name="connsiteX4" fmla="*/ 48309 w 51371"/>
                <a:gd name="connsiteY4" fmla="*/ 3063 h 51412"/>
                <a:gd name="connsiteX5" fmla="*/ 48309 w 51371"/>
                <a:gd name="connsiteY5" fmla="*/ 17927 h 51412"/>
                <a:gd name="connsiteX6" fmla="*/ 17927 w 51371"/>
                <a:gd name="connsiteY6" fmla="*/ 48309 h 51412"/>
                <a:gd name="connsiteX7" fmla="*/ 10577 w 51371"/>
                <a:gd name="connsiteY7" fmla="*/ 51413 h 5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371" h="51412">
                  <a:moveTo>
                    <a:pt x="10413" y="51413"/>
                  </a:moveTo>
                  <a:cubicBezTo>
                    <a:pt x="7800" y="51413"/>
                    <a:pt x="5023" y="50433"/>
                    <a:pt x="3063" y="48309"/>
                  </a:cubicBezTo>
                  <a:cubicBezTo>
                    <a:pt x="-1021" y="44226"/>
                    <a:pt x="-1021" y="37528"/>
                    <a:pt x="3063" y="33445"/>
                  </a:cubicBezTo>
                  <a:lnTo>
                    <a:pt x="33445" y="3063"/>
                  </a:lnTo>
                  <a:cubicBezTo>
                    <a:pt x="37528" y="-1021"/>
                    <a:pt x="44226" y="-1021"/>
                    <a:pt x="48309" y="3063"/>
                  </a:cubicBezTo>
                  <a:cubicBezTo>
                    <a:pt x="52393" y="7146"/>
                    <a:pt x="52393" y="13843"/>
                    <a:pt x="48309" y="17927"/>
                  </a:cubicBezTo>
                  <a:lnTo>
                    <a:pt x="17927" y="48309"/>
                  </a:lnTo>
                  <a:cubicBezTo>
                    <a:pt x="15804" y="50269"/>
                    <a:pt x="13190" y="51413"/>
                    <a:pt x="10577" y="51413"/>
                  </a:cubicBezTo>
                </a:path>
              </a:pathLst>
            </a:custGeom>
            <a:solidFill>
              <a:srgbClr val="FFFFFF"/>
            </a:solidFill>
            <a:ln w="16329" cap="flat">
              <a:noFill/>
              <a:prstDash val="solid"/>
              <a:miter/>
            </a:ln>
          </p:spPr>
          <p:txBody>
            <a:bodyPr rtlCol="0" anchor="ctr"/>
            <a:lstStyle/>
            <a:p>
              <a:endParaRPr lang="en-DK"/>
            </a:p>
          </p:txBody>
        </p:sp>
      </p:grpSp>
      <p:sp>
        <p:nvSpPr>
          <p:cNvPr id="89" name="Oval 88">
            <a:extLst>
              <a:ext uri="{FF2B5EF4-FFF2-40B4-BE49-F238E27FC236}">
                <a16:creationId xmlns:a16="http://schemas.microsoft.com/office/drawing/2014/main" id="{A3913C37-8118-CA9F-934B-E0C6A6E527CC}"/>
              </a:ext>
            </a:extLst>
          </p:cNvPr>
          <p:cNvSpPr>
            <a:spLocks noChangeAspect="1"/>
          </p:cNvSpPr>
          <p:nvPr/>
        </p:nvSpPr>
        <p:spPr>
          <a:xfrm>
            <a:off x="2568955" y="4024466"/>
            <a:ext cx="972000" cy="972000"/>
          </a:xfrm>
          <a:prstGeom prst="ellipse">
            <a:avLst/>
          </a:prstGeom>
          <a:solidFill>
            <a:schemeClr val="accent3">
              <a:alpha val="50028"/>
            </a:schemeClr>
          </a:solidFill>
          <a:ln w="12700" cap="flat" cmpd="sng" algn="ctr">
            <a:solidFill>
              <a:schemeClr val="accent3"/>
            </a:solidFill>
            <a:prstDash val="solid"/>
            <a:miter lim="800000"/>
          </a:ln>
          <a:effectLst/>
        </p:spPr>
        <p:txBody>
          <a:bodyPr wrap="none" lIns="0" tIns="432000" rIns="0" bIns="0" rtlCol="0" anchor="ctr"/>
          <a:lstStyle/>
          <a:p>
            <a:pPr algn="ctr" defTabSz="914309">
              <a:defRPr/>
            </a:pPr>
            <a:endParaRPr lang="en-US" sz="1400" i="1" kern="0">
              <a:solidFill>
                <a:srgbClr val="FFFFFF"/>
              </a:solidFill>
              <a:latin typeface="Avenir Next LT Pro"/>
            </a:endParaRPr>
          </a:p>
        </p:txBody>
      </p:sp>
      <p:sp>
        <p:nvSpPr>
          <p:cNvPr id="90" name="TextBox 89">
            <a:extLst>
              <a:ext uri="{FF2B5EF4-FFF2-40B4-BE49-F238E27FC236}">
                <a16:creationId xmlns:a16="http://schemas.microsoft.com/office/drawing/2014/main" id="{FF6207DA-1991-0E46-8EAB-032CCCA6FECC}"/>
              </a:ext>
            </a:extLst>
          </p:cNvPr>
          <p:cNvSpPr txBox="1"/>
          <p:nvPr/>
        </p:nvSpPr>
        <p:spPr>
          <a:xfrm>
            <a:off x="2488957" y="4226044"/>
            <a:ext cx="1141447" cy="523220"/>
          </a:xfrm>
          <a:prstGeom prst="rect">
            <a:avLst/>
          </a:prstGeom>
          <a:noFill/>
        </p:spPr>
        <p:txBody>
          <a:bodyPr wrap="square" rtlCol="0">
            <a:spAutoFit/>
          </a:bodyPr>
          <a:lstStyle/>
          <a:p>
            <a:pPr algn="ctr" defTabSz="914309">
              <a:defRPr/>
            </a:pPr>
            <a:r>
              <a:rPr lang="en-DK" sz="1400" b="1" kern="0">
                <a:solidFill>
                  <a:srgbClr val="FFFFFF"/>
                </a:solidFill>
                <a:latin typeface="Avenir Next LT Pro Demi" panose="020B0504020202020204" pitchFamily="34" charset="77"/>
              </a:rPr>
              <a:t>BD</a:t>
            </a:r>
          </a:p>
          <a:p>
            <a:pPr algn="ctr" defTabSz="914309">
              <a:defRPr/>
            </a:pPr>
            <a:r>
              <a:rPr lang="en-DK" sz="1400" b="1" kern="0">
                <a:solidFill>
                  <a:srgbClr val="FFFFFF"/>
                </a:solidFill>
                <a:latin typeface="Avenir Next LT Pro Demi" panose="020B0504020202020204" pitchFamily="34" charset="77"/>
              </a:rPr>
              <a:t>M&amp;A</a:t>
            </a:r>
            <a:endParaRPr lang="en-US" sz="1400" i="1" kern="0">
              <a:solidFill>
                <a:srgbClr val="FFFFFF"/>
              </a:solidFill>
              <a:latin typeface="Avenir Next LT Pro"/>
            </a:endParaRPr>
          </a:p>
        </p:txBody>
      </p:sp>
      <p:sp>
        <p:nvSpPr>
          <p:cNvPr id="17" name="Freeform 16">
            <a:extLst>
              <a:ext uri="{FF2B5EF4-FFF2-40B4-BE49-F238E27FC236}">
                <a16:creationId xmlns:a16="http://schemas.microsoft.com/office/drawing/2014/main" id="{79BC7CC8-A8F7-235F-A414-A84DAF04DBC8}"/>
              </a:ext>
            </a:extLst>
          </p:cNvPr>
          <p:cNvSpPr/>
          <p:nvPr/>
        </p:nvSpPr>
        <p:spPr>
          <a:xfrm rot="18900000">
            <a:off x="2011143" y="1738393"/>
            <a:ext cx="2088000" cy="2088000"/>
          </a:xfrm>
          <a:custGeom>
            <a:avLst/>
            <a:gdLst>
              <a:gd name="connsiteX0" fmla="*/ 2223937 w 2223936"/>
              <a:gd name="connsiteY0" fmla="*/ 1112656 h 2225311"/>
              <a:gd name="connsiteX1" fmla="*/ 1111968 w 2223936"/>
              <a:gd name="connsiteY1" fmla="*/ 2225312 h 2225311"/>
              <a:gd name="connsiteX2" fmla="*/ 0 w 2223936"/>
              <a:gd name="connsiteY2" fmla="*/ 1112656 h 2225311"/>
              <a:gd name="connsiteX3" fmla="*/ 1111968 w 2223936"/>
              <a:gd name="connsiteY3" fmla="*/ 0 h 2225311"/>
              <a:gd name="connsiteX4" fmla="*/ 2223937 w 2223936"/>
              <a:gd name="connsiteY4" fmla="*/ 1112656 h 2225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3936" h="2225311">
                <a:moveTo>
                  <a:pt x="2223937" y="1112656"/>
                </a:moveTo>
                <a:cubicBezTo>
                  <a:pt x="2223937" y="1727159"/>
                  <a:pt x="1726091" y="2225312"/>
                  <a:pt x="1111968" y="2225312"/>
                </a:cubicBezTo>
                <a:cubicBezTo>
                  <a:pt x="497845" y="2225312"/>
                  <a:pt x="0" y="1727159"/>
                  <a:pt x="0" y="1112656"/>
                </a:cubicBezTo>
                <a:cubicBezTo>
                  <a:pt x="0" y="498153"/>
                  <a:pt x="497845" y="0"/>
                  <a:pt x="1111968" y="0"/>
                </a:cubicBezTo>
                <a:cubicBezTo>
                  <a:pt x="1726091" y="0"/>
                  <a:pt x="2223937" y="498153"/>
                  <a:pt x="2223937" y="1112656"/>
                </a:cubicBezTo>
                <a:close/>
              </a:path>
            </a:pathLst>
          </a:custGeom>
          <a:solidFill>
            <a:schemeClr val="accent1">
              <a:alpha val="60055"/>
            </a:schemeClr>
          </a:solidFill>
          <a:ln w="12028" cap="flat">
            <a:noFill/>
            <a:prstDash val="solid"/>
            <a:miter/>
          </a:ln>
        </p:spPr>
        <p:txBody>
          <a:bodyPr rtlCol="0" anchor="ctr"/>
          <a:lstStyle/>
          <a:p>
            <a:endParaRPr lang="en-DK"/>
          </a:p>
        </p:txBody>
      </p:sp>
      <p:sp>
        <p:nvSpPr>
          <p:cNvPr id="29" name="Freeform 28">
            <a:extLst>
              <a:ext uri="{FF2B5EF4-FFF2-40B4-BE49-F238E27FC236}">
                <a16:creationId xmlns:a16="http://schemas.microsoft.com/office/drawing/2014/main" id="{69F688F9-9758-0ED6-40B2-85A888560F09}"/>
              </a:ext>
            </a:extLst>
          </p:cNvPr>
          <p:cNvSpPr/>
          <p:nvPr/>
        </p:nvSpPr>
        <p:spPr>
          <a:xfrm rot="18900000">
            <a:off x="534703" y="4301711"/>
            <a:ext cx="2088000" cy="2088000"/>
          </a:xfrm>
          <a:custGeom>
            <a:avLst/>
            <a:gdLst>
              <a:gd name="connsiteX0" fmla="*/ 2223937 w 2223936"/>
              <a:gd name="connsiteY0" fmla="*/ 1112656 h 2225311"/>
              <a:gd name="connsiteX1" fmla="*/ 1111968 w 2223936"/>
              <a:gd name="connsiteY1" fmla="*/ 2225312 h 2225311"/>
              <a:gd name="connsiteX2" fmla="*/ 0 w 2223936"/>
              <a:gd name="connsiteY2" fmla="*/ 1112656 h 2225311"/>
              <a:gd name="connsiteX3" fmla="*/ 1111968 w 2223936"/>
              <a:gd name="connsiteY3" fmla="*/ 0 h 2225311"/>
              <a:gd name="connsiteX4" fmla="*/ 2223937 w 2223936"/>
              <a:gd name="connsiteY4" fmla="*/ 1112656 h 2225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3936" h="2225311">
                <a:moveTo>
                  <a:pt x="2223937" y="1112656"/>
                </a:moveTo>
                <a:cubicBezTo>
                  <a:pt x="2223937" y="1727159"/>
                  <a:pt x="1726091" y="2225312"/>
                  <a:pt x="1111968" y="2225312"/>
                </a:cubicBezTo>
                <a:cubicBezTo>
                  <a:pt x="497845" y="2225312"/>
                  <a:pt x="0" y="1727159"/>
                  <a:pt x="0" y="1112656"/>
                </a:cubicBezTo>
                <a:cubicBezTo>
                  <a:pt x="0" y="498153"/>
                  <a:pt x="497845" y="0"/>
                  <a:pt x="1111968" y="0"/>
                </a:cubicBezTo>
                <a:cubicBezTo>
                  <a:pt x="1726091" y="0"/>
                  <a:pt x="2223937" y="498153"/>
                  <a:pt x="2223937" y="1112656"/>
                </a:cubicBezTo>
                <a:close/>
              </a:path>
            </a:pathLst>
          </a:custGeom>
          <a:solidFill>
            <a:schemeClr val="accent1">
              <a:alpha val="59772"/>
            </a:schemeClr>
          </a:solidFill>
          <a:ln w="12028" cap="flat">
            <a:noFill/>
            <a:prstDash val="solid"/>
            <a:miter/>
          </a:ln>
        </p:spPr>
        <p:txBody>
          <a:bodyPr rtlCol="0" anchor="ctr"/>
          <a:lstStyle/>
          <a:p>
            <a:endParaRPr lang="en-DK"/>
          </a:p>
        </p:txBody>
      </p:sp>
      <p:sp>
        <p:nvSpPr>
          <p:cNvPr id="4" name="Oval 3">
            <a:extLst>
              <a:ext uri="{FF2B5EF4-FFF2-40B4-BE49-F238E27FC236}">
                <a16:creationId xmlns:a16="http://schemas.microsoft.com/office/drawing/2014/main" id="{E66CC381-3CA5-4AAC-6C17-FB87559E6E38}"/>
              </a:ext>
            </a:extLst>
          </p:cNvPr>
          <p:cNvSpPr>
            <a:spLocks noChangeAspect="1"/>
          </p:cNvSpPr>
          <p:nvPr/>
        </p:nvSpPr>
        <p:spPr>
          <a:xfrm>
            <a:off x="6797864" y="3715252"/>
            <a:ext cx="360000" cy="360000"/>
          </a:xfrm>
          <a:prstGeom prst="ellipse">
            <a:avLst/>
          </a:prstGeom>
          <a:solidFill>
            <a:schemeClr val="accent4"/>
          </a:solidFill>
          <a:ln w="12700" cap="flat" cmpd="sng" algn="ctr">
            <a:noFill/>
            <a:prstDash val="solid"/>
            <a:miter lim="800000"/>
          </a:ln>
          <a:effectLst/>
        </p:spPr>
        <p:txBody>
          <a:bodyPr lIns="35995" tIns="35995" rIns="35995" bIns="35995" rtlCol="0" anchor="ctr"/>
          <a:lstStyle/>
          <a:p>
            <a:pPr algn="ctr" defTabSz="914355">
              <a:spcAft>
                <a:spcPts val="1200"/>
              </a:spcAft>
            </a:pPr>
            <a:r>
              <a:rPr lang="en-DK" b="1" kern="0">
                <a:latin typeface="Avenir Next LT Pro Demi" panose="020B0504020202020204" pitchFamily="34" charset="77"/>
              </a:rPr>
              <a:t>1</a:t>
            </a:r>
            <a:endParaRPr lang="de-DE" b="1" kern="0">
              <a:latin typeface="Avenir Next LT Pro Demi" panose="020B0504020202020204" pitchFamily="34" charset="77"/>
            </a:endParaRPr>
          </a:p>
        </p:txBody>
      </p:sp>
      <p:sp>
        <p:nvSpPr>
          <p:cNvPr id="14" name="Oval 13">
            <a:extLst>
              <a:ext uri="{FF2B5EF4-FFF2-40B4-BE49-F238E27FC236}">
                <a16:creationId xmlns:a16="http://schemas.microsoft.com/office/drawing/2014/main" id="{04E4AA90-6C46-B71D-AE1B-8BBBEBA87C99}"/>
              </a:ext>
            </a:extLst>
          </p:cNvPr>
          <p:cNvSpPr>
            <a:spLocks noChangeAspect="1"/>
          </p:cNvSpPr>
          <p:nvPr/>
        </p:nvSpPr>
        <p:spPr>
          <a:xfrm>
            <a:off x="6797864" y="4368705"/>
            <a:ext cx="360000" cy="360000"/>
          </a:xfrm>
          <a:prstGeom prst="ellipse">
            <a:avLst/>
          </a:prstGeom>
          <a:solidFill>
            <a:schemeClr val="accent4"/>
          </a:solidFill>
          <a:ln w="12700" cap="flat" cmpd="sng" algn="ctr">
            <a:noFill/>
            <a:prstDash val="solid"/>
            <a:miter lim="800000"/>
          </a:ln>
          <a:effectLst/>
        </p:spPr>
        <p:txBody>
          <a:bodyPr lIns="35995" tIns="35995" rIns="35995" bIns="35995" rtlCol="0" anchor="ctr"/>
          <a:lstStyle/>
          <a:p>
            <a:pPr algn="ctr" defTabSz="914355">
              <a:spcAft>
                <a:spcPts val="1200"/>
              </a:spcAft>
            </a:pPr>
            <a:r>
              <a:rPr lang="en-DK" b="1" kern="0">
                <a:latin typeface="Avenir Next LT Pro Demi" panose="020B0504020202020204" pitchFamily="34" charset="77"/>
              </a:rPr>
              <a:t>2</a:t>
            </a:r>
            <a:endParaRPr lang="de-DE" b="1" kern="0">
              <a:latin typeface="Avenir Next LT Pro Demi" panose="020B0504020202020204" pitchFamily="34" charset="77"/>
            </a:endParaRPr>
          </a:p>
        </p:txBody>
      </p:sp>
      <p:sp>
        <p:nvSpPr>
          <p:cNvPr id="19" name="Oval 18">
            <a:extLst>
              <a:ext uri="{FF2B5EF4-FFF2-40B4-BE49-F238E27FC236}">
                <a16:creationId xmlns:a16="http://schemas.microsoft.com/office/drawing/2014/main" id="{8A4BDECE-27CF-3292-62A8-8F7F1CE278FF}"/>
              </a:ext>
            </a:extLst>
          </p:cNvPr>
          <p:cNvSpPr>
            <a:spLocks noChangeAspect="1"/>
          </p:cNvSpPr>
          <p:nvPr/>
        </p:nvSpPr>
        <p:spPr>
          <a:xfrm>
            <a:off x="6797864" y="5022158"/>
            <a:ext cx="360000" cy="360000"/>
          </a:xfrm>
          <a:prstGeom prst="ellipse">
            <a:avLst/>
          </a:prstGeom>
          <a:solidFill>
            <a:schemeClr val="accent4"/>
          </a:solidFill>
          <a:ln w="12700" cap="flat" cmpd="sng" algn="ctr">
            <a:noFill/>
            <a:prstDash val="solid"/>
            <a:miter lim="800000"/>
          </a:ln>
          <a:effectLst/>
        </p:spPr>
        <p:txBody>
          <a:bodyPr lIns="35995" tIns="35995" rIns="35995" bIns="35995" rtlCol="0" anchor="ctr"/>
          <a:lstStyle/>
          <a:p>
            <a:pPr algn="ctr" defTabSz="914355">
              <a:spcAft>
                <a:spcPts val="1200"/>
              </a:spcAft>
            </a:pPr>
            <a:r>
              <a:rPr lang="en-DK" b="1" kern="0">
                <a:latin typeface="Avenir Next LT Pro Demi" panose="020B0504020202020204" pitchFamily="34" charset="77"/>
              </a:rPr>
              <a:t>3</a:t>
            </a:r>
            <a:endParaRPr lang="de-DE" b="1" kern="0">
              <a:latin typeface="Avenir Next LT Pro Demi" panose="020B0504020202020204" pitchFamily="34" charset="77"/>
            </a:endParaRPr>
          </a:p>
        </p:txBody>
      </p:sp>
      <p:sp>
        <p:nvSpPr>
          <p:cNvPr id="22" name="Oval 21">
            <a:extLst>
              <a:ext uri="{FF2B5EF4-FFF2-40B4-BE49-F238E27FC236}">
                <a16:creationId xmlns:a16="http://schemas.microsoft.com/office/drawing/2014/main" id="{611CE0C5-DB1C-F5CE-1911-AA1407140AFB}"/>
              </a:ext>
            </a:extLst>
          </p:cNvPr>
          <p:cNvSpPr>
            <a:spLocks noChangeAspect="1"/>
          </p:cNvSpPr>
          <p:nvPr/>
        </p:nvSpPr>
        <p:spPr>
          <a:xfrm>
            <a:off x="6797864" y="5675611"/>
            <a:ext cx="360000" cy="360000"/>
          </a:xfrm>
          <a:prstGeom prst="ellipse">
            <a:avLst/>
          </a:prstGeom>
          <a:solidFill>
            <a:schemeClr val="accent4"/>
          </a:solidFill>
          <a:ln w="12700" cap="flat" cmpd="sng" algn="ctr">
            <a:noFill/>
            <a:prstDash val="solid"/>
            <a:miter lim="800000"/>
          </a:ln>
          <a:effectLst/>
        </p:spPr>
        <p:txBody>
          <a:bodyPr lIns="35995" tIns="35995" rIns="35995" bIns="35995" rtlCol="0" anchor="ctr"/>
          <a:lstStyle/>
          <a:p>
            <a:pPr algn="ctr" defTabSz="914355">
              <a:spcAft>
                <a:spcPts val="1200"/>
              </a:spcAft>
            </a:pPr>
            <a:r>
              <a:rPr lang="en-DK" b="1" kern="0">
                <a:latin typeface="Avenir Next LT Pro Demi" panose="020B0504020202020204" pitchFamily="34" charset="77"/>
              </a:rPr>
              <a:t>4</a:t>
            </a:r>
            <a:endParaRPr lang="de-DE" b="1" kern="0">
              <a:latin typeface="Avenir Next LT Pro Demi" panose="020B0504020202020204" pitchFamily="34" charset="77"/>
            </a:endParaRPr>
          </a:p>
        </p:txBody>
      </p:sp>
      <p:cxnSp>
        <p:nvCxnSpPr>
          <p:cNvPr id="60" name="Straight Connector 59">
            <a:extLst>
              <a:ext uri="{FF2B5EF4-FFF2-40B4-BE49-F238E27FC236}">
                <a16:creationId xmlns:a16="http://schemas.microsoft.com/office/drawing/2014/main" id="{93476CE9-EF2A-0052-F857-4EA8CEFC802C}"/>
              </a:ext>
            </a:extLst>
          </p:cNvPr>
          <p:cNvCxnSpPr>
            <a:cxnSpLocks/>
          </p:cNvCxnSpPr>
          <p:nvPr/>
        </p:nvCxnSpPr>
        <p:spPr>
          <a:xfrm>
            <a:off x="6671401" y="2683064"/>
            <a:ext cx="5006182" cy="0"/>
          </a:xfrm>
          <a:prstGeom prst="line">
            <a:avLst/>
          </a:prstGeom>
          <a:noFill/>
          <a:ln w="38100" cap="flat" cmpd="sng" algn="ctr">
            <a:gradFill>
              <a:gsLst>
                <a:gs pos="0">
                  <a:srgbClr val="F3E700"/>
                </a:gs>
                <a:gs pos="34000">
                  <a:srgbClr val="8CC3CA"/>
                </a:gs>
                <a:gs pos="67000">
                  <a:srgbClr val="2878FF"/>
                </a:gs>
                <a:gs pos="100000">
                  <a:srgbClr val="E228E2"/>
                </a:gs>
              </a:gsLst>
              <a:lin ang="2700000" scaled="0"/>
            </a:gradFill>
            <a:prstDash val="solid"/>
            <a:miter lim="800000"/>
          </a:ln>
          <a:effectLst/>
        </p:spPr>
      </p:cxnSp>
      <p:sp>
        <p:nvSpPr>
          <p:cNvPr id="91" name="Rectangle 90">
            <a:extLst>
              <a:ext uri="{FF2B5EF4-FFF2-40B4-BE49-F238E27FC236}">
                <a16:creationId xmlns:a16="http://schemas.microsoft.com/office/drawing/2014/main" id="{B7191D21-9B61-CD8C-5E9F-0D503EBF096C}"/>
              </a:ext>
            </a:extLst>
          </p:cNvPr>
          <p:cNvSpPr>
            <a:spLocks/>
          </p:cNvSpPr>
          <p:nvPr/>
        </p:nvSpPr>
        <p:spPr>
          <a:xfrm>
            <a:off x="6671401" y="1796550"/>
            <a:ext cx="5006182" cy="839612"/>
          </a:xfrm>
          <a:prstGeom prst="rect">
            <a:avLst/>
          </a:prstGeom>
          <a:noFill/>
          <a:ln w="9525">
            <a:noFill/>
            <a:prstDash val="solid"/>
          </a:ln>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360000" tIns="360000" rIns="360000" bIns="360000" rtlCol="0" anchor="ctr"/>
          <a:lstStyle/>
          <a:p>
            <a:pPr algn="ctr" defTabSz="914173">
              <a:spcAft>
                <a:spcPts val="600"/>
              </a:spcAft>
              <a:defRPr/>
            </a:pPr>
            <a:r>
              <a:rPr lang="da-DK" sz="2600" b="1" err="1">
                <a:solidFill>
                  <a:srgbClr val="001965">
                    <a:lumMod val="100000"/>
                  </a:srgbClr>
                </a:solidFill>
                <a:latin typeface="Avenir Next LT Pro" panose="020B0504020202020204" pitchFamily="34" charset="77"/>
              </a:rPr>
              <a:t>Why</a:t>
            </a:r>
            <a:r>
              <a:rPr lang="da-DK" sz="2600" b="1">
                <a:solidFill>
                  <a:srgbClr val="001965">
                    <a:lumMod val="100000"/>
                  </a:srgbClr>
                </a:solidFill>
                <a:latin typeface="Avenir Next LT Pro" panose="020B0504020202020204" pitchFamily="34" charset="77"/>
              </a:rPr>
              <a:t> Ventures?</a:t>
            </a:r>
            <a:endParaRPr lang="en-GB" sz="2600" b="1">
              <a:solidFill>
                <a:srgbClr val="001965">
                  <a:lumMod val="100000"/>
                </a:srgbClr>
              </a:solidFill>
              <a:latin typeface="Avenir Next LT Pro" panose="020B0504020202020204" pitchFamily="34" charset="77"/>
            </a:endParaRPr>
          </a:p>
        </p:txBody>
      </p:sp>
      <p:sp>
        <p:nvSpPr>
          <p:cNvPr id="5" name="TextBox 4">
            <a:extLst>
              <a:ext uri="{FF2B5EF4-FFF2-40B4-BE49-F238E27FC236}">
                <a16:creationId xmlns:a16="http://schemas.microsoft.com/office/drawing/2014/main" id="{9EDE5EB4-C87F-A6CD-3AC1-58192CBEC3A0}"/>
              </a:ext>
            </a:extLst>
          </p:cNvPr>
          <p:cNvSpPr txBox="1"/>
          <p:nvPr/>
        </p:nvSpPr>
        <p:spPr>
          <a:xfrm>
            <a:off x="11594381" y="6399575"/>
            <a:ext cx="27602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92F5A-FC14-4E83-B4CC-18F6C2D780A4}" type="slidenum">
              <a:rPr kumimoji="0" lang="en-US" sz="1000" b="0" i="0" u="none" strike="noStrike" kern="0" cap="none" spc="40" normalizeH="0" baseline="0" noProof="0" smtClean="0">
                <a:ln>
                  <a:noFill/>
                </a:ln>
                <a:solidFill>
                  <a:srgbClr val="2878FF"/>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0" cap="none" spc="40" normalizeH="0" baseline="0" noProof="0">
              <a:ln>
                <a:noFill/>
              </a:ln>
              <a:solidFill>
                <a:srgbClr val="2878FF"/>
              </a:solidFill>
              <a:effectLst/>
              <a:uLnTx/>
              <a:uFillTx/>
              <a:latin typeface="Avenir Next LT Pro"/>
              <a:ea typeface="+mn-ea"/>
              <a:cs typeface="+mn-cs"/>
            </a:endParaRPr>
          </a:p>
        </p:txBody>
      </p:sp>
    </p:spTree>
    <p:extLst>
      <p:ext uri="{BB962C8B-B14F-4D97-AF65-F5344CB8AC3E}">
        <p14:creationId xmlns:p14="http://schemas.microsoft.com/office/powerpoint/2010/main" val="14202617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E7C67F-DAEC-B6EA-80DC-725A91B3BF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0D07AF9-DEC0-A379-BB3C-9A79D6DD8344}"/>
              </a:ext>
            </a:extLst>
          </p:cNvPr>
          <p:cNvGraphicFramePr>
            <a:graphicFrameLocks/>
          </p:cNvGraphicFramePr>
          <p:nvPr>
            <p:custDataLst>
              <p:tags r:id="rId1"/>
            </p:custData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7" name="think-cell data - do not delete" hidden="1">
                        <a:extLst>
                          <a:ext uri="{FF2B5EF4-FFF2-40B4-BE49-F238E27FC236}">
                            <a16:creationId xmlns:a16="http://schemas.microsoft.com/office/drawing/2014/main" id="{90D07AF9-DEC0-A379-BB3C-9A79D6DD8344}"/>
                          </a:ext>
                        </a:extLst>
                      </p:cNvPr>
                      <p:cNvPicPr/>
                      <p:nvPr/>
                    </p:nvPicPr>
                    <p:blipFill>
                      <a:blip r:embed="rId5"/>
                      <a:stretch>
                        <a:fillRect/>
                      </a:stretch>
                    </p:blipFill>
                    <p:spPr>
                      <a:xfrm>
                        <a:off x="2382"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C4244F-60F5-5E98-D639-D44E50120B28}"/>
              </a:ext>
            </a:extLst>
          </p:cNvPr>
          <p:cNvSpPr>
            <a:spLocks noGrp="1"/>
          </p:cNvSpPr>
          <p:nvPr>
            <p:ph type="title"/>
          </p:nvPr>
        </p:nvSpPr>
        <p:spPr/>
        <p:txBody>
          <a:bodyPr vert="horz"/>
          <a:lstStyle/>
          <a:p>
            <a:r>
              <a:rPr lang="en-US" err="1"/>
              <a:t>Gubra</a:t>
            </a:r>
            <a:r>
              <a:rPr lang="en-US"/>
              <a:t> is uniquely positioned to </a:t>
            </a:r>
            <a:r>
              <a:rPr lang="en-DK"/>
              <a:t>launch</a:t>
            </a:r>
            <a:r>
              <a:rPr lang="en-US"/>
              <a:t> Ventures</a:t>
            </a:r>
            <a:r>
              <a:rPr lang="en-DK"/>
              <a:t> and will leverage our strong capabilities across Biotech and CRO</a:t>
            </a:r>
            <a:endParaRPr lang="de-DE"/>
          </a:p>
        </p:txBody>
      </p:sp>
      <p:cxnSp>
        <p:nvCxnSpPr>
          <p:cNvPr id="12" name="Straight Connector 11">
            <a:extLst>
              <a:ext uri="{FF2B5EF4-FFF2-40B4-BE49-F238E27FC236}">
                <a16:creationId xmlns:a16="http://schemas.microsoft.com/office/drawing/2014/main" id="{5435038F-7DA7-5C8D-6A01-378DEE874E5C}"/>
              </a:ext>
            </a:extLst>
          </p:cNvPr>
          <p:cNvCxnSpPr>
            <a:cxnSpLocks/>
          </p:cNvCxnSpPr>
          <p:nvPr/>
        </p:nvCxnSpPr>
        <p:spPr>
          <a:xfrm>
            <a:off x="858193" y="4913665"/>
            <a:ext cx="2880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EFA59A7-1F0F-A36D-0E95-63E037273E74}"/>
              </a:ext>
            </a:extLst>
          </p:cNvPr>
          <p:cNvSpPr txBox="1"/>
          <p:nvPr/>
        </p:nvSpPr>
        <p:spPr>
          <a:xfrm>
            <a:off x="1042825" y="4554356"/>
            <a:ext cx="2510737" cy="307777"/>
          </a:xfrm>
          <a:prstGeom prst="rect">
            <a:avLst/>
          </a:prstGeom>
          <a:noFill/>
        </p:spPr>
        <p:txBody>
          <a:bodyPr wrap="square" lIns="0" tIns="45720" rIns="0" bIns="45720" rtlCol="0" anchor="t">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400" b="1" i="0" u="none" strike="noStrike" kern="1200" cap="none" spc="0" normalizeH="0" baseline="0" noProof="0" dirty="0">
                <a:ln>
                  <a:noFill/>
                </a:ln>
                <a:solidFill>
                  <a:srgbClr val="001965"/>
                </a:solidFill>
                <a:effectLst/>
                <a:uLnTx/>
                <a:uFillTx/>
                <a:latin typeface="Avenir Next LT Pro Demi" panose="020B0504020202020204" pitchFamily="34" charset="77"/>
                <a:ea typeface="+mn-ea"/>
                <a:cs typeface="Avenir Next LT Pro"/>
              </a:rPr>
              <a:t>Moving beyond obesity</a:t>
            </a:r>
          </a:p>
        </p:txBody>
      </p:sp>
      <p:pic>
        <p:nvPicPr>
          <p:cNvPr id="15" name="Graphic 14">
            <a:extLst>
              <a:ext uri="{FF2B5EF4-FFF2-40B4-BE49-F238E27FC236}">
                <a16:creationId xmlns:a16="http://schemas.microsoft.com/office/drawing/2014/main" id="{72C4E924-6353-4846-E16B-88835A258DCC}"/>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434193" y="2609095"/>
            <a:ext cx="1728000" cy="1728000"/>
          </a:xfrm>
          <a:prstGeom prst="rect">
            <a:avLst/>
          </a:prstGeom>
        </p:spPr>
      </p:pic>
      <p:cxnSp>
        <p:nvCxnSpPr>
          <p:cNvPr id="21" name="Straight Connector 20">
            <a:extLst>
              <a:ext uri="{FF2B5EF4-FFF2-40B4-BE49-F238E27FC236}">
                <a16:creationId xmlns:a16="http://schemas.microsoft.com/office/drawing/2014/main" id="{3DE8A375-6B0A-39C5-4F89-A97747DE8213}"/>
              </a:ext>
            </a:extLst>
          </p:cNvPr>
          <p:cNvCxnSpPr>
            <a:cxnSpLocks/>
          </p:cNvCxnSpPr>
          <p:nvPr/>
        </p:nvCxnSpPr>
        <p:spPr>
          <a:xfrm>
            <a:off x="8319632" y="4910833"/>
            <a:ext cx="2880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0EC4FA4E-F7D1-0616-A060-E23F1D8594EE}"/>
              </a:ext>
            </a:extLst>
          </p:cNvPr>
          <p:cNvSpPr txBox="1"/>
          <p:nvPr/>
        </p:nvSpPr>
        <p:spPr>
          <a:xfrm>
            <a:off x="8681935" y="4554356"/>
            <a:ext cx="2155393" cy="307777"/>
          </a:xfrm>
          <a:prstGeom prst="rect">
            <a:avLst/>
          </a:prstGeom>
          <a:noFill/>
        </p:spPr>
        <p:txBody>
          <a:bodyPr wrap="square" lIns="0" tIns="45720" rIns="0" bIns="45720" rtlCol="0" anchor="t">
            <a:spAutoFit/>
          </a:bodyPr>
          <a:lstStyle/>
          <a:p>
            <a:pPr algn="ctr" defTabSz="914400">
              <a:spcAft>
                <a:spcPts val="1200"/>
              </a:spcAft>
              <a:defRPr/>
            </a:pPr>
            <a:r>
              <a:rPr lang="en-GB" sz="1400" b="1" kern="0">
                <a:solidFill>
                  <a:srgbClr val="001965">
                    <a:lumMod val="100000"/>
                  </a:srgbClr>
                </a:solidFill>
                <a:latin typeface="Avenir Next LT Pro Demi" panose="020B0504020202020204" pitchFamily="34" charset="77"/>
              </a:rPr>
              <a:t>Market opportunity</a:t>
            </a:r>
          </a:p>
        </p:txBody>
      </p:sp>
      <p:cxnSp>
        <p:nvCxnSpPr>
          <p:cNvPr id="25" name="Straight Connector 24">
            <a:extLst>
              <a:ext uri="{FF2B5EF4-FFF2-40B4-BE49-F238E27FC236}">
                <a16:creationId xmlns:a16="http://schemas.microsoft.com/office/drawing/2014/main" id="{B27E1FCB-9C61-8AE0-9EC2-4BFF0D98140C}"/>
              </a:ext>
            </a:extLst>
          </p:cNvPr>
          <p:cNvCxnSpPr>
            <a:cxnSpLocks/>
          </p:cNvCxnSpPr>
          <p:nvPr/>
        </p:nvCxnSpPr>
        <p:spPr>
          <a:xfrm>
            <a:off x="4628950" y="4912249"/>
            <a:ext cx="2880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696EE85-40B6-557D-97D1-0F8DC5E827DB}"/>
              </a:ext>
            </a:extLst>
          </p:cNvPr>
          <p:cNvSpPr txBox="1"/>
          <p:nvPr/>
        </p:nvSpPr>
        <p:spPr>
          <a:xfrm>
            <a:off x="4628951" y="4554356"/>
            <a:ext cx="2879999" cy="307777"/>
          </a:xfrm>
          <a:prstGeom prst="rect">
            <a:avLst/>
          </a:prstGeom>
          <a:noFill/>
        </p:spPr>
        <p:txBody>
          <a:bodyPr wrap="square" lIns="0" tIns="45720" rIns="0" bIns="45720" rtlCol="0" anchor="t">
            <a:spAutoFit/>
          </a:bodyPr>
          <a:lstStyle/>
          <a:p>
            <a:pPr algn="ctr" defTabSz="914400">
              <a:spcAft>
                <a:spcPts val="1200"/>
              </a:spcAft>
              <a:defRPr/>
            </a:pPr>
            <a:r>
              <a:rPr lang="en-GB" sz="1400" b="1" kern="0">
                <a:solidFill>
                  <a:srgbClr val="001965">
                    <a:lumMod val="100000"/>
                  </a:srgbClr>
                </a:solidFill>
                <a:latin typeface="Avenir Next LT Pro Demi" panose="020B0504020202020204" pitchFamily="34" charset="77"/>
              </a:rPr>
              <a:t>Technology edge</a:t>
            </a:r>
          </a:p>
        </p:txBody>
      </p:sp>
      <p:cxnSp>
        <p:nvCxnSpPr>
          <p:cNvPr id="55" name="Straight Connector 54">
            <a:extLst>
              <a:ext uri="{FF2B5EF4-FFF2-40B4-BE49-F238E27FC236}">
                <a16:creationId xmlns:a16="http://schemas.microsoft.com/office/drawing/2014/main" id="{5542D060-5F4D-71B2-845D-9C75104CF73B}"/>
              </a:ext>
            </a:extLst>
          </p:cNvPr>
          <p:cNvCxnSpPr>
            <a:cxnSpLocks/>
          </p:cNvCxnSpPr>
          <p:nvPr/>
        </p:nvCxnSpPr>
        <p:spPr>
          <a:xfrm>
            <a:off x="624468" y="2406540"/>
            <a:ext cx="10888965" cy="0"/>
          </a:xfrm>
          <a:prstGeom prst="line">
            <a:avLst/>
          </a:prstGeom>
          <a:ln w="12700">
            <a:solidFill>
              <a:schemeClr val="bg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34144DDA-962A-03CB-3ED6-AC63E9FABA8F}"/>
              </a:ext>
            </a:extLst>
          </p:cNvPr>
          <p:cNvSpPr/>
          <p:nvPr/>
        </p:nvSpPr>
        <p:spPr>
          <a:xfrm>
            <a:off x="5388015" y="2059562"/>
            <a:ext cx="1361871" cy="63059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58" name="Graphic 57">
            <a:extLst>
              <a:ext uri="{FF2B5EF4-FFF2-40B4-BE49-F238E27FC236}">
                <a16:creationId xmlns:a16="http://schemas.microsoft.com/office/drawing/2014/main" id="{F32A233C-3F50-DC77-AE0F-AE1F9471BEDB}"/>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536126" y="2094663"/>
            <a:ext cx="1065648" cy="507386"/>
          </a:xfrm>
          <a:prstGeom prst="rect">
            <a:avLst/>
          </a:prstGeom>
        </p:spPr>
      </p:pic>
      <p:sp>
        <p:nvSpPr>
          <p:cNvPr id="60" name="Rectangle: Rounded Corners 63">
            <a:extLst>
              <a:ext uri="{FF2B5EF4-FFF2-40B4-BE49-F238E27FC236}">
                <a16:creationId xmlns:a16="http://schemas.microsoft.com/office/drawing/2014/main" id="{059250D9-54A0-6121-3068-C506B5E49AD2}"/>
              </a:ext>
            </a:extLst>
          </p:cNvPr>
          <p:cNvSpPr>
            <a:spLocks/>
          </p:cNvSpPr>
          <p:nvPr/>
        </p:nvSpPr>
        <p:spPr>
          <a:xfrm>
            <a:off x="0" y="1631569"/>
            <a:ext cx="12193588" cy="373911"/>
          </a:xfrm>
          <a:prstGeom prst="round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1">
                    <a:lumMod val="10000"/>
                    <a:lumOff val="90000"/>
                  </a:schemeClr>
                </a:solidFill>
              </a14:hiddenFill>
            </a:ext>
            <a:ext uri="{91240B29-F687-4F45-9708-019B960494DF}">
              <a14:hiddenLine xmlns:a14="http://schemas.microsoft.com/office/drawing/2010/main" w="9525" cap="flat" cmpd="sng" algn="ctr">
                <a:solidFill>
                  <a:schemeClr val="accent1">
                    <a:lumMod val="100000"/>
                    <a:alpha val="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defRPr/>
            </a:pPr>
            <a:r>
              <a:rPr lang="en-US" sz="1600" b="1">
                <a:solidFill>
                  <a:srgbClr val="001965">
                    <a:lumMod val="100000"/>
                  </a:srgbClr>
                </a:solidFill>
                <a:latin typeface="Avenir Next LT Pro Demi" panose="020B0504020202020204" pitchFamily="34" charset="77"/>
              </a:rPr>
              <a:t>A maturing </a:t>
            </a:r>
            <a:r>
              <a:rPr lang="en-DK" sz="1600" b="1">
                <a:solidFill>
                  <a:srgbClr val="001965">
                    <a:lumMod val="100000"/>
                  </a:srgbClr>
                </a:solidFill>
                <a:latin typeface="Avenir Next LT Pro Demi" panose="020B0504020202020204" pitchFamily="34" charset="77"/>
              </a:rPr>
              <a:t>Gubra </a:t>
            </a:r>
            <a:r>
              <a:rPr lang="en-US" sz="1600" b="1">
                <a:solidFill>
                  <a:srgbClr val="001965">
                    <a:lumMod val="100000"/>
                  </a:srgbClr>
                </a:solidFill>
                <a:latin typeface="Avenir Next LT Pro Demi" panose="020B0504020202020204" pitchFamily="34" charset="77"/>
              </a:rPr>
              <a:t>platform meets a changing innovation landscape </a:t>
            </a:r>
            <a:r>
              <a:rPr lang="en-DK" sz="1600" b="1">
                <a:solidFill>
                  <a:srgbClr val="001965">
                    <a:lumMod val="100000"/>
                  </a:srgbClr>
                </a:solidFill>
                <a:latin typeface="Avenir Next LT Pro Demi" panose="020B0504020202020204" pitchFamily="34" charset="77"/>
              </a:rPr>
              <a:t>and strong market opportunities</a:t>
            </a:r>
            <a:r>
              <a:rPr lang="en-GB" sz="1600" b="1">
                <a:solidFill>
                  <a:srgbClr val="001965">
                    <a:lumMod val="100000"/>
                  </a:srgbClr>
                </a:solidFill>
                <a:latin typeface="Avenir Next LT Pro Demi" panose="020B0504020202020204" pitchFamily="34" charset="77"/>
              </a:rPr>
              <a:t> </a:t>
            </a:r>
          </a:p>
        </p:txBody>
      </p:sp>
      <p:sp>
        <p:nvSpPr>
          <p:cNvPr id="62" name="Rectangle: Rounded Corners 10">
            <a:extLst>
              <a:ext uri="{FF2B5EF4-FFF2-40B4-BE49-F238E27FC236}">
                <a16:creationId xmlns:a16="http://schemas.microsoft.com/office/drawing/2014/main" id="{03AFFBBE-7859-8BD6-8B22-59B9266175ED}"/>
              </a:ext>
            </a:extLst>
          </p:cNvPr>
          <p:cNvSpPr/>
          <p:nvPr/>
        </p:nvSpPr>
        <p:spPr>
          <a:xfrm>
            <a:off x="565460" y="6015658"/>
            <a:ext cx="11132916" cy="373911"/>
          </a:xfrm>
          <a:prstGeom prst="roundRect">
            <a:avLst>
              <a:gd name="adj" fmla="val 50000"/>
            </a:avLst>
          </a:prstGeom>
          <a:solidFill>
            <a:schemeClr val="tx2">
              <a:alpha val="50391"/>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72000" tIns="144000" rIns="7200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chemeClr val="bg1"/>
              </a:solidFill>
              <a:effectLst/>
              <a:uLnTx/>
              <a:uFillTx/>
              <a:latin typeface="Avenir Next LT Pro" panose="020B0504020202020204" pitchFamily="34" charset="0"/>
              <a:ea typeface="+mn-ea"/>
              <a:cs typeface="+mn-cs"/>
            </a:endParaRPr>
          </a:p>
        </p:txBody>
      </p:sp>
      <p:sp>
        <p:nvSpPr>
          <p:cNvPr id="65" name="Rectangle: Rounded Corners 65">
            <a:extLst>
              <a:ext uri="{FF2B5EF4-FFF2-40B4-BE49-F238E27FC236}">
                <a16:creationId xmlns:a16="http://schemas.microsoft.com/office/drawing/2014/main" id="{38690A68-0D35-62F2-618F-1C0BE329FE47}"/>
              </a:ext>
            </a:extLst>
          </p:cNvPr>
          <p:cNvSpPr>
            <a:spLocks/>
          </p:cNvSpPr>
          <p:nvPr/>
        </p:nvSpPr>
        <p:spPr>
          <a:xfrm>
            <a:off x="565460" y="6015658"/>
            <a:ext cx="10763634" cy="373911"/>
          </a:xfrm>
          <a:prstGeom prst="roundRect">
            <a:avLst/>
          </a:prstGeom>
          <a:noFill/>
          <a:ln w="9525" cap="flat" cmpd="sng" algn="ctr">
            <a:no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defRPr/>
            </a:pPr>
            <a:r>
              <a:rPr lang="en-GB" sz="1400" b="1" dirty="0">
                <a:solidFill>
                  <a:schemeClr val="tx1"/>
                </a:solidFill>
                <a:latin typeface="Avenir Next LT Pro Demi" panose="020B0504020202020204" pitchFamily="34" charset="77"/>
              </a:rPr>
              <a:t>Ventures </a:t>
            </a:r>
            <a:r>
              <a:rPr lang="en-DK" sz="1400" b="1" dirty="0">
                <a:solidFill>
                  <a:schemeClr val="tx1"/>
                </a:solidFill>
                <a:latin typeface="Avenir Next LT Pro Demi" panose="020B0504020202020204" pitchFamily="34" charset="77"/>
              </a:rPr>
              <a:t>will</a:t>
            </a:r>
            <a:r>
              <a:rPr lang="en-GB" sz="1400" b="1" dirty="0">
                <a:solidFill>
                  <a:schemeClr val="tx1"/>
                </a:solidFill>
                <a:latin typeface="Avenir Next LT Pro Demi" panose="020B0504020202020204" pitchFamily="34" charset="77"/>
              </a:rPr>
              <a:t> amplify existing strengths rather than dilute them</a:t>
            </a:r>
          </a:p>
        </p:txBody>
      </p:sp>
      <p:sp>
        <p:nvSpPr>
          <p:cNvPr id="67" name="Rectangle 57">
            <a:extLst>
              <a:ext uri="{FF2B5EF4-FFF2-40B4-BE49-F238E27FC236}">
                <a16:creationId xmlns:a16="http://schemas.microsoft.com/office/drawing/2014/main" id="{88AC2E50-10D8-7F55-6549-2EC52B459F82}"/>
              </a:ext>
            </a:extLst>
          </p:cNvPr>
          <p:cNvSpPr>
            <a:spLocks noChangeArrowheads="1"/>
          </p:cNvSpPr>
          <p:nvPr/>
        </p:nvSpPr>
        <p:spPr bwMode="auto">
          <a:xfrm>
            <a:off x="864495" y="5007714"/>
            <a:ext cx="3460793" cy="1239941"/>
          </a:xfrm>
          <a:prstGeom prst="rect">
            <a:avLst/>
          </a:prstGeom>
          <a:noFill/>
          <a:ln w="6350" cap="flat" cmpd="sng" algn="ctr">
            <a:noFill/>
            <a:prstDash val="solid"/>
            <a:miter lim="800000"/>
            <a:headEnd/>
            <a:tailEnd/>
          </a:ln>
          <a:effectLst/>
        </p:spPr>
        <p:txBody>
          <a:bodyPr wrap="square" lIns="36000" tIns="36000" rIns="36000" bIns="36000" anchor="t"/>
          <a:lstStyle/>
          <a:p>
            <a:pPr marL="177750" indent="-177750" defTabSz="914400">
              <a:spcAft>
                <a:spcPts val="400"/>
              </a:spcAft>
              <a:buClr>
                <a:schemeClr val="tx1"/>
              </a:buClr>
              <a:buFont typeface="System Font Regular"/>
              <a:buChar char="+"/>
              <a:defRPr/>
            </a:pPr>
            <a:r>
              <a:rPr lang="en-GB" sz="1400" kern="0">
                <a:solidFill>
                  <a:srgbClr val="001965">
                    <a:lumMod val="100000"/>
                  </a:srgbClr>
                </a:solidFill>
                <a:latin typeface="Avenir Next LT Pro"/>
              </a:rPr>
              <a:t>Metabolic disease biology</a:t>
            </a:r>
          </a:p>
          <a:p>
            <a:pPr marL="177750" indent="-177750" defTabSz="914400">
              <a:spcAft>
                <a:spcPts val="400"/>
              </a:spcAft>
              <a:buClr>
                <a:schemeClr val="tx1"/>
              </a:buClr>
              <a:buFont typeface="System Font Regular"/>
              <a:buChar char="+"/>
              <a:defRPr/>
            </a:pPr>
            <a:r>
              <a:rPr lang="en-GB" sz="1400" kern="0">
                <a:solidFill>
                  <a:srgbClr val="001965">
                    <a:lumMod val="100000"/>
                  </a:srgbClr>
                </a:solidFill>
                <a:latin typeface="Avenir Next LT Pro"/>
              </a:rPr>
              <a:t>Obesity expertise</a:t>
            </a:r>
          </a:p>
          <a:p>
            <a:pPr marL="177750" indent="-177750" defTabSz="914400">
              <a:spcAft>
                <a:spcPts val="400"/>
              </a:spcAft>
              <a:buClr>
                <a:schemeClr val="tx1"/>
              </a:buClr>
              <a:buFont typeface="System Font Regular"/>
              <a:buChar char="+"/>
              <a:defRPr/>
            </a:pPr>
            <a:r>
              <a:rPr lang="en-GB" sz="1400" kern="0">
                <a:solidFill>
                  <a:srgbClr val="001965">
                    <a:lumMod val="100000"/>
                  </a:srgbClr>
                </a:solidFill>
                <a:latin typeface="Avenir Next LT Pro"/>
              </a:rPr>
              <a:t>Translational &amp; clinical development</a:t>
            </a:r>
          </a:p>
        </p:txBody>
      </p:sp>
      <p:sp>
        <p:nvSpPr>
          <p:cNvPr id="68" name="Rectangle 57">
            <a:extLst>
              <a:ext uri="{FF2B5EF4-FFF2-40B4-BE49-F238E27FC236}">
                <a16:creationId xmlns:a16="http://schemas.microsoft.com/office/drawing/2014/main" id="{FC7D31C6-BEC2-D882-8875-1EFB56E9560F}"/>
              </a:ext>
            </a:extLst>
          </p:cNvPr>
          <p:cNvSpPr>
            <a:spLocks noChangeArrowheads="1"/>
          </p:cNvSpPr>
          <p:nvPr/>
        </p:nvSpPr>
        <p:spPr bwMode="auto">
          <a:xfrm>
            <a:off x="4662789" y="5007714"/>
            <a:ext cx="2989637" cy="1239941"/>
          </a:xfrm>
          <a:prstGeom prst="rect">
            <a:avLst/>
          </a:prstGeom>
          <a:noFill/>
          <a:ln w="6350" cap="flat" cmpd="sng" algn="ctr">
            <a:noFill/>
            <a:prstDash val="solid"/>
            <a:miter lim="800000"/>
            <a:headEnd/>
            <a:tailEnd/>
          </a:ln>
          <a:effectLst/>
        </p:spPr>
        <p:txBody>
          <a:bodyPr wrap="square" lIns="36000" tIns="36000" rIns="36000" bIns="36000" anchor="t"/>
          <a:lstStyle/>
          <a:p>
            <a:pPr marL="177750" indent="-177750" defTabSz="914400">
              <a:spcAft>
                <a:spcPts val="400"/>
              </a:spcAft>
              <a:buFont typeface="System Font Regular"/>
              <a:buChar char="+"/>
              <a:defRPr/>
            </a:pPr>
            <a:r>
              <a:rPr lang="en-GB" sz="1400" kern="0">
                <a:solidFill>
                  <a:srgbClr val="001965">
                    <a:lumMod val="100000"/>
                  </a:srgbClr>
                </a:solidFill>
                <a:latin typeface="Avenir Next LT Pro"/>
              </a:rPr>
              <a:t>Peptide discovery</a:t>
            </a:r>
          </a:p>
          <a:p>
            <a:pPr marL="177750" indent="-177750" defTabSz="914400">
              <a:spcAft>
                <a:spcPts val="400"/>
              </a:spcAft>
              <a:buFont typeface="System Font Regular"/>
              <a:buChar char="+"/>
              <a:defRPr/>
            </a:pPr>
            <a:r>
              <a:rPr lang="en-GB" sz="1400" kern="0">
                <a:solidFill>
                  <a:srgbClr val="001965">
                    <a:lumMod val="100000"/>
                  </a:srgbClr>
                </a:solidFill>
                <a:latin typeface="Avenir Next LT Pro"/>
              </a:rPr>
              <a:t>Optimisation platforms</a:t>
            </a:r>
          </a:p>
          <a:p>
            <a:pPr marL="177750" indent="-177750" defTabSz="914400">
              <a:spcAft>
                <a:spcPts val="400"/>
              </a:spcAft>
              <a:buFont typeface="System Font Regular"/>
              <a:buChar char="+"/>
              <a:defRPr/>
            </a:pPr>
            <a:r>
              <a:rPr lang="en-GB" sz="1400" kern="0">
                <a:solidFill>
                  <a:srgbClr val="001965">
                    <a:lumMod val="100000"/>
                  </a:srgbClr>
                </a:solidFill>
                <a:latin typeface="Avenir Next LT Pro"/>
              </a:rPr>
              <a:t>Translational pharmacology</a:t>
            </a:r>
          </a:p>
        </p:txBody>
      </p:sp>
      <p:sp>
        <p:nvSpPr>
          <p:cNvPr id="69" name="Rectangle 57">
            <a:extLst>
              <a:ext uri="{FF2B5EF4-FFF2-40B4-BE49-F238E27FC236}">
                <a16:creationId xmlns:a16="http://schemas.microsoft.com/office/drawing/2014/main" id="{891A65CF-3ADB-9ECC-C102-E0B326C83ABB}"/>
              </a:ext>
            </a:extLst>
          </p:cNvPr>
          <p:cNvSpPr>
            <a:spLocks noChangeArrowheads="1"/>
          </p:cNvSpPr>
          <p:nvPr/>
        </p:nvSpPr>
        <p:spPr bwMode="auto">
          <a:xfrm>
            <a:off x="8204289" y="5007714"/>
            <a:ext cx="3355845" cy="1239941"/>
          </a:xfrm>
          <a:prstGeom prst="rect">
            <a:avLst/>
          </a:prstGeom>
          <a:noFill/>
          <a:ln w="6350" cap="flat" cmpd="sng" algn="ctr">
            <a:noFill/>
            <a:prstDash val="solid"/>
            <a:miter lim="800000"/>
            <a:headEnd/>
            <a:tailEnd/>
          </a:ln>
          <a:effectLst/>
        </p:spPr>
        <p:txBody>
          <a:bodyPr wrap="square" lIns="36000" tIns="36000" rIns="36000" bIns="36000" anchor="t"/>
          <a:lstStyle/>
          <a:p>
            <a:pPr marL="177750" indent="-177750" defTabSz="914400">
              <a:spcAft>
                <a:spcPts val="400"/>
              </a:spcAft>
              <a:buFont typeface="System Font Regular"/>
              <a:buChar char="+"/>
              <a:defRPr/>
            </a:pPr>
            <a:r>
              <a:rPr lang="en-GB" sz="1400" kern="0">
                <a:solidFill>
                  <a:srgbClr val="001965">
                    <a:lumMod val="100000"/>
                  </a:srgbClr>
                </a:solidFill>
                <a:latin typeface="Avenir Next LT Pro"/>
              </a:rPr>
              <a:t>Leading metabolic market growth</a:t>
            </a:r>
          </a:p>
          <a:p>
            <a:pPr marL="177750" indent="-177750" defTabSz="914400">
              <a:spcAft>
                <a:spcPts val="400"/>
              </a:spcAft>
              <a:buFont typeface="System Font Regular"/>
              <a:buChar char="+"/>
              <a:defRPr/>
            </a:pPr>
            <a:r>
              <a:rPr lang="en-DK" sz="1400" kern="0">
                <a:solidFill>
                  <a:srgbClr val="001965">
                    <a:lumMod val="100000"/>
                  </a:srgbClr>
                </a:solidFill>
                <a:latin typeface="Avenir Next LT Pro"/>
              </a:rPr>
              <a:t>Disease area expansion</a:t>
            </a:r>
            <a:r>
              <a:rPr lang="en-GB" sz="1400" kern="0">
                <a:solidFill>
                  <a:srgbClr val="001965">
                    <a:lumMod val="100000"/>
                  </a:srgbClr>
                </a:solidFill>
                <a:latin typeface="Avenir Next LT Pro"/>
              </a:rPr>
              <a:t> enabled by CRO</a:t>
            </a:r>
            <a:r>
              <a:rPr lang="en-DK" sz="1400" kern="0">
                <a:solidFill>
                  <a:srgbClr val="001965">
                    <a:lumMod val="100000"/>
                  </a:srgbClr>
                </a:solidFill>
                <a:latin typeface="Avenir Next LT Pro"/>
              </a:rPr>
              <a:t>, peptide, and platform</a:t>
            </a:r>
            <a:r>
              <a:rPr lang="en-GB" sz="1400" kern="0">
                <a:solidFill>
                  <a:srgbClr val="001965">
                    <a:lumMod val="100000"/>
                  </a:srgbClr>
                </a:solidFill>
                <a:latin typeface="Avenir Next LT Pro"/>
              </a:rPr>
              <a:t> expertise</a:t>
            </a:r>
          </a:p>
        </p:txBody>
      </p:sp>
      <p:grpSp>
        <p:nvGrpSpPr>
          <p:cNvPr id="72" name="Graphic 32">
            <a:extLst>
              <a:ext uri="{FF2B5EF4-FFF2-40B4-BE49-F238E27FC236}">
                <a16:creationId xmlns:a16="http://schemas.microsoft.com/office/drawing/2014/main" id="{F2C3DEA4-B859-1393-7EDD-9561C696314F}"/>
              </a:ext>
            </a:extLst>
          </p:cNvPr>
          <p:cNvGrpSpPr/>
          <p:nvPr/>
        </p:nvGrpSpPr>
        <p:grpSpPr>
          <a:xfrm>
            <a:off x="1923639" y="2993259"/>
            <a:ext cx="749108" cy="939927"/>
            <a:chOff x="2342919" y="4364339"/>
            <a:chExt cx="609504" cy="764762"/>
          </a:xfrm>
        </p:grpSpPr>
        <p:grpSp>
          <p:nvGrpSpPr>
            <p:cNvPr id="73" name="Graphic 32">
              <a:extLst>
                <a:ext uri="{FF2B5EF4-FFF2-40B4-BE49-F238E27FC236}">
                  <a16:creationId xmlns:a16="http://schemas.microsoft.com/office/drawing/2014/main" id="{7C44A266-2522-8299-0995-A223423C12FB}"/>
                </a:ext>
              </a:extLst>
            </p:cNvPr>
            <p:cNvGrpSpPr/>
            <p:nvPr/>
          </p:nvGrpSpPr>
          <p:grpSpPr>
            <a:xfrm>
              <a:off x="2446455" y="4364339"/>
              <a:ext cx="117824" cy="531876"/>
              <a:chOff x="2446455" y="4364339"/>
              <a:chExt cx="117824" cy="531876"/>
            </a:xfrm>
          </p:grpSpPr>
          <p:sp>
            <p:nvSpPr>
              <p:cNvPr id="82" name="Freeform 81">
                <a:extLst>
                  <a:ext uri="{FF2B5EF4-FFF2-40B4-BE49-F238E27FC236}">
                    <a16:creationId xmlns:a16="http://schemas.microsoft.com/office/drawing/2014/main" id="{B3C25BA2-AC28-43D9-218B-9A6F5C470442}"/>
                  </a:ext>
                </a:extLst>
              </p:cNvPr>
              <p:cNvSpPr/>
              <p:nvPr/>
            </p:nvSpPr>
            <p:spPr>
              <a:xfrm>
                <a:off x="2453599" y="4371482"/>
                <a:ext cx="103441" cy="517588"/>
              </a:xfrm>
              <a:custGeom>
                <a:avLst/>
                <a:gdLst>
                  <a:gd name="connsiteX0" fmla="*/ 103442 w 103441"/>
                  <a:gd name="connsiteY0" fmla="*/ 51721 h 517588"/>
                  <a:gd name="connsiteX1" fmla="*/ 103442 w 103441"/>
                  <a:gd name="connsiteY1" fmla="*/ 0 h 517588"/>
                  <a:gd name="connsiteX2" fmla="*/ 0 w 103441"/>
                  <a:gd name="connsiteY2" fmla="*/ 0 h 517588"/>
                  <a:gd name="connsiteX3" fmla="*/ 0 w 103441"/>
                  <a:gd name="connsiteY3" fmla="*/ 51721 h 517588"/>
                  <a:gd name="connsiteX4" fmla="*/ 25813 w 103441"/>
                  <a:gd name="connsiteY4" fmla="*/ 51721 h 517588"/>
                  <a:gd name="connsiteX5" fmla="*/ 25813 w 103441"/>
                  <a:gd name="connsiteY5" fmla="*/ 103537 h 517588"/>
                  <a:gd name="connsiteX6" fmla="*/ 0 w 103441"/>
                  <a:gd name="connsiteY6" fmla="*/ 103537 h 517588"/>
                  <a:gd name="connsiteX7" fmla="*/ 0 w 103441"/>
                  <a:gd name="connsiteY7" fmla="*/ 388144 h 517588"/>
                  <a:gd name="connsiteX8" fmla="*/ 25813 w 103441"/>
                  <a:gd name="connsiteY8" fmla="*/ 388144 h 517588"/>
                  <a:gd name="connsiteX9" fmla="*/ 25813 w 103441"/>
                  <a:gd name="connsiteY9" fmla="*/ 517589 h 517588"/>
                  <a:gd name="connsiteX10" fmla="*/ 77629 w 103441"/>
                  <a:gd name="connsiteY10" fmla="*/ 517589 h 517588"/>
                  <a:gd name="connsiteX11" fmla="*/ 77629 w 103441"/>
                  <a:gd name="connsiteY11" fmla="*/ 388144 h 517588"/>
                  <a:gd name="connsiteX12" fmla="*/ 103442 w 103441"/>
                  <a:gd name="connsiteY12" fmla="*/ 388144 h 517588"/>
                  <a:gd name="connsiteX13" fmla="*/ 103442 w 103441"/>
                  <a:gd name="connsiteY13" fmla="*/ 103537 h 517588"/>
                  <a:gd name="connsiteX14" fmla="*/ 77629 w 103441"/>
                  <a:gd name="connsiteY14" fmla="*/ 103537 h 517588"/>
                  <a:gd name="connsiteX15" fmla="*/ 77629 w 103441"/>
                  <a:gd name="connsiteY15" fmla="*/ 51721 h 517588"/>
                  <a:gd name="connsiteX16" fmla="*/ 103442 w 103441"/>
                  <a:gd name="connsiteY16" fmla="*/ 51721 h 5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441" h="517588">
                    <a:moveTo>
                      <a:pt x="103442" y="51721"/>
                    </a:moveTo>
                    <a:lnTo>
                      <a:pt x="103442" y="0"/>
                    </a:lnTo>
                    <a:lnTo>
                      <a:pt x="0" y="0"/>
                    </a:lnTo>
                    <a:lnTo>
                      <a:pt x="0" y="51721"/>
                    </a:lnTo>
                    <a:lnTo>
                      <a:pt x="25813" y="51721"/>
                    </a:lnTo>
                    <a:lnTo>
                      <a:pt x="25813" y="103537"/>
                    </a:lnTo>
                    <a:lnTo>
                      <a:pt x="0" y="103537"/>
                    </a:lnTo>
                    <a:lnTo>
                      <a:pt x="0" y="388144"/>
                    </a:lnTo>
                    <a:lnTo>
                      <a:pt x="25813" y="388144"/>
                    </a:lnTo>
                    <a:lnTo>
                      <a:pt x="25813" y="517589"/>
                    </a:lnTo>
                    <a:lnTo>
                      <a:pt x="77629" y="517589"/>
                    </a:lnTo>
                    <a:lnTo>
                      <a:pt x="77629" y="388144"/>
                    </a:lnTo>
                    <a:lnTo>
                      <a:pt x="103442" y="388144"/>
                    </a:lnTo>
                    <a:lnTo>
                      <a:pt x="103442" y="103537"/>
                    </a:lnTo>
                    <a:lnTo>
                      <a:pt x="77629" y="103537"/>
                    </a:lnTo>
                    <a:lnTo>
                      <a:pt x="77629" y="51721"/>
                    </a:lnTo>
                    <a:lnTo>
                      <a:pt x="103442" y="51721"/>
                    </a:lnTo>
                    <a:close/>
                  </a:path>
                </a:pathLst>
              </a:custGeom>
              <a:solidFill>
                <a:srgbClr val="2878FF">
                  <a:alpha val="50000"/>
                </a:srgbClr>
              </a:solidFill>
              <a:ln w="9525" cap="flat">
                <a:noFill/>
                <a:prstDash val="solid"/>
                <a:miter/>
              </a:ln>
            </p:spPr>
            <p:txBody>
              <a:bodyPr rtlCol="0" anchor="ctr"/>
              <a:lstStyle/>
              <a:p>
                <a:pPr defTabSz="914400"/>
                <a:endParaRPr lang="en-DK">
                  <a:solidFill>
                    <a:srgbClr val="001965"/>
                  </a:solidFill>
                  <a:latin typeface="Avenir Next LT Pro"/>
                </a:endParaRPr>
              </a:p>
            </p:txBody>
          </p:sp>
          <p:sp>
            <p:nvSpPr>
              <p:cNvPr id="83" name="Freeform 82">
                <a:extLst>
                  <a:ext uri="{FF2B5EF4-FFF2-40B4-BE49-F238E27FC236}">
                    <a16:creationId xmlns:a16="http://schemas.microsoft.com/office/drawing/2014/main" id="{D7B13FAC-89EC-EEF4-5E7F-51D698BAAC2C}"/>
                  </a:ext>
                </a:extLst>
              </p:cNvPr>
              <p:cNvSpPr/>
              <p:nvPr/>
            </p:nvSpPr>
            <p:spPr>
              <a:xfrm>
                <a:off x="2446455" y="4364339"/>
                <a:ext cx="117824" cy="531876"/>
              </a:xfrm>
              <a:custGeom>
                <a:avLst/>
                <a:gdLst>
                  <a:gd name="connsiteX0" fmla="*/ 84773 w 117824"/>
                  <a:gd name="connsiteY0" fmla="*/ 531876 h 531876"/>
                  <a:gd name="connsiteX1" fmla="*/ 33052 w 117824"/>
                  <a:gd name="connsiteY1" fmla="*/ 531876 h 531876"/>
                  <a:gd name="connsiteX2" fmla="*/ 25908 w 117824"/>
                  <a:gd name="connsiteY2" fmla="*/ 524732 h 531876"/>
                  <a:gd name="connsiteX3" fmla="*/ 25908 w 117824"/>
                  <a:gd name="connsiteY3" fmla="*/ 402526 h 531876"/>
                  <a:gd name="connsiteX4" fmla="*/ 7144 w 117824"/>
                  <a:gd name="connsiteY4" fmla="*/ 402526 h 531876"/>
                  <a:gd name="connsiteX5" fmla="*/ 0 w 117824"/>
                  <a:gd name="connsiteY5" fmla="*/ 395383 h 531876"/>
                  <a:gd name="connsiteX6" fmla="*/ 0 w 117824"/>
                  <a:gd name="connsiteY6" fmla="*/ 110681 h 531876"/>
                  <a:gd name="connsiteX7" fmla="*/ 7144 w 117824"/>
                  <a:gd name="connsiteY7" fmla="*/ 103537 h 531876"/>
                  <a:gd name="connsiteX8" fmla="*/ 25908 w 117824"/>
                  <a:gd name="connsiteY8" fmla="*/ 103537 h 531876"/>
                  <a:gd name="connsiteX9" fmla="*/ 25908 w 117824"/>
                  <a:gd name="connsiteY9" fmla="*/ 66104 h 531876"/>
                  <a:gd name="connsiteX10" fmla="*/ 7144 w 117824"/>
                  <a:gd name="connsiteY10" fmla="*/ 66104 h 531876"/>
                  <a:gd name="connsiteX11" fmla="*/ 0 w 117824"/>
                  <a:gd name="connsiteY11" fmla="*/ 58960 h 531876"/>
                  <a:gd name="connsiteX12" fmla="*/ 0 w 117824"/>
                  <a:gd name="connsiteY12" fmla="*/ 7144 h 531876"/>
                  <a:gd name="connsiteX13" fmla="*/ 7144 w 117824"/>
                  <a:gd name="connsiteY13" fmla="*/ 0 h 531876"/>
                  <a:gd name="connsiteX14" fmla="*/ 110681 w 117824"/>
                  <a:gd name="connsiteY14" fmla="*/ 0 h 531876"/>
                  <a:gd name="connsiteX15" fmla="*/ 117824 w 117824"/>
                  <a:gd name="connsiteY15" fmla="*/ 7144 h 531876"/>
                  <a:gd name="connsiteX16" fmla="*/ 117824 w 117824"/>
                  <a:gd name="connsiteY16" fmla="*/ 58865 h 531876"/>
                  <a:gd name="connsiteX17" fmla="*/ 110681 w 117824"/>
                  <a:gd name="connsiteY17" fmla="*/ 66008 h 531876"/>
                  <a:gd name="connsiteX18" fmla="*/ 91916 w 117824"/>
                  <a:gd name="connsiteY18" fmla="*/ 66008 h 531876"/>
                  <a:gd name="connsiteX19" fmla="*/ 91916 w 117824"/>
                  <a:gd name="connsiteY19" fmla="*/ 103442 h 531876"/>
                  <a:gd name="connsiteX20" fmla="*/ 110681 w 117824"/>
                  <a:gd name="connsiteY20" fmla="*/ 103442 h 531876"/>
                  <a:gd name="connsiteX21" fmla="*/ 117824 w 117824"/>
                  <a:gd name="connsiteY21" fmla="*/ 110585 h 531876"/>
                  <a:gd name="connsiteX22" fmla="*/ 117824 w 117824"/>
                  <a:gd name="connsiteY22" fmla="*/ 395192 h 531876"/>
                  <a:gd name="connsiteX23" fmla="*/ 110681 w 117824"/>
                  <a:gd name="connsiteY23" fmla="*/ 402336 h 531876"/>
                  <a:gd name="connsiteX24" fmla="*/ 91916 w 117824"/>
                  <a:gd name="connsiteY24" fmla="*/ 402336 h 531876"/>
                  <a:gd name="connsiteX25" fmla="*/ 91916 w 117824"/>
                  <a:gd name="connsiteY25" fmla="*/ 524542 h 531876"/>
                  <a:gd name="connsiteX26" fmla="*/ 84773 w 117824"/>
                  <a:gd name="connsiteY26" fmla="*/ 531686 h 531876"/>
                  <a:gd name="connsiteX27" fmla="*/ 40196 w 117824"/>
                  <a:gd name="connsiteY27" fmla="*/ 517589 h 531876"/>
                  <a:gd name="connsiteX28" fmla="*/ 77629 w 117824"/>
                  <a:gd name="connsiteY28" fmla="*/ 517589 h 531876"/>
                  <a:gd name="connsiteX29" fmla="*/ 77629 w 117824"/>
                  <a:gd name="connsiteY29" fmla="*/ 395383 h 531876"/>
                  <a:gd name="connsiteX30" fmla="*/ 84773 w 117824"/>
                  <a:gd name="connsiteY30" fmla="*/ 388239 h 531876"/>
                  <a:gd name="connsiteX31" fmla="*/ 103537 w 117824"/>
                  <a:gd name="connsiteY31" fmla="*/ 388239 h 531876"/>
                  <a:gd name="connsiteX32" fmla="*/ 103537 w 117824"/>
                  <a:gd name="connsiteY32" fmla="*/ 117824 h 531876"/>
                  <a:gd name="connsiteX33" fmla="*/ 84773 w 117824"/>
                  <a:gd name="connsiteY33" fmla="*/ 117824 h 531876"/>
                  <a:gd name="connsiteX34" fmla="*/ 77629 w 117824"/>
                  <a:gd name="connsiteY34" fmla="*/ 110681 h 531876"/>
                  <a:gd name="connsiteX35" fmla="*/ 77629 w 117824"/>
                  <a:gd name="connsiteY35" fmla="*/ 58960 h 531876"/>
                  <a:gd name="connsiteX36" fmla="*/ 84773 w 117824"/>
                  <a:gd name="connsiteY36" fmla="*/ 51816 h 531876"/>
                  <a:gd name="connsiteX37" fmla="*/ 103537 w 117824"/>
                  <a:gd name="connsiteY37" fmla="*/ 51816 h 531876"/>
                  <a:gd name="connsiteX38" fmla="*/ 103537 w 117824"/>
                  <a:gd name="connsiteY38" fmla="*/ 14288 h 531876"/>
                  <a:gd name="connsiteX39" fmla="*/ 14288 w 117824"/>
                  <a:gd name="connsiteY39" fmla="*/ 14288 h 531876"/>
                  <a:gd name="connsiteX40" fmla="*/ 14288 w 117824"/>
                  <a:gd name="connsiteY40" fmla="*/ 51721 h 531876"/>
                  <a:gd name="connsiteX41" fmla="*/ 33052 w 117824"/>
                  <a:gd name="connsiteY41" fmla="*/ 51721 h 531876"/>
                  <a:gd name="connsiteX42" fmla="*/ 40196 w 117824"/>
                  <a:gd name="connsiteY42" fmla="*/ 58865 h 531876"/>
                  <a:gd name="connsiteX43" fmla="*/ 40196 w 117824"/>
                  <a:gd name="connsiteY43" fmla="*/ 110585 h 531876"/>
                  <a:gd name="connsiteX44" fmla="*/ 33052 w 117824"/>
                  <a:gd name="connsiteY44" fmla="*/ 117729 h 531876"/>
                  <a:gd name="connsiteX45" fmla="*/ 14288 w 117824"/>
                  <a:gd name="connsiteY45" fmla="*/ 117729 h 531876"/>
                  <a:gd name="connsiteX46" fmla="*/ 14288 w 117824"/>
                  <a:gd name="connsiteY46" fmla="*/ 388049 h 531876"/>
                  <a:gd name="connsiteX47" fmla="*/ 33052 w 117824"/>
                  <a:gd name="connsiteY47" fmla="*/ 388049 h 531876"/>
                  <a:gd name="connsiteX48" fmla="*/ 40196 w 117824"/>
                  <a:gd name="connsiteY48" fmla="*/ 395192 h 531876"/>
                  <a:gd name="connsiteX49" fmla="*/ 40196 w 117824"/>
                  <a:gd name="connsiteY49" fmla="*/ 517398 h 53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7824" h="531876">
                    <a:moveTo>
                      <a:pt x="84773" y="531876"/>
                    </a:moveTo>
                    <a:lnTo>
                      <a:pt x="33052" y="531876"/>
                    </a:lnTo>
                    <a:cubicBezTo>
                      <a:pt x="29147" y="531876"/>
                      <a:pt x="25908" y="528638"/>
                      <a:pt x="25908" y="524732"/>
                    </a:cubicBezTo>
                    <a:lnTo>
                      <a:pt x="25908" y="402526"/>
                    </a:lnTo>
                    <a:lnTo>
                      <a:pt x="7144" y="402526"/>
                    </a:lnTo>
                    <a:cubicBezTo>
                      <a:pt x="3239" y="402526"/>
                      <a:pt x="0" y="399288"/>
                      <a:pt x="0" y="395383"/>
                    </a:cubicBezTo>
                    <a:lnTo>
                      <a:pt x="0" y="110681"/>
                    </a:lnTo>
                    <a:cubicBezTo>
                      <a:pt x="0" y="106775"/>
                      <a:pt x="3239" y="103537"/>
                      <a:pt x="7144" y="103537"/>
                    </a:cubicBezTo>
                    <a:lnTo>
                      <a:pt x="25908" y="103537"/>
                    </a:lnTo>
                    <a:lnTo>
                      <a:pt x="25908" y="66104"/>
                    </a:lnTo>
                    <a:lnTo>
                      <a:pt x="7144" y="66104"/>
                    </a:lnTo>
                    <a:cubicBezTo>
                      <a:pt x="3239" y="66104"/>
                      <a:pt x="0" y="62865"/>
                      <a:pt x="0" y="58960"/>
                    </a:cubicBezTo>
                    <a:lnTo>
                      <a:pt x="0" y="7144"/>
                    </a:lnTo>
                    <a:cubicBezTo>
                      <a:pt x="0" y="3239"/>
                      <a:pt x="3239" y="0"/>
                      <a:pt x="7144" y="0"/>
                    </a:cubicBezTo>
                    <a:lnTo>
                      <a:pt x="110681" y="0"/>
                    </a:lnTo>
                    <a:cubicBezTo>
                      <a:pt x="114586" y="0"/>
                      <a:pt x="117824" y="3239"/>
                      <a:pt x="117824" y="7144"/>
                    </a:cubicBezTo>
                    <a:lnTo>
                      <a:pt x="117824" y="58865"/>
                    </a:lnTo>
                    <a:cubicBezTo>
                      <a:pt x="117824" y="62770"/>
                      <a:pt x="114586" y="66008"/>
                      <a:pt x="110681" y="66008"/>
                    </a:cubicBezTo>
                    <a:lnTo>
                      <a:pt x="91916" y="66008"/>
                    </a:lnTo>
                    <a:lnTo>
                      <a:pt x="91916" y="103442"/>
                    </a:lnTo>
                    <a:lnTo>
                      <a:pt x="110681" y="103442"/>
                    </a:lnTo>
                    <a:cubicBezTo>
                      <a:pt x="114586" y="103442"/>
                      <a:pt x="117824" y="106680"/>
                      <a:pt x="117824" y="110585"/>
                    </a:cubicBezTo>
                    <a:lnTo>
                      <a:pt x="117824" y="395192"/>
                    </a:lnTo>
                    <a:cubicBezTo>
                      <a:pt x="117824" y="399098"/>
                      <a:pt x="114586" y="402336"/>
                      <a:pt x="110681" y="402336"/>
                    </a:cubicBezTo>
                    <a:lnTo>
                      <a:pt x="91916" y="402336"/>
                    </a:lnTo>
                    <a:lnTo>
                      <a:pt x="91916" y="524542"/>
                    </a:lnTo>
                    <a:cubicBezTo>
                      <a:pt x="91916" y="528447"/>
                      <a:pt x="88678" y="531686"/>
                      <a:pt x="84773" y="531686"/>
                    </a:cubicBezTo>
                    <a:close/>
                    <a:moveTo>
                      <a:pt x="40196" y="517589"/>
                    </a:moveTo>
                    <a:lnTo>
                      <a:pt x="77629" y="517589"/>
                    </a:lnTo>
                    <a:lnTo>
                      <a:pt x="77629" y="395383"/>
                    </a:lnTo>
                    <a:cubicBezTo>
                      <a:pt x="77629" y="391478"/>
                      <a:pt x="80867" y="388239"/>
                      <a:pt x="84773" y="388239"/>
                    </a:cubicBezTo>
                    <a:lnTo>
                      <a:pt x="103537" y="388239"/>
                    </a:lnTo>
                    <a:lnTo>
                      <a:pt x="103537" y="117824"/>
                    </a:lnTo>
                    <a:lnTo>
                      <a:pt x="84773" y="117824"/>
                    </a:lnTo>
                    <a:cubicBezTo>
                      <a:pt x="80867" y="117824"/>
                      <a:pt x="77629" y="114586"/>
                      <a:pt x="77629" y="110681"/>
                    </a:cubicBezTo>
                    <a:lnTo>
                      <a:pt x="77629" y="58960"/>
                    </a:lnTo>
                    <a:cubicBezTo>
                      <a:pt x="77629" y="55055"/>
                      <a:pt x="80867" y="51816"/>
                      <a:pt x="84773" y="51816"/>
                    </a:cubicBezTo>
                    <a:lnTo>
                      <a:pt x="103537" y="51816"/>
                    </a:lnTo>
                    <a:lnTo>
                      <a:pt x="103537" y="14288"/>
                    </a:lnTo>
                    <a:lnTo>
                      <a:pt x="14288" y="14288"/>
                    </a:lnTo>
                    <a:lnTo>
                      <a:pt x="14288" y="51721"/>
                    </a:lnTo>
                    <a:lnTo>
                      <a:pt x="33052" y="51721"/>
                    </a:lnTo>
                    <a:cubicBezTo>
                      <a:pt x="36957" y="51721"/>
                      <a:pt x="40196" y="54959"/>
                      <a:pt x="40196" y="58865"/>
                    </a:cubicBezTo>
                    <a:lnTo>
                      <a:pt x="40196" y="110585"/>
                    </a:lnTo>
                    <a:cubicBezTo>
                      <a:pt x="40196" y="114491"/>
                      <a:pt x="36957" y="117729"/>
                      <a:pt x="33052" y="117729"/>
                    </a:cubicBezTo>
                    <a:lnTo>
                      <a:pt x="14288" y="117729"/>
                    </a:lnTo>
                    <a:lnTo>
                      <a:pt x="14288" y="388049"/>
                    </a:lnTo>
                    <a:lnTo>
                      <a:pt x="33052" y="388049"/>
                    </a:lnTo>
                    <a:cubicBezTo>
                      <a:pt x="36957" y="388049"/>
                      <a:pt x="40196" y="391287"/>
                      <a:pt x="40196" y="395192"/>
                    </a:cubicBezTo>
                    <a:lnTo>
                      <a:pt x="40196" y="517398"/>
                    </a:lnTo>
                    <a:close/>
                  </a:path>
                </a:pathLst>
              </a:custGeom>
              <a:solidFill>
                <a:srgbClr val="FFFFFF"/>
              </a:solidFill>
              <a:ln w="9525" cap="flat">
                <a:noFill/>
                <a:prstDash val="solid"/>
                <a:miter/>
              </a:ln>
            </p:spPr>
            <p:txBody>
              <a:bodyPr rtlCol="0" anchor="ctr"/>
              <a:lstStyle/>
              <a:p>
                <a:pPr defTabSz="914400"/>
                <a:endParaRPr lang="en-DK">
                  <a:solidFill>
                    <a:srgbClr val="001965"/>
                  </a:solidFill>
                  <a:latin typeface="Avenir Next LT Pro"/>
                </a:endParaRPr>
              </a:p>
            </p:txBody>
          </p:sp>
        </p:grpSp>
        <p:sp>
          <p:nvSpPr>
            <p:cNvPr id="74" name="Freeform 73">
              <a:extLst>
                <a:ext uri="{FF2B5EF4-FFF2-40B4-BE49-F238E27FC236}">
                  <a16:creationId xmlns:a16="http://schemas.microsoft.com/office/drawing/2014/main" id="{E3416ED6-779B-D42C-CC2D-2491B246DCD6}"/>
                </a:ext>
              </a:extLst>
            </p:cNvPr>
            <p:cNvSpPr/>
            <p:nvPr/>
          </p:nvSpPr>
          <p:spPr>
            <a:xfrm>
              <a:off x="2394639" y="4933648"/>
              <a:ext cx="247173" cy="14287"/>
            </a:xfrm>
            <a:custGeom>
              <a:avLst/>
              <a:gdLst>
                <a:gd name="connsiteX0" fmla="*/ 240125 w 247173"/>
                <a:gd name="connsiteY0" fmla="*/ 14288 h 14287"/>
                <a:gd name="connsiteX1" fmla="*/ 7144 w 247173"/>
                <a:gd name="connsiteY1" fmla="*/ 14288 h 14287"/>
                <a:gd name="connsiteX2" fmla="*/ 0 w 247173"/>
                <a:gd name="connsiteY2" fmla="*/ 7144 h 14287"/>
                <a:gd name="connsiteX3" fmla="*/ 7144 w 247173"/>
                <a:gd name="connsiteY3" fmla="*/ 0 h 14287"/>
                <a:gd name="connsiteX4" fmla="*/ 240030 w 247173"/>
                <a:gd name="connsiteY4" fmla="*/ 0 h 14287"/>
                <a:gd name="connsiteX5" fmla="*/ 247174 w 247173"/>
                <a:gd name="connsiteY5" fmla="*/ 7144 h 14287"/>
                <a:gd name="connsiteX6" fmla="*/ 240030 w 24717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173" h="14287">
                  <a:moveTo>
                    <a:pt x="240125" y="14288"/>
                  </a:moveTo>
                  <a:lnTo>
                    <a:pt x="7144" y="14288"/>
                  </a:lnTo>
                  <a:cubicBezTo>
                    <a:pt x="3239" y="14288"/>
                    <a:pt x="0" y="11049"/>
                    <a:pt x="0" y="7144"/>
                  </a:cubicBezTo>
                  <a:cubicBezTo>
                    <a:pt x="0" y="3239"/>
                    <a:pt x="3239" y="0"/>
                    <a:pt x="7144" y="0"/>
                  </a:cubicBezTo>
                  <a:lnTo>
                    <a:pt x="240030" y="0"/>
                  </a:lnTo>
                  <a:cubicBezTo>
                    <a:pt x="243935" y="0"/>
                    <a:pt x="247174" y="3239"/>
                    <a:pt x="247174" y="7144"/>
                  </a:cubicBezTo>
                  <a:cubicBezTo>
                    <a:pt x="247174" y="11049"/>
                    <a:pt x="243935" y="14288"/>
                    <a:pt x="240030" y="14288"/>
                  </a:cubicBezTo>
                  <a:close/>
                </a:path>
              </a:pathLst>
            </a:custGeom>
            <a:solidFill>
              <a:srgbClr val="FFFFFF"/>
            </a:solidFill>
            <a:ln w="9525" cap="flat">
              <a:noFill/>
              <a:prstDash val="solid"/>
              <a:miter/>
            </a:ln>
          </p:spPr>
          <p:txBody>
            <a:bodyPr rtlCol="0" anchor="ctr"/>
            <a:lstStyle/>
            <a:p>
              <a:pPr defTabSz="914400"/>
              <a:endParaRPr lang="en-DK">
                <a:solidFill>
                  <a:srgbClr val="001965"/>
                </a:solidFill>
                <a:latin typeface="Avenir Next LT Pro"/>
              </a:endParaRPr>
            </a:p>
          </p:txBody>
        </p:sp>
        <p:grpSp>
          <p:nvGrpSpPr>
            <p:cNvPr id="75" name="Graphic 32">
              <a:extLst>
                <a:ext uri="{FF2B5EF4-FFF2-40B4-BE49-F238E27FC236}">
                  <a16:creationId xmlns:a16="http://schemas.microsoft.com/office/drawing/2014/main" id="{8F7BF536-EA6A-DC44-806C-E9F98507FB82}"/>
                </a:ext>
              </a:extLst>
            </p:cNvPr>
            <p:cNvGrpSpPr/>
            <p:nvPr/>
          </p:nvGrpSpPr>
          <p:grpSpPr>
            <a:xfrm>
              <a:off x="2446455" y="5011276"/>
              <a:ext cx="117824" cy="66008"/>
              <a:chOff x="2446455" y="5011276"/>
              <a:chExt cx="117824" cy="66008"/>
            </a:xfrm>
          </p:grpSpPr>
          <p:sp>
            <p:nvSpPr>
              <p:cNvPr id="80" name="Freeform 79">
                <a:extLst>
                  <a:ext uri="{FF2B5EF4-FFF2-40B4-BE49-F238E27FC236}">
                    <a16:creationId xmlns:a16="http://schemas.microsoft.com/office/drawing/2014/main" id="{8456F30B-9607-D0C7-4A6D-562827AB5937}"/>
                  </a:ext>
                </a:extLst>
              </p:cNvPr>
              <p:cNvSpPr/>
              <p:nvPr/>
            </p:nvSpPr>
            <p:spPr>
              <a:xfrm>
                <a:off x="2453599" y="5018420"/>
                <a:ext cx="103536" cy="51720"/>
              </a:xfrm>
              <a:custGeom>
                <a:avLst/>
                <a:gdLst>
                  <a:gd name="connsiteX0" fmla="*/ 0 w 103536"/>
                  <a:gd name="connsiteY0" fmla="*/ 0 h 51720"/>
                  <a:gd name="connsiteX1" fmla="*/ 103537 w 103536"/>
                  <a:gd name="connsiteY1" fmla="*/ 0 h 51720"/>
                  <a:gd name="connsiteX2" fmla="*/ 103537 w 103536"/>
                  <a:gd name="connsiteY2" fmla="*/ 51721 h 51720"/>
                  <a:gd name="connsiteX3" fmla="*/ 0 w 103536"/>
                  <a:gd name="connsiteY3" fmla="*/ 51721 h 51720"/>
                </a:gdLst>
                <a:ahLst/>
                <a:cxnLst>
                  <a:cxn ang="0">
                    <a:pos x="connsiteX0" y="connsiteY0"/>
                  </a:cxn>
                  <a:cxn ang="0">
                    <a:pos x="connsiteX1" y="connsiteY1"/>
                  </a:cxn>
                  <a:cxn ang="0">
                    <a:pos x="connsiteX2" y="connsiteY2"/>
                  </a:cxn>
                  <a:cxn ang="0">
                    <a:pos x="connsiteX3" y="connsiteY3"/>
                  </a:cxn>
                </a:cxnLst>
                <a:rect l="l" t="t" r="r" b="b"/>
                <a:pathLst>
                  <a:path w="103536" h="51720">
                    <a:moveTo>
                      <a:pt x="0" y="0"/>
                    </a:moveTo>
                    <a:lnTo>
                      <a:pt x="103537" y="0"/>
                    </a:lnTo>
                    <a:lnTo>
                      <a:pt x="103537" y="51721"/>
                    </a:lnTo>
                    <a:lnTo>
                      <a:pt x="0" y="51721"/>
                    </a:lnTo>
                    <a:close/>
                  </a:path>
                </a:pathLst>
              </a:custGeom>
              <a:solidFill>
                <a:srgbClr val="2878FF">
                  <a:alpha val="49920"/>
                </a:srgbClr>
              </a:solidFill>
              <a:ln w="9525" cap="flat">
                <a:noFill/>
                <a:prstDash val="solid"/>
                <a:miter/>
              </a:ln>
            </p:spPr>
            <p:txBody>
              <a:bodyPr rtlCol="0" anchor="ctr"/>
              <a:lstStyle/>
              <a:p>
                <a:pPr defTabSz="914400"/>
                <a:endParaRPr lang="en-DK">
                  <a:solidFill>
                    <a:srgbClr val="001965"/>
                  </a:solidFill>
                  <a:latin typeface="Avenir Next LT Pro"/>
                </a:endParaRPr>
              </a:p>
            </p:txBody>
          </p:sp>
          <p:sp>
            <p:nvSpPr>
              <p:cNvPr id="81" name="Freeform 80">
                <a:extLst>
                  <a:ext uri="{FF2B5EF4-FFF2-40B4-BE49-F238E27FC236}">
                    <a16:creationId xmlns:a16="http://schemas.microsoft.com/office/drawing/2014/main" id="{4B7CEF70-DABB-B3DE-4B48-C2A9EE29C0AC}"/>
                  </a:ext>
                </a:extLst>
              </p:cNvPr>
              <p:cNvSpPr/>
              <p:nvPr/>
            </p:nvSpPr>
            <p:spPr>
              <a:xfrm>
                <a:off x="2446455" y="5011276"/>
                <a:ext cx="117824" cy="66008"/>
              </a:xfrm>
              <a:custGeom>
                <a:avLst/>
                <a:gdLst>
                  <a:gd name="connsiteX0" fmla="*/ 110681 w 117824"/>
                  <a:gd name="connsiteY0" fmla="*/ 66008 h 66008"/>
                  <a:gd name="connsiteX1" fmla="*/ 7144 w 117824"/>
                  <a:gd name="connsiteY1" fmla="*/ 66008 h 66008"/>
                  <a:gd name="connsiteX2" fmla="*/ 0 w 117824"/>
                  <a:gd name="connsiteY2" fmla="*/ 58865 h 66008"/>
                  <a:gd name="connsiteX3" fmla="*/ 0 w 117824"/>
                  <a:gd name="connsiteY3" fmla="*/ 7144 h 66008"/>
                  <a:gd name="connsiteX4" fmla="*/ 7144 w 117824"/>
                  <a:gd name="connsiteY4" fmla="*/ 0 h 66008"/>
                  <a:gd name="connsiteX5" fmla="*/ 110681 w 117824"/>
                  <a:gd name="connsiteY5" fmla="*/ 0 h 66008"/>
                  <a:gd name="connsiteX6" fmla="*/ 117824 w 117824"/>
                  <a:gd name="connsiteY6" fmla="*/ 7144 h 66008"/>
                  <a:gd name="connsiteX7" fmla="*/ 117824 w 117824"/>
                  <a:gd name="connsiteY7" fmla="*/ 58865 h 66008"/>
                  <a:gd name="connsiteX8" fmla="*/ 110681 w 117824"/>
                  <a:gd name="connsiteY8" fmla="*/ 66008 h 66008"/>
                  <a:gd name="connsiteX9" fmla="*/ 14288 w 117824"/>
                  <a:gd name="connsiteY9" fmla="*/ 51721 h 66008"/>
                  <a:gd name="connsiteX10" fmla="*/ 103537 w 117824"/>
                  <a:gd name="connsiteY10" fmla="*/ 51721 h 66008"/>
                  <a:gd name="connsiteX11" fmla="*/ 103537 w 117824"/>
                  <a:gd name="connsiteY11" fmla="*/ 14288 h 66008"/>
                  <a:gd name="connsiteX12" fmla="*/ 14288 w 117824"/>
                  <a:gd name="connsiteY12" fmla="*/ 14288 h 66008"/>
                  <a:gd name="connsiteX13" fmla="*/ 14288 w 117824"/>
                  <a:gd name="connsiteY13" fmla="*/ 51721 h 66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824" h="66008">
                    <a:moveTo>
                      <a:pt x="110681" y="66008"/>
                    </a:moveTo>
                    <a:lnTo>
                      <a:pt x="7144" y="66008"/>
                    </a:lnTo>
                    <a:cubicBezTo>
                      <a:pt x="3239" y="66008"/>
                      <a:pt x="0" y="62770"/>
                      <a:pt x="0" y="58865"/>
                    </a:cubicBezTo>
                    <a:lnTo>
                      <a:pt x="0" y="7144"/>
                    </a:lnTo>
                    <a:cubicBezTo>
                      <a:pt x="0" y="3239"/>
                      <a:pt x="3239" y="0"/>
                      <a:pt x="7144" y="0"/>
                    </a:cubicBezTo>
                    <a:lnTo>
                      <a:pt x="110681" y="0"/>
                    </a:lnTo>
                    <a:cubicBezTo>
                      <a:pt x="114586" y="0"/>
                      <a:pt x="117824" y="3239"/>
                      <a:pt x="117824" y="7144"/>
                    </a:cubicBezTo>
                    <a:lnTo>
                      <a:pt x="117824" y="58865"/>
                    </a:lnTo>
                    <a:cubicBezTo>
                      <a:pt x="117824" y="62770"/>
                      <a:pt x="114586" y="66008"/>
                      <a:pt x="110681" y="66008"/>
                    </a:cubicBezTo>
                    <a:close/>
                    <a:moveTo>
                      <a:pt x="14288" y="51721"/>
                    </a:moveTo>
                    <a:lnTo>
                      <a:pt x="103537" y="51721"/>
                    </a:lnTo>
                    <a:lnTo>
                      <a:pt x="103537" y="14288"/>
                    </a:lnTo>
                    <a:lnTo>
                      <a:pt x="14288" y="14288"/>
                    </a:lnTo>
                    <a:lnTo>
                      <a:pt x="14288" y="51721"/>
                    </a:lnTo>
                    <a:close/>
                  </a:path>
                </a:pathLst>
              </a:custGeom>
              <a:solidFill>
                <a:srgbClr val="FFFFFF"/>
              </a:solidFill>
              <a:ln w="9525" cap="flat">
                <a:noFill/>
                <a:prstDash val="solid"/>
                <a:miter/>
              </a:ln>
            </p:spPr>
            <p:txBody>
              <a:bodyPr rtlCol="0" anchor="ctr"/>
              <a:lstStyle/>
              <a:p>
                <a:pPr defTabSz="914400"/>
                <a:endParaRPr lang="en-DK">
                  <a:solidFill>
                    <a:srgbClr val="001965"/>
                  </a:solidFill>
                  <a:latin typeface="Avenir Next LT Pro"/>
                </a:endParaRPr>
              </a:p>
            </p:txBody>
          </p:sp>
        </p:grpSp>
        <p:grpSp>
          <p:nvGrpSpPr>
            <p:cNvPr id="76" name="Graphic 32">
              <a:extLst>
                <a:ext uri="{FF2B5EF4-FFF2-40B4-BE49-F238E27FC236}">
                  <a16:creationId xmlns:a16="http://schemas.microsoft.com/office/drawing/2014/main" id="{71E16B5C-CDD1-3927-2F26-0C2D2A37E8EA}"/>
                </a:ext>
              </a:extLst>
            </p:cNvPr>
            <p:cNvGrpSpPr/>
            <p:nvPr/>
          </p:nvGrpSpPr>
          <p:grpSpPr>
            <a:xfrm>
              <a:off x="2575805" y="4467875"/>
              <a:ext cx="143636" cy="143637"/>
              <a:chOff x="2575805" y="4467875"/>
              <a:chExt cx="143636" cy="143637"/>
            </a:xfrm>
          </p:grpSpPr>
          <p:sp>
            <p:nvSpPr>
              <p:cNvPr id="78" name="Freeform 77">
                <a:extLst>
                  <a:ext uri="{FF2B5EF4-FFF2-40B4-BE49-F238E27FC236}">
                    <a16:creationId xmlns:a16="http://schemas.microsoft.com/office/drawing/2014/main" id="{78259509-C8AE-E9F6-073F-EB74851BDB03}"/>
                  </a:ext>
                </a:extLst>
              </p:cNvPr>
              <p:cNvSpPr/>
              <p:nvPr/>
            </p:nvSpPr>
            <p:spPr>
              <a:xfrm>
                <a:off x="2582949" y="4475019"/>
                <a:ext cx="129349" cy="129349"/>
              </a:xfrm>
              <a:custGeom>
                <a:avLst/>
                <a:gdLst>
                  <a:gd name="connsiteX0" fmla="*/ 129349 w 129349"/>
                  <a:gd name="connsiteY0" fmla="*/ 64675 h 129349"/>
                  <a:gd name="connsiteX1" fmla="*/ 64675 w 129349"/>
                  <a:gd name="connsiteY1" fmla="*/ 129350 h 129349"/>
                  <a:gd name="connsiteX2" fmla="*/ 0 w 129349"/>
                  <a:gd name="connsiteY2" fmla="*/ 64675 h 129349"/>
                  <a:gd name="connsiteX3" fmla="*/ 64675 w 129349"/>
                  <a:gd name="connsiteY3" fmla="*/ 0 h 129349"/>
                  <a:gd name="connsiteX4" fmla="*/ 129349 w 129349"/>
                  <a:gd name="connsiteY4" fmla="*/ 64675 h 129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349" h="129349">
                    <a:moveTo>
                      <a:pt x="129349" y="64675"/>
                    </a:moveTo>
                    <a:cubicBezTo>
                      <a:pt x="129349" y="100394"/>
                      <a:pt x="100394" y="129350"/>
                      <a:pt x="64675" y="129350"/>
                    </a:cubicBezTo>
                    <a:cubicBezTo>
                      <a:pt x="28956" y="129350"/>
                      <a:pt x="0" y="100394"/>
                      <a:pt x="0" y="64675"/>
                    </a:cubicBezTo>
                    <a:cubicBezTo>
                      <a:pt x="0" y="28956"/>
                      <a:pt x="28956" y="0"/>
                      <a:pt x="64675" y="0"/>
                    </a:cubicBezTo>
                    <a:cubicBezTo>
                      <a:pt x="100394" y="0"/>
                      <a:pt x="129349" y="28956"/>
                      <a:pt x="129349" y="64675"/>
                    </a:cubicBezTo>
                    <a:close/>
                  </a:path>
                </a:pathLst>
              </a:custGeom>
              <a:solidFill>
                <a:srgbClr val="2878FF">
                  <a:alpha val="49920"/>
                </a:srgbClr>
              </a:solidFill>
              <a:ln w="9525" cap="flat">
                <a:noFill/>
                <a:prstDash val="solid"/>
                <a:miter/>
              </a:ln>
            </p:spPr>
            <p:txBody>
              <a:bodyPr rtlCol="0" anchor="ctr"/>
              <a:lstStyle/>
              <a:p>
                <a:pPr defTabSz="914400"/>
                <a:endParaRPr lang="en-DK">
                  <a:solidFill>
                    <a:srgbClr val="001965"/>
                  </a:solidFill>
                  <a:latin typeface="Avenir Next LT Pro"/>
                </a:endParaRPr>
              </a:p>
            </p:txBody>
          </p:sp>
          <p:sp>
            <p:nvSpPr>
              <p:cNvPr id="79" name="Freeform 78">
                <a:extLst>
                  <a:ext uri="{FF2B5EF4-FFF2-40B4-BE49-F238E27FC236}">
                    <a16:creationId xmlns:a16="http://schemas.microsoft.com/office/drawing/2014/main" id="{5BB97A2D-A8DF-D465-9881-E5376A922CDD}"/>
                  </a:ext>
                </a:extLst>
              </p:cNvPr>
              <p:cNvSpPr/>
              <p:nvPr/>
            </p:nvSpPr>
            <p:spPr>
              <a:xfrm>
                <a:off x="2575805" y="4467875"/>
                <a:ext cx="143636" cy="143637"/>
              </a:xfrm>
              <a:custGeom>
                <a:avLst/>
                <a:gdLst>
                  <a:gd name="connsiteX0" fmla="*/ 71818 w 143636"/>
                  <a:gd name="connsiteY0" fmla="*/ 143637 h 143637"/>
                  <a:gd name="connsiteX1" fmla="*/ 0 w 143636"/>
                  <a:gd name="connsiteY1" fmla="*/ 71819 h 143637"/>
                  <a:gd name="connsiteX2" fmla="*/ 71818 w 143636"/>
                  <a:gd name="connsiteY2" fmla="*/ 0 h 143637"/>
                  <a:gd name="connsiteX3" fmla="*/ 143637 w 143636"/>
                  <a:gd name="connsiteY3" fmla="*/ 71819 h 143637"/>
                  <a:gd name="connsiteX4" fmla="*/ 71818 w 143636"/>
                  <a:gd name="connsiteY4" fmla="*/ 143637 h 143637"/>
                  <a:gd name="connsiteX5" fmla="*/ 71818 w 143636"/>
                  <a:gd name="connsiteY5" fmla="*/ 14288 h 143637"/>
                  <a:gd name="connsiteX6" fmla="*/ 14288 w 143636"/>
                  <a:gd name="connsiteY6" fmla="*/ 71819 h 143637"/>
                  <a:gd name="connsiteX7" fmla="*/ 71818 w 143636"/>
                  <a:gd name="connsiteY7" fmla="*/ 129350 h 143637"/>
                  <a:gd name="connsiteX8" fmla="*/ 129349 w 143636"/>
                  <a:gd name="connsiteY8" fmla="*/ 71819 h 143637"/>
                  <a:gd name="connsiteX9" fmla="*/ 71818 w 143636"/>
                  <a:gd name="connsiteY9" fmla="*/ 14288 h 14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636" h="143637">
                    <a:moveTo>
                      <a:pt x="71818" y="143637"/>
                    </a:moveTo>
                    <a:cubicBezTo>
                      <a:pt x="32194" y="143637"/>
                      <a:pt x="0" y="111443"/>
                      <a:pt x="0" y="71819"/>
                    </a:cubicBezTo>
                    <a:cubicBezTo>
                      <a:pt x="0" y="32195"/>
                      <a:pt x="32194" y="0"/>
                      <a:pt x="71818" y="0"/>
                    </a:cubicBezTo>
                    <a:cubicBezTo>
                      <a:pt x="111443" y="0"/>
                      <a:pt x="143637" y="32195"/>
                      <a:pt x="143637" y="71819"/>
                    </a:cubicBezTo>
                    <a:cubicBezTo>
                      <a:pt x="143637" y="111443"/>
                      <a:pt x="111443" y="143637"/>
                      <a:pt x="71818" y="143637"/>
                    </a:cubicBezTo>
                    <a:close/>
                    <a:moveTo>
                      <a:pt x="71818" y="14288"/>
                    </a:moveTo>
                    <a:cubicBezTo>
                      <a:pt x="40100" y="14288"/>
                      <a:pt x="14288" y="40100"/>
                      <a:pt x="14288" y="71819"/>
                    </a:cubicBezTo>
                    <a:cubicBezTo>
                      <a:pt x="14288" y="103537"/>
                      <a:pt x="40100" y="129350"/>
                      <a:pt x="71818" y="129350"/>
                    </a:cubicBezTo>
                    <a:cubicBezTo>
                      <a:pt x="103537" y="129350"/>
                      <a:pt x="129349" y="103537"/>
                      <a:pt x="129349" y="71819"/>
                    </a:cubicBezTo>
                    <a:cubicBezTo>
                      <a:pt x="129349" y="40100"/>
                      <a:pt x="103537" y="14288"/>
                      <a:pt x="71818" y="14288"/>
                    </a:cubicBezTo>
                    <a:close/>
                  </a:path>
                </a:pathLst>
              </a:custGeom>
              <a:solidFill>
                <a:srgbClr val="FFFFFF"/>
              </a:solidFill>
              <a:ln w="9525" cap="flat">
                <a:noFill/>
                <a:prstDash val="solid"/>
                <a:miter/>
              </a:ln>
            </p:spPr>
            <p:txBody>
              <a:bodyPr rtlCol="0" anchor="ctr"/>
              <a:lstStyle/>
              <a:p>
                <a:pPr defTabSz="914400"/>
                <a:endParaRPr lang="en-DK">
                  <a:solidFill>
                    <a:srgbClr val="001965"/>
                  </a:solidFill>
                  <a:latin typeface="Avenir Next LT Pro"/>
                </a:endParaRPr>
              </a:p>
            </p:txBody>
          </p:sp>
        </p:grpSp>
        <p:sp>
          <p:nvSpPr>
            <p:cNvPr id="77" name="Freeform 76">
              <a:extLst>
                <a:ext uri="{FF2B5EF4-FFF2-40B4-BE49-F238E27FC236}">
                  <a16:creationId xmlns:a16="http://schemas.microsoft.com/office/drawing/2014/main" id="{98F17D01-19E9-9381-2F24-D20F315DA343}"/>
                </a:ext>
              </a:extLst>
            </p:cNvPr>
            <p:cNvSpPr/>
            <p:nvPr/>
          </p:nvSpPr>
          <p:spPr>
            <a:xfrm>
              <a:off x="2342919" y="4496471"/>
              <a:ext cx="609504" cy="632630"/>
            </a:xfrm>
            <a:custGeom>
              <a:avLst/>
              <a:gdLst>
                <a:gd name="connsiteX0" fmla="*/ 602361 w 609504"/>
                <a:gd name="connsiteY0" fmla="*/ 632630 h 632630"/>
                <a:gd name="connsiteX1" fmla="*/ 7144 w 609504"/>
                <a:gd name="connsiteY1" fmla="*/ 632630 h 632630"/>
                <a:gd name="connsiteX2" fmla="*/ 0 w 609504"/>
                <a:gd name="connsiteY2" fmla="*/ 625486 h 632630"/>
                <a:gd name="connsiteX3" fmla="*/ 0 w 609504"/>
                <a:gd name="connsiteY3" fmla="*/ 599578 h 632630"/>
                <a:gd name="connsiteX4" fmla="*/ 33052 w 609504"/>
                <a:gd name="connsiteY4" fmla="*/ 566527 h 632630"/>
                <a:gd name="connsiteX5" fmla="*/ 310610 w 609504"/>
                <a:gd name="connsiteY5" fmla="*/ 566527 h 632630"/>
                <a:gd name="connsiteX6" fmla="*/ 310610 w 609504"/>
                <a:gd name="connsiteY6" fmla="*/ 496042 h 632630"/>
                <a:gd name="connsiteX7" fmla="*/ 317754 w 609504"/>
                <a:gd name="connsiteY7" fmla="*/ 488898 h 632630"/>
                <a:gd name="connsiteX8" fmla="*/ 517589 w 609504"/>
                <a:gd name="connsiteY8" fmla="*/ 289063 h 632630"/>
                <a:gd name="connsiteX9" fmla="*/ 352711 w 609504"/>
                <a:gd name="connsiteY9" fmla="*/ 92277 h 632630"/>
                <a:gd name="connsiteX10" fmla="*/ 346900 w 609504"/>
                <a:gd name="connsiteY10" fmla="*/ 83990 h 632630"/>
                <a:gd name="connsiteX11" fmla="*/ 355187 w 609504"/>
                <a:gd name="connsiteY11" fmla="*/ 78180 h 632630"/>
                <a:gd name="connsiteX12" fmla="*/ 531876 w 609504"/>
                <a:gd name="connsiteY12" fmla="*/ 289063 h 632630"/>
                <a:gd name="connsiteX13" fmla="*/ 324898 w 609504"/>
                <a:gd name="connsiteY13" fmla="*/ 503090 h 632630"/>
                <a:gd name="connsiteX14" fmla="*/ 324898 w 609504"/>
                <a:gd name="connsiteY14" fmla="*/ 573670 h 632630"/>
                <a:gd name="connsiteX15" fmla="*/ 317754 w 609504"/>
                <a:gd name="connsiteY15" fmla="*/ 580814 h 632630"/>
                <a:gd name="connsiteX16" fmla="*/ 33052 w 609504"/>
                <a:gd name="connsiteY16" fmla="*/ 580814 h 632630"/>
                <a:gd name="connsiteX17" fmla="*/ 14288 w 609504"/>
                <a:gd name="connsiteY17" fmla="*/ 599578 h 632630"/>
                <a:gd name="connsiteX18" fmla="*/ 14288 w 609504"/>
                <a:gd name="connsiteY18" fmla="*/ 618343 h 632630"/>
                <a:gd name="connsiteX19" fmla="*/ 595217 w 609504"/>
                <a:gd name="connsiteY19" fmla="*/ 618343 h 632630"/>
                <a:gd name="connsiteX20" fmla="*/ 595217 w 609504"/>
                <a:gd name="connsiteY20" fmla="*/ 599578 h 632630"/>
                <a:gd name="connsiteX21" fmla="*/ 576453 w 609504"/>
                <a:gd name="connsiteY21" fmla="*/ 580814 h 632630"/>
                <a:gd name="connsiteX22" fmla="*/ 511778 w 609504"/>
                <a:gd name="connsiteY22" fmla="*/ 580814 h 632630"/>
                <a:gd name="connsiteX23" fmla="*/ 504635 w 609504"/>
                <a:gd name="connsiteY23" fmla="*/ 573670 h 632630"/>
                <a:gd name="connsiteX24" fmla="*/ 504635 w 609504"/>
                <a:gd name="connsiteY24" fmla="*/ 496804 h 632630"/>
                <a:gd name="connsiteX25" fmla="*/ 506921 w 609504"/>
                <a:gd name="connsiteY25" fmla="*/ 491565 h 632630"/>
                <a:gd name="connsiteX26" fmla="*/ 595217 w 609504"/>
                <a:gd name="connsiteY26" fmla="*/ 288968 h 632630"/>
                <a:gd name="connsiteX27" fmla="*/ 357569 w 609504"/>
                <a:gd name="connsiteY27" fmla="*/ 14267 h 632630"/>
                <a:gd name="connsiteX28" fmla="*/ 351473 w 609504"/>
                <a:gd name="connsiteY28" fmla="*/ 6171 h 632630"/>
                <a:gd name="connsiteX29" fmla="*/ 359569 w 609504"/>
                <a:gd name="connsiteY29" fmla="*/ 75 h 632630"/>
                <a:gd name="connsiteX30" fmla="*/ 609505 w 609504"/>
                <a:gd name="connsiteY30" fmla="*/ 288873 h 632630"/>
                <a:gd name="connsiteX31" fmla="*/ 518922 w 609504"/>
                <a:gd name="connsiteY31" fmla="*/ 499756 h 632630"/>
                <a:gd name="connsiteX32" fmla="*/ 518922 w 609504"/>
                <a:gd name="connsiteY32" fmla="*/ 566336 h 632630"/>
                <a:gd name="connsiteX33" fmla="*/ 576453 w 609504"/>
                <a:gd name="connsiteY33" fmla="*/ 566336 h 632630"/>
                <a:gd name="connsiteX34" fmla="*/ 609505 w 609504"/>
                <a:gd name="connsiteY34" fmla="*/ 599388 h 632630"/>
                <a:gd name="connsiteX35" fmla="*/ 609505 w 609504"/>
                <a:gd name="connsiteY35" fmla="*/ 625296 h 632630"/>
                <a:gd name="connsiteX36" fmla="*/ 602361 w 609504"/>
                <a:gd name="connsiteY36" fmla="*/ 632440 h 63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9504" h="632630">
                  <a:moveTo>
                    <a:pt x="602361" y="632630"/>
                  </a:moveTo>
                  <a:lnTo>
                    <a:pt x="7144" y="632630"/>
                  </a:lnTo>
                  <a:cubicBezTo>
                    <a:pt x="3239" y="632630"/>
                    <a:pt x="0" y="629392"/>
                    <a:pt x="0" y="625486"/>
                  </a:cubicBezTo>
                  <a:lnTo>
                    <a:pt x="0" y="599578"/>
                  </a:lnTo>
                  <a:cubicBezTo>
                    <a:pt x="0" y="581386"/>
                    <a:pt x="14859" y="566527"/>
                    <a:pt x="33052" y="566527"/>
                  </a:cubicBezTo>
                  <a:lnTo>
                    <a:pt x="310610" y="566527"/>
                  </a:lnTo>
                  <a:lnTo>
                    <a:pt x="310610" y="496042"/>
                  </a:lnTo>
                  <a:cubicBezTo>
                    <a:pt x="310610" y="492136"/>
                    <a:pt x="313849" y="488898"/>
                    <a:pt x="317754" y="488898"/>
                  </a:cubicBezTo>
                  <a:cubicBezTo>
                    <a:pt x="427958" y="488898"/>
                    <a:pt x="517589" y="399268"/>
                    <a:pt x="517589" y="289063"/>
                  </a:cubicBezTo>
                  <a:cubicBezTo>
                    <a:pt x="517589" y="191908"/>
                    <a:pt x="448247" y="109136"/>
                    <a:pt x="352711" y="92277"/>
                  </a:cubicBezTo>
                  <a:cubicBezTo>
                    <a:pt x="348806" y="91610"/>
                    <a:pt x="346234" y="87895"/>
                    <a:pt x="346900" y="83990"/>
                  </a:cubicBezTo>
                  <a:cubicBezTo>
                    <a:pt x="347567" y="80085"/>
                    <a:pt x="351187" y="77513"/>
                    <a:pt x="355187" y="78180"/>
                  </a:cubicBezTo>
                  <a:cubicBezTo>
                    <a:pt x="457581" y="96277"/>
                    <a:pt x="531876" y="184955"/>
                    <a:pt x="531876" y="289063"/>
                  </a:cubicBezTo>
                  <a:cubicBezTo>
                    <a:pt x="531876" y="404792"/>
                    <a:pt x="439674" y="499280"/>
                    <a:pt x="324898" y="503090"/>
                  </a:cubicBezTo>
                  <a:lnTo>
                    <a:pt x="324898" y="573670"/>
                  </a:lnTo>
                  <a:cubicBezTo>
                    <a:pt x="324898" y="577576"/>
                    <a:pt x="321659" y="580814"/>
                    <a:pt x="317754" y="580814"/>
                  </a:cubicBezTo>
                  <a:lnTo>
                    <a:pt x="33052" y="580814"/>
                  </a:lnTo>
                  <a:cubicBezTo>
                    <a:pt x="22765" y="580814"/>
                    <a:pt x="14288" y="589196"/>
                    <a:pt x="14288" y="599578"/>
                  </a:cubicBezTo>
                  <a:lnTo>
                    <a:pt x="14288" y="618343"/>
                  </a:lnTo>
                  <a:lnTo>
                    <a:pt x="595217" y="618343"/>
                  </a:lnTo>
                  <a:lnTo>
                    <a:pt x="595217" y="599578"/>
                  </a:lnTo>
                  <a:cubicBezTo>
                    <a:pt x="595217" y="589291"/>
                    <a:pt x="586835" y="580814"/>
                    <a:pt x="576453" y="580814"/>
                  </a:cubicBezTo>
                  <a:lnTo>
                    <a:pt x="511778" y="580814"/>
                  </a:lnTo>
                  <a:cubicBezTo>
                    <a:pt x="507873" y="580814"/>
                    <a:pt x="504635" y="577576"/>
                    <a:pt x="504635" y="573670"/>
                  </a:cubicBezTo>
                  <a:lnTo>
                    <a:pt x="504635" y="496804"/>
                  </a:lnTo>
                  <a:cubicBezTo>
                    <a:pt x="504635" y="494803"/>
                    <a:pt x="505492" y="492898"/>
                    <a:pt x="506921" y="491565"/>
                  </a:cubicBezTo>
                  <a:cubicBezTo>
                    <a:pt x="563880" y="438320"/>
                    <a:pt x="595217" y="366406"/>
                    <a:pt x="595217" y="288968"/>
                  </a:cubicBezTo>
                  <a:cubicBezTo>
                    <a:pt x="595217" y="151903"/>
                    <a:pt x="493014" y="33793"/>
                    <a:pt x="357569" y="14267"/>
                  </a:cubicBezTo>
                  <a:cubicBezTo>
                    <a:pt x="353663" y="13696"/>
                    <a:pt x="350901" y="10076"/>
                    <a:pt x="351473" y="6171"/>
                  </a:cubicBezTo>
                  <a:cubicBezTo>
                    <a:pt x="352044" y="2266"/>
                    <a:pt x="355568" y="-497"/>
                    <a:pt x="359569" y="75"/>
                  </a:cubicBezTo>
                  <a:cubicBezTo>
                    <a:pt x="502063" y="20554"/>
                    <a:pt x="609505" y="144760"/>
                    <a:pt x="609505" y="288873"/>
                  </a:cubicBezTo>
                  <a:cubicBezTo>
                    <a:pt x="609505" y="369264"/>
                    <a:pt x="577406" y="444035"/>
                    <a:pt x="518922" y="499756"/>
                  </a:cubicBezTo>
                  <a:lnTo>
                    <a:pt x="518922" y="566336"/>
                  </a:lnTo>
                  <a:lnTo>
                    <a:pt x="576453" y="566336"/>
                  </a:lnTo>
                  <a:cubicBezTo>
                    <a:pt x="594646" y="566336"/>
                    <a:pt x="609505" y="581195"/>
                    <a:pt x="609505" y="599388"/>
                  </a:cubicBezTo>
                  <a:lnTo>
                    <a:pt x="609505" y="625296"/>
                  </a:lnTo>
                  <a:cubicBezTo>
                    <a:pt x="609505" y="629201"/>
                    <a:pt x="606266" y="632440"/>
                    <a:pt x="602361" y="632440"/>
                  </a:cubicBezTo>
                  <a:close/>
                </a:path>
              </a:pathLst>
            </a:custGeom>
            <a:solidFill>
              <a:srgbClr val="FFFFFF"/>
            </a:solidFill>
            <a:ln w="9525" cap="flat">
              <a:noFill/>
              <a:prstDash val="solid"/>
              <a:miter/>
            </a:ln>
          </p:spPr>
          <p:txBody>
            <a:bodyPr rtlCol="0" anchor="ctr"/>
            <a:lstStyle/>
            <a:p>
              <a:pPr defTabSz="914400"/>
              <a:endParaRPr lang="en-DK">
                <a:solidFill>
                  <a:srgbClr val="001965"/>
                </a:solidFill>
                <a:latin typeface="Avenir Next LT Pro"/>
              </a:endParaRPr>
            </a:p>
          </p:txBody>
        </p:sp>
      </p:grpSp>
      <p:grpSp>
        <p:nvGrpSpPr>
          <p:cNvPr id="85" name="Graphic 53">
            <a:extLst>
              <a:ext uri="{FF2B5EF4-FFF2-40B4-BE49-F238E27FC236}">
                <a16:creationId xmlns:a16="http://schemas.microsoft.com/office/drawing/2014/main" id="{65E35DCD-46D4-3E61-CDA3-0600D78DDB59}"/>
              </a:ext>
            </a:extLst>
          </p:cNvPr>
          <p:cNvGrpSpPr/>
          <p:nvPr/>
        </p:nvGrpSpPr>
        <p:grpSpPr>
          <a:xfrm>
            <a:off x="5203918" y="2710993"/>
            <a:ext cx="1730064" cy="1730064"/>
            <a:chOff x="5149439" y="2710993"/>
            <a:chExt cx="1730064" cy="1730064"/>
          </a:xfrm>
        </p:grpSpPr>
        <p:sp>
          <p:nvSpPr>
            <p:cNvPr id="86" name="Freeform 85">
              <a:extLst>
                <a:ext uri="{FF2B5EF4-FFF2-40B4-BE49-F238E27FC236}">
                  <a16:creationId xmlns:a16="http://schemas.microsoft.com/office/drawing/2014/main" id="{3AAF4756-DA30-3FCC-A52E-5C4C32B82B5D}"/>
                </a:ext>
              </a:extLst>
            </p:cNvPr>
            <p:cNvSpPr/>
            <p:nvPr/>
          </p:nvSpPr>
          <p:spPr>
            <a:xfrm>
              <a:off x="5174204" y="2735758"/>
              <a:ext cx="1680534" cy="1680782"/>
            </a:xfrm>
            <a:custGeom>
              <a:avLst/>
              <a:gdLst>
                <a:gd name="connsiteX0" fmla="*/ 840267 w 1680534"/>
                <a:gd name="connsiteY0" fmla="*/ 1680783 h 1680782"/>
                <a:gd name="connsiteX1" fmla="*/ 1680535 w 1680534"/>
                <a:gd name="connsiteY1" fmla="*/ 840515 h 1680782"/>
                <a:gd name="connsiteX2" fmla="*/ 840267 w 1680534"/>
                <a:gd name="connsiteY2" fmla="*/ 0 h 1680782"/>
                <a:gd name="connsiteX3" fmla="*/ 0 w 1680534"/>
                <a:gd name="connsiteY3" fmla="*/ 840267 h 1680782"/>
                <a:gd name="connsiteX4" fmla="*/ 840267 w 1680534"/>
                <a:gd name="connsiteY4" fmla="*/ 1680535 h 1680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534" h="1680782">
                  <a:moveTo>
                    <a:pt x="840267" y="1680783"/>
                  </a:moveTo>
                  <a:cubicBezTo>
                    <a:pt x="1304358" y="1680783"/>
                    <a:pt x="1680535" y="1304606"/>
                    <a:pt x="1680535" y="840515"/>
                  </a:cubicBezTo>
                  <a:cubicBezTo>
                    <a:pt x="1680535" y="376424"/>
                    <a:pt x="1304358" y="0"/>
                    <a:pt x="840267" y="0"/>
                  </a:cubicBezTo>
                  <a:cubicBezTo>
                    <a:pt x="376176" y="0"/>
                    <a:pt x="0" y="376176"/>
                    <a:pt x="0" y="840267"/>
                  </a:cubicBezTo>
                  <a:cubicBezTo>
                    <a:pt x="0" y="1304358"/>
                    <a:pt x="376176" y="1680535"/>
                    <a:pt x="840267" y="1680535"/>
                  </a:cubicBezTo>
                </a:path>
              </a:pathLst>
            </a:custGeom>
            <a:solidFill>
              <a:srgbClr val="001965"/>
            </a:solidFill>
            <a:ln w="24685" cap="flat">
              <a:noFill/>
              <a:prstDash val="solid"/>
              <a:miter/>
            </a:ln>
          </p:spPr>
          <p:txBody>
            <a:bodyPr rtlCol="0" anchor="ctr"/>
            <a:lstStyle/>
            <a:p>
              <a:endParaRPr lang="en-DK"/>
            </a:p>
          </p:txBody>
        </p:sp>
        <p:sp>
          <p:nvSpPr>
            <p:cNvPr id="87" name="Freeform 86">
              <a:extLst>
                <a:ext uri="{FF2B5EF4-FFF2-40B4-BE49-F238E27FC236}">
                  <a16:creationId xmlns:a16="http://schemas.microsoft.com/office/drawing/2014/main" id="{CDB82623-D332-1E15-19F7-09834E97CC0F}"/>
                </a:ext>
              </a:extLst>
            </p:cNvPr>
            <p:cNvSpPr/>
            <p:nvPr/>
          </p:nvSpPr>
          <p:spPr>
            <a:xfrm>
              <a:off x="5149439" y="2710993"/>
              <a:ext cx="1730064" cy="1730064"/>
            </a:xfrm>
            <a:custGeom>
              <a:avLst/>
              <a:gdLst>
                <a:gd name="connsiteX0" fmla="*/ 865032 w 1730064"/>
                <a:gd name="connsiteY0" fmla="*/ 1705547 h 1730064"/>
                <a:gd name="connsiteX1" fmla="*/ 865032 w 1730064"/>
                <a:gd name="connsiteY1" fmla="*/ 1680783 h 1730064"/>
                <a:gd name="connsiteX2" fmla="*/ 1680535 w 1730064"/>
                <a:gd name="connsiteY2" fmla="*/ 865280 h 1730064"/>
                <a:gd name="connsiteX3" fmla="*/ 865032 w 1730064"/>
                <a:gd name="connsiteY3" fmla="*/ 49777 h 1730064"/>
                <a:gd name="connsiteX4" fmla="*/ 49529 w 1730064"/>
                <a:gd name="connsiteY4" fmla="*/ 865032 h 1730064"/>
                <a:gd name="connsiteX5" fmla="*/ 865032 w 1730064"/>
                <a:gd name="connsiteY5" fmla="*/ 1680535 h 1730064"/>
                <a:gd name="connsiteX6" fmla="*/ 865032 w 1730064"/>
                <a:gd name="connsiteY6" fmla="*/ 1705300 h 1730064"/>
                <a:gd name="connsiteX7" fmla="*/ 865032 w 1730064"/>
                <a:gd name="connsiteY7" fmla="*/ 1730064 h 1730064"/>
                <a:gd name="connsiteX8" fmla="*/ 0 w 1730064"/>
                <a:gd name="connsiteY8" fmla="*/ 865032 h 1730064"/>
                <a:gd name="connsiteX9" fmla="*/ 865032 w 1730064"/>
                <a:gd name="connsiteY9" fmla="*/ 0 h 1730064"/>
                <a:gd name="connsiteX10" fmla="*/ 1730064 w 1730064"/>
                <a:gd name="connsiteY10" fmla="*/ 865032 h 1730064"/>
                <a:gd name="connsiteX11" fmla="*/ 865032 w 1730064"/>
                <a:gd name="connsiteY11" fmla="*/ 1730064 h 1730064"/>
                <a:gd name="connsiteX12" fmla="*/ 865032 w 1730064"/>
                <a:gd name="connsiteY12" fmla="*/ 1705300 h 173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30064" h="1730064">
                  <a:moveTo>
                    <a:pt x="865032" y="1705547"/>
                  </a:moveTo>
                  <a:lnTo>
                    <a:pt x="865032" y="1680783"/>
                  </a:lnTo>
                  <a:cubicBezTo>
                    <a:pt x="1315503" y="1680039"/>
                    <a:pt x="1679792" y="1315750"/>
                    <a:pt x="1680535" y="865280"/>
                  </a:cubicBezTo>
                  <a:cubicBezTo>
                    <a:pt x="1679792" y="414809"/>
                    <a:pt x="1315503" y="50520"/>
                    <a:pt x="865032" y="49777"/>
                  </a:cubicBezTo>
                  <a:cubicBezTo>
                    <a:pt x="414562" y="50272"/>
                    <a:pt x="50272" y="414562"/>
                    <a:pt x="49529" y="865032"/>
                  </a:cubicBezTo>
                  <a:cubicBezTo>
                    <a:pt x="50272" y="1315503"/>
                    <a:pt x="414562" y="1679792"/>
                    <a:pt x="865032" y="1680535"/>
                  </a:cubicBezTo>
                  <a:lnTo>
                    <a:pt x="865032" y="1705300"/>
                  </a:lnTo>
                  <a:cubicBezTo>
                    <a:pt x="865032" y="1705300"/>
                    <a:pt x="865032" y="1730064"/>
                    <a:pt x="865032" y="1730064"/>
                  </a:cubicBezTo>
                  <a:cubicBezTo>
                    <a:pt x="387320" y="1730064"/>
                    <a:pt x="0" y="1342744"/>
                    <a:pt x="0" y="865032"/>
                  </a:cubicBezTo>
                  <a:cubicBezTo>
                    <a:pt x="0" y="387320"/>
                    <a:pt x="387320" y="0"/>
                    <a:pt x="865032" y="0"/>
                  </a:cubicBezTo>
                  <a:cubicBezTo>
                    <a:pt x="1342744" y="0"/>
                    <a:pt x="1730064" y="387320"/>
                    <a:pt x="1730064" y="865032"/>
                  </a:cubicBezTo>
                  <a:cubicBezTo>
                    <a:pt x="1730064" y="1342744"/>
                    <a:pt x="1342744" y="1730064"/>
                    <a:pt x="865032" y="1730064"/>
                  </a:cubicBezTo>
                  <a:lnTo>
                    <a:pt x="865032" y="1705300"/>
                  </a:lnTo>
                  <a:close/>
                </a:path>
              </a:pathLst>
            </a:custGeom>
            <a:gradFill>
              <a:gsLst>
                <a:gs pos="0">
                  <a:srgbClr val="F3E700"/>
                </a:gs>
                <a:gs pos="33000">
                  <a:srgbClr val="8CC3CA"/>
                </a:gs>
                <a:gs pos="67000">
                  <a:srgbClr val="2878FF"/>
                </a:gs>
                <a:gs pos="100000">
                  <a:srgbClr val="E229E2"/>
                </a:gs>
              </a:gsLst>
              <a:lin ang="0" scaled="1"/>
            </a:gradFill>
            <a:ln w="24685" cap="flat">
              <a:noFill/>
              <a:prstDash val="solid"/>
              <a:miter/>
            </a:ln>
          </p:spPr>
          <p:txBody>
            <a:bodyPr rtlCol="0" anchor="ctr"/>
            <a:lstStyle/>
            <a:p>
              <a:endParaRPr lang="en-DK"/>
            </a:p>
          </p:txBody>
        </p:sp>
        <p:sp>
          <p:nvSpPr>
            <p:cNvPr id="88" name="Freeform 87">
              <a:extLst>
                <a:ext uri="{FF2B5EF4-FFF2-40B4-BE49-F238E27FC236}">
                  <a16:creationId xmlns:a16="http://schemas.microsoft.com/office/drawing/2014/main" id="{39BA899A-C2AD-9D60-CDD3-0392F22DCABC}"/>
                </a:ext>
              </a:extLst>
            </p:cNvPr>
            <p:cNvSpPr/>
            <p:nvPr/>
          </p:nvSpPr>
          <p:spPr>
            <a:xfrm>
              <a:off x="5743440" y="3655559"/>
              <a:ext cx="163265" cy="151130"/>
            </a:xfrm>
            <a:custGeom>
              <a:avLst/>
              <a:gdLst>
                <a:gd name="connsiteX0" fmla="*/ 153151 w 163265"/>
                <a:gd name="connsiteY0" fmla="*/ 13829 h 151130"/>
                <a:gd name="connsiteX1" fmla="*/ 97182 w 163265"/>
                <a:gd name="connsiteY1" fmla="*/ 9619 h 151130"/>
                <a:gd name="connsiteX2" fmla="*/ 42205 w 163265"/>
                <a:gd name="connsiteY2" fmla="*/ 56920 h 151130"/>
                <a:gd name="connsiteX3" fmla="*/ 37499 w 163265"/>
                <a:gd name="connsiteY3" fmla="*/ 61378 h 151130"/>
                <a:gd name="connsiteX4" fmla="*/ 13478 w 163265"/>
                <a:gd name="connsiteY4" fmla="*/ 81932 h 151130"/>
                <a:gd name="connsiteX5" fmla="*/ 10754 w 163265"/>
                <a:gd name="connsiteY5" fmla="*/ 84161 h 151130"/>
                <a:gd name="connsiteX6" fmla="*/ 105 w 163265"/>
                <a:gd name="connsiteY6" fmla="*/ 108431 h 151130"/>
                <a:gd name="connsiteX7" fmla="*/ 9515 w 163265"/>
                <a:gd name="connsiteY7" fmla="*/ 137405 h 151130"/>
                <a:gd name="connsiteX8" fmla="*/ 36756 w 163265"/>
                <a:gd name="connsiteY8" fmla="*/ 151026 h 151130"/>
                <a:gd name="connsiteX9" fmla="*/ 65731 w 163265"/>
                <a:gd name="connsiteY9" fmla="*/ 141615 h 151130"/>
                <a:gd name="connsiteX10" fmla="*/ 149436 w 163265"/>
                <a:gd name="connsiteY10" fmla="*/ 69550 h 151130"/>
                <a:gd name="connsiteX11" fmla="*/ 153646 w 163265"/>
                <a:gd name="connsiteY11" fmla="*/ 13582 h 151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265" h="151130">
                  <a:moveTo>
                    <a:pt x="153151" y="13829"/>
                  </a:moveTo>
                  <a:cubicBezTo>
                    <a:pt x="138787" y="-2763"/>
                    <a:pt x="113775" y="-4744"/>
                    <a:pt x="97182" y="9619"/>
                  </a:cubicBezTo>
                  <a:lnTo>
                    <a:pt x="42205" y="56920"/>
                  </a:lnTo>
                  <a:cubicBezTo>
                    <a:pt x="40719" y="58406"/>
                    <a:pt x="39233" y="60139"/>
                    <a:pt x="37499" y="61378"/>
                  </a:cubicBezTo>
                  <a:lnTo>
                    <a:pt x="13478" y="81932"/>
                  </a:lnTo>
                  <a:cubicBezTo>
                    <a:pt x="13478" y="81932"/>
                    <a:pt x="11496" y="83418"/>
                    <a:pt x="10754" y="84161"/>
                  </a:cubicBezTo>
                  <a:cubicBezTo>
                    <a:pt x="4562" y="90600"/>
                    <a:pt x="848" y="99268"/>
                    <a:pt x="105" y="108431"/>
                  </a:cubicBezTo>
                  <a:cubicBezTo>
                    <a:pt x="-638" y="119079"/>
                    <a:pt x="2581" y="129233"/>
                    <a:pt x="9515" y="137405"/>
                  </a:cubicBezTo>
                  <a:cubicBezTo>
                    <a:pt x="16449" y="145330"/>
                    <a:pt x="26108" y="150283"/>
                    <a:pt x="36756" y="151026"/>
                  </a:cubicBezTo>
                  <a:cubicBezTo>
                    <a:pt x="47405" y="151769"/>
                    <a:pt x="57559" y="148549"/>
                    <a:pt x="65731" y="141615"/>
                  </a:cubicBezTo>
                  <a:lnTo>
                    <a:pt x="149436" y="69550"/>
                  </a:lnTo>
                  <a:cubicBezTo>
                    <a:pt x="166028" y="55186"/>
                    <a:pt x="168010" y="30174"/>
                    <a:pt x="153646" y="13582"/>
                  </a:cubicBezTo>
                </a:path>
              </a:pathLst>
            </a:custGeom>
            <a:solidFill>
              <a:srgbClr val="001965"/>
            </a:solidFill>
            <a:ln w="24685" cap="flat">
              <a:noFill/>
              <a:prstDash val="solid"/>
              <a:miter/>
            </a:ln>
          </p:spPr>
          <p:txBody>
            <a:bodyPr rtlCol="0" anchor="ctr"/>
            <a:lstStyle/>
            <a:p>
              <a:endParaRPr lang="en-DK"/>
            </a:p>
          </p:txBody>
        </p:sp>
        <p:sp>
          <p:nvSpPr>
            <p:cNvPr id="89" name="Freeform 88">
              <a:extLst>
                <a:ext uri="{FF2B5EF4-FFF2-40B4-BE49-F238E27FC236}">
                  <a16:creationId xmlns:a16="http://schemas.microsoft.com/office/drawing/2014/main" id="{A7F5FEEA-BAF5-5B3C-DB40-090EAEA687B8}"/>
                </a:ext>
              </a:extLst>
            </p:cNvPr>
            <p:cNvSpPr/>
            <p:nvPr/>
          </p:nvSpPr>
          <p:spPr>
            <a:xfrm>
              <a:off x="5676471" y="3630403"/>
              <a:ext cx="103582" cy="100148"/>
            </a:xfrm>
            <a:custGeom>
              <a:avLst/>
              <a:gdLst>
                <a:gd name="connsiteX0" fmla="*/ 103478 w 103582"/>
                <a:gd name="connsiteY0" fmla="*/ 42700 h 100148"/>
                <a:gd name="connsiteX1" fmla="*/ 94067 w 103582"/>
                <a:gd name="connsiteY1" fmla="*/ 13725 h 100148"/>
                <a:gd name="connsiteX2" fmla="*/ 66826 w 103582"/>
                <a:gd name="connsiteY2" fmla="*/ 105 h 100148"/>
                <a:gd name="connsiteX3" fmla="*/ 37851 w 103582"/>
                <a:gd name="connsiteY3" fmla="*/ 9515 h 100148"/>
                <a:gd name="connsiteX4" fmla="*/ 13829 w 103582"/>
                <a:gd name="connsiteY4" fmla="*/ 30318 h 100148"/>
                <a:gd name="connsiteX5" fmla="*/ 9619 w 103582"/>
                <a:gd name="connsiteY5" fmla="*/ 86286 h 100148"/>
                <a:gd name="connsiteX6" fmla="*/ 62616 w 103582"/>
                <a:gd name="connsiteY6" fmla="*/ 92972 h 100148"/>
                <a:gd name="connsiteX7" fmla="*/ 65835 w 103582"/>
                <a:gd name="connsiteY7" fmla="*/ 90001 h 100148"/>
                <a:gd name="connsiteX8" fmla="*/ 93324 w 103582"/>
                <a:gd name="connsiteY8" fmla="*/ 66474 h 100148"/>
                <a:gd name="connsiteX9" fmla="*/ 103230 w 103582"/>
                <a:gd name="connsiteY9" fmla="*/ 42948 h 10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582" h="100148">
                  <a:moveTo>
                    <a:pt x="103478" y="42700"/>
                  </a:moveTo>
                  <a:cubicBezTo>
                    <a:pt x="104221" y="32051"/>
                    <a:pt x="101001" y="21898"/>
                    <a:pt x="94067" y="13725"/>
                  </a:cubicBezTo>
                  <a:cubicBezTo>
                    <a:pt x="87133" y="5801"/>
                    <a:pt x="77475" y="848"/>
                    <a:pt x="66826" y="105"/>
                  </a:cubicBezTo>
                  <a:cubicBezTo>
                    <a:pt x="56177" y="-638"/>
                    <a:pt x="46023" y="2581"/>
                    <a:pt x="37851" y="9515"/>
                  </a:cubicBezTo>
                  <a:lnTo>
                    <a:pt x="13829" y="30318"/>
                  </a:lnTo>
                  <a:cubicBezTo>
                    <a:pt x="-2763" y="44681"/>
                    <a:pt x="-4744" y="69694"/>
                    <a:pt x="9619" y="86286"/>
                  </a:cubicBezTo>
                  <a:cubicBezTo>
                    <a:pt x="22992" y="101888"/>
                    <a:pt x="46023" y="104612"/>
                    <a:pt x="62616" y="92972"/>
                  </a:cubicBezTo>
                  <a:cubicBezTo>
                    <a:pt x="63606" y="91982"/>
                    <a:pt x="64845" y="90991"/>
                    <a:pt x="65835" y="90001"/>
                  </a:cubicBezTo>
                  <a:lnTo>
                    <a:pt x="93324" y="66474"/>
                  </a:lnTo>
                  <a:cubicBezTo>
                    <a:pt x="99020" y="60035"/>
                    <a:pt x="102487" y="51863"/>
                    <a:pt x="103230" y="42948"/>
                  </a:cubicBezTo>
                </a:path>
              </a:pathLst>
            </a:custGeom>
            <a:solidFill>
              <a:srgbClr val="001965"/>
            </a:solidFill>
            <a:ln w="24685" cap="flat">
              <a:noFill/>
              <a:prstDash val="solid"/>
              <a:miter/>
            </a:ln>
          </p:spPr>
          <p:txBody>
            <a:bodyPr rtlCol="0" anchor="ctr"/>
            <a:lstStyle/>
            <a:p>
              <a:endParaRPr lang="en-DK"/>
            </a:p>
          </p:txBody>
        </p:sp>
      </p:grpSp>
      <p:sp>
        <p:nvSpPr>
          <p:cNvPr id="90" name="Freeform 89">
            <a:extLst>
              <a:ext uri="{FF2B5EF4-FFF2-40B4-BE49-F238E27FC236}">
                <a16:creationId xmlns:a16="http://schemas.microsoft.com/office/drawing/2014/main" id="{86FC648F-0450-5B56-B973-D86B36E7BB65}"/>
              </a:ext>
            </a:extLst>
          </p:cNvPr>
          <p:cNvSpPr/>
          <p:nvPr/>
        </p:nvSpPr>
        <p:spPr>
          <a:xfrm rot="18000001">
            <a:off x="5458848" y="3357478"/>
            <a:ext cx="353392" cy="139920"/>
          </a:xfrm>
          <a:custGeom>
            <a:avLst/>
            <a:gdLst>
              <a:gd name="connsiteX0" fmla="*/ 0 w 353392"/>
              <a:gd name="connsiteY0" fmla="*/ 0 h 139920"/>
              <a:gd name="connsiteX1" fmla="*/ 353393 w 353392"/>
              <a:gd name="connsiteY1" fmla="*/ 0 h 139920"/>
              <a:gd name="connsiteX2" fmla="*/ 353393 w 353392"/>
              <a:gd name="connsiteY2" fmla="*/ 139921 h 139920"/>
              <a:gd name="connsiteX3" fmla="*/ 0 w 353392"/>
              <a:gd name="connsiteY3" fmla="*/ 139921 h 139920"/>
            </a:gdLst>
            <a:ahLst/>
            <a:cxnLst>
              <a:cxn ang="0">
                <a:pos x="connsiteX0" y="connsiteY0"/>
              </a:cxn>
              <a:cxn ang="0">
                <a:pos x="connsiteX1" y="connsiteY1"/>
              </a:cxn>
              <a:cxn ang="0">
                <a:pos x="connsiteX2" y="connsiteY2"/>
              </a:cxn>
              <a:cxn ang="0">
                <a:pos x="connsiteX3" y="connsiteY3"/>
              </a:cxn>
            </a:cxnLst>
            <a:rect l="l" t="t" r="r" b="b"/>
            <a:pathLst>
              <a:path w="353392" h="139920">
                <a:moveTo>
                  <a:pt x="0" y="0"/>
                </a:moveTo>
                <a:lnTo>
                  <a:pt x="353393" y="0"/>
                </a:lnTo>
                <a:lnTo>
                  <a:pt x="353393" y="139921"/>
                </a:lnTo>
                <a:lnTo>
                  <a:pt x="0" y="139921"/>
                </a:lnTo>
                <a:close/>
              </a:path>
            </a:pathLst>
          </a:custGeom>
          <a:solidFill>
            <a:srgbClr val="001965"/>
          </a:solidFill>
          <a:ln w="24685" cap="flat">
            <a:noFill/>
            <a:prstDash val="solid"/>
            <a:miter/>
          </a:ln>
        </p:spPr>
        <p:txBody>
          <a:bodyPr rtlCol="0" anchor="ctr"/>
          <a:lstStyle/>
          <a:p>
            <a:endParaRPr lang="en-DK"/>
          </a:p>
        </p:txBody>
      </p:sp>
      <p:grpSp>
        <p:nvGrpSpPr>
          <p:cNvPr id="154" name="Graphic 49">
            <a:extLst>
              <a:ext uri="{FF2B5EF4-FFF2-40B4-BE49-F238E27FC236}">
                <a16:creationId xmlns:a16="http://schemas.microsoft.com/office/drawing/2014/main" id="{CC42719F-905A-5244-BB44-EAAC2A3C95F9}"/>
              </a:ext>
            </a:extLst>
          </p:cNvPr>
          <p:cNvGrpSpPr/>
          <p:nvPr/>
        </p:nvGrpSpPr>
        <p:grpSpPr>
          <a:xfrm>
            <a:off x="8894600" y="2710992"/>
            <a:ext cx="1730064" cy="1730066"/>
            <a:chOff x="8894600" y="2710992"/>
            <a:chExt cx="1730064" cy="1730066"/>
          </a:xfrm>
        </p:grpSpPr>
        <p:sp>
          <p:nvSpPr>
            <p:cNvPr id="155" name="Freeform 154">
              <a:extLst>
                <a:ext uri="{FF2B5EF4-FFF2-40B4-BE49-F238E27FC236}">
                  <a16:creationId xmlns:a16="http://schemas.microsoft.com/office/drawing/2014/main" id="{5082367F-775A-30E3-79F9-F4F96A111635}"/>
                </a:ext>
              </a:extLst>
            </p:cNvPr>
            <p:cNvSpPr/>
            <p:nvPr/>
          </p:nvSpPr>
          <p:spPr>
            <a:xfrm>
              <a:off x="8919365" y="2735757"/>
              <a:ext cx="1680534" cy="1680784"/>
            </a:xfrm>
            <a:custGeom>
              <a:avLst/>
              <a:gdLst>
                <a:gd name="connsiteX0" fmla="*/ 840267 w 1680534"/>
                <a:gd name="connsiteY0" fmla="*/ 1680784 h 1680784"/>
                <a:gd name="connsiteX1" fmla="*/ 1680535 w 1680534"/>
                <a:gd name="connsiteY1" fmla="*/ 840516 h 1680784"/>
                <a:gd name="connsiteX2" fmla="*/ 840267 w 1680534"/>
                <a:gd name="connsiteY2" fmla="*/ 0 h 1680784"/>
                <a:gd name="connsiteX3" fmla="*/ 0 w 1680534"/>
                <a:gd name="connsiteY3" fmla="*/ 840268 h 1680784"/>
                <a:gd name="connsiteX4" fmla="*/ 840267 w 1680534"/>
                <a:gd name="connsiteY4" fmla="*/ 1680537 h 16807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534" h="1680784">
                  <a:moveTo>
                    <a:pt x="840267" y="1680784"/>
                  </a:moveTo>
                  <a:cubicBezTo>
                    <a:pt x="1304358" y="1680784"/>
                    <a:pt x="1680535" y="1304608"/>
                    <a:pt x="1680535" y="840516"/>
                  </a:cubicBezTo>
                  <a:cubicBezTo>
                    <a:pt x="1680535" y="376424"/>
                    <a:pt x="1304358" y="0"/>
                    <a:pt x="840267" y="0"/>
                  </a:cubicBezTo>
                  <a:cubicBezTo>
                    <a:pt x="376176" y="0"/>
                    <a:pt x="0" y="376177"/>
                    <a:pt x="0" y="840268"/>
                  </a:cubicBezTo>
                  <a:cubicBezTo>
                    <a:pt x="0" y="1304360"/>
                    <a:pt x="376176" y="1680537"/>
                    <a:pt x="840267" y="1680537"/>
                  </a:cubicBezTo>
                </a:path>
              </a:pathLst>
            </a:custGeom>
            <a:solidFill>
              <a:srgbClr val="001965"/>
            </a:solidFill>
            <a:ln w="24685" cap="flat">
              <a:noFill/>
              <a:prstDash val="solid"/>
              <a:miter/>
            </a:ln>
          </p:spPr>
          <p:txBody>
            <a:bodyPr rtlCol="0" anchor="ctr"/>
            <a:lstStyle/>
            <a:p>
              <a:endParaRPr lang="en-DK"/>
            </a:p>
          </p:txBody>
        </p:sp>
        <p:sp>
          <p:nvSpPr>
            <p:cNvPr id="156" name="Freeform 155">
              <a:extLst>
                <a:ext uri="{FF2B5EF4-FFF2-40B4-BE49-F238E27FC236}">
                  <a16:creationId xmlns:a16="http://schemas.microsoft.com/office/drawing/2014/main" id="{54C05AC6-C303-A2EE-754C-C7E5F5573FA9}"/>
                </a:ext>
              </a:extLst>
            </p:cNvPr>
            <p:cNvSpPr/>
            <p:nvPr/>
          </p:nvSpPr>
          <p:spPr>
            <a:xfrm>
              <a:off x="8894600" y="2710992"/>
              <a:ext cx="1730064" cy="1730066"/>
            </a:xfrm>
            <a:custGeom>
              <a:avLst/>
              <a:gdLst>
                <a:gd name="connsiteX0" fmla="*/ 865032 w 1730064"/>
                <a:gd name="connsiteY0" fmla="*/ 1705549 h 1730066"/>
                <a:gd name="connsiteX1" fmla="*/ 865032 w 1730064"/>
                <a:gd name="connsiteY1" fmla="*/ 1680784 h 1730066"/>
                <a:gd name="connsiteX2" fmla="*/ 1680535 w 1730064"/>
                <a:gd name="connsiteY2" fmla="*/ 865281 h 1730066"/>
                <a:gd name="connsiteX3" fmla="*/ 865032 w 1730064"/>
                <a:gd name="connsiteY3" fmla="*/ 49777 h 1730066"/>
                <a:gd name="connsiteX4" fmla="*/ 49529 w 1730064"/>
                <a:gd name="connsiteY4" fmla="*/ 865033 h 1730066"/>
                <a:gd name="connsiteX5" fmla="*/ 865032 w 1730064"/>
                <a:gd name="connsiteY5" fmla="*/ 1680537 h 1730066"/>
                <a:gd name="connsiteX6" fmla="*/ 865032 w 1730064"/>
                <a:gd name="connsiteY6" fmla="*/ 1705301 h 1730066"/>
                <a:gd name="connsiteX7" fmla="*/ 865032 w 1730064"/>
                <a:gd name="connsiteY7" fmla="*/ 1730066 h 1730066"/>
                <a:gd name="connsiteX8" fmla="*/ 0 w 1730064"/>
                <a:gd name="connsiteY8" fmla="*/ 865033 h 1730066"/>
                <a:gd name="connsiteX9" fmla="*/ 865032 w 1730064"/>
                <a:gd name="connsiteY9" fmla="*/ 0 h 1730066"/>
                <a:gd name="connsiteX10" fmla="*/ 1730064 w 1730064"/>
                <a:gd name="connsiteY10" fmla="*/ 865033 h 1730066"/>
                <a:gd name="connsiteX11" fmla="*/ 865032 w 1730064"/>
                <a:gd name="connsiteY11" fmla="*/ 1730066 h 1730066"/>
                <a:gd name="connsiteX12" fmla="*/ 865032 w 1730064"/>
                <a:gd name="connsiteY12" fmla="*/ 1705301 h 173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30064" h="1730066">
                  <a:moveTo>
                    <a:pt x="865032" y="1705549"/>
                  </a:moveTo>
                  <a:lnTo>
                    <a:pt x="865032" y="1680784"/>
                  </a:lnTo>
                  <a:cubicBezTo>
                    <a:pt x="1315503" y="1680041"/>
                    <a:pt x="1679792" y="1315752"/>
                    <a:pt x="1680535" y="865281"/>
                  </a:cubicBezTo>
                  <a:cubicBezTo>
                    <a:pt x="1679792" y="414810"/>
                    <a:pt x="1315503" y="50520"/>
                    <a:pt x="865032" y="49777"/>
                  </a:cubicBezTo>
                  <a:cubicBezTo>
                    <a:pt x="414562" y="50272"/>
                    <a:pt x="50272" y="414562"/>
                    <a:pt x="49529" y="865033"/>
                  </a:cubicBezTo>
                  <a:cubicBezTo>
                    <a:pt x="50272" y="1315504"/>
                    <a:pt x="414562" y="1679794"/>
                    <a:pt x="865032" y="1680537"/>
                  </a:cubicBezTo>
                  <a:lnTo>
                    <a:pt x="865032" y="1705301"/>
                  </a:lnTo>
                  <a:cubicBezTo>
                    <a:pt x="865032" y="1705301"/>
                    <a:pt x="865032" y="1730066"/>
                    <a:pt x="865032" y="1730066"/>
                  </a:cubicBezTo>
                  <a:cubicBezTo>
                    <a:pt x="387320" y="1730066"/>
                    <a:pt x="0" y="1342745"/>
                    <a:pt x="0" y="865033"/>
                  </a:cubicBezTo>
                  <a:cubicBezTo>
                    <a:pt x="0" y="387321"/>
                    <a:pt x="387320" y="0"/>
                    <a:pt x="865032" y="0"/>
                  </a:cubicBezTo>
                  <a:cubicBezTo>
                    <a:pt x="1342744" y="0"/>
                    <a:pt x="1730064" y="387321"/>
                    <a:pt x="1730064" y="865033"/>
                  </a:cubicBezTo>
                  <a:cubicBezTo>
                    <a:pt x="1730064" y="1342745"/>
                    <a:pt x="1342744" y="1730066"/>
                    <a:pt x="865032" y="1730066"/>
                  </a:cubicBezTo>
                  <a:lnTo>
                    <a:pt x="865032" y="1705301"/>
                  </a:lnTo>
                  <a:close/>
                </a:path>
              </a:pathLst>
            </a:custGeom>
            <a:gradFill>
              <a:gsLst>
                <a:gs pos="0">
                  <a:srgbClr val="F3E700"/>
                </a:gs>
                <a:gs pos="33000">
                  <a:srgbClr val="8CC3CA"/>
                </a:gs>
                <a:gs pos="67000">
                  <a:srgbClr val="2878FF"/>
                </a:gs>
                <a:gs pos="100000">
                  <a:srgbClr val="E229E2"/>
                </a:gs>
              </a:gsLst>
              <a:lin ang="0" scaled="1"/>
            </a:gradFill>
            <a:ln w="24685" cap="flat">
              <a:noFill/>
              <a:prstDash val="solid"/>
              <a:miter/>
            </a:ln>
          </p:spPr>
          <p:txBody>
            <a:bodyPr rtlCol="0" anchor="ctr"/>
            <a:lstStyle/>
            <a:p>
              <a:endParaRPr lang="en-DK"/>
            </a:p>
          </p:txBody>
        </p:sp>
      </p:grpSp>
      <p:grpSp>
        <p:nvGrpSpPr>
          <p:cNvPr id="167" name="Graphic 12">
            <a:extLst>
              <a:ext uri="{FF2B5EF4-FFF2-40B4-BE49-F238E27FC236}">
                <a16:creationId xmlns:a16="http://schemas.microsoft.com/office/drawing/2014/main" id="{0BF61425-138F-107B-4ED1-3DFF5FF7144B}"/>
              </a:ext>
            </a:extLst>
          </p:cNvPr>
          <p:cNvGrpSpPr/>
          <p:nvPr/>
        </p:nvGrpSpPr>
        <p:grpSpPr>
          <a:xfrm>
            <a:off x="9347607" y="3144279"/>
            <a:ext cx="827522" cy="739415"/>
            <a:chOff x="9197848" y="2161070"/>
            <a:chExt cx="540646" cy="483083"/>
          </a:xfrm>
        </p:grpSpPr>
        <p:sp>
          <p:nvSpPr>
            <p:cNvPr id="168" name="Freeform 167">
              <a:extLst>
                <a:ext uri="{FF2B5EF4-FFF2-40B4-BE49-F238E27FC236}">
                  <a16:creationId xmlns:a16="http://schemas.microsoft.com/office/drawing/2014/main" id="{13F9A83D-B633-2D9F-AD3D-651CDD03C4FA}"/>
                </a:ext>
              </a:extLst>
            </p:cNvPr>
            <p:cNvSpPr/>
            <p:nvPr/>
          </p:nvSpPr>
          <p:spPr>
            <a:xfrm>
              <a:off x="9197848" y="2249152"/>
              <a:ext cx="540646" cy="395001"/>
            </a:xfrm>
            <a:custGeom>
              <a:avLst/>
              <a:gdLst>
                <a:gd name="connsiteX0" fmla="*/ 533547 w 540646"/>
                <a:gd name="connsiteY0" fmla="*/ 395002 h 395001"/>
                <a:gd name="connsiteX1" fmla="*/ 7099 w 540646"/>
                <a:gd name="connsiteY1" fmla="*/ 395002 h 395001"/>
                <a:gd name="connsiteX2" fmla="*/ 0 w 540646"/>
                <a:gd name="connsiteY2" fmla="*/ 387858 h 395001"/>
                <a:gd name="connsiteX3" fmla="*/ 0 w 540646"/>
                <a:gd name="connsiteY3" fmla="*/ 7144 h 395001"/>
                <a:gd name="connsiteX4" fmla="*/ 7099 w 540646"/>
                <a:gd name="connsiteY4" fmla="*/ 0 h 395001"/>
                <a:gd name="connsiteX5" fmla="*/ 14198 w 540646"/>
                <a:gd name="connsiteY5" fmla="*/ 7144 h 395001"/>
                <a:gd name="connsiteX6" fmla="*/ 14198 w 540646"/>
                <a:gd name="connsiteY6" fmla="*/ 380619 h 395001"/>
                <a:gd name="connsiteX7" fmla="*/ 533547 w 540646"/>
                <a:gd name="connsiteY7" fmla="*/ 380619 h 395001"/>
                <a:gd name="connsiteX8" fmla="*/ 540646 w 540646"/>
                <a:gd name="connsiteY8" fmla="*/ 387763 h 395001"/>
                <a:gd name="connsiteX9" fmla="*/ 533547 w 540646"/>
                <a:gd name="connsiteY9" fmla="*/ 394907 h 39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646" h="395001">
                  <a:moveTo>
                    <a:pt x="533547" y="395002"/>
                  </a:moveTo>
                  <a:lnTo>
                    <a:pt x="7099" y="395002"/>
                  </a:lnTo>
                  <a:cubicBezTo>
                    <a:pt x="3218" y="395002"/>
                    <a:pt x="0" y="391763"/>
                    <a:pt x="0" y="387858"/>
                  </a:cubicBezTo>
                  <a:lnTo>
                    <a:pt x="0" y="7144"/>
                  </a:lnTo>
                  <a:cubicBezTo>
                    <a:pt x="0" y="3239"/>
                    <a:pt x="3218" y="0"/>
                    <a:pt x="7099" y="0"/>
                  </a:cubicBezTo>
                  <a:cubicBezTo>
                    <a:pt x="10980" y="0"/>
                    <a:pt x="14198" y="3239"/>
                    <a:pt x="14198" y="7144"/>
                  </a:cubicBezTo>
                  <a:lnTo>
                    <a:pt x="14198" y="380619"/>
                  </a:lnTo>
                  <a:lnTo>
                    <a:pt x="533547" y="380619"/>
                  </a:lnTo>
                  <a:cubicBezTo>
                    <a:pt x="537428" y="380619"/>
                    <a:pt x="540646" y="383858"/>
                    <a:pt x="540646" y="387763"/>
                  </a:cubicBezTo>
                  <a:cubicBezTo>
                    <a:pt x="540646" y="391668"/>
                    <a:pt x="537428" y="394907"/>
                    <a:pt x="533547" y="394907"/>
                  </a:cubicBezTo>
                  <a:close/>
                </a:path>
              </a:pathLst>
            </a:custGeom>
            <a:solidFill>
              <a:srgbClr val="FFFFFF"/>
            </a:solidFill>
            <a:ln w="9435" cap="flat">
              <a:noFill/>
              <a:prstDash val="solid"/>
              <a:miter/>
            </a:ln>
          </p:spPr>
          <p:txBody>
            <a:bodyPr rtlCol="0" anchor="ctr"/>
            <a:lstStyle/>
            <a:p>
              <a:endParaRPr lang="en-DK"/>
            </a:p>
          </p:txBody>
        </p:sp>
        <p:sp>
          <p:nvSpPr>
            <p:cNvPr id="169" name="Freeform 168">
              <a:extLst>
                <a:ext uri="{FF2B5EF4-FFF2-40B4-BE49-F238E27FC236}">
                  <a16:creationId xmlns:a16="http://schemas.microsoft.com/office/drawing/2014/main" id="{68613A3D-9263-B297-26C4-270AD5F87428}"/>
                </a:ext>
              </a:extLst>
            </p:cNvPr>
            <p:cNvSpPr/>
            <p:nvPr/>
          </p:nvSpPr>
          <p:spPr>
            <a:xfrm>
              <a:off x="9236387" y="2167166"/>
              <a:ext cx="483153" cy="269628"/>
            </a:xfrm>
            <a:custGeom>
              <a:avLst/>
              <a:gdLst>
                <a:gd name="connsiteX0" fmla="*/ 7083 w 483153"/>
                <a:gd name="connsiteY0" fmla="*/ 269629 h 269628"/>
                <a:gd name="connsiteX1" fmla="*/ 174 w 483153"/>
                <a:gd name="connsiteY1" fmla="*/ 264104 h 269628"/>
                <a:gd name="connsiteX2" fmla="*/ 5474 w 483153"/>
                <a:gd name="connsiteY2" fmla="*/ 255532 h 269628"/>
                <a:gd name="connsiteX3" fmla="*/ 471062 w 483153"/>
                <a:gd name="connsiteY3" fmla="*/ 2072 h 269628"/>
                <a:gd name="connsiteX4" fmla="*/ 481095 w 483153"/>
                <a:gd name="connsiteY4" fmla="*/ 2072 h 269628"/>
                <a:gd name="connsiteX5" fmla="*/ 481095 w 483153"/>
                <a:gd name="connsiteY5" fmla="*/ 12168 h 269628"/>
                <a:gd name="connsiteX6" fmla="*/ 8692 w 483153"/>
                <a:gd name="connsiteY6" fmla="*/ 269438 h 269628"/>
                <a:gd name="connsiteX7" fmla="*/ 7083 w 483153"/>
                <a:gd name="connsiteY7" fmla="*/ 269629 h 269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3153" h="269628">
                  <a:moveTo>
                    <a:pt x="7083" y="269629"/>
                  </a:moveTo>
                  <a:cubicBezTo>
                    <a:pt x="3865" y="269629"/>
                    <a:pt x="931" y="267438"/>
                    <a:pt x="174" y="264104"/>
                  </a:cubicBezTo>
                  <a:cubicBezTo>
                    <a:pt x="-678" y="260294"/>
                    <a:pt x="1688" y="256389"/>
                    <a:pt x="5474" y="255532"/>
                  </a:cubicBezTo>
                  <a:cubicBezTo>
                    <a:pt x="257340" y="196191"/>
                    <a:pt x="414934" y="58555"/>
                    <a:pt x="471062" y="2072"/>
                  </a:cubicBezTo>
                  <a:cubicBezTo>
                    <a:pt x="473807" y="-691"/>
                    <a:pt x="478350" y="-691"/>
                    <a:pt x="481095" y="2072"/>
                  </a:cubicBezTo>
                  <a:cubicBezTo>
                    <a:pt x="483840" y="4834"/>
                    <a:pt x="483840" y="9406"/>
                    <a:pt x="481095" y="12168"/>
                  </a:cubicBezTo>
                  <a:cubicBezTo>
                    <a:pt x="424210" y="69509"/>
                    <a:pt x="264155" y="209240"/>
                    <a:pt x="8692" y="269438"/>
                  </a:cubicBezTo>
                  <a:cubicBezTo>
                    <a:pt x="8124" y="269534"/>
                    <a:pt x="7556" y="269629"/>
                    <a:pt x="7083" y="269629"/>
                  </a:cubicBezTo>
                  <a:close/>
                </a:path>
              </a:pathLst>
            </a:custGeom>
            <a:solidFill>
              <a:srgbClr val="FFFFFF"/>
            </a:solidFill>
            <a:ln w="9435" cap="flat">
              <a:noFill/>
              <a:prstDash val="solid"/>
              <a:miter/>
            </a:ln>
          </p:spPr>
          <p:txBody>
            <a:bodyPr rtlCol="0" anchor="ctr"/>
            <a:lstStyle/>
            <a:p>
              <a:endParaRPr lang="en-DK"/>
            </a:p>
          </p:txBody>
        </p:sp>
        <p:sp>
          <p:nvSpPr>
            <p:cNvPr id="170" name="Freeform 169">
              <a:extLst>
                <a:ext uri="{FF2B5EF4-FFF2-40B4-BE49-F238E27FC236}">
                  <a16:creationId xmlns:a16="http://schemas.microsoft.com/office/drawing/2014/main" id="{EF73C13D-8E84-21D1-1BE8-520378ED15F1}"/>
                </a:ext>
              </a:extLst>
            </p:cNvPr>
            <p:cNvSpPr/>
            <p:nvPr/>
          </p:nvSpPr>
          <p:spPr>
            <a:xfrm>
              <a:off x="9650512" y="2161070"/>
              <a:ext cx="69182" cy="75794"/>
            </a:xfrm>
            <a:custGeom>
              <a:avLst/>
              <a:gdLst>
                <a:gd name="connsiteX0" fmla="*/ 55896 w 69182"/>
                <a:gd name="connsiteY0" fmla="*/ 75699 h 75794"/>
                <a:gd name="connsiteX1" fmla="*/ 55138 w 69182"/>
                <a:gd name="connsiteY1" fmla="*/ 75699 h 75794"/>
                <a:gd name="connsiteX2" fmla="*/ 48891 w 69182"/>
                <a:gd name="connsiteY2" fmla="*/ 67794 h 75794"/>
                <a:gd name="connsiteX3" fmla="*/ 54192 w 69182"/>
                <a:gd name="connsiteY3" fmla="*/ 19597 h 75794"/>
                <a:gd name="connsiteX4" fmla="*/ 6299 w 69182"/>
                <a:gd name="connsiteY4" fmla="*/ 14263 h 75794"/>
                <a:gd name="connsiteX5" fmla="*/ 52 w 69182"/>
                <a:gd name="connsiteY5" fmla="*/ 6357 h 75794"/>
                <a:gd name="connsiteX6" fmla="*/ 7908 w 69182"/>
                <a:gd name="connsiteY6" fmla="*/ 71 h 75794"/>
                <a:gd name="connsiteX7" fmla="*/ 62900 w 69182"/>
                <a:gd name="connsiteY7" fmla="*/ 6167 h 75794"/>
                <a:gd name="connsiteX8" fmla="*/ 67632 w 69182"/>
                <a:gd name="connsiteY8" fmla="*/ 8834 h 75794"/>
                <a:gd name="connsiteX9" fmla="*/ 69147 w 69182"/>
                <a:gd name="connsiteY9" fmla="*/ 14073 h 75794"/>
                <a:gd name="connsiteX10" fmla="*/ 63089 w 69182"/>
                <a:gd name="connsiteY10" fmla="*/ 69413 h 75794"/>
                <a:gd name="connsiteX11" fmla="*/ 56085 w 69182"/>
                <a:gd name="connsiteY11" fmla="*/ 75795 h 75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182" h="75794">
                  <a:moveTo>
                    <a:pt x="55896" y="75699"/>
                  </a:moveTo>
                  <a:cubicBezTo>
                    <a:pt x="55896" y="75699"/>
                    <a:pt x="55328" y="75699"/>
                    <a:pt x="55138" y="75699"/>
                  </a:cubicBezTo>
                  <a:cubicBezTo>
                    <a:pt x="51258" y="75318"/>
                    <a:pt x="48418" y="71699"/>
                    <a:pt x="48891" y="67794"/>
                  </a:cubicBezTo>
                  <a:lnTo>
                    <a:pt x="54192" y="19597"/>
                  </a:lnTo>
                  <a:lnTo>
                    <a:pt x="6299" y="14263"/>
                  </a:lnTo>
                  <a:cubicBezTo>
                    <a:pt x="2418" y="13882"/>
                    <a:pt x="-422" y="10263"/>
                    <a:pt x="52" y="6357"/>
                  </a:cubicBezTo>
                  <a:cubicBezTo>
                    <a:pt x="525" y="2452"/>
                    <a:pt x="4122" y="-501"/>
                    <a:pt x="7908" y="71"/>
                  </a:cubicBezTo>
                  <a:lnTo>
                    <a:pt x="62900" y="6167"/>
                  </a:lnTo>
                  <a:cubicBezTo>
                    <a:pt x="64793" y="6357"/>
                    <a:pt x="66497" y="7310"/>
                    <a:pt x="67632" y="8834"/>
                  </a:cubicBezTo>
                  <a:cubicBezTo>
                    <a:pt x="68768" y="10358"/>
                    <a:pt x="69336" y="12168"/>
                    <a:pt x="69147" y="14073"/>
                  </a:cubicBezTo>
                  <a:lnTo>
                    <a:pt x="63089" y="69413"/>
                  </a:lnTo>
                  <a:cubicBezTo>
                    <a:pt x="62711" y="73032"/>
                    <a:pt x="59587" y="75795"/>
                    <a:pt x="56085" y="75795"/>
                  </a:cubicBezTo>
                  <a:close/>
                </a:path>
              </a:pathLst>
            </a:custGeom>
            <a:solidFill>
              <a:srgbClr val="FFFFFF"/>
            </a:solidFill>
            <a:ln w="9435" cap="flat">
              <a:noFill/>
              <a:prstDash val="solid"/>
              <a:miter/>
            </a:ln>
          </p:spPr>
          <p:txBody>
            <a:bodyPr rtlCol="0" anchor="ctr"/>
            <a:lstStyle/>
            <a:p>
              <a:endParaRPr lang="en-DK"/>
            </a:p>
          </p:txBody>
        </p:sp>
        <p:grpSp>
          <p:nvGrpSpPr>
            <p:cNvPr id="171" name="Graphic 12">
              <a:extLst>
                <a:ext uri="{FF2B5EF4-FFF2-40B4-BE49-F238E27FC236}">
                  <a16:creationId xmlns:a16="http://schemas.microsoft.com/office/drawing/2014/main" id="{A8949A46-ADA1-AD71-3F02-9B5FAD366F0C}"/>
                </a:ext>
              </a:extLst>
            </p:cNvPr>
            <p:cNvGrpSpPr/>
            <p:nvPr/>
          </p:nvGrpSpPr>
          <p:grpSpPr>
            <a:xfrm>
              <a:off x="9240157" y="2275455"/>
              <a:ext cx="460666" cy="331741"/>
              <a:chOff x="9240157" y="2275455"/>
              <a:chExt cx="460666" cy="331741"/>
            </a:xfrm>
          </p:grpSpPr>
          <p:grpSp>
            <p:nvGrpSpPr>
              <p:cNvPr id="172" name="Graphic 12">
                <a:extLst>
                  <a:ext uri="{FF2B5EF4-FFF2-40B4-BE49-F238E27FC236}">
                    <a16:creationId xmlns:a16="http://schemas.microsoft.com/office/drawing/2014/main" id="{66012436-FF8F-18A7-88F2-8CB39D336F6B}"/>
                  </a:ext>
                </a:extLst>
              </p:cNvPr>
              <p:cNvGrpSpPr/>
              <p:nvPr/>
            </p:nvGrpSpPr>
            <p:grpSpPr>
              <a:xfrm>
                <a:off x="9625670" y="2275455"/>
                <a:ext cx="75152" cy="331646"/>
                <a:chOff x="9625670" y="2275455"/>
                <a:chExt cx="75152" cy="331646"/>
              </a:xfrm>
            </p:grpSpPr>
            <p:sp>
              <p:nvSpPr>
                <p:cNvPr id="185" name="Freeform 184">
                  <a:extLst>
                    <a:ext uri="{FF2B5EF4-FFF2-40B4-BE49-F238E27FC236}">
                      <a16:creationId xmlns:a16="http://schemas.microsoft.com/office/drawing/2014/main" id="{4141E091-A322-5D50-846B-1B2A78305EBE}"/>
                    </a:ext>
                  </a:extLst>
                </p:cNvPr>
                <p:cNvSpPr/>
                <p:nvPr/>
              </p:nvSpPr>
              <p:spPr>
                <a:xfrm>
                  <a:off x="9632769" y="2282585"/>
                  <a:ext cx="60860" cy="317372"/>
                </a:xfrm>
                <a:custGeom>
                  <a:avLst/>
                  <a:gdLst>
                    <a:gd name="connsiteX0" fmla="*/ 60861 w 60860"/>
                    <a:gd name="connsiteY0" fmla="*/ 0 h 317372"/>
                    <a:gd name="connsiteX1" fmla="*/ 0 w 60860"/>
                    <a:gd name="connsiteY1" fmla="*/ 48387 h 317372"/>
                    <a:gd name="connsiteX2" fmla="*/ 0 w 60860"/>
                    <a:gd name="connsiteY2" fmla="*/ 317373 h 317372"/>
                    <a:gd name="connsiteX3" fmla="*/ 60861 w 60860"/>
                    <a:gd name="connsiteY3" fmla="*/ 317373 h 317372"/>
                    <a:gd name="connsiteX4" fmla="*/ 60861 w 60860"/>
                    <a:gd name="connsiteY4" fmla="*/ 0 h 317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60" h="317372">
                      <a:moveTo>
                        <a:pt x="60861" y="0"/>
                      </a:moveTo>
                      <a:cubicBezTo>
                        <a:pt x="54140" y="7810"/>
                        <a:pt x="23852" y="32576"/>
                        <a:pt x="0" y="48387"/>
                      </a:cubicBezTo>
                      <a:lnTo>
                        <a:pt x="0" y="317373"/>
                      </a:lnTo>
                      <a:lnTo>
                        <a:pt x="60861" y="317373"/>
                      </a:lnTo>
                      <a:lnTo>
                        <a:pt x="60861" y="0"/>
                      </a:lnTo>
                      <a:close/>
                    </a:path>
                  </a:pathLst>
                </a:custGeom>
                <a:solidFill>
                  <a:srgbClr val="2878FF">
                    <a:alpha val="50000"/>
                  </a:srgbClr>
                </a:solidFill>
                <a:ln w="9435" cap="flat">
                  <a:noFill/>
                  <a:prstDash val="solid"/>
                  <a:miter/>
                </a:ln>
              </p:spPr>
              <p:txBody>
                <a:bodyPr rtlCol="0" anchor="ctr"/>
                <a:lstStyle/>
                <a:p>
                  <a:endParaRPr lang="en-DK"/>
                </a:p>
              </p:txBody>
            </p:sp>
            <p:sp>
              <p:nvSpPr>
                <p:cNvPr id="186" name="Freeform 185">
                  <a:extLst>
                    <a:ext uri="{FF2B5EF4-FFF2-40B4-BE49-F238E27FC236}">
                      <a16:creationId xmlns:a16="http://schemas.microsoft.com/office/drawing/2014/main" id="{24D2FA0B-5B74-85C1-0153-BB0AB689DBB2}"/>
                    </a:ext>
                  </a:extLst>
                </p:cNvPr>
                <p:cNvSpPr/>
                <p:nvPr/>
              </p:nvSpPr>
              <p:spPr>
                <a:xfrm>
                  <a:off x="9625670" y="2275455"/>
                  <a:ext cx="75152" cy="331646"/>
                </a:xfrm>
                <a:custGeom>
                  <a:avLst/>
                  <a:gdLst>
                    <a:gd name="connsiteX0" fmla="*/ 67959 w 75152"/>
                    <a:gd name="connsiteY0" fmla="*/ 331646 h 331646"/>
                    <a:gd name="connsiteX1" fmla="*/ 7099 w 75152"/>
                    <a:gd name="connsiteY1" fmla="*/ 331646 h 331646"/>
                    <a:gd name="connsiteX2" fmla="*/ 0 w 75152"/>
                    <a:gd name="connsiteY2" fmla="*/ 324503 h 331646"/>
                    <a:gd name="connsiteX3" fmla="*/ 0 w 75152"/>
                    <a:gd name="connsiteY3" fmla="*/ 55517 h 331646"/>
                    <a:gd name="connsiteX4" fmla="*/ 3218 w 75152"/>
                    <a:gd name="connsiteY4" fmla="*/ 49516 h 331646"/>
                    <a:gd name="connsiteX5" fmla="*/ 62659 w 75152"/>
                    <a:gd name="connsiteY5" fmla="*/ 2462 h 331646"/>
                    <a:gd name="connsiteX6" fmla="*/ 70515 w 75152"/>
                    <a:gd name="connsiteY6" fmla="*/ 462 h 331646"/>
                    <a:gd name="connsiteX7" fmla="*/ 75153 w 75152"/>
                    <a:gd name="connsiteY7" fmla="*/ 7130 h 331646"/>
                    <a:gd name="connsiteX8" fmla="*/ 75153 w 75152"/>
                    <a:gd name="connsiteY8" fmla="*/ 324503 h 331646"/>
                    <a:gd name="connsiteX9" fmla="*/ 68054 w 75152"/>
                    <a:gd name="connsiteY9" fmla="*/ 331646 h 331646"/>
                    <a:gd name="connsiteX10" fmla="*/ 14198 w 75152"/>
                    <a:gd name="connsiteY10" fmla="*/ 317359 h 331646"/>
                    <a:gd name="connsiteX11" fmla="*/ 60861 w 75152"/>
                    <a:gd name="connsiteY11" fmla="*/ 317359 h 331646"/>
                    <a:gd name="connsiteX12" fmla="*/ 60861 w 75152"/>
                    <a:gd name="connsiteY12" fmla="*/ 23608 h 331646"/>
                    <a:gd name="connsiteX13" fmla="*/ 14198 w 75152"/>
                    <a:gd name="connsiteY13" fmla="*/ 59327 h 331646"/>
                    <a:gd name="connsiteX14" fmla="*/ 14198 w 75152"/>
                    <a:gd name="connsiteY14" fmla="*/ 317359 h 331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152" h="331646">
                      <a:moveTo>
                        <a:pt x="67959" y="331646"/>
                      </a:moveTo>
                      <a:lnTo>
                        <a:pt x="7099" y="331646"/>
                      </a:lnTo>
                      <a:cubicBezTo>
                        <a:pt x="3218" y="331646"/>
                        <a:pt x="0" y="328408"/>
                        <a:pt x="0" y="324503"/>
                      </a:cubicBezTo>
                      <a:lnTo>
                        <a:pt x="0" y="55517"/>
                      </a:lnTo>
                      <a:cubicBezTo>
                        <a:pt x="0" y="53135"/>
                        <a:pt x="1230" y="50849"/>
                        <a:pt x="3218" y="49516"/>
                      </a:cubicBezTo>
                      <a:cubicBezTo>
                        <a:pt x="26976" y="33800"/>
                        <a:pt x="56601" y="9416"/>
                        <a:pt x="62659" y="2462"/>
                      </a:cubicBezTo>
                      <a:cubicBezTo>
                        <a:pt x="64647" y="176"/>
                        <a:pt x="67770" y="-586"/>
                        <a:pt x="70515" y="462"/>
                      </a:cubicBezTo>
                      <a:cubicBezTo>
                        <a:pt x="73260" y="1510"/>
                        <a:pt x="75153" y="4177"/>
                        <a:pt x="75153" y="7130"/>
                      </a:cubicBezTo>
                      <a:lnTo>
                        <a:pt x="75153" y="324503"/>
                      </a:lnTo>
                      <a:cubicBezTo>
                        <a:pt x="75153" y="328408"/>
                        <a:pt x="71935" y="331646"/>
                        <a:pt x="68054" y="331646"/>
                      </a:cubicBezTo>
                      <a:close/>
                      <a:moveTo>
                        <a:pt x="14198" y="317359"/>
                      </a:moveTo>
                      <a:lnTo>
                        <a:pt x="60861" y="317359"/>
                      </a:lnTo>
                      <a:lnTo>
                        <a:pt x="60861" y="23608"/>
                      </a:lnTo>
                      <a:cubicBezTo>
                        <a:pt x="48556" y="34181"/>
                        <a:pt x="30194" y="48468"/>
                        <a:pt x="14198" y="59327"/>
                      </a:cubicBezTo>
                      <a:lnTo>
                        <a:pt x="14198" y="317359"/>
                      </a:lnTo>
                      <a:close/>
                    </a:path>
                  </a:pathLst>
                </a:custGeom>
                <a:solidFill>
                  <a:srgbClr val="FFFFFF"/>
                </a:solidFill>
                <a:ln w="9435" cap="flat">
                  <a:noFill/>
                  <a:prstDash val="solid"/>
                  <a:miter/>
                </a:ln>
              </p:spPr>
              <p:txBody>
                <a:bodyPr rtlCol="0" anchor="ctr"/>
                <a:lstStyle/>
                <a:p>
                  <a:endParaRPr lang="en-DK"/>
                </a:p>
              </p:txBody>
            </p:sp>
          </p:grpSp>
          <p:grpSp>
            <p:nvGrpSpPr>
              <p:cNvPr id="173" name="Graphic 12">
                <a:extLst>
                  <a:ext uri="{FF2B5EF4-FFF2-40B4-BE49-F238E27FC236}">
                    <a16:creationId xmlns:a16="http://schemas.microsoft.com/office/drawing/2014/main" id="{BE73AEA5-618A-D6C1-DBB5-4FBEE06908EF}"/>
                  </a:ext>
                </a:extLst>
              </p:cNvPr>
              <p:cNvGrpSpPr/>
              <p:nvPr/>
            </p:nvGrpSpPr>
            <p:grpSpPr>
              <a:xfrm>
                <a:off x="9529221" y="2346874"/>
                <a:ext cx="75058" cy="260228"/>
                <a:chOff x="9529221" y="2346874"/>
                <a:chExt cx="75058" cy="260228"/>
              </a:xfrm>
            </p:grpSpPr>
            <p:sp>
              <p:nvSpPr>
                <p:cNvPr id="183" name="Freeform 182">
                  <a:extLst>
                    <a:ext uri="{FF2B5EF4-FFF2-40B4-BE49-F238E27FC236}">
                      <a16:creationId xmlns:a16="http://schemas.microsoft.com/office/drawing/2014/main" id="{4B2AE113-90DA-C445-9C73-25FC46539AD0}"/>
                    </a:ext>
                  </a:extLst>
                </p:cNvPr>
                <p:cNvSpPr/>
                <p:nvPr/>
              </p:nvSpPr>
              <p:spPr>
                <a:xfrm>
                  <a:off x="9536320" y="2354118"/>
                  <a:ext cx="60955" cy="245935"/>
                </a:xfrm>
                <a:custGeom>
                  <a:avLst/>
                  <a:gdLst>
                    <a:gd name="connsiteX0" fmla="*/ 0 w 60955"/>
                    <a:gd name="connsiteY0" fmla="*/ 245840 h 245935"/>
                    <a:gd name="connsiteX1" fmla="*/ 60955 w 60955"/>
                    <a:gd name="connsiteY1" fmla="*/ 245840 h 245935"/>
                    <a:gd name="connsiteX2" fmla="*/ 60955 w 60955"/>
                    <a:gd name="connsiteY2" fmla="*/ 0 h 245935"/>
                    <a:gd name="connsiteX3" fmla="*/ 0 w 60955"/>
                    <a:gd name="connsiteY3" fmla="*/ 36290 h 245935"/>
                    <a:gd name="connsiteX4" fmla="*/ 0 w 60955"/>
                    <a:gd name="connsiteY4" fmla="*/ 245936 h 245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55" h="245935">
                      <a:moveTo>
                        <a:pt x="0" y="245840"/>
                      </a:moveTo>
                      <a:lnTo>
                        <a:pt x="60955" y="245840"/>
                      </a:lnTo>
                      <a:lnTo>
                        <a:pt x="60955" y="0"/>
                      </a:lnTo>
                      <a:cubicBezTo>
                        <a:pt x="41079" y="12859"/>
                        <a:pt x="20729" y="24955"/>
                        <a:pt x="0" y="36290"/>
                      </a:cubicBezTo>
                      <a:lnTo>
                        <a:pt x="0" y="245936"/>
                      </a:lnTo>
                      <a:close/>
                    </a:path>
                  </a:pathLst>
                </a:custGeom>
                <a:solidFill>
                  <a:srgbClr val="2878FF">
                    <a:alpha val="50000"/>
                  </a:srgbClr>
                </a:solidFill>
                <a:ln w="9435" cap="flat">
                  <a:noFill/>
                  <a:prstDash val="solid"/>
                  <a:miter/>
                </a:ln>
              </p:spPr>
              <p:txBody>
                <a:bodyPr rtlCol="0" anchor="ctr"/>
                <a:lstStyle/>
                <a:p>
                  <a:endParaRPr lang="en-DK"/>
                </a:p>
              </p:txBody>
            </p:sp>
            <p:sp>
              <p:nvSpPr>
                <p:cNvPr id="184" name="Freeform 183">
                  <a:extLst>
                    <a:ext uri="{FF2B5EF4-FFF2-40B4-BE49-F238E27FC236}">
                      <a16:creationId xmlns:a16="http://schemas.microsoft.com/office/drawing/2014/main" id="{3F1D3157-069B-3BCA-0F5B-2D1BACBE03FE}"/>
                    </a:ext>
                  </a:extLst>
                </p:cNvPr>
                <p:cNvSpPr/>
                <p:nvPr/>
              </p:nvSpPr>
              <p:spPr>
                <a:xfrm>
                  <a:off x="9529221" y="2346874"/>
                  <a:ext cx="75058" cy="260228"/>
                </a:xfrm>
                <a:custGeom>
                  <a:avLst/>
                  <a:gdLst>
                    <a:gd name="connsiteX0" fmla="*/ 68054 w 75058"/>
                    <a:gd name="connsiteY0" fmla="*/ 260228 h 260228"/>
                    <a:gd name="connsiteX1" fmla="*/ 7099 w 75058"/>
                    <a:gd name="connsiteY1" fmla="*/ 260228 h 260228"/>
                    <a:gd name="connsiteX2" fmla="*/ 0 w 75058"/>
                    <a:gd name="connsiteY2" fmla="*/ 253084 h 260228"/>
                    <a:gd name="connsiteX3" fmla="*/ 0 w 75058"/>
                    <a:gd name="connsiteY3" fmla="*/ 43439 h 260228"/>
                    <a:gd name="connsiteX4" fmla="*/ 3691 w 75058"/>
                    <a:gd name="connsiteY4" fmla="*/ 37153 h 260228"/>
                    <a:gd name="connsiteX5" fmla="*/ 64173 w 75058"/>
                    <a:gd name="connsiteY5" fmla="*/ 1148 h 260228"/>
                    <a:gd name="connsiteX6" fmla="*/ 71367 w 75058"/>
                    <a:gd name="connsiteY6" fmla="*/ 862 h 260228"/>
                    <a:gd name="connsiteX7" fmla="*/ 75058 w 75058"/>
                    <a:gd name="connsiteY7" fmla="*/ 7149 h 260228"/>
                    <a:gd name="connsiteX8" fmla="*/ 75058 w 75058"/>
                    <a:gd name="connsiteY8" fmla="*/ 252989 h 260228"/>
                    <a:gd name="connsiteX9" fmla="*/ 67959 w 75058"/>
                    <a:gd name="connsiteY9" fmla="*/ 260133 h 260228"/>
                    <a:gd name="connsiteX10" fmla="*/ 14198 w 75058"/>
                    <a:gd name="connsiteY10" fmla="*/ 245941 h 260228"/>
                    <a:gd name="connsiteX11" fmla="*/ 60955 w 75058"/>
                    <a:gd name="connsiteY11" fmla="*/ 245941 h 260228"/>
                    <a:gd name="connsiteX12" fmla="*/ 60955 w 75058"/>
                    <a:gd name="connsiteY12" fmla="*/ 20198 h 260228"/>
                    <a:gd name="connsiteX13" fmla="*/ 14198 w 75058"/>
                    <a:gd name="connsiteY13" fmla="*/ 47725 h 260228"/>
                    <a:gd name="connsiteX14" fmla="*/ 14198 w 75058"/>
                    <a:gd name="connsiteY14" fmla="*/ 245941 h 26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058" h="260228">
                      <a:moveTo>
                        <a:pt x="68054" y="260228"/>
                      </a:moveTo>
                      <a:lnTo>
                        <a:pt x="7099" y="260228"/>
                      </a:lnTo>
                      <a:cubicBezTo>
                        <a:pt x="3218" y="260228"/>
                        <a:pt x="0" y="256990"/>
                        <a:pt x="0" y="253084"/>
                      </a:cubicBezTo>
                      <a:lnTo>
                        <a:pt x="0" y="43439"/>
                      </a:lnTo>
                      <a:cubicBezTo>
                        <a:pt x="0" y="40867"/>
                        <a:pt x="1420" y="38391"/>
                        <a:pt x="3691" y="37153"/>
                      </a:cubicBezTo>
                      <a:cubicBezTo>
                        <a:pt x="24231" y="25913"/>
                        <a:pt x="44581" y="13816"/>
                        <a:pt x="64173" y="1148"/>
                      </a:cubicBezTo>
                      <a:cubicBezTo>
                        <a:pt x="66350" y="-281"/>
                        <a:pt x="69190" y="-376"/>
                        <a:pt x="71367" y="862"/>
                      </a:cubicBezTo>
                      <a:cubicBezTo>
                        <a:pt x="73638" y="2101"/>
                        <a:pt x="75058" y="4482"/>
                        <a:pt x="75058" y="7149"/>
                      </a:cubicBezTo>
                      <a:lnTo>
                        <a:pt x="75058" y="252989"/>
                      </a:lnTo>
                      <a:cubicBezTo>
                        <a:pt x="75058" y="256894"/>
                        <a:pt x="71840" y="260133"/>
                        <a:pt x="67959" y="260133"/>
                      </a:cubicBezTo>
                      <a:close/>
                      <a:moveTo>
                        <a:pt x="14198" y="245941"/>
                      </a:moveTo>
                      <a:lnTo>
                        <a:pt x="60955" y="245941"/>
                      </a:lnTo>
                      <a:lnTo>
                        <a:pt x="60955" y="20198"/>
                      </a:lnTo>
                      <a:cubicBezTo>
                        <a:pt x="45622" y="29723"/>
                        <a:pt x="30004" y="38962"/>
                        <a:pt x="14198" y="47725"/>
                      </a:cubicBezTo>
                      <a:lnTo>
                        <a:pt x="14198" y="245941"/>
                      </a:lnTo>
                      <a:close/>
                    </a:path>
                  </a:pathLst>
                </a:custGeom>
                <a:solidFill>
                  <a:srgbClr val="FFFFFF"/>
                </a:solidFill>
                <a:ln w="9435" cap="flat">
                  <a:noFill/>
                  <a:prstDash val="solid"/>
                  <a:miter/>
                </a:ln>
              </p:spPr>
              <p:txBody>
                <a:bodyPr rtlCol="0" anchor="ctr"/>
                <a:lstStyle/>
                <a:p>
                  <a:endParaRPr lang="en-DK"/>
                </a:p>
              </p:txBody>
            </p:sp>
          </p:grpSp>
          <p:grpSp>
            <p:nvGrpSpPr>
              <p:cNvPr id="174" name="Graphic 12">
                <a:extLst>
                  <a:ext uri="{FF2B5EF4-FFF2-40B4-BE49-F238E27FC236}">
                    <a16:creationId xmlns:a16="http://schemas.microsoft.com/office/drawing/2014/main" id="{F93D1BD5-5310-4476-225B-50A15EFC9CC2}"/>
                  </a:ext>
                </a:extLst>
              </p:cNvPr>
              <p:cNvGrpSpPr/>
              <p:nvPr/>
            </p:nvGrpSpPr>
            <p:grpSpPr>
              <a:xfrm>
                <a:off x="9432866" y="2401659"/>
                <a:ext cx="75152" cy="205538"/>
                <a:chOff x="9432866" y="2401659"/>
                <a:chExt cx="75152" cy="205538"/>
              </a:xfrm>
            </p:grpSpPr>
            <p:sp>
              <p:nvSpPr>
                <p:cNvPr id="181" name="Freeform 180">
                  <a:extLst>
                    <a:ext uri="{FF2B5EF4-FFF2-40B4-BE49-F238E27FC236}">
                      <a16:creationId xmlns:a16="http://schemas.microsoft.com/office/drawing/2014/main" id="{966FF1BE-10CF-5AF6-E94B-CF9268AC35BB}"/>
                    </a:ext>
                  </a:extLst>
                </p:cNvPr>
                <p:cNvSpPr/>
                <p:nvPr/>
              </p:nvSpPr>
              <p:spPr>
                <a:xfrm>
                  <a:off x="9439965" y="2408791"/>
                  <a:ext cx="61049" cy="191166"/>
                </a:xfrm>
                <a:custGeom>
                  <a:avLst/>
                  <a:gdLst>
                    <a:gd name="connsiteX0" fmla="*/ 0 w 61049"/>
                    <a:gd name="connsiteY0" fmla="*/ 191167 h 191166"/>
                    <a:gd name="connsiteX1" fmla="*/ 61050 w 61049"/>
                    <a:gd name="connsiteY1" fmla="*/ 191167 h 191166"/>
                    <a:gd name="connsiteX2" fmla="*/ 61050 w 61049"/>
                    <a:gd name="connsiteY2" fmla="*/ 0 h 191166"/>
                    <a:gd name="connsiteX3" fmla="*/ 0 w 61049"/>
                    <a:gd name="connsiteY3" fmla="*/ 27813 h 191166"/>
                    <a:gd name="connsiteX4" fmla="*/ 0 w 61049"/>
                    <a:gd name="connsiteY4" fmla="*/ 191167 h 191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049" h="191166">
                      <a:moveTo>
                        <a:pt x="0" y="191167"/>
                      </a:moveTo>
                      <a:lnTo>
                        <a:pt x="61050" y="191167"/>
                      </a:lnTo>
                      <a:lnTo>
                        <a:pt x="61050" y="0"/>
                      </a:lnTo>
                      <a:cubicBezTo>
                        <a:pt x="41079" y="9906"/>
                        <a:pt x="20729" y="19145"/>
                        <a:pt x="0" y="27813"/>
                      </a:cubicBezTo>
                      <a:lnTo>
                        <a:pt x="0" y="191167"/>
                      </a:lnTo>
                      <a:close/>
                    </a:path>
                  </a:pathLst>
                </a:custGeom>
                <a:solidFill>
                  <a:srgbClr val="2878FF">
                    <a:alpha val="50000"/>
                  </a:srgbClr>
                </a:solidFill>
                <a:ln w="9435" cap="flat">
                  <a:noFill/>
                  <a:prstDash val="solid"/>
                  <a:miter/>
                </a:ln>
              </p:spPr>
              <p:txBody>
                <a:bodyPr rtlCol="0" anchor="ctr"/>
                <a:lstStyle/>
                <a:p>
                  <a:endParaRPr lang="en-DK"/>
                </a:p>
              </p:txBody>
            </p:sp>
            <p:sp>
              <p:nvSpPr>
                <p:cNvPr id="182" name="Freeform 181">
                  <a:extLst>
                    <a:ext uri="{FF2B5EF4-FFF2-40B4-BE49-F238E27FC236}">
                      <a16:creationId xmlns:a16="http://schemas.microsoft.com/office/drawing/2014/main" id="{96E030E5-D3EC-533B-78E9-462D66DBAD48}"/>
                    </a:ext>
                  </a:extLst>
                </p:cNvPr>
                <p:cNvSpPr/>
                <p:nvPr/>
              </p:nvSpPr>
              <p:spPr>
                <a:xfrm>
                  <a:off x="9432866" y="2401659"/>
                  <a:ext cx="75152" cy="205538"/>
                </a:xfrm>
                <a:custGeom>
                  <a:avLst/>
                  <a:gdLst>
                    <a:gd name="connsiteX0" fmla="*/ 68149 w 75152"/>
                    <a:gd name="connsiteY0" fmla="*/ 205443 h 205538"/>
                    <a:gd name="connsiteX1" fmla="*/ 7099 w 75152"/>
                    <a:gd name="connsiteY1" fmla="*/ 205443 h 205538"/>
                    <a:gd name="connsiteX2" fmla="*/ 0 w 75152"/>
                    <a:gd name="connsiteY2" fmla="*/ 198299 h 205538"/>
                    <a:gd name="connsiteX3" fmla="*/ 0 w 75152"/>
                    <a:gd name="connsiteY3" fmla="*/ 34945 h 205538"/>
                    <a:gd name="connsiteX4" fmla="*/ 4354 w 75152"/>
                    <a:gd name="connsiteY4" fmla="*/ 28373 h 205538"/>
                    <a:gd name="connsiteX5" fmla="*/ 64931 w 75152"/>
                    <a:gd name="connsiteY5" fmla="*/ 751 h 205538"/>
                    <a:gd name="connsiteX6" fmla="*/ 71840 w 75152"/>
                    <a:gd name="connsiteY6" fmla="*/ 1132 h 205538"/>
                    <a:gd name="connsiteX7" fmla="*/ 75153 w 75152"/>
                    <a:gd name="connsiteY7" fmla="*/ 7228 h 205538"/>
                    <a:gd name="connsiteX8" fmla="*/ 75153 w 75152"/>
                    <a:gd name="connsiteY8" fmla="*/ 198394 h 205538"/>
                    <a:gd name="connsiteX9" fmla="*/ 68054 w 75152"/>
                    <a:gd name="connsiteY9" fmla="*/ 205538 h 205538"/>
                    <a:gd name="connsiteX10" fmla="*/ 14198 w 75152"/>
                    <a:gd name="connsiteY10" fmla="*/ 191155 h 205538"/>
                    <a:gd name="connsiteX11" fmla="*/ 61050 w 75152"/>
                    <a:gd name="connsiteY11" fmla="*/ 191155 h 205538"/>
                    <a:gd name="connsiteX12" fmla="*/ 61050 w 75152"/>
                    <a:gd name="connsiteY12" fmla="*/ 18562 h 205538"/>
                    <a:gd name="connsiteX13" fmla="*/ 14198 w 75152"/>
                    <a:gd name="connsiteY13" fmla="*/ 39708 h 205538"/>
                    <a:gd name="connsiteX14" fmla="*/ 14198 w 75152"/>
                    <a:gd name="connsiteY14" fmla="*/ 191155 h 20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152" h="205538">
                      <a:moveTo>
                        <a:pt x="68149" y="205443"/>
                      </a:moveTo>
                      <a:lnTo>
                        <a:pt x="7099" y="205443"/>
                      </a:lnTo>
                      <a:cubicBezTo>
                        <a:pt x="3218" y="205443"/>
                        <a:pt x="0" y="202204"/>
                        <a:pt x="0" y="198299"/>
                      </a:cubicBezTo>
                      <a:lnTo>
                        <a:pt x="0" y="34945"/>
                      </a:lnTo>
                      <a:cubicBezTo>
                        <a:pt x="0" y="32088"/>
                        <a:pt x="1704" y="29421"/>
                        <a:pt x="4354" y="28373"/>
                      </a:cubicBezTo>
                      <a:cubicBezTo>
                        <a:pt x="24988" y="19801"/>
                        <a:pt x="45338" y="10561"/>
                        <a:pt x="64931" y="751"/>
                      </a:cubicBezTo>
                      <a:cubicBezTo>
                        <a:pt x="67108" y="-392"/>
                        <a:pt x="69758" y="-202"/>
                        <a:pt x="71840" y="1132"/>
                      </a:cubicBezTo>
                      <a:cubicBezTo>
                        <a:pt x="73922" y="2465"/>
                        <a:pt x="75153" y="4751"/>
                        <a:pt x="75153" y="7228"/>
                      </a:cubicBezTo>
                      <a:lnTo>
                        <a:pt x="75153" y="198394"/>
                      </a:lnTo>
                      <a:cubicBezTo>
                        <a:pt x="75153" y="202300"/>
                        <a:pt x="71935" y="205538"/>
                        <a:pt x="68054" y="205538"/>
                      </a:cubicBezTo>
                      <a:close/>
                      <a:moveTo>
                        <a:pt x="14198" y="191155"/>
                      </a:moveTo>
                      <a:lnTo>
                        <a:pt x="61050" y="191155"/>
                      </a:lnTo>
                      <a:lnTo>
                        <a:pt x="61050" y="18562"/>
                      </a:lnTo>
                      <a:cubicBezTo>
                        <a:pt x="45716" y="25897"/>
                        <a:pt x="30099" y="33040"/>
                        <a:pt x="14198" y="39708"/>
                      </a:cubicBezTo>
                      <a:lnTo>
                        <a:pt x="14198" y="191155"/>
                      </a:lnTo>
                      <a:close/>
                    </a:path>
                  </a:pathLst>
                </a:custGeom>
                <a:solidFill>
                  <a:srgbClr val="FFFFFF"/>
                </a:solidFill>
                <a:ln w="9435" cap="flat">
                  <a:noFill/>
                  <a:prstDash val="solid"/>
                  <a:miter/>
                </a:ln>
              </p:spPr>
              <p:txBody>
                <a:bodyPr rtlCol="0" anchor="ctr"/>
                <a:lstStyle/>
                <a:p>
                  <a:endParaRPr lang="en-DK"/>
                </a:p>
              </p:txBody>
            </p:sp>
          </p:grpSp>
          <p:grpSp>
            <p:nvGrpSpPr>
              <p:cNvPr id="175" name="Graphic 12">
                <a:extLst>
                  <a:ext uri="{FF2B5EF4-FFF2-40B4-BE49-F238E27FC236}">
                    <a16:creationId xmlns:a16="http://schemas.microsoft.com/office/drawing/2014/main" id="{C790496F-2D6E-42D6-0BD1-51FD56EF729B}"/>
                  </a:ext>
                </a:extLst>
              </p:cNvPr>
              <p:cNvGrpSpPr/>
              <p:nvPr/>
            </p:nvGrpSpPr>
            <p:grpSpPr>
              <a:xfrm>
                <a:off x="9336417" y="2443290"/>
                <a:ext cx="75247" cy="163811"/>
                <a:chOff x="9336417" y="2443290"/>
                <a:chExt cx="75247" cy="163811"/>
              </a:xfrm>
            </p:grpSpPr>
            <p:sp>
              <p:nvSpPr>
                <p:cNvPr id="179" name="Freeform 178">
                  <a:extLst>
                    <a:ext uri="{FF2B5EF4-FFF2-40B4-BE49-F238E27FC236}">
                      <a16:creationId xmlns:a16="http://schemas.microsoft.com/office/drawing/2014/main" id="{25C6F241-DD42-0DA2-F3B0-56B22ED4B3C9}"/>
                    </a:ext>
                  </a:extLst>
                </p:cNvPr>
                <p:cNvSpPr/>
                <p:nvPr/>
              </p:nvSpPr>
              <p:spPr>
                <a:xfrm>
                  <a:off x="9343516" y="2450511"/>
                  <a:ext cx="61144" cy="149447"/>
                </a:xfrm>
                <a:custGeom>
                  <a:avLst/>
                  <a:gdLst>
                    <a:gd name="connsiteX0" fmla="*/ 0 w 61144"/>
                    <a:gd name="connsiteY0" fmla="*/ 149447 h 149447"/>
                    <a:gd name="connsiteX1" fmla="*/ 61145 w 61144"/>
                    <a:gd name="connsiteY1" fmla="*/ 149447 h 149447"/>
                    <a:gd name="connsiteX2" fmla="*/ 61145 w 61144"/>
                    <a:gd name="connsiteY2" fmla="*/ 0 h 149447"/>
                    <a:gd name="connsiteX3" fmla="*/ 0 w 61144"/>
                    <a:gd name="connsiteY3" fmla="*/ 20574 h 149447"/>
                    <a:gd name="connsiteX4" fmla="*/ 0 w 61144"/>
                    <a:gd name="connsiteY4" fmla="*/ 149447 h 149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144" h="149447">
                      <a:moveTo>
                        <a:pt x="0" y="149447"/>
                      </a:moveTo>
                      <a:lnTo>
                        <a:pt x="61145" y="149447"/>
                      </a:lnTo>
                      <a:lnTo>
                        <a:pt x="61145" y="0"/>
                      </a:lnTo>
                      <a:cubicBezTo>
                        <a:pt x="41079" y="7429"/>
                        <a:pt x="20729" y="14383"/>
                        <a:pt x="0" y="20574"/>
                      </a:cubicBezTo>
                      <a:lnTo>
                        <a:pt x="0" y="149447"/>
                      </a:lnTo>
                      <a:close/>
                    </a:path>
                  </a:pathLst>
                </a:custGeom>
                <a:solidFill>
                  <a:srgbClr val="2878FF">
                    <a:alpha val="50000"/>
                  </a:srgbClr>
                </a:solidFill>
                <a:ln w="9435" cap="flat">
                  <a:noFill/>
                  <a:prstDash val="solid"/>
                  <a:miter/>
                </a:ln>
              </p:spPr>
              <p:txBody>
                <a:bodyPr rtlCol="0" anchor="ctr"/>
                <a:lstStyle/>
                <a:p>
                  <a:endParaRPr lang="en-DK"/>
                </a:p>
              </p:txBody>
            </p:sp>
            <p:sp>
              <p:nvSpPr>
                <p:cNvPr id="180" name="Freeform 179">
                  <a:extLst>
                    <a:ext uri="{FF2B5EF4-FFF2-40B4-BE49-F238E27FC236}">
                      <a16:creationId xmlns:a16="http://schemas.microsoft.com/office/drawing/2014/main" id="{85263AE6-D1A9-5210-D95C-C42E636016B2}"/>
                    </a:ext>
                  </a:extLst>
                </p:cNvPr>
                <p:cNvSpPr/>
                <p:nvPr/>
              </p:nvSpPr>
              <p:spPr>
                <a:xfrm>
                  <a:off x="9336417" y="2443290"/>
                  <a:ext cx="75247" cy="163811"/>
                </a:xfrm>
                <a:custGeom>
                  <a:avLst/>
                  <a:gdLst>
                    <a:gd name="connsiteX0" fmla="*/ 68243 w 75247"/>
                    <a:gd name="connsiteY0" fmla="*/ 163811 h 163811"/>
                    <a:gd name="connsiteX1" fmla="*/ 7099 w 75247"/>
                    <a:gd name="connsiteY1" fmla="*/ 163811 h 163811"/>
                    <a:gd name="connsiteX2" fmla="*/ 0 w 75247"/>
                    <a:gd name="connsiteY2" fmla="*/ 156668 h 163811"/>
                    <a:gd name="connsiteX3" fmla="*/ 0 w 75247"/>
                    <a:gd name="connsiteY3" fmla="*/ 27794 h 163811"/>
                    <a:gd name="connsiteX4" fmla="*/ 5016 w 75247"/>
                    <a:gd name="connsiteY4" fmla="*/ 20936 h 163811"/>
                    <a:gd name="connsiteX5" fmla="*/ 65688 w 75247"/>
                    <a:gd name="connsiteY5" fmla="*/ 458 h 163811"/>
                    <a:gd name="connsiteX6" fmla="*/ 72219 w 75247"/>
                    <a:gd name="connsiteY6" fmla="*/ 1315 h 163811"/>
                    <a:gd name="connsiteX7" fmla="*/ 75248 w 75247"/>
                    <a:gd name="connsiteY7" fmla="*/ 7220 h 163811"/>
                    <a:gd name="connsiteX8" fmla="*/ 75248 w 75247"/>
                    <a:gd name="connsiteY8" fmla="*/ 156668 h 163811"/>
                    <a:gd name="connsiteX9" fmla="*/ 68149 w 75247"/>
                    <a:gd name="connsiteY9" fmla="*/ 163811 h 163811"/>
                    <a:gd name="connsiteX10" fmla="*/ 14198 w 75247"/>
                    <a:gd name="connsiteY10" fmla="*/ 149524 h 163811"/>
                    <a:gd name="connsiteX11" fmla="*/ 61145 w 75247"/>
                    <a:gd name="connsiteY11" fmla="*/ 149524 h 163811"/>
                    <a:gd name="connsiteX12" fmla="*/ 61145 w 75247"/>
                    <a:gd name="connsiteY12" fmla="*/ 17412 h 163811"/>
                    <a:gd name="connsiteX13" fmla="*/ 14198 w 75247"/>
                    <a:gd name="connsiteY13" fmla="*/ 33128 h 163811"/>
                    <a:gd name="connsiteX14" fmla="*/ 14198 w 75247"/>
                    <a:gd name="connsiteY14" fmla="*/ 149524 h 163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247" h="163811">
                      <a:moveTo>
                        <a:pt x="68243" y="163811"/>
                      </a:moveTo>
                      <a:lnTo>
                        <a:pt x="7099" y="163811"/>
                      </a:lnTo>
                      <a:cubicBezTo>
                        <a:pt x="3218" y="163811"/>
                        <a:pt x="0" y="160573"/>
                        <a:pt x="0" y="156668"/>
                      </a:cubicBezTo>
                      <a:lnTo>
                        <a:pt x="0" y="27794"/>
                      </a:lnTo>
                      <a:cubicBezTo>
                        <a:pt x="0" y="24651"/>
                        <a:pt x="2082" y="21889"/>
                        <a:pt x="5016" y="20936"/>
                      </a:cubicBezTo>
                      <a:cubicBezTo>
                        <a:pt x="25461" y="14745"/>
                        <a:pt x="45906" y="7792"/>
                        <a:pt x="65688" y="458"/>
                      </a:cubicBezTo>
                      <a:cubicBezTo>
                        <a:pt x="67865" y="-400"/>
                        <a:pt x="70326" y="-19"/>
                        <a:pt x="72219" y="1315"/>
                      </a:cubicBezTo>
                      <a:cubicBezTo>
                        <a:pt x="74112" y="2648"/>
                        <a:pt x="75248" y="4839"/>
                        <a:pt x="75248" y="7220"/>
                      </a:cubicBezTo>
                      <a:lnTo>
                        <a:pt x="75248" y="156668"/>
                      </a:lnTo>
                      <a:cubicBezTo>
                        <a:pt x="75248" y="160573"/>
                        <a:pt x="72029" y="163811"/>
                        <a:pt x="68149" y="163811"/>
                      </a:cubicBezTo>
                      <a:close/>
                      <a:moveTo>
                        <a:pt x="14198" y="149524"/>
                      </a:moveTo>
                      <a:lnTo>
                        <a:pt x="61145" y="149524"/>
                      </a:lnTo>
                      <a:lnTo>
                        <a:pt x="61145" y="17412"/>
                      </a:lnTo>
                      <a:cubicBezTo>
                        <a:pt x="45716" y="22937"/>
                        <a:pt x="30004" y="28271"/>
                        <a:pt x="14198" y="33128"/>
                      </a:cubicBezTo>
                      <a:lnTo>
                        <a:pt x="14198" y="149524"/>
                      </a:lnTo>
                      <a:close/>
                    </a:path>
                  </a:pathLst>
                </a:custGeom>
                <a:solidFill>
                  <a:srgbClr val="FFFFFF"/>
                </a:solidFill>
                <a:ln w="9435" cap="flat">
                  <a:noFill/>
                  <a:prstDash val="solid"/>
                  <a:miter/>
                </a:ln>
              </p:spPr>
              <p:txBody>
                <a:bodyPr rtlCol="0" anchor="ctr"/>
                <a:lstStyle/>
                <a:p>
                  <a:endParaRPr lang="en-DK"/>
                </a:p>
              </p:txBody>
            </p:sp>
          </p:grpSp>
          <p:grpSp>
            <p:nvGrpSpPr>
              <p:cNvPr id="176" name="Graphic 12">
                <a:extLst>
                  <a:ext uri="{FF2B5EF4-FFF2-40B4-BE49-F238E27FC236}">
                    <a16:creationId xmlns:a16="http://schemas.microsoft.com/office/drawing/2014/main" id="{E9542EF6-CEF6-DBC9-C114-0EE42DF53940}"/>
                  </a:ext>
                </a:extLst>
              </p:cNvPr>
              <p:cNvGrpSpPr/>
              <p:nvPr/>
            </p:nvGrpSpPr>
            <p:grpSpPr>
              <a:xfrm>
                <a:off x="9240157" y="2473990"/>
                <a:ext cx="75342" cy="133111"/>
                <a:chOff x="9240157" y="2473990"/>
                <a:chExt cx="75342" cy="133111"/>
              </a:xfrm>
            </p:grpSpPr>
            <p:sp>
              <p:nvSpPr>
                <p:cNvPr id="177" name="Freeform 176">
                  <a:extLst>
                    <a:ext uri="{FF2B5EF4-FFF2-40B4-BE49-F238E27FC236}">
                      <a16:creationId xmlns:a16="http://schemas.microsoft.com/office/drawing/2014/main" id="{0E18E611-BDAF-F7D0-5D98-C3AC65C028CE}"/>
                    </a:ext>
                  </a:extLst>
                </p:cNvPr>
                <p:cNvSpPr/>
                <p:nvPr/>
              </p:nvSpPr>
              <p:spPr>
                <a:xfrm>
                  <a:off x="9247161" y="2481086"/>
                  <a:ext cx="61239" cy="118871"/>
                </a:xfrm>
                <a:custGeom>
                  <a:avLst/>
                  <a:gdLst>
                    <a:gd name="connsiteX0" fmla="*/ 0 w 61239"/>
                    <a:gd name="connsiteY0" fmla="*/ 118872 h 118871"/>
                    <a:gd name="connsiteX1" fmla="*/ 61239 w 61239"/>
                    <a:gd name="connsiteY1" fmla="*/ 118872 h 118871"/>
                    <a:gd name="connsiteX2" fmla="*/ 61239 w 61239"/>
                    <a:gd name="connsiteY2" fmla="*/ 0 h 118871"/>
                    <a:gd name="connsiteX3" fmla="*/ 0 w 61239"/>
                    <a:gd name="connsiteY3" fmla="*/ 14478 h 118871"/>
                    <a:gd name="connsiteX4" fmla="*/ 0 w 61239"/>
                    <a:gd name="connsiteY4" fmla="*/ 118872 h 118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39" h="118871">
                      <a:moveTo>
                        <a:pt x="0" y="118872"/>
                      </a:moveTo>
                      <a:lnTo>
                        <a:pt x="61239" y="118872"/>
                      </a:lnTo>
                      <a:lnTo>
                        <a:pt x="61239" y="0"/>
                      </a:lnTo>
                      <a:cubicBezTo>
                        <a:pt x="41079" y="5334"/>
                        <a:pt x="20729" y="10192"/>
                        <a:pt x="0" y="14478"/>
                      </a:cubicBezTo>
                      <a:lnTo>
                        <a:pt x="0" y="118872"/>
                      </a:lnTo>
                      <a:close/>
                    </a:path>
                  </a:pathLst>
                </a:custGeom>
                <a:solidFill>
                  <a:srgbClr val="2878FF">
                    <a:alpha val="50000"/>
                  </a:srgbClr>
                </a:solidFill>
                <a:ln w="9435" cap="flat">
                  <a:noFill/>
                  <a:prstDash val="solid"/>
                  <a:miter/>
                </a:ln>
              </p:spPr>
              <p:txBody>
                <a:bodyPr rtlCol="0" anchor="ctr"/>
                <a:lstStyle/>
                <a:p>
                  <a:endParaRPr lang="en-DK"/>
                </a:p>
              </p:txBody>
            </p:sp>
            <p:sp>
              <p:nvSpPr>
                <p:cNvPr id="178" name="Freeform 177">
                  <a:extLst>
                    <a:ext uri="{FF2B5EF4-FFF2-40B4-BE49-F238E27FC236}">
                      <a16:creationId xmlns:a16="http://schemas.microsoft.com/office/drawing/2014/main" id="{925FF613-287B-E3F4-93A3-F0B879B0EE63}"/>
                    </a:ext>
                  </a:extLst>
                </p:cNvPr>
                <p:cNvSpPr/>
                <p:nvPr/>
              </p:nvSpPr>
              <p:spPr>
                <a:xfrm>
                  <a:off x="9240157" y="2473990"/>
                  <a:ext cx="75342" cy="133111"/>
                </a:xfrm>
                <a:custGeom>
                  <a:avLst/>
                  <a:gdLst>
                    <a:gd name="connsiteX0" fmla="*/ 68243 w 75342"/>
                    <a:gd name="connsiteY0" fmla="*/ 133112 h 133111"/>
                    <a:gd name="connsiteX1" fmla="*/ 7099 w 75342"/>
                    <a:gd name="connsiteY1" fmla="*/ 133112 h 133111"/>
                    <a:gd name="connsiteX2" fmla="*/ 0 w 75342"/>
                    <a:gd name="connsiteY2" fmla="*/ 125968 h 133111"/>
                    <a:gd name="connsiteX3" fmla="*/ 0 w 75342"/>
                    <a:gd name="connsiteY3" fmla="*/ 21574 h 133111"/>
                    <a:gd name="connsiteX4" fmla="*/ 5679 w 75342"/>
                    <a:gd name="connsiteY4" fmla="*/ 14621 h 133111"/>
                    <a:gd name="connsiteX5" fmla="*/ 66445 w 75342"/>
                    <a:gd name="connsiteY5" fmla="*/ 238 h 133111"/>
                    <a:gd name="connsiteX6" fmla="*/ 72597 w 75342"/>
                    <a:gd name="connsiteY6" fmla="*/ 1476 h 133111"/>
                    <a:gd name="connsiteX7" fmla="*/ 75342 w 75342"/>
                    <a:gd name="connsiteY7" fmla="*/ 7096 h 133111"/>
                    <a:gd name="connsiteX8" fmla="*/ 75342 w 75342"/>
                    <a:gd name="connsiteY8" fmla="*/ 125968 h 133111"/>
                    <a:gd name="connsiteX9" fmla="*/ 68243 w 75342"/>
                    <a:gd name="connsiteY9" fmla="*/ 133112 h 133111"/>
                    <a:gd name="connsiteX10" fmla="*/ 14198 w 75342"/>
                    <a:gd name="connsiteY10" fmla="*/ 118824 h 133111"/>
                    <a:gd name="connsiteX11" fmla="*/ 61145 w 75342"/>
                    <a:gd name="connsiteY11" fmla="*/ 118824 h 133111"/>
                    <a:gd name="connsiteX12" fmla="*/ 61145 w 75342"/>
                    <a:gd name="connsiteY12" fmla="*/ 16335 h 133111"/>
                    <a:gd name="connsiteX13" fmla="*/ 14198 w 75342"/>
                    <a:gd name="connsiteY13" fmla="*/ 27384 h 133111"/>
                    <a:gd name="connsiteX14" fmla="*/ 14198 w 75342"/>
                    <a:gd name="connsiteY14" fmla="*/ 118824 h 133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342" h="133111">
                      <a:moveTo>
                        <a:pt x="68243" y="133112"/>
                      </a:moveTo>
                      <a:lnTo>
                        <a:pt x="7099" y="133112"/>
                      </a:lnTo>
                      <a:cubicBezTo>
                        <a:pt x="3218" y="133112"/>
                        <a:pt x="0" y="129873"/>
                        <a:pt x="0" y="125968"/>
                      </a:cubicBezTo>
                      <a:lnTo>
                        <a:pt x="0" y="21574"/>
                      </a:lnTo>
                      <a:cubicBezTo>
                        <a:pt x="0" y="18145"/>
                        <a:pt x="2366" y="15287"/>
                        <a:pt x="5679" y="14621"/>
                      </a:cubicBezTo>
                      <a:cubicBezTo>
                        <a:pt x="26029" y="10430"/>
                        <a:pt x="46474" y="5572"/>
                        <a:pt x="66445" y="238"/>
                      </a:cubicBezTo>
                      <a:cubicBezTo>
                        <a:pt x="68527" y="-334"/>
                        <a:pt x="70799" y="143"/>
                        <a:pt x="72597" y="1476"/>
                      </a:cubicBezTo>
                      <a:cubicBezTo>
                        <a:pt x="74301" y="2810"/>
                        <a:pt x="75342" y="4905"/>
                        <a:pt x="75342" y="7096"/>
                      </a:cubicBezTo>
                      <a:lnTo>
                        <a:pt x="75342" y="125968"/>
                      </a:lnTo>
                      <a:cubicBezTo>
                        <a:pt x="75342" y="129873"/>
                        <a:pt x="72124" y="133112"/>
                        <a:pt x="68243" y="133112"/>
                      </a:cubicBezTo>
                      <a:close/>
                      <a:moveTo>
                        <a:pt x="14198" y="118824"/>
                      </a:moveTo>
                      <a:lnTo>
                        <a:pt x="61145" y="118824"/>
                      </a:lnTo>
                      <a:lnTo>
                        <a:pt x="61145" y="16335"/>
                      </a:lnTo>
                      <a:cubicBezTo>
                        <a:pt x="45622" y="20336"/>
                        <a:pt x="29910" y="24050"/>
                        <a:pt x="14198" y="27384"/>
                      </a:cubicBezTo>
                      <a:lnTo>
                        <a:pt x="14198" y="118824"/>
                      </a:lnTo>
                      <a:close/>
                    </a:path>
                  </a:pathLst>
                </a:custGeom>
                <a:solidFill>
                  <a:srgbClr val="FFFFFF"/>
                </a:solidFill>
                <a:ln w="9435" cap="flat">
                  <a:noFill/>
                  <a:prstDash val="solid"/>
                  <a:miter/>
                </a:ln>
              </p:spPr>
              <p:txBody>
                <a:bodyPr rtlCol="0" anchor="ctr"/>
                <a:lstStyle/>
                <a:p>
                  <a:endParaRPr lang="en-DK"/>
                </a:p>
              </p:txBody>
            </p:sp>
          </p:grpSp>
        </p:grpSp>
      </p:grpSp>
      <p:pic>
        <p:nvPicPr>
          <p:cNvPr id="187" name="Graphic 186" descr="Artificial Intelligence with solid fill">
            <a:extLst>
              <a:ext uri="{FF2B5EF4-FFF2-40B4-BE49-F238E27FC236}">
                <a16:creationId xmlns:a16="http://schemas.microsoft.com/office/drawing/2014/main" id="{812DF682-7026-C699-4D3A-7CFD2535DC51}"/>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5613434" y="3120510"/>
            <a:ext cx="911034" cy="911032"/>
          </a:xfrm>
          <a:prstGeom prst="rect">
            <a:avLst/>
          </a:prstGeom>
        </p:spPr>
      </p:pic>
    </p:spTree>
    <p:extLst>
      <p:ext uri="{BB962C8B-B14F-4D97-AF65-F5344CB8AC3E}">
        <p14:creationId xmlns:p14="http://schemas.microsoft.com/office/powerpoint/2010/main" val="3498047173"/>
      </p:ext>
    </p:extLst>
  </p:cSld>
  <p:clrMapOvr>
    <a:masterClrMapping/>
  </p:clrMapOvr>
  <p:transition spd="slow">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BE954C-8680-3BCA-1997-E04B1617259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AB6407C-3089-1DBF-21BF-88F0372253B9}"/>
              </a:ext>
            </a:extLst>
          </p:cNvPr>
          <p:cNvGraphicFramePr>
            <a:graphicFrameLocks/>
          </p:cNvGraphicFramePr>
          <p:nvPr>
            <p:custDataLst>
              <p:tags r:id="rId1"/>
            </p:custData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7" name="think-cell data - do not delete" hidden="1">
                        <a:extLst>
                          <a:ext uri="{FF2B5EF4-FFF2-40B4-BE49-F238E27FC236}">
                            <a16:creationId xmlns:a16="http://schemas.microsoft.com/office/drawing/2014/main" id="{3AB6407C-3089-1DBF-21BF-88F0372253B9}"/>
                          </a:ext>
                        </a:extLst>
                      </p:cNvPr>
                      <p:cNvPicPr/>
                      <p:nvPr/>
                    </p:nvPicPr>
                    <p:blipFill>
                      <a:blip r:embed="rId5"/>
                      <a:stretch>
                        <a:fillRect/>
                      </a:stretch>
                    </p:blipFill>
                    <p:spPr>
                      <a:xfrm>
                        <a:off x="2382"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110195A-A2FF-2480-F2B3-7C139FC31518}"/>
              </a:ext>
            </a:extLst>
          </p:cNvPr>
          <p:cNvSpPr>
            <a:spLocks noGrp="1"/>
          </p:cNvSpPr>
          <p:nvPr>
            <p:ph type="ctrTitle"/>
          </p:nvPr>
        </p:nvSpPr>
        <p:spPr>
          <a:xfrm>
            <a:off x="516006" y="514350"/>
            <a:ext cx="9667546" cy="792900"/>
          </a:xfrm>
        </p:spPr>
        <p:txBody>
          <a:bodyPr vert="horz"/>
          <a:lstStyle/>
          <a:p>
            <a:r>
              <a:rPr lang="en-GB"/>
              <a:t>Venture risks must be balanced across</a:t>
            </a:r>
            <a:r>
              <a:rPr lang="en-DK"/>
              <a:t> </a:t>
            </a:r>
            <a:r>
              <a:rPr lang="en-DK" err="1"/>
              <a:t>scientifi</a:t>
            </a:r>
            <a:r>
              <a:rPr lang="en-US"/>
              <a:t>c</a:t>
            </a:r>
            <a:r>
              <a:rPr lang="en-DK"/>
              <a:t>, technology, and clinical </a:t>
            </a:r>
            <a:r>
              <a:rPr lang="en-GB"/>
              <a:t>dimensions</a:t>
            </a:r>
            <a:r>
              <a:rPr lang="en-DK"/>
              <a:t> to balance portfolio risk</a:t>
            </a:r>
            <a:endParaRPr lang="de-DE"/>
          </a:p>
        </p:txBody>
      </p:sp>
      <p:cxnSp>
        <p:nvCxnSpPr>
          <p:cNvPr id="9" name="Straight Connector 8">
            <a:extLst>
              <a:ext uri="{FF2B5EF4-FFF2-40B4-BE49-F238E27FC236}">
                <a16:creationId xmlns:a16="http://schemas.microsoft.com/office/drawing/2014/main" id="{905A3E90-0230-97E7-4C79-9240B978E4AB}"/>
              </a:ext>
            </a:extLst>
          </p:cNvPr>
          <p:cNvCxnSpPr>
            <a:cxnSpLocks/>
          </p:cNvCxnSpPr>
          <p:nvPr/>
        </p:nvCxnSpPr>
        <p:spPr>
          <a:xfrm>
            <a:off x="1608509" y="2083349"/>
            <a:ext cx="9471660" cy="0"/>
          </a:xfrm>
          <a:prstGeom prst="line">
            <a:avLst/>
          </a:prstGeom>
          <a:ln w="12700" cap="flat" cmpd="sng" algn="ctr">
            <a:solidFill>
              <a:schemeClr val="bg1"/>
            </a:solidFill>
            <a:prstDash val="solid"/>
            <a:miter lim="800000"/>
            <a:headEnd type="arrow" w="med" len="med"/>
            <a:tailEnd type="arrow" w="med" len="med"/>
          </a:ln>
        </p:spPr>
        <p:style>
          <a:lnRef idx="2">
            <a:schemeClr val="accent1"/>
          </a:lnRef>
          <a:fillRef idx="0">
            <a:schemeClr val="accent1"/>
          </a:fillRef>
          <a:effectRef idx="1">
            <a:schemeClr val="accent1"/>
          </a:effectRef>
          <a:fontRef idx="minor">
            <a:schemeClr val="tx1"/>
          </a:fontRef>
        </p:style>
      </p:cxnSp>
      <p:sp>
        <p:nvSpPr>
          <p:cNvPr id="30" name="Rectangle 57">
            <a:extLst>
              <a:ext uri="{FF2B5EF4-FFF2-40B4-BE49-F238E27FC236}">
                <a16:creationId xmlns:a16="http://schemas.microsoft.com/office/drawing/2014/main" id="{ECEE482E-0809-13B5-F274-8273BA8B1CD5}"/>
              </a:ext>
            </a:extLst>
          </p:cNvPr>
          <p:cNvSpPr>
            <a:spLocks noChangeArrowheads="1"/>
          </p:cNvSpPr>
          <p:nvPr/>
        </p:nvSpPr>
        <p:spPr bwMode="auto">
          <a:xfrm>
            <a:off x="5115744" y="1730641"/>
            <a:ext cx="2457191" cy="336436"/>
          </a:xfrm>
          <a:prstGeom prst="rect">
            <a:avLst/>
          </a:prstGeom>
          <a:noFill/>
          <a:ln w="6350" cap="flat" cmpd="sng" algn="ctr">
            <a:noFill/>
            <a:prstDash val="solid"/>
            <a:miter lim="800000"/>
            <a:headEnd/>
            <a:tailEnd/>
          </a:ln>
          <a:effectLst/>
        </p:spPr>
        <p:txBody>
          <a:bodyPr wrap="square" lIns="36000" tIns="36000" rIns="36000" bIns="36000" anchor="t"/>
          <a:lstStyle/>
          <a:p>
            <a:pPr algn="ctr" defTabSz="914400">
              <a:spcAft>
                <a:spcPts val="1200"/>
              </a:spcAft>
              <a:defRPr/>
            </a:pPr>
            <a:r>
              <a:rPr lang="en-GB" sz="1600" b="1" kern="0">
                <a:solidFill>
                  <a:schemeClr val="bg1"/>
                </a:solidFill>
                <a:latin typeface="Avenir Next LT Pro Demi" panose="020B0504020202020204" pitchFamily="34" charset="77"/>
              </a:rPr>
              <a:t>Scientific risk</a:t>
            </a:r>
          </a:p>
        </p:txBody>
      </p:sp>
      <p:sp>
        <p:nvSpPr>
          <p:cNvPr id="31" name="Rectangle 57">
            <a:extLst>
              <a:ext uri="{FF2B5EF4-FFF2-40B4-BE49-F238E27FC236}">
                <a16:creationId xmlns:a16="http://schemas.microsoft.com/office/drawing/2014/main" id="{C3291B92-E893-3F63-6EED-4D94DFEC1528}"/>
              </a:ext>
            </a:extLst>
          </p:cNvPr>
          <p:cNvSpPr>
            <a:spLocks noChangeArrowheads="1"/>
          </p:cNvSpPr>
          <p:nvPr/>
        </p:nvSpPr>
        <p:spPr bwMode="auto">
          <a:xfrm>
            <a:off x="9811440" y="2099620"/>
            <a:ext cx="1268729" cy="336436"/>
          </a:xfrm>
          <a:prstGeom prst="rect">
            <a:avLst/>
          </a:prstGeom>
          <a:noFill/>
          <a:ln w="6350" cap="flat" cmpd="sng" algn="ctr">
            <a:noFill/>
            <a:prstDash val="solid"/>
            <a:miter lim="800000"/>
            <a:headEnd/>
            <a:tailEnd/>
          </a:ln>
          <a:effectLst/>
        </p:spPr>
        <p:txBody>
          <a:bodyPr wrap="square" lIns="36000" tIns="36000" rIns="36000" bIns="36000" anchor="ctr"/>
          <a:lstStyle/>
          <a:p>
            <a:pPr algn="r" defTabSz="914400">
              <a:spcAft>
                <a:spcPts val="1200"/>
              </a:spcAft>
              <a:defRPr/>
            </a:pPr>
            <a:r>
              <a:rPr lang="en-GB" sz="1400" kern="0">
                <a:solidFill>
                  <a:schemeClr val="bg1"/>
                </a:solidFill>
                <a:latin typeface="Avenir Next LT Pro"/>
              </a:rPr>
              <a:t>Novel biology</a:t>
            </a:r>
          </a:p>
        </p:txBody>
      </p:sp>
      <p:sp>
        <p:nvSpPr>
          <p:cNvPr id="34" name="Rectangle 57">
            <a:extLst>
              <a:ext uri="{FF2B5EF4-FFF2-40B4-BE49-F238E27FC236}">
                <a16:creationId xmlns:a16="http://schemas.microsoft.com/office/drawing/2014/main" id="{C68ED1BB-94FC-CFFB-9FD8-0A3B40939904}"/>
              </a:ext>
            </a:extLst>
          </p:cNvPr>
          <p:cNvSpPr>
            <a:spLocks noChangeArrowheads="1"/>
          </p:cNvSpPr>
          <p:nvPr/>
        </p:nvSpPr>
        <p:spPr bwMode="auto">
          <a:xfrm>
            <a:off x="1608509" y="2099620"/>
            <a:ext cx="1687830" cy="336436"/>
          </a:xfrm>
          <a:prstGeom prst="rect">
            <a:avLst/>
          </a:prstGeom>
          <a:noFill/>
          <a:ln w="6350" cap="flat" cmpd="sng" algn="ctr">
            <a:noFill/>
            <a:prstDash val="solid"/>
            <a:miter lim="800000"/>
            <a:headEnd/>
            <a:tailEnd/>
          </a:ln>
          <a:effectLst/>
        </p:spPr>
        <p:txBody>
          <a:bodyPr wrap="square" lIns="36000" tIns="36000" rIns="36000" bIns="36000" anchor="ctr"/>
          <a:lstStyle/>
          <a:p>
            <a:pPr defTabSz="914400">
              <a:spcAft>
                <a:spcPts val="1200"/>
              </a:spcAft>
              <a:defRPr/>
            </a:pPr>
            <a:r>
              <a:rPr lang="en-GB" sz="1400" kern="0">
                <a:solidFill>
                  <a:schemeClr val="bg1"/>
                </a:solidFill>
                <a:latin typeface="Avenir Next LT Pro"/>
              </a:rPr>
              <a:t>Validated pathways</a:t>
            </a:r>
          </a:p>
        </p:txBody>
      </p:sp>
      <p:cxnSp>
        <p:nvCxnSpPr>
          <p:cNvPr id="39" name="Straight Connector 38">
            <a:extLst>
              <a:ext uri="{FF2B5EF4-FFF2-40B4-BE49-F238E27FC236}">
                <a16:creationId xmlns:a16="http://schemas.microsoft.com/office/drawing/2014/main" id="{3A52D1AA-2816-1CEC-08DB-333A98E92CD5}"/>
              </a:ext>
            </a:extLst>
          </p:cNvPr>
          <p:cNvCxnSpPr>
            <a:cxnSpLocks/>
          </p:cNvCxnSpPr>
          <p:nvPr/>
        </p:nvCxnSpPr>
        <p:spPr>
          <a:xfrm>
            <a:off x="1608509" y="3079865"/>
            <a:ext cx="9471660" cy="0"/>
          </a:xfrm>
          <a:prstGeom prst="line">
            <a:avLst/>
          </a:prstGeom>
          <a:ln w="12700" cap="flat" cmpd="sng" algn="ctr">
            <a:solidFill>
              <a:schemeClr val="bg1"/>
            </a:solidFill>
            <a:prstDash val="solid"/>
            <a:miter lim="800000"/>
            <a:headEnd type="arrow" w="med" len="med"/>
            <a:tailEnd type="arrow" w="med" len="med"/>
          </a:ln>
        </p:spPr>
        <p:style>
          <a:lnRef idx="2">
            <a:schemeClr val="accent1"/>
          </a:lnRef>
          <a:fillRef idx="0">
            <a:schemeClr val="accent1"/>
          </a:fillRef>
          <a:effectRef idx="1">
            <a:schemeClr val="accent1"/>
          </a:effectRef>
          <a:fontRef idx="minor">
            <a:schemeClr val="tx1"/>
          </a:fontRef>
        </p:style>
      </p:cxnSp>
      <p:sp>
        <p:nvSpPr>
          <p:cNvPr id="40" name="Rectangle 57">
            <a:extLst>
              <a:ext uri="{FF2B5EF4-FFF2-40B4-BE49-F238E27FC236}">
                <a16:creationId xmlns:a16="http://schemas.microsoft.com/office/drawing/2014/main" id="{6F037A59-60DE-C93F-F95C-441DDF5719A9}"/>
              </a:ext>
            </a:extLst>
          </p:cNvPr>
          <p:cNvSpPr>
            <a:spLocks noChangeArrowheads="1"/>
          </p:cNvSpPr>
          <p:nvPr/>
        </p:nvSpPr>
        <p:spPr bwMode="auto">
          <a:xfrm>
            <a:off x="5115743" y="2727157"/>
            <a:ext cx="2457191" cy="336436"/>
          </a:xfrm>
          <a:prstGeom prst="rect">
            <a:avLst/>
          </a:prstGeom>
          <a:noFill/>
          <a:ln w="6350" cap="flat" cmpd="sng" algn="ctr">
            <a:noFill/>
            <a:prstDash val="solid"/>
            <a:miter lim="800000"/>
            <a:headEnd/>
            <a:tailEnd/>
          </a:ln>
          <a:effectLst/>
        </p:spPr>
        <p:txBody>
          <a:bodyPr wrap="square" lIns="36000" tIns="36000" rIns="36000" bIns="36000" anchor="t"/>
          <a:lstStyle/>
          <a:p>
            <a:pPr algn="ctr" defTabSz="914400">
              <a:spcAft>
                <a:spcPts val="1200"/>
              </a:spcAft>
              <a:defRPr/>
            </a:pPr>
            <a:r>
              <a:rPr lang="en-GB" sz="1600" b="1" kern="0">
                <a:solidFill>
                  <a:schemeClr val="bg1"/>
                </a:solidFill>
                <a:latin typeface="Avenir Next LT Pro Demi" panose="020B0504020202020204" pitchFamily="34" charset="77"/>
              </a:rPr>
              <a:t>Technology risk</a:t>
            </a:r>
          </a:p>
        </p:txBody>
      </p:sp>
      <p:sp>
        <p:nvSpPr>
          <p:cNvPr id="41" name="Rectangle 57">
            <a:extLst>
              <a:ext uri="{FF2B5EF4-FFF2-40B4-BE49-F238E27FC236}">
                <a16:creationId xmlns:a16="http://schemas.microsoft.com/office/drawing/2014/main" id="{C86EFE64-5D77-D79D-78C6-3F0278238702}"/>
              </a:ext>
            </a:extLst>
          </p:cNvPr>
          <p:cNvSpPr>
            <a:spLocks noChangeArrowheads="1"/>
          </p:cNvSpPr>
          <p:nvPr/>
        </p:nvSpPr>
        <p:spPr bwMode="auto">
          <a:xfrm>
            <a:off x="9727619" y="3096136"/>
            <a:ext cx="1352549" cy="336436"/>
          </a:xfrm>
          <a:prstGeom prst="rect">
            <a:avLst/>
          </a:prstGeom>
          <a:noFill/>
          <a:ln w="6350" cap="flat" cmpd="sng" algn="ctr">
            <a:noFill/>
            <a:prstDash val="solid"/>
            <a:miter lim="800000"/>
            <a:headEnd/>
            <a:tailEnd/>
          </a:ln>
          <a:effectLst/>
        </p:spPr>
        <p:txBody>
          <a:bodyPr wrap="square" lIns="36000" tIns="36000" rIns="36000" bIns="36000" anchor="ctr"/>
          <a:lstStyle/>
          <a:p>
            <a:pPr algn="r" defTabSz="914400">
              <a:spcAft>
                <a:spcPts val="1200"/>
              </a:spcAft>
              <a:defRPr/>
            </a:pPr>
            <a:r>
              <a:rPr lang="en-GB" sz="1400" kern="0">
                <a:solidFill>
                  <a:schemeClr val="bg1"/>
                </a:solidFill>
                <a:latin typeface="Avenir Next LT Pro"/>
              </a:rPr>
              <a:t>New modalities</a:t>
            </a:r>
          </a:p>
        </p:txBody>
      </p:sp>
      <p:sp>
        <p:nvSpPr>
          <p:cNvPr id="42" name="Rectangle 57">
            <a:extLst>
              <a:ext uri="{FF2B5EF4-FFF2-40B4-BE49-F238E27FC236}">
                <a16:creationId xmlns:a16="http://schemas.microsoft.com/office/drawing/2014/main" id="{A679BC4E-CAC2-1D70-4A99-A97305F305E9}"/>
              </a:ext>
            </a:extLst>
          </p:cNvPr>
          <p:cNvSpPr>
            <a:spLocks noChangeArrowheads="1"/>
          </p:cNvSpPr>
          <p:nvPr/>
        </p:nvSpPr>
        <p:spPr bwMode="auto">
          <a:xfrm>
            <a:off x="1608509" y="3096136"/>
            <a:ext cx="1687830" cy="336436"/>
          </a:xfrm>
          <a:prstGeom prst="rect">
            <a:avLst/>
          </a:prstGeom>
          <a:noFill/>
          <a:ln w="6350" cap="flat" cmpd="sng" algn="ctr">
            <a:noFill/>
            <a:prstDash val="solid"/>
            <a:miter lim="800000"/>
            <a:headEnd/>
            <a:tailEnd/>
          </a:ln>
          <a:effectLst/>
        </p:spPr>
        <p:txBody>
          <a:bodyPr wrap="square" lIns="36000" tIns="36000" rIns="36000" bIns="36000" anchor="ctr"/>
          <a:lstStyle/>
          <a:p>
            <a:pPr defTabSz="914400">
              <a:spcAft>
                <a:spcPts val="1200"/>
              </a:spcAft>
              <a:defRPr/>
            </a:pPr>
            <a:r>
              <a:rPr lang="en-GB" sz="1400" kern="0">
                <a:solidFill>
                  <a:schemeClr val="bg1"/>
                </a:solidFill>
                <a:latin typeface="Avenir Next LT Pro"/>
              </a:rPr>
              <a:t>Proven formats</a:t>
            </a:r>
          </a:p>
        </p:txBody>
      </p:sp>
      <p:cxnSp>
        <p:nvCxnSpPr>
          <p:cNvPr id="44" name="Straight Connector 43">
            <a:extLst>
              <a:ext uri="{FF2B5EF4-FFF2-40B4-BE49-F238E27FC236}">
                <a16:creationId xmlns:a16="http://schemas.microsoft.com/office/drawing/2014/main" id="{95C8B627-06B9-349D-37E4-99BABFC578E2}"/>
              </a:ext>
            </a:extLst>
          </p:cNvPr>
          <p:cNvCxnSpPr>
            <a:cxnSpLocks/>
          </p:cNvCxnSpPr>
          <p:nvPr/>
        </p:nvCxnSpPr>
        <p:spPr>
          <a:xfrm>
            <a:off x="1608509" y="4076379"/>
            <a:ext cx="9471660" cy="0"/>
          </a:xfrm>
          <a:prstGeom prst="line">
            <a:avLst/>
          </a:prstGeom>
          <a:ln w="12700" cap="flat" cmpd="sng" algn="ctr">
            <a:solidFill>
              <a:schemeClr val="bg1"/>
            </a:solidFill>
            <a:prstDash val="solid"/>
            <a:miter lim="800000"/>
            <a:headEnd type="arrow" w="med" len="med"/>
            <a:tailEnd type="arrow" w="med" len="med"/>
          </a:ln>
        </p:spPr>
        <p:style>
          <a:lnRef idx="2">
            <a:schemeClr val="accent1"/>
          </a:lnRef>
          <a:fillRef idx="0">
            <a:schemeClr val="accent1"/>
          </a:fillRef>
          <a:effectRef idx="1">
            <a:schemeClr val="accent1"/>
          </a:effectRef>
          <a:fontRef idx="minor">
            <a:schemeClr val="tx1"/>
          </a:fontRef>
        </p:style>
      </p:cxnSp>
      <p:sp>
        <p:nvSpPr>
          <p:cNvPr id="45" name="Rectangle 57">
            <a:extLst>
              <a:ext uri="{FF2B5EF4-FFF2-40B4-BE49-F238E27FC236}">
                <a16:creationId xmlns:a16="http://schemas.microsoft.com/office/drawing/2014/main" id="{E8050314-A82E-E151-12D2-D5D00814E4BA}"/>
              </a:ext>
            </a:extLst>
          </p:cNvPr>
          <p:cNvSpPr>
            <a:spLocks noChangeArrowheads="1"/>
          </p:cNvSpPr>
          <p:nvPr/>
        </p:nvSpPr>
        <p:spPr bwMode="auto">
          <a:xfrm>
            <a:off x="5115743" y="3723671"/>
            <a:ext cx="2457191" cy="336436"/>
          </a:xfrm>
          <a:prstGeom prst="rect">
            <a:avLst/>
          </a:prstGeom>
          <a:noFill/>
          <a:ln w="6350" cap="flat" cmpd="sng" algn="ctr">
            <a:noFill/>
            <a:prstDash val="solid"/>
            <a:miter lim="800000"/>
            <a:headEnd/>
            <a:tailEnd/>
          </a:ln>
          <a:effectLst/>
        </p:spPr>
        <p:txBody>
          <a:bodyPr wrap="square" lIns="36000" tIns="36000" rIns="36000" bIns="36000" anchor="t"/>
          <a:lstStyle/>
          <a:p>
            <a:pPr algn="ctr" defTabSz="914400">
              <a:spcAft>
                <a:spcPts val="1200"/>
              </a:spcAft>
              <a:defRPr/>
            </a:pPr>
            <a:r>
              <a:rPr lang="en-GB" sz="1600" b="1" kern="0">
                <a:solidFill>
                  <a:schemeClr val="bg1"/>
                </a:solidFill>
                <a:latin typeface="Avenir Next LT Pro Demi" panose="020B0504020202020204" pitchFamily="34" charset="77"/>
              </a:rPr>
              <a:t>Clinical risk</a:t>
            </a:r>
          </a:p>
        </p:txBody>
      </p:sp>
      <p:sp>
        <p:nvSpPr>
          <p:cNvPr id="46" name="Rectangle 57">
            <a:extLst>
              <a:ext uri="{FF2B5EF4-FFF2-40B4-BE49-F238E27FC236}">
                <a16:creationId xmlns:a16="http://schemas.microsoft.com/office/drawing/2014/main" id="{E98BC636-8644-1A16-A615-B842774FE423}"/>
              </a:ext>
            </a:extLst>
          </p:cNvPr>
          <p:cNvSpPr>
            <a:spLocks noChangeArrowheads="1"/>
          </p:cNvSpPr>
          <p:nvPr/>
        </p:nvSpPr>
        <p:spPr bwMode="auto">
          <a:xfrm>
            <a:off x="8622719" y="4092650"/>
            <a:ext cx="2457449" cy="336436"/>
          </a:xfrm>
          <a:prstGeom prst="rect">
            <a:avLst/>
          </a:prstGeom>
          <a:noFill/>
          <a:ln w="6350" cap="flat" cmpd="sng" algn="ctr">
            <a:noFill/>
            <a:prstDash val="solid"/>
            <a:miter lim="800000"/>
            <a:headEnd/>
            <a:tailEnd/>
          </a:ln>
          <a:effectLst/>
        </p:spPr>
        <p:txBody>
          <a:bodyPr wrap="square" lIns="36000" tIns="36000" rIns="36000" bIns="36000" anchor="ctr"/>
          <a:lstStyle/>
          <a:p>
            <a:pPr algn="r" defTabSz="914400">
              <a:spcAft>
                <a:spcPts val="1200"/>
              </a:spcAft>
              <a:defRPr/>
            </a:pPr>
            <a:r>
              <a:rPr lang="en-GB" sz="1400" kern="0">
                <a:solidFill>
                  <a:schemeClr val="bg1"/>
                </a:solidFill>
                <a:latin typeface="Avenir Next LT Pro"/>
              </a:rPr>
              <a:t>Discovery / preclinical stage</a:t>
            </a:r>
          </a:p>
        </p:txBody>
      </p:sp>
      <p:sp>
        <p:nvSpPr>
          <p:cNvPr id="47" name="Rectangle 57">
            <a:extLst>
              <a:ext uri="{FF2B5EF4-FFF2-40B4-BE49-F238E27FC236}">
                <a16:creationId xmlns:a16="http://schemas.microsoft.com/office/drawing/2014/main" id="{E9D08A8B-249C-CAA4-841B-3F6A2C3B056A}"/>
              </a:ext>
            </a:extLst>
          </p:cNvPr>
          <p:cNvSpPr>
            <a:spLocks noChangeArrowheads="1"/>
          </p:cNvSpPr>
          <p:nvPr/>
        </p:nvSpPr>
        <p:spPr bwMode="auto">
          <a:xfrm>
            <a:off x="1608509" y="4092650"/>
            <a:ext cx="1687830" cy="336436"/>
          </a:xfrm>
          <a:prstGeom prst="rect">
            <a:avLst/>
          </a:prstGeom>
          <a:noFill/>
          <a:ln w="6350" cap="flat" cmpd="sng" algn="ctr">
            <a:noFill/>
            <a:prstDash val="solid"/>
            <a:miter lim="800000"/>
            <a:headEnd/>
            <a:tailEnd/>
          </a:ln>
          <a:effectLst/>
        </p:spPr>
        <p:txBody>
          <a:bodyPr wrap="square" lIns="36000" tIns="36000" rIns="36000" bIns="36000" anchor="ctr"/>
          <a:lstStyle/>
          <a:p>
            <a:pPr defTabSz="914400">
              <a:spcAft>
                <a:spcPts val="1200"/>
              </a:spcAft>
              <a:defRPr/>
            </a:pPr>
            <a:r>
              <a:rPr lang="en-GB" sz="1400" kern="0">
                <a:solidFill>
                  <a:schemeClr val="bg1"/>
                </a:solidFill>
                <a:latin typeface="Avenir Next LT Pro"/>
              </a:rPr>
              <a:t>Clinical stage</a:t>
            </a:r>
          </a:p>
        </p:txBody>
      </p:sp>
      <p:cxnSp>
        <p:nvCxnSpPr>
          <p:cNvPr id="49" name="Straight Connector 48">
            <a:extLst>
              <a:ext uri="{FF2B5EF4-FFF2-40B4-BE49-F238E27FC236}">
                <a16:creationId xmlns:a16="http://schemas.microsoft.com/office/drawing/2014/main" id="{9D97D776-6C83-66D7-4D41-9CF0C3E60F36}"/>
              </a:ext>
            </a:extLst>
          </p:cNvPr>
          <p:cNvCxnSpPr>
            <a:cxnSpLocks/>
          </p:cNvCxnSpPr>
          <p:nvPr/>
        </p:nvCxnSpPr>
        <p:spPr>
          <a:xfrm>
            <a:off x="1608509" y="5072894"/>
            <a:ext cx="9471660" cy="0"/>
          </a:xfrm>
          <a:prstGeom prst="line">
            <a:avLst/>
          </a:prstGeom>
          <a:ln w="12700" cap="flat" cmpd="sng" algn="ctr">
            <a:solidFill>
              <a:schemeClr val="bg1"/>
            </a:solidFill>
            <a:prstDash val="solid"/>
            <a:miter lim="800000"/>
            <a:headEnd type="arrow" w="med" len="med"/>
            <a:tailEnd type="arrow" w="med" len="med"/>
          </a:ln>
        </p:spPr>
        <p:style>
          <a:lnRef idx="2">
            <a:schemeClr val="accent1"/>
          </a:lnRef>
          <a:fillRef idx="0">
            <a:schemeClr val="accent1"/>
          </a:fillRef>
          <a:effectRef idx="1">
            <a:schemeClr val="accent1"/>
          </a:effectRef>
          <a:fontRef idx="minor">
            <a:schemeClr val="tx1"/>
          </a:fontRef>
        </p:style>
      </p:cxnSp>
      <p:sp>
        <p:nvSpPr>
          <p:cNvPr id="50" name="Rectangle 57">
            <a:extLst>
              <a:ext uri="{FF2B5EF4-FFF2-40B4-BE49-F238E27FC236}">
                <a16:creationId xmlns:a16="http://schemas.microsoft.com/office/drawing/2014/main" id="{760CA175-C2DC-5C97-525F-B93661CE89AB}"/>
              </a:ext>
            </a:extLst>
          </p:cNvPr>
          <p:cNvSpPr>
            <a:spLocks noChangeArrowheads="1"/>
          </p:cNvSpPr>
          <p:nvPr/>
        </p:nvSpPr>
        <p:spPr bwMode="auto">
          <a:xfrm>
            <a:off x="5115743" y="4720186"/>
            <a:ext cx="2457191" cy="336436"/>
          </a:xfrm>
          <a:prstGeom prst="rect">
            <a:avLst/>
          </a:prstGeom>
          <a:noFill/>
          <a:ln w="6350" cap="flat" cmpd="sng" algn="ctr">
            <a:noFill/>
            <a:prstDash val="solid"/>
            <a:miter lim="800000"/>
            <a:headEnd/>
            <a:tailEnd/>
          </a:ln>
          <a:effectLst/>
        </p:spPr>
        <p:txBody>
          <a:bodyPr wrap="square" lIns="36000" tIns="36000" rIns="36000" bIns="36000" anchor="t"/>
          <a:lstStyle/>
          <a:p>
            <a:pPr algn="ctr" defTabSz="914400">
              <a:spcAft>
                <a:spcPts val="1200"/>
              </a:spcAft>
              <a:defRPr/>
            </a:pPr>
            <a:r>
              <a:rPr lang="en-GB" sz="1600" b="1" kern="0">
                <a:solidFill>
                  <a:schemeClr val="bg1"/>
                </a:solidFill>
                <a:latin typeface="Avenir Next LT Pro Demi" panose="020B0504020202020204" pitchFamily="34" charset="77"/>
              </a:rPr>
              <a:t>Portfolio risk</a:t>
            </a:r>
          </a:p>
        </p:txBody>
      </p:sp>
      <p:sp>
        <p:nvSpPr>
          <p:cNvPr id="51" name="Rectangle 57">
            <a:extLst>
              <a:ext uri="{FF2B5EF4-FFF2-40B4-BE49-F238E27FC236}">
                <a16:creationId xmlns:a16="http://schemas.microsoft.com/office/drawing/2014/main" id="{1F796442-8022-3347-6D43-EA00D75A2AE0}"/>
              </a:ext>
            </a:extLst>
          </p:cNvPr>
          <p:cNvSpPr>
            <a:spLocks noChangeArrowheads="1"/>
          </p:cNvSpPr>
          <p:nvPr/>
        </p:nvSpPr>
        <p:spPr bwMode="auto">
          <a:xfrm>
            <a:off x="9072299" y="5089165"/>
            <a:ext cx="2007869" cy="336436"/>
          </a:xfrm>
          <a:prstGeom prst="rect">
            <a:avLst/>
          </a:prstGeom>
          <a:noFill/>
          <a:ln w="6350" cap="flat" cmpd="sng" algn="ctr">
            <a:noFill/>
            <a:prstDash val="solid"/>
            <a:miter lim="800000"/>
            <a:headEnd/>
            <a:tailEnd/>
          </a:ln>
          <a:effectLst/>
        </p:spPr>
        <p:txBody>
          <a:bodyPr wrap="square" lIns="36000" tIns="36000" rIns="36000" bIns="36000" anchor="ctr"/>
          <a:lstStyle/>
          <a:p>
            <a:pPr algn="r" defTabSz="914400">
              <a:spcAft>
                <a:spcPts val="1200"/>
              </a:spcAft>
              <a:defRPr/>
            </a:pPr>
            <a:r>
              <a:rPr lang="en-GB" sz="1400" kern="0">
                <a:solidFill>
                  <a:schemeClr val="bg1"/>
                </a:solidFill>
                <a:latin typeface="Avenir Next LT Pro"/>
              </a:rPr>
              <a:t>Concentrated exposure</a:t>
            </a:r>
          </a:p>
        </p:txBody>
      </p:sp>
      <p:sp>
        <p:nvSpPr>
          <p:cNvPr id="52" name="Rectangle 57">
            <a:extLst>
              <a:ext uri="{FF2B5EF4-FFF2-40B4-BE49-F238E27FC236}">
                <a16:creationId xmlns:a16="http://schemas.microsoft.com/office/drawing/2014/main" id="{575FBDF1-51D0-22B9-723D-1E2C99BDDFE4}"/>
              </a:ext>
            </a:extLst>
          </p:cNvPr>
          <p:cNvSpPr>
            <a:spLocks noChangeArrowheads="1"/>
          </p:cNvSpPr>
          <p:nvPr/>
        </p:nvSpPr>
        <p:spPr bwMode="auto">
          <a:xfrm>
            <a:off x="1608509" y="5089165"/>
            <a:ext cx="2632710" cy="336436"/>
          </a:xfrm>
          <a:prstGeom prst="rect">
            <a:avLst/>
          </a:prstGeom>
          <a:noFill/>
          <a:ln w="6350" cap="flat" cmpd="sng" algn="ctr">
            <a:noFill/>
            <a:prstDash val="solid"/>
            <a:miter lim="800000"/>
            <a:headEnd/>
            <a:tailEnd/>
          </a:ln>
          <a:effectLst/>
        </p:spPr>
        <p:txBody>
          <a:bodyPr wrap="square" lIns="36000" tIns="36000" rIns="36000" bIns="36000" anchor="ctr"/>
          <a:lstStyle/>
          <a:p>
            <a:pPr defTabSz="914400">
              <a:spcAft>
                <a:spcPts val="1200"/>
              </a:spcAft>
              <a:defRPr/>
            </a:pPr>
            <a:r>
              <a:rPr lang="en-GB" sz="1400" kern="0">
                <a:solidFill>
                  <a:schemeClr val="bg1"/>
                </a:solidFill>
                <a:latin typeface="Avenir Next LT Pro"/>
              </a:rPr>
              <a:t>Multi-company diversification</a:t>
            </a:r>
          </a:p>
        </p:txBody>
      </p:sp>
      <p:sp>
        <p:nvSpPr>
          <p:cNvPr id="26" name="Oval 25">
            <a:extLst>
              <a:ext uri="{FF2B5EF4-FFF2-40B4-BE49-F238E27FC236}">
                <a16:creationId xmlns:a16="http://schemas.microsoft.com/office/drawing/2014/main" id="{9C5056FD-A211-E4F9-1FCD-035B26B26D8E}"/>
              </a:ext>
            </a:extLst>
          </p:cNvPr>
          <p:cNvSpPr>
            <a:spLocks/>
          </p:cNvSpPr>
          <p:nvPr/>
        </p:nvSpPr>
        <p:spPr>
          <a:xfrm>
            <a:off x="6263786" y="5001048"/>
            <a:ext cx="143691" cy="143691"/>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defRPr/>
            </a:pPr>
            <a:endParaRPr lang="en-GB">
              <a:solidFill>
                <a:srgbClr val="FFFFFF"/>
              </a:solidFill>
              <a:latin typeface="Avenir Next LT Pro"/>
            </a:endParaRPr>
          </a:p>
        </p:txBody>
      </p:sp>
      <p:sp>
        <p:nvSpPr>
          <p:cNvPr id="28" name="Oval 27">
            <a:extLst>
              <a:ext uri="{FF2B5EF4-FFF2-40B4-BE49-F238E27FC236}">
                <a16:creationId xmlns:a16="http://schemas.microsoft.com/office/drawing/2014/main" id="{0027488F-FC9C-2B1D-4CA7-2CBB7829BD34}"/>
              </a:ext>
            </a:extLst>
          </p:cNvPr>
          <p:cNvSpPr>
            <a:spLocks/>
          </p:cNvSpPr>
          <p:nvPr/>
        </p:nvSpPr>
        <p:spPr>
          <a:xfrm>
            <a:off x="4077693" y="2011503"/>
            <a:ext cx="143691" cy="143691"/>
          </a:xfrm>
          <a:prstGeom prst="ellipse">
            <a:avLst/>
          </a:prstGeom>
          <a:solidFill>
            <a:schemeClr val="tx2">
              <a:lumMod val="10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396000" rIns="0" bIns="0" rtlCol="0" anchor="ctr"/>
          <a:lstStyle/>
          <a:p>
            <a:pPr algn="ctr" defTabSz="914400">
              <a:defRPr/>
            </a:pPr>
            <a:r>
              <a:rPr lang="en-GB" sz="1400">
                <a:solidFill>
                  <a:schemeClr val="bg1"/>
                </a:solidFill>
                <a:latin typeface="Avenir Next LT Pro"/>
              </a:rPr>
              <a:t>V1</a:t>
            </a:r>
          </a:p>
        </p:txBody>
      </p:sp>
      <p:sp>
        <p:nvSpPr>
          <p:cNvPr id="29" name="Oval 28">
            <a:extLst>
              <a:ext uri="{FF2B5EF4-FFF2-40B4-BE49-F238E27FC236}">
                <a16:creationId xmlns:a16="http://schemas.microsoft.com/office/drawing/2014/main" id="{4034FF97-1DCC-504D-DC70-FF9A1C7D2C38}"/>
              </a:ext>
            </a:extLst>
          </p:cNvPr>
          <p:cNvSpPr>
            <a:spLocks/>
          </p:cNvSpPr>
          <p:nvPr/>
        </p:nvSpPr>
        <p:spPr>
          <a:xfrm>
            <a:off x="8281098" y="3008018"/>
            <a:ext cx="143691" cy="143691"/>
          </a:xfrm>
          <a:prstGeom prst="ellipse">
            <a:avLst/>
          </a:prstGeom>
          <a:solidFill>
            <a:schemeClr val="tx2">
              <a:lumMod val="10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396000" rIns="0" bIns="0" rtlCol="0" anchor="ctr"/>
          <a:lstStyle/>
          <a:p>
            <a:pPr algn="ctr" defTabSz="914400">
              <a:defRPr/>
            </a:pPr>
            <a:r>
              <a:rPr lang="en-GB" sz="1400">
                <a:solidFill>
                  <a:schemeClr val="bg1"/>
                </a:solidFill>
                <a:latin typeface="Avenir Next LT Pro"/>
              </a:rPr>
              <a:t>V1</a:t>
            </a:r>
          </a:p>
        </p:txBody>
      </p:sp>
      <p:sp>
        <p:nvSpPr>
          <p:cNvPr id="32" name="Oval 31">
            <a:extLst>
              <a:ext uri="{FF2B5EF4-FFF2-40B4-BE49-F238E27FC236}">
                <a16:creationId xmlns:a16="http://schemas.microsoft.com/office/drawing/2014/main" id="{EFCE6A54-C349-9F52-477C-85825CB2CFCD}"/>
              </a:ext>
            </a:extLst>
          </p:cNvPr>
          <p:cNvSpPr>
            <a:spLocks/>
          </p:cNvSpPr>
          <p:nvPr/>
        </p:nvSpPr>
        <p:spPr>
          <a:xfrm>
            <a:off x="4077693" y="4004533"/>
            <a:ext cx="143691" cy="143691"/>
          </a:xfrm>
          <a:prstGeom prst="ellipse">
            <a:avLst/>
          </a:prstGeom>
          <a:solidFill>
            <a:schemeClr val="tx2">
              <a:lumMod val="10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396000" rIns="0" bIns="0" rtlCol="0" anchor="ctr"/>
          <a:lstStyle/>
          <a:p>
            <a:pPr algn="ctr" defTabSz="914400">
              <a:defRPr/>
            </a:pPr>
            <a:r>
              <a:rPr lang="en-GB" sz="1400">
                <a:solidFill>
                  <a:schemeClr val="bg1"/>
                </a:solidFill>
                <a:latin typeface="Avenir Next LT Pro"/>
              </a:rPr>
              <a:t>V1</a:t>
            </a:r>
          </a:p>
        </p:txBody>
      </p:sp>
      <p:sp>
        <p:nvSpPr>
          <p:cNvPr id="33" name="Oval 32">
            <a:extLst>
              <a:ext uri="{FF2B5EF4-FFF2-40B4-BE49-F238E27FC236}">
                <a16:creationId xmlns:a16="http://schemas.microsoft.com/office/drawing/2014/main" id="{683545AD-C91C-41B6-6318-5DECD9B453CC}"/>
              </a:ext>
            </a:extLst>
          </p:cNvPr>
          <p:cNvSpPr>
            <a:spLocks/>
          </p:cNvSpPr>
          <p:nvPr/>
        </p:nvSpPr>
        <p:spPr>
          <a:xfrm>
            <a:off x="8281098" y="2011503"/>
            <a:ext cx="143691" cy="143691"/>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396000" rIns="0" bIns="0" rtlCol="0" anchor="ctr"/>
          <a:lstStyle/>
          <a:p>
            <a:pPr algn="ctr" defTabSz="914400">
              <a:defRPr/>
            </a:pPr>
            <a:r>
              <a:rPr lang="en-GB" sz="1400">
                <a:solidFill>
                  <a:schemeClr val="bg1"/>
                </a:solidFill>
                <a:latin typeface="Avenir Next LT Pro"/>
              </a:rPr>
              <a:t>V2</a:t>
            </a:r>
          </a:p>
        </p:txBody>
      </p:sp>
      <p:sp>
        <p:nvSpPr>
          <p:cNvPr id="35" name="Oval 34">
            <a:extLst>
              <a:ext uri="{FF2B5EF4-FFF2-40B4-BE49-F238E27FC236}">
                <a16:creationId xmlns:a16="http://schemas.microsoft.com/office/drawing/2014/main" id="{4DD7F606-CB17-A212-501B-09061C1DDAF5}"/>
              </a:ext>
            </a:extLst>
          </p:cNvPr>
          <p:cNvSpPr>
            <a:spLocks/>
          </p:cNvSpPr>
          <p:nvPr/>
        </p:nvSpPr>
        <p:spPr>
          <a:xfrm>
            <a:off x="4077693" y="2991747"/>
            <a:ext cx="143691" cy="143691"/>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396000" rIns="0" bIns="0" rtlCol="0" anchor="ctr"/>
          <a:lstStyle/>
          <a:p>
            <a:pPr algn="ctr" defTabSz="914400">
              <a:defRPr/>
            </a:pPr>
            <a:r>
              <a:rPr lang="en-GB" sz="1400">
                <a:solidFill>
                  <a:schemeClr val="bg1"/>
                </a:solidFill>
                <a:latin typeface="Avenir Next LT Pro"/>
              </a:rPr>
              <a:t>V2</a:t>
            </a:r>
          </a:p>
        </p:txBody>
      </p:sp>
      <p:sp>
        <p:nvSpPr>
          <p:cNvPr id="36" name="Oval 35">
            <a:extLst>
              <a:ext uri="{FF2B5EF4-FFF2-40B4-BE49-F238E27FC236}">
                <a16:creationId xmlns:a16="http://schemas.microsoft.com/office/drawing/2014/main" id="{FA7F465B-8C1F-7E8E-9E06-5A9158E74D64}"/>
              </a:ext>
            </a:extLst>
          </p:cNvPr>
          <p:cNvSpPr>
            <a:spLocks/>
          </p:cNvSpPr>
          <p:nvPr/>
        </p:nvSpPr>
        <p:spPr>
          <a:xfrm>
            <a:off x="8281098" y="4004533"/>
            <a:ext cx="143691" cy="143691"/>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396000" rIns="0" bIns="0" rtlCol="0" anchor="ctr"/>
          <a:lstStyle/>
          <a:p>
            <a:pPr algn="ctr" defTabSz="914400">
              <a:defRPr/>
            </a:pPr>
            <a:r>
              <a:rPr lang="en-GB" sz="1400">
                <a:solidFill>
                  <a:schemeClr val="bg1"/>
                </a:solidFill>
                <a:latin typeface="Avenir Next LT Pro"/>
              </a:rPr>
              <a:t>V2</a:t>
            </a:r>
          </a:p>
        </p:txBody>
      </p:sp>
      <p:sp>
        <p:nvSpPr>
          <p:cNvPr id="37" name="Oval 36">
            <a:extLst>
              <a:ext uri="{FF2B5EF4-FFF2-40B4-BE49-F238E27FC236}">
                <a16:creationId xmlns:a16="http://schemas.microsoft.com/office/drawing/2014/main" id="{DD3BC748-FEA1-4902-EB12-7484DF3D05DA}"/>
              </a:ext>
            </a:extLst>
          </p:cNvPr>
          <p:cNvSpPr>
            <a:spLocks/>
          </p:cNvSpPr>
          <p:nvPr/>
        </p:nvSpPr>
        <p:spPr>
          <a:xfrm>
            <a:off x="893847" y="6378987"/>
            <a:ext cx="143691" cy="143691"/>
          </a:xfrm>
          <a:prstGeom prst="ellipse">
            <a:avLst/>
          </a:prstGeom>
          <a:solidFill>
            <a:schemeClr val="tx2">
              <a:lumMod val="10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288000" tIns="0" rIns="0" bIns="0" rtlCol="0" anchor="ctr"/>
          <a:lstStyle/>
          <a:p>
            <a:pPr defTabSz="914400">
              <a:defRPr/>
            </a:pPr>
            <a:r>
              <a:rPr lang="en-GB" sz="1400">
                <a:solidFill>
                  <a:schemeClr val="bg1"/>
                </a:solidFill>
                <a:latin typeface="Avenir Next LT Pro"/>
              </a:rPr>
              <a:t>Example ventures</a:t>
            </a:r>
          </a:p>
        </p:txBody>
      </p:sp>
      <p:sp>
        <p:nvSpPr>
          <p:cNvPr id="54" name="Oval 53">
            <a:extLst>
              <a:ext uri="{FF2B5EF4-FFF2-40B4-BE49-F238E27FC236}">
                <a16:creationId xmlns:a16="http://schemas.microsoft.com/office/drawing/2014/main" id="{6F189703-5C77-BF31-769C-A8C8EA8D0F23}"/>
              </a:ext>
            </a:extLst>
          </p:cNvPr>
          <p:cNvSpPr>
            <a:spLocks/>
          </p:cNvSpPr>
          <p:nvPr/>
        </p:nvSpPr>
        <p:spPr>
          <a:xfrm>
            <a:off x="667997" y="6378987"/>
            <a:ext cx="143691" cy="143691"/>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288000" tIns="0" rIns="0" bIns="0" rtlCol="0" anchor="ctr"/>
          <a:lstStyle/>
          <a:p>
            <a:pPr defTabSz="914400">
              <a:defRPr/>
            </a:pPr>
            <a:endParaRPr lang="en-GB" sz="1400" i="1">
              <a:solidFill>
                <a:srgbClr val="001965">
                  <a:lumMod val="100000"/>
                </a:srgbClr>
              </a:solidFill>
              <a:latin typeface="Avenir Next LT Pro"/>
            </a:endParaRPr>
          </a:p>
        </p:txBody>
      </p:sp>
      <p:sp>
        <p:nvSpPr>
          <p:cNvPr id="57" name="Rectangle 57">
            <a:extLst>
              <a:ext uri="{FF2B5EF4-FFF2-40B4-BE49-F238E27FC236}">
                <a16:creationId xmlns:a16="http://schemas.microsoft.com/office/drawing/2014/main" id="{BF08C4B7-D443-8AC5-7933-459774E75D1A}"/>
              </a:ext>
            </a:extLst>
          </p:cNvPr>
          <p:cNvSpPr>
            <a:spLocks noChangeArrowheads="1"/>
          </p:cNvSpPr>
          <p:nvPr/>
        </p:nvSpPr>
        <p:spPr bwMode="auto">
          <a:xfrm>
            <a:off x="3655045" y="6282613"/>
            <a:ext cx="2105404" cy="336436"/>
          </a:xfrm>
          <a:prstGeom prst="rect">
            <a:avLst/>
          </a:prstGeom>
          <a:noFill/>
          <a:ln w="6350" cap="flat" cmpd="sng" algn="ctr">
            <a:noFill/>
            <a:prstDash val="solid"/>
            <a:miter lim="800000"/>
            <a:headEnd/>
            <a:tailEnd/>
          </a:ln>
          <a:effectLst/>
        </p:spPr>
        <p:txBody>
          <a:bodyPr wrap="square" lIns="36000" tIns="36000" rIns="36000" bIns="36000" anchor="ctr"/>
          <a:lstStyle/>
          <a:p>
            <a:pPr defTabSz="914400">
              <a:spcAft>
                <a:spcPts val="1200"/>
              </a:spcAft>
              <a:defRPr/>
            </a:pPr>
            <a:r>
              <a:rPr lang="en-GB" sz="1400" kern="0">
                <a:solidFill>
                  <a:schemeClr val="bg1"/>
                </a:solidFill>
                <a:latin typeface="Avenir Next LT Pro"/>
              </a:rPr>
              <a:t>Ventures portfolio</a:t>
            </a:r>
          </a:p>
        </p:txBody>
      </p:sp>
      <p:sp>
        <p:nvSpPr>
          <p:cNvPr id="58" name="Oval 57">
            <a:extLst>
              <a:ext uri="{FF2B5EF4-FFF2-40B4-BE49-F238E27FC236}">
                <a16:creationId xmlns:a16="http://schemas.microsoft.com/office/drawing/2014/main" id="{00D0904D-8DBA-39E6-32A4-ED1A066002D4}"/>
              </a:ext>
            </a:extLst>
          </p:cNvPr>
          <p:cNvSpPr>
            <a:spLocks/>
          </p:cNvSpPr>
          <p:nvPr/>
        </p:nvSpPr>
        <p:spPr>
          <a:xfrm>
            <a:off x="2800797" y="6378987"/>
            <a:ext cx="143691" cy="143691"/>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defRPr/>
            </a:pPr>
            <a:endParaRPr lang="en-GB">
              <a:solidFill>
                <a:srgbClr val="FFFFFF"/>
              </a:solidFill>
              <a:latin typeface="Avenir Next LT Pro"/>
            </a:endParaRPr>
          </a:p>
        </p:txBody>
      </p:sp>
      <p:grpSp>
        <p:nvGrpSpPr>
          <p:cNvPr id="60" name="Group 59">
            <a:extLst>
              <a:ext uri="{FF2B5EF4-FFF2-40B4-BE49-F238E27FC236}">
                <a16:creationId xmlns:a16="http://schemas.microsoft.com/office/drawing/2014/main" id="{63B40376-E96E-BB08-E400-62EE5E4D1BCA}"/>
              </a:ext>
            </a:extLst>
          </p:cNvPr>
          <p:cNvGrpSpPr>
            <a:grpSpLocks noChangeAspect="1"/>
          </p:cNvGrpSpPr>
          <p:nvPr/>
        </p:nvGrpSpPr>
        <p:grpSpPr>
          <a:xfrm>
            <a:off x="666850" y="1715570"/>
            <a:ext cx="720000" cy="720000"/>
            <a:chOff x="1667653" y="2609095"/>
            <a:chExt cx="1728000" cy="1728000"/>
          </a:xfrm>
        </p:grpSpPr>
        <p:pic>
          <p:nvPicPr>
            <p:cNvPr id="4" name="Graphic 3">
              <a:extLst>
                <a:ext uri="{FF2B5EF4-FFF2-40B4-BE49-F238E27FC236}">
                  <a16:creationId xmlns:a16="http://schemas.microsoft.com/office/drawing/2014/main" id="{0F18D859-E892-B480-61CA-B95207E64D7B}"/>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667653" y="2609095"/>
              <a:ext cx="1728000" cy="1728000"/>
            </a:xfrm>
            <a:prstGeom prst="rect">
              <a:avLst/>
            </a:prstGeom>
          </p:spPr>
        </p:pic>
        <p:grpSp>
          <p:nvGrpSpPr>
            <p:cNvPr id="6" name="Graphic 32">
              <a:extLst>
                <a:ext uri="{FF2B5EF4-FFF2-40B4-BE49-F238E27FC236}">
                  <a16:creationId xmlns:a16="http://schemas.microsoft.com/office/drawing/2014/main" id="{D0898FB5-419F-F4E5-8FF9-6A68EF4C797A}"/>
                </a:ext>
              </a:extLst>
            </p:cNvPr>
            <p:cNvGrpSpPr/>
            <p:nvPr/>
          </p:nvGrpSpPr>
          <p:grpSpPr>
            <a:xfrm>
              <a:off x="2157099" y="2993259"/>
              <a:ext cx="749108" cy="939927"/>
              <a:chOff x="2342919" y="4364339"/>
              <a:chExt cx="609504" cy="764762"/>
            </a:xfrm>
          </p:grpSpPr>
          <p:grpSp>
            <p:nvGrpSpPr>
              <p:cNvPr id="8" name="Graphic 32">
                <a:extLst>
                  <a:ext uri="{FF2B5EF4-FFF2-40B4-BE49-F238E27FC236}">
                    <a16:creationId xmlns:a16="http://schemas.microsoft.com/office/drawing/2014/main" id="{CFAABCEC-81CD-DD77-3306-D94D789D1AC0}"/>
                  </a:ext>
                </a:extLst>
              </p:cNvPr>
              <p:cNvGrpSpPr/>
              <p:nvPr/>
            </p:nvGrpSpPr>
            <p:grpSpPr>
              <a:xfrm>
                <a:off x="2446455" y="4364339"/>
                <a:ext cx="117824" cy="531876"/>
                <a:chOff x="2446455" y="4364339"/>
                <a:chExt cx="117824" cy="531876"/>
              </a:xfrm>
            </p:grpSpPr>
            <p:sp>
              <p:nvSpPr>
                <p:cNvPr id="56" name="Freeform 55">
                  <a:extLst>
                    <a:ext uri="{FF2B5EF4-FFF2-40B4-BE49-F238E27FC236}">
                      <a16:creationId xmlns:a16="http://schemas.microsoft.com/office/drawing/2014/main" id="{A6D134C6-11C8-5681-8DB1-B13AB00D4E33}"/>
                    </a:ext>
                  </a:extLst>
                </p:cNvPr>
                <p:cNvSpPr/>
                <p:nvPr/>
              </p:nvSpPr>
              <p:spPr>
                <a:xfrm>
                  <a:off x="2453599" y="4371482"/>
                  <a:ext cx="103441" cy="517588"/>
                </a:xfrm>
                <a:custGeom>
                  <a:avLst/>
                  <a:gdLst>
                    <a:gd name="connsiteX0" fmla="*/ 103442 w 103441"/>
                    <a:gd name="connsiteY0" fmla="*/ 51721 h 517588"/>
                    <a:gd name="connsiteX1" fmla="*/ 103442 w 103441"/>
                    <a:gd name="connsiteY1" fmla="*/ 0 h 517588"/>
                    <a:gd name="connsiteX2" fmla="*/ 0 w 103441"/>
                    <a:gd name="connsiteY2" fmla="*/ 0 h 517588"/>
                    <a:gd name="connsiteX3" fmla="*/ 0 w 103441"/>
                    <a:gd name="connsiteY3" fmla="*/ 51721 h 517588"/>
                    <a:gd name="connsiteX4" fmla="*/ 25813 w 103441"/>
                    <a:gd name="connsiteY4" fmla="*/ 51721 h 517588"/>
                    <a:gd name="connsiteX5" fmla="*/ 25813 w 103441"/>
                    <a:gd name="connsiteY5" fmla="*/ 103537 h 517588"/>
                    <a:gd name="connsiteX6" fmla="*/ 0 w 103441"/>
                    <a:gd name="connsiteY6" fmla="*/ 103537 h 517588"/>
                    <a:gd name="connsiteX7" fmla="*/ 0 w 103441"/>
                    <a:gd name="connsiteY7" fmla="*/ 388144 h 517588"/>
                    <a:gd name="connsiteX8" fmla="*/ 25813 w 103441"/>
                    <a:gd name="connsiteY8" fmla="*/ 388144 h 517588"/>
                    <a:gd name="connsiteX9" fmla="*/ 25813 w 103441"/>
                    <a:gd name="connsiteY9" fmla="*/ 517589 h 517588"/>
                    <a:gd name="connsiteX10" fmla="*/ 77629 w 103441"/>
                    <a:gd name="connsiteY10" fmla="*/ 517589 h 517588"/>
                    <a:gd name="connsiteX11" fmla="*/ 77629 w 103441"/>
                    <a:gd name="connsiteY11" fmla="*/ 388144 h 517588"/>
                    <a:gd name="connsiteX12" fmla="*/ 103442 w 103441"/>
                    <a:gd name="connsiteY12" fmla="*/ 388144 h 517588"/>
                    <a:gd name="connsiteX13" fmla="*/ 103442 w 103441"/>
                    <a:gd name="connsiteY13" fmla="*/ 103537 h 517588"/>
                    <a:gd name="connsiteX14" fmla="*/ 77629 w 103441"/>
                    <a:gd name="connsiteY14" fmla="*/ 103537 h 517588"/>
                    <a:gd name="connsiteX15" fmla="*/ 77629 w 103441"/>
                    <a:gd name="connsiteY15" fmla="*/ 51721 h 517588"/>
                    <a:gd name="connsiteX16" fmla="*/ 103442 w 103441"/>
                    <a:gd name="connsiteY16" fmla="*/ 51721 h 5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441" h="517588">
                      <a:moveTo>
                        <a:pt x="103442" y="51721"/>
                      </a:moveTo>
                      <a:lnTo>
                        <a:pt x="103442" y="0"/>
                      </a:lnTo>
                      <a:lnTo>
                        <a:pt x="0" y="0"/>
                      </a:lnTo>
                      <a:lnTo>
                        <a:pt x="0" y="51721"/>
                      </a:lnTo>
                      <a:lnTo>
                        <a:pt x="25813" y="51721"/>
                      </a:lnTo>
                      <a:lnTo>
                        <a:pt x="25813" y="103537"/>
                      </a:lnTo>
                      <a:lnTo>
                        <a:pt x="0" y="103537"/>
                      </a:lnTo>
                      <a:lnTo>
                        <a:pt x="0" y="388144"/>
                      </a:lnTo>
                      <a:lnTo>
                        <a:pt x="25813" y="388144"/>
                      </a:lnTo>
                      <a:lnTo>
                        <a:pt x="25813" y="517589"/>
                      </a:lnTo>
                      <a:lnTo>
                        <a:pt x="77629" y="517589"/>
                      </a:lnTo>
                      <a:lnTo>
                        <a:pt x="77629" y="388144"/>
                      </a:lnTo>
                      <a:lnTo>
                        <a:pt x="103442" y="388144"/>
                      </a:lnTo>
                      <a:lnTo>
                        <a:pt x="103442" y="103537"/>
                      </a:lnTo>
                      <a:lnTo>
                        <a:pt x="77629" y="103537"/>
                      </a:lnTo>
                      <a:lnTo>
                        <a:pt x="77629" y="51721"/>
                      </a:lnTo>
                      <a:lnTo>
                        <a:pt x="103442" y="51721"/>
                      </a:lnTo>
                      <a:close/>
                    </a:path>
                  </a:pathLst>
                </a:custGeom>
                <a:solidFill>
                  <a:srgbClr val="2878FF">
                    <a:alpha val="50000"/>
                  </a:srgbClr>
                </a:solidFill>
                <a:ln w="9525" cap="flat">
                  <a:noFill/>
                  <a:prstDash val="solid"/>
                  <a:miter/>
                </a:ln>
              </p:spPr>
              <p:txBody>
                <a:bodyPr rtlCol="0" anchor="ctr"/>
                <a:lstStyle/>
                <a:p>
                  <a:pPr defTabSz="914400"/>
                  <a:endParaRPr lang="en-DK">
                    <a:solidFill>
                      <a:srgbClr val="001965"/>
                    </a:solidFill>
                    <a:latin typeface="Avenir Next LT Pro"/>
                  </a:endParaRPr>
                </a:p>
              </p:txBody>
            </p:sp>
            <p:sp>
              <p:nvSpPr>
                <p:cNvPr id="59" name="Freeform 58">
                  <a:extLst>
                    <a:ext uri="{FF2B5EF4-FFF2-40B4-BE49-F238E27FC236}">
                      <a16:creationId xmlns:a16="http://schemas.microsoft.com/office/drawing/2014/main" id="{3C261D8D-8ABB-7A08-7EE0-739BE2C5F1C3}"/>
                    </a:ext>
                  </a:extLst>
                </p:cNvPr>
                <p:cNvSpPr/>
                <p:nvPr/>
              </p:nvSpPr>
              <p:spPr>
                <a:xfrm>
                  <a:off x="2446455" y="4364339"/>
                  <a:ext cx="117824" cy="531876"/>
                </a:xfrm>
                <a:custGeom>
                  <a:avLst/>
                  <a:gdLst>
                    <a:gd name="connsiteX0" fmla="*/ 84773 w 117824"/>
                    <a:gd name="connsiteY0" fmla="*/ 531876 h 531876"/>
                    <a:gd name="connsiteX1" fmla="*/ 33052 w 117824"/>
                    <a:gd name="connsiteY1" fmla="*/ 531876 h 531876"/>
                    <a:gd name="connsiteX2" fmla="*/ 25908 w 117824"/>
                    <a:gd name="connsiteY2" fmla="*/ 524732 h 531876"/>
                    <a:gd name="connsiteX3" fmla="*/ 25908 w 117824"/>
                    <a:gd name="connsiteY3" fmla="*/ 402526 h 531876"/>
                    <a:gd name="connsiteX4" fmla="*/ 7144 w 117824"/>
                    <a:gd name="connsiteY4" fmla="*/ 402526 h 531876"/>
                    <a:gd name="connsiteX5" fmla="*/ 0 w 117824"/>
                    <a:gd name="connsiteY5" fmla="*/ 395383 h 531876"/>
                    <a:gd name="connsiteX6" fmla="*/ 0 w 117824"/>
                    <a:gd name="connsiteY6" fmla="*/ 110681 h 531876"/>
                    <a:gd name="connsiteX7" fmla="*/ 7144 w 117824"/>
                    <a:gd name="connsiteY7" fmla="*/ 103537 h 531876"/>
                    <a:gd name="connsiteX8" fmla="*/ 25908 w 117824"/>
                    <a:gd name="connsiteY8" fmla="*/ 103537 h 531876"/>
                    <a:gd name="connsiteX9" fmla="*/ 25908 w 117824"/>
                    <a:gd name="connsiteY9" fmla="*/ 66104 h 531876"/>
                    <a:gd name="connsiteX10" fmla="*/ 7144 w 117824"/>
                    <a:gd name="connsiteY10" fmla="*/ 66104 h 531876"/>
                    <a:gd name="connsiteX11" fmla="*/ 0 w 117824"/>
                    <a:gd name="connsiteY11" fmla="*/ 58960 h 531876"/>
                    <a:gd name="connsiteX12" fmla="*/ 0 w 117824"/>
                    <a:gd name="connsiteY12" fmla="*/ 7144 h 531876"/>
                    <a:gd name="connsiteX13" fmla="*/ 7144 w 117824"/>
                    <a:gd name="connsiteY13" fmla="*/ 0 h 531876"/>
                    <a:gd name="connsiteX14" fmla="*/ 110681 w 117824"/>
                    <a:gd name="connsiteY14" fmla="*/ 0 h 531876"/>
                    <a:gd name="connsiteX15" fmla="*/ 117824 w 117824"/>
                    <a:gd name="connsiteY15" fmla="*/ 7144 h 531876"/>
                    <a:gd name="connsiteX16" fmla="*/ 117824 w 117824"/>
                    <a:gd name="connsiteY16" fmla="*/ 58865 h 531876"/>
                    <a:gd name="connsiteX17" fmla="*/ 110681 w 117824"/>
                    <a:gd name="connsiteY17" fmla="*/ 66008 h 531876"/>
                    <a:gd name="connsiteX18" fmla="*/ 91916 w 117824"/>
                    <a:gd name="connsiteY18" fmla="*/ 66008 h 531876"/>
                    <a:gd name="connsiteX19" fmla="*/ 91916 w 117824"/>
                    <a:gd name="connsiteY19" fmla="*/ 103442 h 531876"/>
                    <a:gd name="connsiteX20" fmla="*/ 110681 w 117824"/>
                    <a:gd name="connsiteY20" fmla="*/ 103442 h 531876"/>
                    <a:gd name="connsiteX21" fmla="*/ 117824 w 117824"/>
                    <a:gd name="connsiteY21" fmla="*/ 110585 h 531876"/>
                    <a:gd name="connsiteX22" fmla="*/ 117824 w 117824"/>
                    <a:gd name="connsiteY22" fmla="*/ 395192 h 531876"/>
                    <a:gd name="connsiteX23" fmla="*/ 110681 w 117824"/>
                    <a:gd name="connsiteY23" fmla="*/ 402336 h 531876"/>
                    <a:gd name="connsiteX24" fmla="*/ 91916 w 117824"/>
                    <a:gd name="connsiteY24" fmla="*/ 402336 h 531876"/>
                    <a:gd name="connsiteX25" fmla="*/ 91916 w 117824"/>
                    <a:gd name="connsiteY25" fmla="*/ 524542 h 531876"/>
                    <a:gd name="connsiteX26" fmla="*/ 84773 w 117824"/>
                    <a:gd name="connsiteY26" fmla="*/ 531686 h 531876"/>
                    <a:gd name="connsiteX27" fmla="*/ 40196 w 117824"/>
                    <a:gd name="connsiteY27" fmla="*/ 517589 h 531876"/>
                    <a:gd name="connsiteX28" fmla="*/ 77629 w 117824"/>
                    <a:gd name="connsiteY28" fmla="*/ 517589 h 531876"/>
                    <a:gd name="connsiteX29" fmla="*/ 77629 w 117824"/>
                    <a:gd name="connsiteY29" fmla="*/ 395383 h 531876"/>
                    <a:gd name="connsiteX30" fmla="*/ 84773 w 117824"/>
                    <a:gd name="connsiteY30" fmla="*/ 388239 h 531876"/>
                    <a:gd name="connsiteX31" fmla="*/ 103537 w 117824"/>
                    <a:gd name="connsiteY31" fmla="*/ 388239 h 531876"/>
                    <a:gd name="connsiteX32" fmla="*/ 103537 w 117824"/>
                    <a:gd name="connsiteY32" fmla="*/ 117824 h 531876"/>
                    <a:gd name="connsiteX33" fmla="*/ 84773 w 117824"/>
                    <a:gd name="connsiteY33" fmla="*/ 117824 h 531876"/>
                    <a:gd name="connsiteX34" fmla="*/ 77629 w 117824"/>
                    <a:gd name="connsiteY34" fmla="*/ 110681 h 531876"/>
                    <a:gd name="connsiteX35" fmla="*/ 77629 w 117824"/>
                    <a:gd name="connsiteY35" fmla="*/ 58960 h 531876"/>
                    <a:gd name="connsiteX36" fmla="*/ 84773 w 117824"/>
                    <a:gd name="connsiteY36" fmla="*/ 51816 h 531876"/>
                    <a:gd name="connsiteX37" fmla="*/ 103537 w 117824"/>
                    <a:gd name="connsiteY37" fmla="*/ 51816 h 531876"/>
                    <a:gd name="connsiteX38" fmla="*/ 103537 w 117824"/>
                    <a:gd name="connsiteY38" fmla="*/ 14288 h 531876"/>
                    <a:gd name="connsiteX39" fmla="*/ 14288 w 117824"/>
                    <a:gd name="connsiteY39" fmla="*/ 14288 h 531876"/>
                    <a:gd name="connsiteX40" fmla="*/ 14288 w 117824"/>
                    <a:gd name="connsiteY40" fmla="*/ 51721 h 531876"/>
                    <a:gd name="connsiteX41" fmla="*/ 33052 w 117824"/>
                    <a:gd name="connsiteY41" fmla="*/ 51721 h 531876"/>
                    <a:gd name="connsiteX42" fmla="*/ 40196 w 117824"/>
                    <a:gd name="connsiteY42" fmla="*/ 58865 h 531876"/>
                    <a:gd name="connsiteX43" fmla="*/ 40196 w 117824"/>
                    <a:gd name="connsiteY43" fmla="*/ 110585 h 531876"/>
                    <a:gd name="connsiteX44" fmla="*/ 33052 w 117824"/>
                    <a:gd name="connsiteY44" fmla="*/ 117729 h 531876"/>
                    <a:gd name="connsiteX45" fmla="*/ 14288 w 117824"/>
                    <a:gd name="connsiteY45" fmla="*/ 117729 h 531876"/>
                    <a:gd name="connsiteX46" fmla="*/ 14288 w 117824"/>
                    <a:gd name="connsiteY46" fmla="*/ 388049 h 531876"/>
                    <a:gd name="connsiteX47" fmla="*/ 33052 w 117824"/>
                    <a:gd name="connsiteY47" fmla="*/ 388049 h 531876"/>
                    <a:gd name="connsiteX48" fmla="*/ 40196 w 117824"/>
                    <a:gd name="connsiteY48" fmla="*/ 395192 h 531876"/>
                    <a:gd name="connsiteX49" fmla="*/ 40196 w 117824"/>
                    <a:gd name="connsiteY49" fmla="*/ 517398 h 53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7824" h="531876">
                      <a:moveTo>
                        <a:pt x="84773" y="531876"/>
                      </a:moveTo>
                      <a:lnTo>
                        <a:pt x="33052" y="531876"/>
                      </a:lnTo>
                      <a:cubicBezTo>
                        <a:pt x="29147" y="531876"/>
                        <a:pt x="25908" y="528638"/>
                        <a:pt x="25908" y="524732"/>
                      </a:cubicBezTo>
                      <a:lnTo>
                        <a:pt x="25908" y="402526"/>
                      </a:lnTo>
                      <a:lnTo>
                        <a:pt x="7144" y="402526"/>
                      </a:lnTo>
                      <a:cubicBezTo>
                        <a:pt x="3239" y="402526"/>
                        <a:pt x="0" y="399288"/>
                        <a:pt x="0" y="395383"/>
                      </a:cubicBezTo>
                      <a:lnTo>
                        <a:pt x="0" y="110681"/>
                      </a:lnTo>
                      <a:cubicBezTo>
                        <a:pt x="0" y="106775"/>
                        <a:pt x="3239" y="103537"/>
                        <a:pt x="7144" y="103537"/>
                      </a:cubicBezTo>
                      <a:lnTo>
                        <a:pt x="25908" y="103537"/>
                      </a:lnTo>
                      <a:lnTo>
                        <a:pt x="25908" y="66104"/>
                      </a:lnTo>
                      <a:lnTo>
                        <a:pt x="7144" y="66104"/>
                      </a:lnTo>
                      <a:cubicBezTo>
                        <a:pt x="3239" y="66104"/>
                        <a:pt x="0" y="62865"/>
                        <a:pt x="0" y="58960"/>
                      </a:cubicBezTo>
                      <a:lnTo>
                        <a:pt x="0" y="7144"/>
                      </a:lnTo>
                      <a:cubicBezTo>
                        <a:pt x="0" y="3239"/>
                        <a:pt x="3239" y="0"/>
                        <a:pt x="7144" y="0"/>
                      </a:cubicBezTo>
                      <a:lnTo>
                        <a:pt x="110681" y="0"/>
                      </a:lnTo>
                      <a:cubicBezTo>
                        <a:pt x="114586" y="0"/>
                        <a:pt x="117824" y="3239"/>
                        <a:pt x="117824" y="7144"/>
                      </a:cubicBezTo>
                      <a:lnTo>
                        <a:pt x="117824" y="58865"/>
                      </a:lnTo>
                      <a:cubicBezTo>
                        <a:pt x="117824" y="62770"/>
                        <a:pt x="114586" y="66008"/>
                        <a:pt x="110681" y="66008"/>
                      </a:cubicBezTo>
                      <a:lnTo>
                        <a:pt x="91916" y="66008"/>
                      </a:lnTo>
                      <a:lnTo>
                        <a:pt x="91916" y="103442"/>
                      </a:lnTo>
                      <a:lnTo>
                        <a:pt x="110681" y="103442"/>
                      </a:lnTo>
                      <a:cubicBezTo>
                        <a:pt x="114586" y="103442"/>
                        <a:pt x="117824" y="106680"/>
                        <a:pt x="117824" y="110585"/>
                      </a:cubicBezTo>
                      <a:lnTo>
                        <a:pt x="117824" y="395192"/>
                      </a:lnTo>
                      <a:cubicBezTo>
                        <a:pt x="117824" y="399098"/>
                        <a:pt x="114586" y="402336"/>
                        <a:pt x="110681" y="402336"/>
                      </a:cubicBezTo>
                      <a:lnTo>
                        <a:pt x="91916" y="402336"/>
                      </a:lnTo>
                      <a:lnTo>
                        <a:pt x="91916" y="524542"/>
                      </a:lnTo>
                      <a:cubicBezTo>
                        <a:pt x="91916" y="528447"/>
                        <a:pt x="88678" y="531686"/>
                        <a:pt x="84773" y="531686"/>
                      </a:cubicBezTo>
                      <a:close/>
                      <a:moveTo>
                        <a:pt x="40196" y="517589"/>
                      </a:moveTo>
                      <a:lnTo>
                        <a:pt x="77629" y="517589"/>
                      </a:lnTo>
                      <a:lnTo>
                        <a:pt x="77629" y="395383"/>
                      </a:lnTo>
                      <a:cubicBezTo>
                        <a:pt x="77629" y="391478"/>
                        <a:pt x="80867" y="388239"/>
                        <a:pt x="84773" y="388239"/>
                      </a:cubicBezTo>
                      <a:lnTo>
                        <a:pt x="103537" y="388239"/>
                      </a:lnTo>
                      <a:lnTo>
                        <a:pt x="103537" y="117824"/>
                      </a:lnTo>
                      <a:lnTo>
                        <a:pt x="84773" y="117824"/>
                      </a:lnTo>
                      <a:cubicBezTo>
                        <a:pt x="80867" y="117824"/>
                        <a:pt x="77629" y="114586"/>
                        <a:pt x="77629" y="110681"/>
                      </a:cubicBezTo>
                      <a:lnTo>
                        <a:pt x="77629" y="58960"/>
                      </a:lnTo>
                      <a:cubicBezTo>
                        <a:pt x="77629" y="55055"/>
                        <a:pt x="80867" y="51816"/>
                        <a:pt x="84773" y="51816"/>
                      </a:cubicBezTo>
                      <a:lnTo>
                        <a:pt x="103537" y="51816"/>
                      </a:lnTo>
                      <a:lnTo>
                        <a:pt x="103537" y="14288"/>
                      </a:lnTo>
                      <a:lnTo>
                        <a:pt x="14288" y="14288"/>
                      </a:lnTo>
                      <a:lnTo>
                        <a:pt x="14288" y="51721"/>
                      </a:lnTo>
                      <a:lnTo>
                        <a:pt x="33052" y="51721"/>
                      </a:lnTo>
                      <a:cubicBezTo>
                        <a:pt x="36957" y="51721"/>
                        <a:pt x="40196" y="54959"/>
                        <a:pt x="40196" y="58865"/>
                      </a:cubicBezTo>
                      <a:lnTo>
                        <a:pt x="40196" y="110585"/>
                      </a:lnTo>
                      <a:cubicBezTo>
                        <a:pt x="40196" y="114491"/>
                        <a:pt x="36957" y="117729"/>
                        <a:pt x="33052" y="117729"/>
                      </a:cubicBezTo>
                      <a:lnTo>
                        <a:pt x="14288" y="117729"/>
                      </a:lnTo>
                      <a:lnTo>
                        <a:pt x="14288" y="388049"/>
                      </a:lnTo>
                      <a:lnTo>
                        <a:pt x="33052" y="388049"/>
                      </a:lnTo>
                      <a:cubicBezTo>
                        <a:pt x="36957" y="388049"/>
                        <a:pt x="40196" y="391287"/>
                        <a:pt x="40196" y="395192"/>
                      </a:cubicBezTo>
                      <a:lnTo>
                        <a:pt x="40196" y="517398"/>
                      </a:lnTo>
                      <a:close/>
                    </a:path>
                  </a:pathLst>
                </a:custGeom>
                <a:solidFill>
                  <a:srgbClr val="FFFFFF"/>
                </a:solidFill>
                <a:ln w="9525" cap="flat">
                  <a:noFill/>
                  <a:prstDash val="solid"/>
                  <a:miter/>
                </a:ln>
              </p:spPr>
              <p:txBody>
                <a:bodyPr rtlCol="0" anchor="ctr"/>
                <a:lstStyle/>
                <a:p>
                  <a:pPr defTabSz="914400"/>
                  <a:endParaRPr lang="en-DK">
                    <a:solidFill>
                      <a:srgbClr val="001965"/>
                    </a:solidFill>
                    <a:latin typeface="Avenir Next LT Pro"/>
                  </a:endParaRPr>
                </a:p>
              </p:txBody>
            </p:sp>
          </p:grpSp>
          <p:sp>
            <p:nvSpPr>
              <p:cNvPr id="15" name="Freeform 14">
                <a:extLst>
                  <a:ext uri="{FF2B5EF4-FFF2-40B4-BE49-F238E27FC236}">
                    <a16:creationId xmlns:a16="http://schemas.microsoft.com/office/drawing/2014/main" id="{EE9F706C-8018-B057-9E73-056ADA4DEDC2}"/>
                  </a:ext>
                </a:extLst>
              </p:cNvPr>
              <p:cNvSpPr/>
              <p:nvPr/>
            </p:nvSpPr>
            <p:spPr>
              <a:xfrm>
                <a:off x="2394639" y="4933648"/>
                <a:ext cx="247173" cy="14287"/>
              </a:xfrm>
              <a:custGeom>
                <a:avLst/>
                <a:gdLst>
                  <a:gd name="connsiteX0" fmla="*/ 240125 w 247173"/>
                  <a:gd name="connsiteY0" fmla="*/ 14288 h 14287"/>
                  <a:gd name="connsiteX1" fmla="*/ 7144 w 247173"/>
                  <a:gd name="connsiteY1" fmla="*/ 14288 h 14287"/>
                  <a:gd name="connsiteX2" fmla="*/ 0 w 247173"/>
                  <a:gd name="connsiteY2" fmla="*/ 7144 h 14287"/>
                  <a:gd name="connsiteX3" fmla="*/ 7144 w 247173"/>
                  <a:gd name="connsiteY3" fmla="*/ 0 h 14287"/>
                  <a:gd name="connsiteX4" fmla="*/ 240030 w 247173"/>
                  <a:gd name="connsiteY4" fmla="*/ 0 h 14287"/>
                  <a:gd name="connsiteX5" fmla="*/ 247174 w 247173"/>
                  <a:gd name="connsiteY5" fmla="*/ 7144 h 14287"/>
                  <a:gd name="connsiteX6" fmla="*/ 240030 w 24717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173" h="14287">
                    <a:moveTo>
                      <a:pt x="240125" y="14288"/>
                    </a:moveTo>
                    <a:lnTo>
                      <a:pt x="7144" y="14288"/>
                    </a:lnTo>
                    <a:cubicBezTo>
                      <a:pt x="3239" y="14288"/>
                      <a:pt x="0" y="11049"/>
                      <a:pt x="0" y="7144"/>
                    </a:cubicBezTo>
                    <a:cubicBezTo>
                      <a:pt x="0" y="3239"/>
                      <a:pt x="3239" y="0"/>
                      <a:pt x="7144" y="0"/>
                    </a:cubicBezTo>
                    <a:lnTo>
                      <a:pt x="240030" y="0"/>
                    </a:lnTo>
                    <a:cubicBezTo>
                      <a:pt x="243935" y="0"/>
                      <a:pt x="247174" y="3239"/>
                      <a:pt x="247174" y="7144"/>
                    </a:cubicBezTo>
                    <a:cubicBezTo>
                      <a:pt x="247174" y="11049"/>
                      <a:pt x="243935" y="14288"/>
                      <a:pt x="240030" y="14288"/>
                    </a:cubicBezTo>
                    <a:close/>
                  </a:path>
                </a:pathLst>
              </a:custGeom>
              <a:solidFill>
                <a:srgbClr val="FFFFFF"/>
              </a:solidFill>
              <a:ln w="9525" cap="flat">
                <a:noFill/>
                <a:prstDash val="solid"/>
                <a:miter/>
              </a:ln>
            </p:spPr>
            <p:txBody>
              <a:bodyPr rtlCol="0" anchor="ctr"/>
              <a:lstStyle/>
              <a:p>
                <a:pPr defTabSz="914400"/>
                <a:endParaRPr lang="en-DK">
                  <a:solidFill>
                    <a:srgbClr val="001965"/>
                  </a:solidFill>
                  <a:latin typeface="Avenir Next LT Pro"/>
                </a:endParaRPr>
              </a:p>
            </p:txBody>
          </p:sp>
          <p:grpSp>
            <p:nvGrpSpPr>
              <p:cNvPr id="17" name="Graphic 32">
                <a:extLst>
                  <a:ext uri="{FF2B5EF4-FFF2-40B4-BE49-F238E27FC236}">
                    <a16:creationId xmlns:a16="http://schemas.microsoft.com/office/drawing/2014/main" id="{70E7E762-210C-9C6A-BC58-7B3A9410E0CF}"/>
                  </a:ext>
                </a:extLst>
              </p:cNvPr>
              <p:cNvGrpSpPr/>
              <p:nvPr/>
            </p:nvGrpSpPr>
            <p:grpSpPr>
              <a:xfrm>
                <a:off x="2446455" y="5011276"/>
                <a:ext cx="117824" cy="66008"/>
                <a:chOff x="2446455" y="5011276"/>
                <a:chExt cx="117824" cy="66008"/>
              </a:xfrm>
            </p:grpSpPr>
            <p:sp>
              <p:nvSpPr>
                <p:cNvPr id="25" name="Freeform 24">
                  <a:extLst>
                    <a:ext uri="{FF2B5EF4-FFF2-40B4-BE49-F238E27FC236}">
                      <a16:creationId xmlns:a16="http://schemas.microsoft.com/office/drawing/2014/main" id="{CAAC2643-C05B-3941-A8BD-0DA63332632C}"/>
                    </a:ext>
                  </a:extLst>
                </p:cNvPr>
                <p:cNvSpPr/>
                <p:nvPr/>
              </p:nvSpPr>
              <p:spPr>
                <a:xfrm>
                  <a:off x="2453599" y="5018420"/>
                  <a:ext cx="103536" cy="51720"/>
                </a:xfrm>
                <a:custGeom>
                  <a:avLst/>
                  <a:gdLst>
                    <a:gd name="connsiteX0" fmla="*/ 0 w 103536"/>
                    <a:gd name="connsiteY0" fmla="*/ 0 h 51720"/>
                    <a:gd name="connsiteX1" fmla="*/ 103537 w 103536"/>
                    <a:gd name="connsiteY1" fmla="*/ 0 h 51720"/>
                    <a:gd name="connsiteX2" fmla="*/ 103537 w 103536"/>
                    <a:gd name="connsiteY2" fmla="*/ 51721 h 51720"/>
                    <a:gd name="connsiteX3" fmla="*/ 0 w 103536"/>
                    <a:gd name="connsiteY3" fmla="*/ 51721 h 51720"/>
                  </a:gdLst>
                  <a:ahLst/>
                  <a:cxnLst>
                    <a:cxn ang="0">
                      <a:pos x="connsiteX0" y="connsiteY0"/>
                    </a:cxn>
                    <a:cxn ang="0">
                      <a:pos x="connsiteX1" y="connsiteY1"/>
                    </a:cxn>
                    <a:cxn ang="0">
                      <a:pos x="connsiteX2" y="connsiteY2"/>
                    </a:cxn>
                    <a:cxn ang="0">
                      <a:pos x="connsiteX3" y="connsiteY3"/>
                    </a:cxn>
                  </a:cxnLst>
                  <a:rect l="l" t="t" r="r" b="b"/>
                  <a:pathLst>
                    <a:path w="103536" h="51720">
                      <a:moveTo>
                        <a:pt x="0" y="0"/>
                      </a:moveTo>
                      <a:lnTo>
                        <a:pt x="103537" y="0"/>
                      </a:lnTo>
                      <a:lnTo>
                        <a:pt x="103537" y="51721"/>
                      </a:lnTo>
                      <a:lnTo>
                        <a:pt x="0" y="51721"/>
                      </a:lnTo>
                      <a:close/>
                    </a:path>
                  </a:pathLst>
                </a:custGeom>
                <a:solidFill>
                  <a:srgbClr val="2878FF">
                    <a:alpha val="49920"/>
                  </a:srgbClr>
                </a:solidFill>
                <a:ln w="9525" cap="flat">
                  <a:noFill/>
                  <a:prstDash val="solid"/>
                  <a:miter/>
                </a:ln>
              </p:spPr>
              <p:txBody>
                <a:bodyPr rtlCol="0" anchor="ctr"/>
                <a:lstStyle/>
                <a:p>
                  <a:pPr defTabSz="914400"/>
                  <a:endParaRPr lang="en-DK">
                    <a:solidFill>
                      <a:srgbClr val="001965"/>
                    </a:solidFill>
                    <a:latin typeface="Avenir Next LT Pro"/>
                  </a:endParaRPr>
                </a:p>
              </p:txBody>
            </p:sp>
            <p:sp>
              <p:nvSpPr>
                <p:cNvPr id="53" name="Freeform 52">
                  <a:extLst>
                    <a:ext uri="{FF2B5EF4-FFF2-40B4-BE49-F238E27FC236}">
                      <a16:creationId xmlns:a16="http://schemas.microsoft.com/office/drawing/2014/main" id="{EEB7B33F-83B5-19EF-C979-888C3974F198}"/>
                    </a:ext>
                  </a:extLst>
                </p:cNvPr>
                <p:cNvSpPr/>
                <p:nvPr/>
              </p:nvSpPr>
              <p:spPr>
                <a:xfrm>
                  <a:off x="2446455" y="5011276"/>
                  <a:ext cx="117824" cy="66008"/>
                </a:xfrm>
                <a:custGeom>
                  <a:avLst/>
                  <a:gdLst>
                    <a:gd name="connsiteX0" fmla="*/ 110681 w 117824"/>
                    <a:gd name="connsiteY0" fmla="*/ 66008 h 66008"/>
                    <a:gd name="connsiteX1" fmla="*/ 7144 w 117824"/>
                    <a:gd name="connsiteY1" fmla="*/ 66008 h 66008"/>
                    <a:gd name="connsiteX2" fmla="*/ 0 w 117824"/>
                    <a:gd name="connsiteY2" fmla="*/ 58865 h 66008"/>
                    <a:gd name="connsiteX3" fmla="*/ 0 w 117824"/>
                    <a:gd name="connsiteY3" fmla="*/ 7144 h 66008"/>
                    <a:gd name="connsiteX4" fmla="*/ 7144 w 117824"/>
                    <a:gd name="connsiteY4" fmla="*/ 0 h 66008"/>
                    <a:gd name="connsiteX5" fmla="*/ 110681 w 117824"/>
                    <a:gd name="connsiteY5" fmla="*/ 0 h 66008"/>
                    <a:gd name="connsiteX6" fmla="*/ 117824 w 117824"/>
                    <a:gd name="connsiteY6" fmla="*/ 7144 h 66008"/>
                    <a:gd name="connsiteX7" fmla="*/ 117824 w 117824"/>
                    <a:gd name="connsiteY7" fmla="*/ 58865 h 66008"/>
                    <a:gd name="connsiteX8" fmla="*/ 110681 w 117824"/>
                    <a:gd name="connsiteY8" fmla="*/ 66008 h 66008"/>
                    <a:gd name="connsiteX9" fmla="*/ 14288 w 117824"/>
                    <a:gd name="connsiteY9" fmla="*/ 51721 h 66008"/>
                    <a:gd name="connsiteX10" fmla="*/ 103537 w 117824"/>
                    <a:gd name="connsiteY10" fmla="*/ 51721 h 66008"/>
                    <a:gd name="connsiteX11" fmla="*/ 103537 w 117824"/>
                    <a:gd name="connsiteY11" fmla="*/ 14288 h 66008"/>
                    <a:gd name="connsiteX12" fmla="*/ 14288 w 117824"/>
                    <a:gd name="connsiteY12" fmla="*/ 14288 h 66008"/>
                    <a:gd name="connsiteX13" fmla="*/ 14288 w 117824"/>
                    <a:gd name="connsiteY13" fmla="*/ 51721 h 66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824" h="66008">
                      <a:moveTo>
                        <a:pt x="110681" y="66008"/>
                      </a:moveTo>
                      <a:lnTo>
                        <a:pt x="7144" y="66008"/>
                      </a:lnTo>
                      <a:cubicBezTo>
                        <a:pt x="3239" y="66008"/>
                        <a:pt x="0" y="62770"/>
                        <a:pt x="0" y="58865"/>
                      </a:cubicBezTo>
                      <a:lnTo>
                        <a:pt x="0" y="7144"/>
                      </a:lnTo>
                      <a:cubicBezTo>
                        <a:pt x="0" y="3239"/>
                        <a:pt x="3239" y="0"/>
                        <a:pt x="7144" y="0"/>
                      </a:cubicBezTo>
                      <a:lnTo>
                        <a:pt x="110681" y="0"/>
                      </a:lnTo>
                      <a:cubicBezTo>
                        <a:pt x="114586" y="0"/>
                        <a:pt x="117824" y="3239"/>
                        <a:pt x="117824" y="7144"/>
                      </a:cubicBezTo>
                      <a:lnTo>
                        <a:pt x="117824" y="58865"/>
                      </a:lnTo>
                      <a:cubicBezTo>
                        <a:pt x="117824" y="62770"/>
                        <a:pt x="114586" y="66008"/>
                        <a:pt x="110681" y="66008"/>
                      </a:cubicBezTo>
                      <a:close/>
                      <a:moveTo>
                        <a:pt x="14288" y="51721"/>
                      </a:moveTo>
                      <a:lnTo>
                        <a:pt x="103537" y="51721"/>
                      </a:lnTo>
                      <a:lnTo>
                        <a:pt x="103537" y="14288"/>
                      </a:lnTo>
                      <a:lnTo>
                        <a:pt x="14288" y="14288"/>
                      </a:lnTo>
                      <a:lnTo>
                        <a:pt x="14288" y="51721"/>
                      </a:lnTo>
                      <a:close/>
                    </a:path>
                  </a:pathLst>
                </a:custGeom>
                <a:solidFill>
                  <a:srgbClr val="FFFFFF"/>
                </a:solidFill>
                <a:ln w="9525" cap="flat">
                  <a:noFill/>
                  <a:prstDash val="solid"/>
                  <a:miter/>
                </a:ln>
              </p:spPr>
              <p:txBody>
                <a:bodyPr rtlCol="0" anchor="ctr"/>
                <a:lstStyle/>
                <a:p>
                  <a:pPr defTabSz="914400"/>
                  <a:endParaRPr lang="en-DK">
                    <a:solidFill>
                      <a:srgbClr val="001965"/>
                    </a:solidFill>
                    <a:latin typeface="Avenir Next LT Pro"/>
                  </a:endParaRPr>
                </a:p>
              </p:txBody>
            </p:sp>
          </p:grpSp>
          <p:grpSp>
            <p:nvGrpSpPr>
              <p:cNvPr id="19" name="Graphic 32">
                <a:extLst>
                  <a:ext uri="{FF2B5EF4-FFF2-40B4-BE49-F238E27FC236}">
                    <a16:creationId xmlns:a16="http://schemas.microsoft.com/office/drawing/2014/main" id="{19051D6F-DDE7-712E-D4EC-B8781E181CA0}"/>
                  </a:ext>
                </a:extLst>
              </p:cNvPr>
              <p:cNvGrpSpPr/>
              <p:nvPr/>
            </p:nvGrpSpPr>
            <p:grpSpPr>
              <a:xfrm>
                <a:off x="2575805" y="4467875"/>
                <a:ext cx="143636" cy="143637"/>
                <a:chOff x="2575805" y="4467875"/>
                <a:chExt cx="143636" cy="143637"/>
              </a:xfrm>
            </p:grpSpPr>
            <p:sp>
              <p:nvSpPr>
                <p:cNvPr id="23" name="Freeform 22">
                  <a:extLst>
                    <a:ext uri="{FF2B5EF4-FFF2-40B4-BE49-F238E27FC236}">
                      <a16:creationId xmlns:a16="http://schemas.microsoft.com/office/drawing/2014/main" id="{B35B6AEC-6397-5F62-F524-DAAF8421AC88}"/>
                    </a:ext>
                  </a:extLst>
                </p:cNvPr>
                <p:cNvSpPr/>
                <p:nvPr/>
              </p:nvSpPr>
              <p:spPr>
                <a:xfrm>
                  <a:off x="2582949" y="4475019"/>
                  <a:ext cx="129349" cy="129349"/>
                </a:xfrm>
                <a:custGeom>
                  <a:avLst/>
                  <a:gdLst>
                    <a:gd name="connsiteX0" fmla="*/ 129349 w 129349"/>
                    <a:gd name="connsiteY0" fmla="*/ 64675 h 129349"/>
                    <a:gd name="connsiteX1" fmla="*/ 64675 w 129349"/>
                    <a:gd name="connsiteY1" fmla="*/ 129350 h 129349"/>
                    <a:gd name="connsiteX2" fmla="*/ 0 w 129349"/>
                    <a:gd name="connsiteY2" fmla="*/ 64675 h 129349"/>
                    <a:gd name="connsiteX3" fmla="*/ 64675 w 129349"/>
                    <a:gd name="connsiteY3" fmla="*/ 0 h 129349"/>
                    <a:gd name="connsiteX4" fmla="*/ 129349 w 129349"/>
                    <a:gd name="connsiteY4" fmla="*/ 64675 h 129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349" h="129349">
                      <a:moveTo>
                        <a:pt x="129349" y="64675"/>
                      </a:moveTo>
                      <a:cubicBezTo>
                        <a:pt x="129349" y="100394"/>
                        <a:pt x="100394" y="129350"/>
                        <a:pt x="64675" y="129350"/>
                      </a:cubicBezTo>
                      <a:cubicBezTo>
                        <a:pt x="28956" y="129350"/>
                        <a:pt x="0" y="100394"/>
                        <a:pt x="0" y="64675"/>
                      </a:cubicBezTo>
                      <a:cubicBezTo>
                        <a:pt x="0" y="28956"/>
                        <a:pt x="28956" y="0"/>
                        <a:pt x="64675" y="0"/>
                      </a:cubicBezTo>
                      <a:cubicBezTo>
                        <a:pt x="100394" y="0"/>
                        <a:pt x="129349" y="28956"/>
                        <a:pt x="129349" y="64675"/>
                      </a:cubicBezTo>
                      <a:close/>
                    </a:path>
                  </a:pathLst>
                </a:custGeom>
                <a:solidFill>
                  <a:srgbClr val="2878FF">
                    <a:alpha val="49920"/>
                  </a:srgbClr>
                </a:solidFill>
                <a:ln w="9525" cap="flat">
                  <a:noFill/>
                  <a:prstDash val="solid"/>
                  <a:miter/>
                </a:ln>
              </p:spPr>
              <p:txBody>
                <a:bodyPr rtlCol="0" anchor="ctr"/>
                <a:lstStyle/>
                <a:p>
                  <a:pPr defTabSz="914400"/>
                  <a:endParaRPr lang="en-DK">
                    <a:solidFill>
                      <a:srgbClr val="001965"/>
                    </a:solidFill>
                    <a:latin typeface="Avenir Next LT Pro"/>
                  </a:endParaRPr>
                </a:p>
              </p:txBody>
            </p:sp>
            <p:sp>
              <p:nvSpPr>
                <p:cNvPr id="24" name="Freeform 23">
                  <a:extLst>
                    <a:ext uri="{FF2B5EF4-FFF2-40B4-BE49-F238E27FC236}">
                      <a16:creationId xmlns:a16="http://schemas.microsoft.com/office/drawing/2014/main" id="{1D63013B-EE43-44BD-10BA-C10EBBF9792D}"/>
                    </a:ext>
                  </a:extLst>
                </p:cNvPr>
                <p:cNvSpPr/>
                <p:nvPr/>
              </p:nvSpPr>
              <p:spPr>
                <a:xfrm>
                  <a:off x="2575805" y="4467875"/>
                  <a:ext cx="143636" cy="143637"/>
                </a:xfrm>
                <a:custGeom>
                  <a:avLst/>
                  <a:gdLst>
                    <a:gd name="connsiteX0" fmla="*/ 71818 w 143636"/>
                    <a:gd name="connsiteY0" fmla="*/ 143637 h 143637"/>
                    <a:gd name="connsiteX1" fmla="*/ 0 w 143636"/>
                    <a:gd name="connsiteY1" fmla="*/ 71819 h 143637"/>
                    <a:gd name="connsiteX2" fmla="*/ 71818 w 143636"/>
                    <a:gd name="connsiteY2" fmla="*/ 0 h 143637"/>
                    <a:gd name="connsiteX3" fmla="*/ 143637 w 143636"/>
                    <a:gd name="connsiteY3" fmla="*/ 71819 h 143637"/>
                    <a:gd name="connsiteX4" fmla="*/ 71818 w 143636"/>
                    <a:gd name="connsiteY4" fmla="*/ 143637 h 143637"/>
                    <a:gd name="connsiteX5" fmla="*/ 71818 w 143636"/>
                    <a:gd name="connsiteY5" fmla="*/ 14288 h 143637"/>
                    <a:gd name="connsiteX6" fmla="*/ 14288 w 143636"/>
                    <a:gd name="connsiteY6" fmla="*/ 71819 h 143637"/>
                    <a:gd name="connsiteX7" fmla="*/ 71818 w 143636"/>
                    <a:gd name="connsiteY7" fmla="*/ 129350 h 143637"/>
                    <a:gd name="connsiteX8" fmla="*/ 129349 w 143636"/>
                    <a:gd name="connsiteY8" fmla="*/ 71819 h 143637"/>
                    <a:gd name="connsiteX9" fmla="*/ 71818 w 143636"/>
                    <a:gd name="connsiteY9" fmla="*/ 14288 h 14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636" h="143637">
                      <a:moveTo>
                        <a:pt x="71818" y="143637"/>
                      </a:moveTo>
                      <a:cubicBezTo>
                        <a:pt x="32194" y="143637"/>
                        <a:pt x="0" y="111443"/>
                        <a:pt x="0" y="71819"/>
                      </a:cubicBezTo>
                      <a:cubicBezTo>
                        <a:pt x="0" y="32195"/>
                        <a:pt x="32194" y="0"/>
                        <a:pt x="71818" y="0"/>
                      </a:cubicBezTo>
                      <a:cubicBezTo>
                        <a:pt x="111443" y="0"/>
                        <a:pt x="143637" y="32195"/>
                        <a:pt x="143637" y="71819"/>
                      </a:cubicBezTo>
                      <a:cubicBezTo>
                        <a:pt x="143637" y="111443"/>
                        <a:pt x="111443" y="143637"/>
                        <a:pt x="71818" y="143637"/>
                      </a:cubicBezTo>
                      <a:close/>
                      <a:moveTo>
                        <a:pt x="71818" y="14288"/>
                      </a:moveTo>
                      <a:cubicBezTo>
                        <a:pt x="40100" y="14288"/>
                        <a:pt x="14288" y="40100"/>
                        <a:pt x="14288" y="71819"/>
                      </a:cubicBezTo>
                      <a:cubicBezTo>
                        <a:pt x="14288" y="103537"/>
                        <a:pt x="40100" y="129350"/>
                        <a:pt x="71818" y="129350"/>
                      </a:cubicBezTo>
                      <a:cubicBezTo>
                        <a:pt x="103537" y="129350"/>
                        <a:pt x="129349" y="103537"/>
                        <a:pt x="129349" y="71819"/>
                      </a:cubicBezTo>
                      <a:cubicBezTo>
                        <a:pt x="129349" y="40100"/>
                        <a:pt x="103537" y="14288"/>
                        <a:pt x="71818" y="14288"/>
                      </a:cubicBezTo>
                      <a:close/>
                    </a:path>
                  </a:pathLst>
                </a:custGeom>
                <a:solidFill>
                  <a:srgbClr val="FFFFFF"/>
                </a:solidFill>
                <a:ln w="9525" cap="flat">
                  <a:noFill/>
                  <a:prstDash val="solid"/>
                  <a:miter/>
                </a:ln>
              </p:spPr>
              <p:txBody>
                <a:bodyPr rtlCol="0" anchor="ctr"/>
                <a:lstStyle/>
                <a:p>
                  <a:pPr defTabSz="914400"/>
                  <a:endParaRPr lang="en-DK">
                    <a:solidFill>
                      <a:srgbClr val="001965"/>
                    </a:solidFill>
                    <a:latin typeface="Avenir Next LT Pro"/>
                  </a:endParaRPr>
                </a:p>
              </p:txBody>
            </p:sp>
          </p:grpSp>
          <p:sp>
            <p:nvSpPr>
              <p:cNvPr id="21" name="Freeform 20">
                <a:extLst>
                  <a:ext uri="{FF2B5EF4-FFF2-40B4-BE49-F238E27FC236}">
                    <a16:creationId xmlns:a16="http://schemas.microsoft.com/office/drawing/2014/main" id="{76D2BC1D-B0E6-4D65-1CCA-6BF9A85945D8}"/>
                  </a:ext>
                </a:extLst>
              </p:cNvPr>
              <p:cNvSpPr/>
              <p:nvPr/>
            </p:nvSpPr>
            <p:spPr>
              <a:xfrm>
                <a:off x="2342919" y="4496471"/>
                <a:ext cx="609504" cy="632630"/>
              </a:xfrm>
              <a:custGeom>
                <a:avLst/>
                <a:gdLst>
                  <a:gd name="connsiteX0" fmla="*/ 602361 w 609504"/>
                  <a:gd name="connsiteY0" fmla="*/ 632630 h 632630"/>
                  <a:gd name="connsiteX1" fmla="*/ 7144 w 609504"/>
                  <a:gd name="connsiteY1" fmla="*/ 632630 h 632630"/>
                  <a:gd name="connsiteX2" fmla="*/ 0 w 609504"/>
                  <a:gd name="connsiteY2" fmla="*/ 625486 h 632630"/>
                  <a:gd name="connsiteX3" fmla="*/ 0 w 609504"/>
                  <a:gd name="connsiteY3" fmla="*/ 599578 h 632630"/>
                  <a:gd name="connsiteX4" fmla="*/ 33052 w 609504"/>
                  <a:gd name="connsiteY4" fmla="*/ 566527 h 632630"/>
                  <a:gd name="connsiteX5" fmla="*/ 310610 w 609504"/>
                  <a:gd name="connsiteY5" fmla="*/ 566527 h 632630"/>
                  <a:gd name="connsiteX6" fmla="*/ 310610 w 609504"/>
                  <a:gd name="connsiteY6" fmla="*/ 496042 h 632630"/>
                  <a:gd name="connsiteX7" fmla="*/ 317754 w 609504"/>
                  <a:gd name="connsiteY7" fmla="*/ 488898 h 632630"/>
                  <a:gd name="connsiteX8" fmla="*/ 517589 w 609504"/>
                  <a:gd name="connsiteY8" fmla="*/ 289063 h 632630"/>
                  <a:gd name="connsiteX9" fmla="*/ 352711 w 609504"/>
                  <a:gd name="connsiteY9" fmla="*/ 92277 h 632630"/>
                  <a:gd name="connsiteX10" fmla="*/ 346900 w 609504"/>
                  <a:gd name="connsiteY10" fmla="*/ 83990 h 632630"/>
                  <a:gd name="connsiteX11" fmla="*/ 355187 w 609504"/>
                  <a:gd name="connsiteY11" fmla="*/ 78180 h 632630"/>
                  <a:gd name="connsiteX12" fmla="*/ 531876 w 609504"/>
                  <a:gd name="connsiteY12" fmla="*/ 289063 h 632630"/>
                  <a:gd name="connsiteX13" fmla="*/ 324898 w 609504"/>
                  <a:gd name="connsiteY13" fmla="*/ 503090 h 632630"/>
                  <a:gd name="connsiteX14" fmla="*/ 324898 w 609504"/>
                  <a:gd name="connsiteY14" fmla="*/ 573670 h 632630"/>
                  <a:gd name="connsiteX15" fmla="*/ 317754 w 609504"/>
                  <a:gd name="connsiteY15" fmla="*/ 580814 h 632630"/>
                  <a:gd name="connsiteX16" fmla="*/ 33052 w 609504"/>
                  <a:gd name="connsiteY16" fmla="*/ 580814 h 632630"/>
                  <a:gd name="connsiteX17" fmla="*/ 14288 w 609504"/>
                  <a:gd name="connsiteY17" fmla="*/ 599578 h 632630"/>
                  <a:gd name="connsiteX18" fmla="*/ 14288 w 609504"/>
                  <a:gd name="connsiteY18" fmla="*/ 618343 h 632630"/>
                  <a:gd name="connsiteX19" fmla="*/ 595217 w 609504"/>
                  <a:gd name="connsiteY19" fmla="*/ 618343 h 632630"/>
                  <a:gd name="connsiteX20" fmla="*/ 595217 w 609504"/>
                  <a:gd name="connsiteY20" fmla="*/ 599578 h 632630"/>
                  <a:gd name="connsiteX21" fmla="*/ 576453 w 609504"/>
                  <a:gd name="connsiteY21" fmla="*/ 580814 h 632630"/>
                  <a:gd name="connsiteX22" fmla="*/ 511778 w 609504"/>
                  <a:gd name="connsiteY22" fmla="*/ 580814 h 632630"/>
                  <a:gd name="connsiteX23" fmla="*/ 504635 w 609504"/>
                  <a:gd name="connsiteY23" fmla="*/ 573670 h 632630"/>
                  <a:gd name="connsiteX24" fmla="*/ 504635 w 609504"/>
                  <a:gd name="connsiteY24" fmla="*/ 496804 h 632630"/>
                  <a:gd name="connsiteX25" fmla="*/ 506921 w 609504"/>
                  <a:gd name="connsiteY25" fmla="*/ 491565 h 632630"/>
                  <a:gd name="connsiteX26" fmla="*/ 595217 w 609504"/>
                  <a:gd name="connsiteY26" fmla="*/ 288968 h 632630"/>
                  <a:gd name="connsiteX27" fmla="*/ 357569 w 609504"/>
                  <a:gd name="connsiteY27" fmla="*/ 14267 h 632630"/>
                  <a:gd name="connsiteX28" fmla="*/ 351473 w 609504"/>
                  <a:gd name="connsiteY28" fmla="*/ 6171 h 632630"/>
                  <a:gd name="connsiteX29" fmla="*/ 359569 w 609504"/>
                  <a:gd name="connsiteY29" fmla="*/ 75 h 632630"/>
                  <a:gd name="connsiteX30" fmla="*/ 609505 w 609504"/>
                  <a:gd name="connsiteY30" fmla="*/ 288873 h 632630"/>
                  <a:gd name="connsiteX31" fmla="*/ 518922 w 609504"/>
                  <a:gd name="connsiteY31" fmla="*/ 499756 h 632630"/>
                  <a:gd name="connsiteX32" fmla="*/ 518922 w 609504"/>
                  <a:gd name="connsiteY32" fmla="*/ 566336 h 632630"/>
                  <a:gd name="connsiteX33" fmla="*/ 576453 w 609504"/>
                  <a:gd name="connsiteY33" fmla="*/ 566336 h 632630"/>
                  <a:gd name="connsiteX34" fmla="*/ 609505 w 609504"/>
                  <a:gd name="connsiteY34" fmla="*/ 599388 h 632630"/>
                  <a:gd name="connsiteX35" fmla="*/ 609505 w 609504"/>
                  <a:gd name="connsiteY35" fmla="*/ 625296 h 632630"/>
                  <a:gd name="connsiteX36" fmla="*/ 602361 w 609504"/>
                  <a:gd name="connsiteY36" fmla="*/ 632440 h 63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9504" h="632630">
                    <a:moveTo>
                      <a:pt x="602361" y="632630"/>
                    </a:moveTo>
                    <a:lnTo>
                      <a:pt x="7144" y="632630"/>
                    </a:lnTo>
                    <a:cubicBezTo>
                      <a:pt x="3239" y="632630"/>
                      <a:pt x="0" y="629392"/>
                      <a:pt x="0" y="625486"/>
                    </a:cubicBezTo>
                    <a:lnTo>
                      <a:pt x="0" y="599578"/>
                    </a:lnTo>
                    <a:cubicBezTo>
                      <a:pt x="0" y="581386"/>
                      <a:pt x="14859" y="566527"/>
                      <a:pt x="33052" y="566527"/>
                    </a:cubicBezTo>
                    <a:lnTo>
                      <a:pt x="310610" y="566527"/>
                    </a:lnTo>
                    <a:lnTo>
                      <a:pt x="310610" y="496042"/>
                    </a:lnTo>
                    <a:cubicBezTo>
                      <a:pt x="310610" y="492136"/>
                      <a:pt x="313849" y="488898"/>
                      <a:pt x="317754" y="488898"/>
                    </a:cubicBezTo>
                    <a:cubicBezTo>
                      <a:pt x="427958" y="488898"/>
                      <a:pt x="517589" y="399268"/>
                      <a:pt x="517589" y="289063"/>
                    </a:cubicBezTo>
                    <a:cubicBezTo>
                      <a:pt x="517589" y="191908"/>
                      <a:pt x="448247" y="109136"/>
                      <a:pt x="352711" y="92277"/>
                    </a:cubicBezTo>
                    <a:cubicBezTo>
                      <a:pt x="348806" y="91610"/>
                      <a:pt x="346234" y="87895"/>
                      <a:pt x="346900" y="83990"/>
                    </a:cubicBezTo>
                    <a:cubicBezTo>
                      <a:pt x="347567" y="80085"/>
                      <a:pt x="351187" y="77513"/>
                      <a:pt x="355187" y="78180"/>
                    </a:cubicBezTo>
                    <a:cubicBezTo>
                      <a:pt x="457581" y="96277"/>
                      <a:pt x="531876" y="184955"/>
                      <a:pt x="531876" y="289063"/>
                    </a:cubicBezTo>
                    <a:cubicBezTo>
                      <a:pt x="531876" y="404792"/>
                      <a:pt x="439674" y="499280"/>
                      <a:pt x="324898" y="503090"/>
                    </a:cubicBezTo>
                    <a:lnTo>
                      <a:pt x="324898" y="573670"/>
                    </a:lnTo>
                    <a:cubicBezTo>
                      <a:pt x="324898" y="577576"/>
                      <a:pt x="321659" y="580814"/>
                      <a:pt x="317754" y="580814"/>
                    </a:cubicBezTo>
                    <a:lnTo>
                      <a:pt x="33052" y="580814"/>
                    </a:lnTo>
                    <a:cubicBezTo>
                      <a:pt x="22765" y="580814"/>
                      <a:pt x="14288" y="589196"/>
                      <a:pt x="14288" y="599578"/>
                    </a:cubicBezTo>
                    <a:lnTo>
                      <a:pt x="14288" y="618343"/>
                    </a:lnTo>
                    <a:lnTo>
                      <a:pt x="595217" y="618343"/>
                    </a:lnTo>
                    <a:lnTo>
                      <a:pt x="595217" y="599578"/>
                    </a:lnTo>
                    <a:cubicBezTo>
                      <a:pt x="595217" y="589291"/>
                      <a:pt x="586835" y="580814"/>
                      <a:pt x="576453" y="580814"/>
                    </a:cubicBezTo>
                    <a:lnTo>
                      <a:pt x="511778" y="580814"/>
                    </a:lnTo>
                    <a:cubicBezTo>
                      <a:pt x="507873" y="580814"/>
                      <a:pt x="504635" y="577576"/>
                      <a:pt x="504635" y="573670"/>
                    </a:cubicBezTo>
                    <a:lnTo>
                      <a:pt x="504635" y="496804"/>
                    </a:lnTo>
                    <a:cubicBezTo>
                      <a:pt x="504635" y="494803"/>
                      <a:pt x="505492" y="492898"/>
                      <a:pt x="506921" y="491565"/>
                    </a:cubicBezTo>
                    <a:cubicBezTo>
                      <a:pt x="563880" y="438320"/>
                      <a:pt x="595217" y="366406"/>
                      <a:pt x="595217" y="288968"/>
                    </a:cubicBezTo>
                    <a:cubicBezTo>
                      <a:pt x="595217" y="151903"/>
                      <a:pt x="493014" y="33793"/>
                      <a:pt x="357569" y="14267"/>
                    </a:cubicBezTo>
                    <a:cubicBezTo>
                      <a:pt x="353663" y="13696"/>
                      <a:pt x="350901" y="10076"/>
                      <a:pt x="351473" y="6171"/>
                    </a:cubicBezTo>
                    <a:cubicBezTo>
                      <a:pt x="352044" y="2266"/>
                      <a:pt x="355568" y="-497"/>
                      <a:pt x="359569" y="75"/>
                    </a:cubicBezTo>
                    <a:cubicBezTo>
                      <a:pt x="502063" y="20554"/>
                      <a:pt x="609505" y="144760"/>
                      <a:pt x="609505" y="288873"/>
                    </a:cubicBezTo>
                    <a:cubicBezTo>
                      <a:pt x="609505" y="369264"/>
                      <a:pt x="577406" y="444035"/>
                      <a:pt x="518922" y="499756"/>
                    </a:cubicBezTo>
                    <a:lnTo>
                      <a:pt x="518922" y="566336"/>
                    </a:lnTo>
                    <a:lnTo>
                      <a:pt x="576453" y="566336"/>
                    </a:lnTo>
                    <a:cubicBezTo>
                      <a:pt x="594646" y="566336"/>
                      <a:pt x="609505" y="581195"/>
                      <a:pt x="609505" y="599388"/>
                    </a:cubicBezTo>
                    <a:lnTo>
                      <a:pt x="609505" y="625296"/>
                    </a:lnTo>
                    <a:cubicBezTo>
                      <a:pt x="609505" y="629201"/>
                      <a:pt x="606266" y="632440"/>
                      <a:pt x="602361" y="632440"/>
                    </a:cubicBezTo>
                    <a:close/>
                  </a:path>
                </a:pathLst>
              </a:custGeom>
              <a:solidFill>
                <a:srgbClr val="FFFFFF"/>
              </a:solidFill>
              <a:ln w="9525" cap="flat">
                <a:noFill/>
                <a:prstDash val="solid"/>
                <a:miter/>
              </a:ln>
            </p:spPr>
            <p:txBody>
              <a:bodyPr rtlCol="0" anchor="ctr"/>
              <a:lstStyle/>
              <a:p>
                <a:pPr defTabSz="914400"/>
                <a:endParaRPr lang="en-DK">
                  <a:solidFill>
                    <a:srgbClr val="001965"/>
                  </a:solidFill>
                  <a:latin typeface="Avenir Next LT Pro"/>
                </a:endParaRPr>
              </a:p>
            </p:txBody>
          </p:sp>
        </p:grpSp>
      </p:grpSp>
      <p:grpSp>
        <p:nvGrpSpPr>
          <p:cNvPr id="69" name="Group 68">
            <a:extLst>
              <a:ext uri="{FF2B5EF4-FFF2-40B4-BE49-F238E27FC236}">
                <a16:creationId xmlns:a16="http://schemas.microsoft.com/office/drawing/2014/main" id="{D82A7FEF-CC4F-57C4-AA7F-E479B66E398D}"/>
              </a:ext>
            </a:extLst>
          </p:cNvPr>
          <p:cNvGrpSpPr>
            <a:grpSpLocks noChangeAspect="1"/>
          </p:cNvGrpSpPr>
          <p:nvPr/>
        </p:nvGrpSpPr>
        <p:grpSpPr>
          <a:xfrm>
            <a:off x="666850" y="2726970"/>
            <a:ext cx="720000" cy="720000"/>
            <a:chOff x="5149439" y="2710993"/>
            <a:chExt cx="1730064" cy="1730064"/>
          </a:xfrm>
        </p:grpSpPr>
        <p:grpSp>
          <p:nvGrpSpPr>
            <p:cNvPr id="63" name="Graphic 53">
              <a:extLst>
                <a:ext uri="{FF2B5EF4-FFF2-40B4-BE49-F238E27FC236}">
                  <a16:creationId xmlns:a16="http://schemas.microsoft.com/office/drawing/2014/main" id="{4ED96503-1DBC-8C9A-18D4-BAD135829553}"/>
                </a:ext>
              </a:extLst>
            </p:cNvPr>
            <p:cNvGrpSpPr/>
            <p:nvPr/>
          </p:nvGrpSpPr>
          <p:grpSpPr>
            <a:xfrm>
              <a:off x="5149439" y="2710993"/>
              <a:ext cx="1730064" cy="1730064"/>
              <a:chOff x="5149439" y="2710993"/>
              <a:chExt cx="1730064" cy="1730064"/>
            </a:xfrm>
          </p:grpSpPr>
          <p:sp>
            <p:nvSpPr>
              <p:cNvPr id="64" name="Freeform 63">
                <a:extLst>
                  <a:ext uri="{FF2B5EF4-FFF2-40B4-BE49-F238E27FC236}">
                    <a16:creationId xmlns:a16="http://schemas.microsoft.com/office/drawing/2014/main" id="{3C91DC85-2E91-67B1-D855-F5F73F195847}"/>
                  </a:ext>
                </a:extLst>
              </p:cNvPr>
              <p:cNvSpPr/>
              <p:nvPr/>
            </p:nvSpPr>
            <p:spPr>
              <a:xfrm>
                <a:off x="5174204" y="2735758"/>
                <a:ext cx="1680534" cy="1680782"/>
              </a:xfrm>
              <a:custGeom>
                <a:avLst/>
                <a:gdLst>
                  <a:gd name="connsiteX0" fmla="*/ 840267 w 1680534"/>
                  <a:gd name="connsiteY0" fmla="*/ 1680783 h 1680782"/>
                  <a:gd name="connsiteX1" fmla="*/ 1680535 w 1680534"/>
                  <a:gd name="connsiteY1" fmla="*/ 840515 h 1680782"/>
                  <a:gd name="connsiteX2" fmla="*/ 840267 w 1680534"/>
                  <a:gd name="connsiteY2" fmla="*/ 0 h 1680782"/>
                  <a:gd name="connsiteX3" fmla="*/ 0 w 1680534"/>
                  <a:gd name="connsiteY3" fmla="*/ 840267 h 1680782"/>
                  <a:gd name="connsiteX4" fmla="*/ 840267 w 1680534"/>
                  <a:gd name="connsiteY4" fmla="*/ 1680535 h 1680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534" h="1680782">
                    <a:moveTo>
                      <a:pt x="840267" y="1680783"/>
                    </a:moveTo>
                    <a:cubicBezTo>
                      <a:pt x="1304358" y="1680783"/>
                      <a:pt x="1680535" y="1304606"/>
                      <a:pt x="1680535" y="840515"/>
                    </a:cubicBezTo>
                    <a:cubicBezTo>
                      <a:pt x="1680535" y="376424"/>
                      <a:pt x="1304358" y="0"/>
                      <a:pt x="840267" y="0"/>
                    </a:cubicBezTo>
                    <a:cubicBezTo>
                      <a:pt x="376176" y="0"/>
                      <a:pt x="0" y="376176"/>
                      <a:pt x="0" y="840267"/>
                    </a:cubicBezTo>
                    <a:cubicBezTo>
                      <a:pt x="0" y="1304358"/>
                      <a:pt x="376176" y="1680535"/>
                      <a:pt x="840267" y="1680535"/>
                    </a:cubicBezTo>
                  </a:path>
                </a:pathLst>
              </a:custGeom>
              <a:solidFill>
                <a:srgbClr val="001965"/>
              </a:solidFill>
              <a:ln w="24685" cap="flat">
                <a:noFill/>
                <a:prstDash val="solid"/>
                <a:miter/>
              </a:ln>
            </p:spPr>
            <p:txBody>
              <a:bodyPr rtlCol="0" anchor="ctr"/>
              <a:lstStyle/>
              <a:p>
                <a:endParaRPr lang="en-DK"/>
              </a:p>
            </p:txBody>
          </p:sp>
          <p:sp>
            <p:nvSpPr>
              <p:cNvPr id="65" name="Freeform 64">
                <a:extLst>
                  <a:ext uri="{FF2B5EF4-FFF2-40B4-BE49-F238E27FC236}">
                    <a16:creationId xmlns:a16="http://schemas.microsoft.com/office/drawing/2014/main" id="{293FCB60-70D9-F74B-039C-9861190C0232}"/>
                  </a:ext>
                </a:extLst>
              </p:cNvPr>
              <p:cNvSpPr/>
              <p:nvPr/>
            </p:nvSpPr>
            <p:spPr>
              <a:xfrm>
                <a:off x="5149439" y="2710993"/>
                <a:ext cx="1730064" cy="1730064"/>
              </a:xfrm>
              <a:custGeom>
                <a:avLst/>
                <a:gdLst>
                  <a:gd name="connsiteX0" fmla="*/ 865032 w 1730064"/>
                  <a:gd name="connsiteY0" fmla="*/ 1705547 h 1730064"/>
                  <a:gd name="connsiteX1" fmla="*/ 865032 w 1730064"/>
                  <a:gd name="connsiteY1" fmla="*/ 1680783 h 1730064"/>
                  <a:gd name="connsiteX2" fmla="*/ 1680535 w 1730064"/>
                  <a:gd name="connsiteY2" fmla="*/ 865280 h 1730064"/>
                  <a:gd name="connsiteX3" fmla="*/ 865032 w 1730064"/>
                  <a:gd name="connsiteY3" fmla="*/ 49777 h 1730064"/>
                  <a:gd name="connsiteX4" fmla="*/ 49529 w 1730064"/>
                  <a:gd name="connsiteY4" fmla="*/ 865032 h 1730064"/>
                  <a:gd name="connsiteX5" fmla="*/ 865032 w 1730064"/>
                  <a:gd name="connsiteY5" fmla="*/ 1680535 h 1730064"/>
                  <a:gd name="connsiteX6" fmla="*/ 865032 w 1730064"/>
                  <a:gd name="connsiteY6" fmla="*/ 1705300 h 1730064"/>
                  <a:gd name="connsiteX7" fmla="*/ 865032 w 1730064"/>
                  <a:gd name="connsiteY7" fmla="*/ 1730064 h 1730064"/>
                  <a:gd name="connsiteX8" fmla="*/ 0 w 1730064"/>
                  <a:gd name="connsiteY8" fmla="*/ 865032 h 1730064"/>
                  <a:gd name="connsiteX9" fmla="*/ 865032 w 1730064"/>
                  <a:gd name="connsiteY9" fmla="*/ 0 h 1730064"/>
                  <a:gd name="connsiteX10" fmla="*/ 1730064 w 1730064"/>
                  <a:gd name="connsiteY10" fmla="*/ 865032 h 1730064"/>
                  <a:gd name="connsiteX11" fmla="*/ 865032 w 1730064"/>
                  <a:gd name="connsiteY11" fmla="*/ 1730064 h 1730064"/>
                  <a:gd name="connsiteX12" fmla="*/ 865032 w 1730064"/>
                  <a:gd name="connsiteY12" fmla="*/ 1705300 h 173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30064" h="1730064">
                    <a:moveTo>
                      <a:pt x="865032" y="1705547"/>
                    </a:moveTo>
                    <a:lnTo>
                      <a:pt x="865032" y="1680783"/>
                    </a:lnTo>
                    <a:cubicBezTo>
                      <a:pt x="1315503" y="1680039"/>
                      <a:pt x="1679792" y="1315750"/>
                      <a:pt x="1680535" y="865280"/>
                    </a:cubicBezTo>
                    <a:cubicBezTo>
                      <a:pt x="1679792" y="414809"/>
                      <a:pt x="1315503" y="50520"/>
                      <a:pt x="865032" y="49777"/>
                    </a:cubicBezTo>
                    <a:cubicBezTo>
                      <a:pt x="414562" y="50272"/>
                      <a:pt x="50272" y="414562"/>
                      <a:pt x="49529" y="865032"/>
                    </a:cubicBezTo>
                    <a:cubicBezTo>
                      <a:pt x="50272" y="1315503"/>
                      <a:pt x="414562" y="1679792"/>
                      <a:pt x="865032" y="1680535"/>
                    </a:cubicBezTo>
                    <a:lnTo>
                      <a:pt x="865032" y="1705300"/>
                    </a:lnTo>
                    <a:cubicBezTo>
                      <a:pt x="865032" y="1705300"/>
                      <a:pt x="865032" y="1730064"/>
                      <a:pt x="865032" y="1730064"/>
                    </a:cubicBezTo>
                    <a:cubicBezTo>
                      <a:pt x="387320" y="1730064"/>
                      <a:pt x="0" y="1342744"/>
                      <a:pt x="0" y="865032"/>
                    </a:cubicBezTo>
                    <a:cubicBezTo>
                      <a:pt x="0" y="387320"/>
                      <a:pt x="387320" y="0"/>
                      <a:pt x="865032" y="0"/>
                    </a:cubicBezTo>
                    <a:cubicBezTo>
                      <a:pt x="1342744" y="0"/>
                      <a:pt x="1730064" y="387320"/>
                      <a:pt x="1730064" y="865032"/>
                    </a:cubicBezTo>
                    <a:cubicBezTo>
                      <a:pt x="1730064" y="1342744"/>
                      <a:pt x="1342744" y="1730064"/>
                      <a:pt x="865032" y="1730064"/>
                    </a:cubicBezTo>
                    <a:lnTo>
                      <a:pt x="865032" y="1705300"/>
                    </a:lnTo>
                    <a:close/>
                  </a:path>
                </a:pathLst>
              </a:custGeom>
              <a:gradFill>
                <a:gsLst>
                  <a:gs pos="0">
                    <a:srgbClr val="F3E700"/>
                  </a:gs>
                  <a:gs pos="33000">
                    <a:srgbClr val="8CC3CA"/>
                  </a:gs>
                  <a:gs pos="67000">
                    <a:srgbClr val="2878FF"/>
                  </a:gs>
                  <a:gs pos="100000">
                    <a:srgbClr val="E229E2"/>
                  </a:gs>
                </a:gsLst>
                <a:lin ang="0" scaled="1"/>
              </a:gradFill>
              <a:ln w="24685" cap="flat">
                <a:noFill/>
                <a:prstDash val="solid"/>
                <a:miter/>
              </a:ln>
            </p:spPr>
            <p:txBody>
              <a:bodyPr rtlCol="0" anchor="ctr"/>
              <a:lstStyle/>
              <a:p>
                <a:endParaRPr lang="en-DK"/>
              </a:p>
            </p:txBody>
          </p:sp>
          <p:sp>
            <p:nvSpPr>
              <p:cNvPr id="66" name="Freeform 65">
                <a:extLst>
                  <a:ext uri="{FF2B5EF4-FFF2-40B4-BE49-F238E27FC236}">
                    <a16:creationId xmlns:a16="http://schemas.microsoft.com/office/drawing/2014/main" id="{701D9709-3925-8BF8-B27F-DE0921566A8E}"/>
                  </a:ext>
                </a:extLst>
              </p:cNvPr>
              <p:cNvSpPr/>
              <p:nvPr/>
            </p:nvSpPr>
            <p:spPr>
              <a:xfrm>
                <a:off x="5743440" y="3655559"/>
                <a:ext cx="163265" cy="151130"/>
              </a:xfrm>
              <a:custGeom>
                <a:avLst/>
                <a:gdLst>
                  <a:gd name="connsiteX0" fmla="*/ 153151 w 163265"/>
                  <a:gd name="connsiteY0" fmla="*/ 13829 h 151130"/>
                  <a:gd name="connsiteX1" fmla="*/ 97182 w 163265"/>
                  <a:gd name="connsiteY1" fmla="*/ 9619 h 151130"/>
                  <a:gd name="connsiteX2" fmla="*/ 42205 w 163265"/>
                  <a:gd name="connsiteY2" fmla="*/ 56920 h 151130"/>
                  <a:gd name="connsiteX3" fmla="*/ 37499 w 163265"/>
                  <a:gd name="connsiteY3" fmla="*/ 61378 h 151130"/>
                  <a:gd name="connsiteX4" fmla="*/ 13478 w 163265"/>
                  <a:gd name="connsiteY4" fmla="*/ 81932 h 151130"/>
                  <a:gd name="connsiteX5" fmla="*/ 10754 w 163265"/>
                  <a:gd name="connsiteY5" fmla="*/ 84161 h 151130"/>
                  <a:gd name="connsiteX6" fmla="*/ 105 w 163265"/>
                  <a:gd name="connsiteY6" fmla="*/ 108431 h 151130"/>
                  <a:gd name="connsiteX7" fmla="*/ 9515 w 163265"/>
                  <a:gd name="connsiteY7" fmla="*/ 137405 h 151130"/>
                  <a:gd name="connsiteX8" fmla="*/ 36756 w 163265"/>
                  <a:gd name="connsiteY8" fmla="*/ 151026 h 151130"/>
                  <a:gd name="connsiteX9" fmla="*/ 65731 w 163265"/>
                  <a:gd name="connsiteY9" fmla="*/ 141615 h 151130"/>
                  <a:gd name="connsiteX10" fmla="*/ 149436 w 163265"/>
                  <a:gd name="connsiteY10" fmla="*/ 69550 h 151130"/>
                  <a:gd name="connsiteX11" fmla="*/ 153646 w 163265"/>
                  <a:gd name="connsiteY11" fmla="*/ 13582 h 151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265" h="151130">
                    <a:moveTo>
                      <a:pt x="153151" y="13829"/>
                    </a:moveTo>
                    <a:cubicBezTo>
                      <a:pt x="138787" y="-2763"/>
                      <a:pt x="113775" y="-4744"/>
                      <a:pt x="97182" y="9619"/>
                    </a:cubicBezTo>
                    <a:lnTo>
                      <a:pt x="42205" y="56920"/>
                    </a:lnTo>
                    <a:cubicBezTo>
                      <a:pt x="40719" y="58406"/>
                      <a:pt x="39233" y="60139"/>
                      <a:pt x="37499" y="61378"/>
                    </a:cubicBezTo>
                    <a:lnTo>
                      <a:pt x="13478" y="81932"/>
                    </a:lnTo>
                    <a:cubicBezTo>
                      <a:pt x="13478" y="81932"/>
                      <a:pt x="11496" y="83418"/>
                      <a:pt x="10754" y="84161"/>
                    </a:cubicBezTo>
                    <a:cubicBezTo>
                      <a:pt x="4562" y="90600"/>
                      <a:pt x="848" y="99268"/>
                      <a:pt x="105" y="108431"/>
                    </a:cubicBezTo>
                    <a:cubicBezTo>
                      <a:pt x="-638" y="119079"/>
                      <a:pt x="2581" y="129233"/>
                      <a:pt x="9515" y="137405"/>
                    </a:cubicBezTo>
                    <a:cubicBezTo>
                      <a:pt x="16449" y="145330"/>
                      <a:pt x="26108" y="150283"/>
                      <a:pt x="36756" y="151026"/>
                    </a:cubicBezTo>
                    <a:cubicBezTo>
                      <a:pt x="47405" y="151769"/>
                      <a:pt x="57559" y="148549"/>
                      <a:pt x="65731" y="141615"/>
                    </a:cubicBezTo>
                    <a:lnTo>
                      <a:pt x="149436" y="69550"/>
                    </a:lnTo>
                    <a:cubicBezTo>
                      <a:pt x="166028" y="55186"/>
                      <a:pt x="168010" y="30174"/>
                      <a:pt x="153646" y="13582"/>
                    </a:cubicBezTo>
                  </a:path>
                </a:pathLst>
              </a:custGeom>
              <a:solidFill>
                <a:srgbClr val="001965"/>
              </a:solidFill>
              <a:ln w="24685" cap="flat">
                <a:noFill/>
                <a:prstDash val="solid"/>
                <a:miter/>
              </a:ln>
            </p:spPr>
            <p:txBody>
              <a:bodyPr rtlCol="0" anchor="ctr"/>
              <a:lstStyle/>
              <a:p>
                <a:endParaRPr lang="en-DK"/>
              </a:p>
            </p:txBody>
          </p:sp>
          <p:sp>
            <p:nvSpPr>
              <p:cNvPr id="67" name="Freeform 66">
                <a:extLst>
                  <a:ext uri="{FF2B5EF4-FFF2-40B4-BE49-F238E27FC236}">
                    <a16:creationId xmlns:a16="http://schemas.microsoft.com/office/drawing/2014/main" id="{CD66499A-731D-54EE-8C65-AF5853C4A76F}"/>
                  </a:ext>
                </a:extLst>
              </p:cNvPr>
              <p:cNvSpPr/>
              <p:nvPr/>
            </p:nvSpPr>
            <p:spPr>
              <a:xfrm>
                <a:off x="5676471" y="3630403"/>
                <a:ext cx="103582" cy="100148"/>
              </a:xfrm>
              <a:custGeom>
                <a:avLst/>
                <a:gdLst>
                  <a:gd name="connsiteX0" fmla="*/ 103478 w 103582"/>
                  <a:gd name="connsiteY0" fmla="*/ 42700 h 100148"/>
                  <a:gd name="connsiteX1" fmla="*/ 94067 w 103582"/>
                  <a:gd name="connsiteY1" fmla="*/ 13725 h 100148"/>
                  <a:gd name="connsiteX2" fmla="*/ 66826 w 103582"/>
                  <a:gd name="connsiteY2" fmla="*/ 105 h 100148"/>
                  <a:gd name="connsiteX3" fmla="*/ 37851 w 103582"/>
                  <a:gd name="connsiteY3" fmla="*/ 9515 h 100148"/>
                  <a:gd name="connsiteX4" fmla="*/ 13829 w 103582"/>
                  <a:gd name="connsiteY4" fmla="*/ 30318 h 100148"/>
                  <a:gd name="connsiteX5" fmla="*/ 9619 w 103582"/>
                  <a:gd name="connsiteY5" fmla="*/ 86286 h 100148"/>
                  <a:gd name="connsiteX6" fmla="*/ 62616 w 103582"/>
                  <a:gd name="connsiteY6" fmla="*/ 92972 h 100148"/>
                  <a:gd name="connsiteX7" fmla="*/ 65835 w 103582"/>
                  <a:gd name="connsiteY7" fmla="*/ 90001 h 100148"/>
                  <a:gd name="connsiteX8" fmla="*/ 93324 w 103582"/>
                  <a:gd name="connsiteY8" fmla="*/ 66474 h 100148"/>
                  <a:gd name="connsiteX9" fmla="*/ 103230 w 103582"/>
                  <a:gd name="connsiteY9" fmla="*/ 42948 h 10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582" h="100148">
                    <a:moveTo>
                      <a:pt x="103478" y="42700"/>
                    </a:moveTo>
                    <a:cubicBezTo>
                      <a:pt x="104221" y="32051"/>
                      <a:pt x="101001" y="21898"/>
                      <a:pt x="94067" y="13725"/>
                    </a:cubicBezTo>
                    <a:cubicBezTo>
                      <a:pt x="87133" y="5801"/>
                      <a:pt x="77475" y="848"/>
                      <a:pt x="66826" y="105"/>
                    </a:cubicBezTo>
                    <a:cubicBezTo>
                      <a:pt x="56177" y="-638"/>
                      <a:pt x="46023" y="2581"/>
                      <a:pt x="37851" y="9515"/>
                    </a:cubicBezTo>
                    <a:lnTo>
                      <a:pt x="13829" y="30318"/>
                    </a:lnTo>
                    <a:cubicBezTo>
                      <a:pt x="-2763" y="44681"/>
                      <a:pt x="-4744" y="69694"/>
                      <a:pt x="9619" y="86286"/>
                    </a:cubicBezTo>
                    <a:cubicBezTo>
                      <a:pt x="22992" y="101888"/>
                      <a:pt x="46023" y="104612"/>
                      <a:pt x="62616" y="92972"/>
                    </a:cubicBezTo>
                    <a:cubicBezTo>
                      <a:pt x="63606" y="91982"/>
                      <a:pt x="64845" y="90991"/>
                      <a:pt x="65835" y="90001"/>
                    </a:cubicBezTo>
                    <a:lnTo>
                      <a:pt x="93324" y="66474"/>
                    </a:lnTo>
                    <a:cubicBezTo>
                      <a:pt x="99020" y="60035"/>
                      <a:pt x="102487" y="51863"/>
                      <a:pt x="103230" y="42948"/>
                    </a:cubicBezTo>
                  </a:path>
                </a:pathLst>
              </a:custGeom>
              <a:solidFill>
                <a:srgbClr val="001965"/>
              </a:solidFill>
              <a:ln w="24685" cap="flat">
                <a:noFill/>
                <a:prstDash val="solid"/>
                <a:miter/>
              </a:ln>
            </p:spPr>
            <p:txBody>
              <a:bodyPr rtlCol="0" anchor="ctr"/>
              <a:lstStyle/>
              <a:p>
                <a:endParaRPr lang="en-DK"/>
              </a:p>
            </p:txBody>
          </p:sp>
        </p:grpSp>
        <p:pic>
          <p:nvPicPr>
            <p:cNvPr id="68" name="Graphic 67" descr="Artificial Intelligence with solid fill">
              <a:extLst>
                <a:ext uri="{FF2B5EF4-FFF2-40B4-BE49-F238E27FC236}">
                  <a16:creationId xmlns:a16="http://schemas.microsoft.com/office/drawing/2014/main" id="{4389BA03-F47B-683E-E145-C05EF576999C}"/>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559775" y="3086397"/>
              <a:ext cx="954327" cy="954327"/>
            </a:xfrm>
            <a:prstGeom prst="rect">
              <a:avLst/>
            </a:prstGeom>
          </p:spPr>
        </p:pic>
      </p:grpSp>
      <p:grpSp>
        <p:nvGrpSpPr>
          <p:cNvPr id="92" name="Group 91">
            <a:extLst>
              <a:ext uri="{FF2B5EF4-FFF2-40B4-BE49-F238E27FC236}">
                <a16:creationId xmlns:a16="http://schemas.microsoft.com/office/drawing/2014/main" id="{4CFB0E6B-D915-A4C9-DC16-620289C458F6}"/>
              </a:ext>
            </a:extLst>
          </p:cNvPr>
          <p:cNvGrpSpPr>
            <a:grpSpLocks noChangeAspect="1"/>
          </p:cNvGrpSpPr>
          <p:nvPr/>
        </p:nvGrpSpPr>
        <p:grpSpPr>
          <a:xfrm>
            <a:off x="666849" y="3715690"/>
            <a:ext cx="720001" cy="720000"/>
            <a:chOff x="-1283025" y="4026793"/>
            <a:chExt cx="864000" cy="864000"/>
          </a:xfrm>
        </p:grpSpPr>
        <p:grpSp>
          <p:nvGrpSpPr>
            <p:cNvPr id="81" name="Graphic 53">
              <a:extLst>
                <a:ext uri="{FF2B5EF4-FFF2-40B4-BE49-F238E27FC236}">
                  <a16:creationId xmlns:a16="http://schemas.microsoft.com/office/drawing/2014/main" id="{6A02B4AB-61F4-B00E-00F5-F146C54D9819}"/>
                </a:ext>
              </a:extLst>
            </p:cNvPr>
            <p:cNvGrpSpPr/>
            <p:nvPr/>
          </p:nvGrpSpPr>
          <p:grpSpPr>
            <a:xfrm>
              <a:off x="-1283025" y="4026793"/>
              <a:ext cx="864000" cy="864000"/>
              <a:chOff x="5149439" y="2710993"/>
              <a:chExt cx="1730064" cy="1730064"/>
            </a:xfrm>
          </p:grpSpPr>
          <p:sp>
            <p:nvSpPr>
              <p:cNvPr id="83" name="Freeform 82">
                <a:extLst>
                  <a:ext uri="{FF2B5EF4-FFF2-40B4-BE49-F238E27FC236}">
                    <a16:creationId xmlns:a16="http://schemas.microsoft.com/office/drawing/2014/main" id="{EB2DFACE-6ADC-0796-CBE3-CF9F3B34908E}"/>
                  </a:ext>
                </a:extLst>
              </p:cNvPr>
              <p:cNvSpPr/>
              <p:nvPr/>
            </p:nvSpPr>
            <p:spPr>
              <a:xfrm>
                <a:off x="5174204" y="2735758"/>
                <a:ext cx="1680534" cy="1680782"/>
              </a:xfrm>
              <a:custGeom>
                <a:avLst/>
                <a:gdLst>
                  <a:gd name="connsiteX0" fmla="*/ 840267 w 1680534"/>
                  <a:gd name="connsiteY0" fmla="*/ 1680783 h 1680782"/>
                  <a:gd name="connsiteX1" fmla="*/ 1680535 w 1680534"/>
                  <a:gd name="connsiteY1" fmla="*/ 840515 h 1680782"/>
                  <a:gd name="connsiteX2" fmla="*/ 840267 w 1680534"/>
                  <a:gd name="connsiteY2" fmla="*/ 0 h 1680782"/>
                  <a:gd name="connsiteX3" fmla="*/ 0 w 1680534"/>
                  <a:gd name="connsiteY3" fmla="*/ 840267 h 1680782"/>
                  <a:gd name="connsiteX4" fmla="*/ 840267 w 1680534"/>
                  <a:gd name="connsiteY4" fmla="*/ 1680535 h 1680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534" h="1680782">
                    <a:moveTo>
                      <a:pt x="840267" y="1680783"/>
                    </a:moveTo>
                    <a:cubicBezTo>
                      <a:pt x="1304358" y="1680783"/>
                      <a:pt x="1680535" y="1304606"/>
                      <a:pt x="1680535" y="840515"/>
                    </a:cubicBezTo>
                    <a:cubicBezTo>
                      <a:pt x="1680535" y="376424"/>
                      <a:pt x="1304358" y="0"/>
                      <a:pt x="840267" y="0"/>
                    </a:cubicBezTo>
                    <a:cubicBezTo>
                      <a:pt x="376176" y="0"/>
                      <a:pt x="0" y="376176"/>
                      <a:pt x="0" y="840267"/>
                    </a:cubicBezTo>
                    <a:cubicBezTo>
                      <a:pt x="0" y="1304358"/>
                      <a:pt x="376176" y="1680535"/>
                      <a:pt x="840267" y="1680535"/>
                    </a:cubicBezTo>
                  </a:path>
                </a:pathLst>
              </a:custGeom>
              <a:solidFill>
                <a:srgbClr val="001965"/>
              </a:solidFill>
              <a:ln w="24685" cap="flat">
                <a:noFill/>
                <a:prstDash val="solid"/>
                <a:miter/>
              </a:ln>
            </p:spPr>
            <p:txBody>
              <a:bodyPr rtlCol="0" anchor="ctr"/>
              <a:lstStyle/>
              <a:p>
                <a:endParaRPr lang="en-DK"/>
              </a:p>
            </p:txBody>
          </p:sp>
          <p:sp>
            <p:nvSpPr>
              <p:cNvPr id="84" name="Freeform 83">
                <a:extLst>
                  <a:ext uri="{FF2B5EF4-FFF2-40B4-BE49-F238E27FC236}">
                    <a16:creationId xmlns:a16="http://schemas.microsoft.com/office/drawing/2014/main" id="{A90D182A-9570-2A22-C8D1-26AC7DFDF04C}"/>
                  </a:ext>
                </a:extLst>
              </p:cNvPr>
              <p:cNvSpPr/>
              <p:nvPr/>
            </p:nvSpPr>
            <p:spPr>
              <a:xfrm>
                <a:off x="5149439" y="2710993"/>
                <a:ext cx="1730064" cy="1730064"/>
              </a:xfrm>
              <a:custGeom>
                <a:avLst/>
                <a:gdLst>
                  <a:gd name="connsiteX0" fmla="*/ 865032 w 1730064"/>
                  <a:gd name="connsiteY0" fmla="*/ 1705547 h 1730064"/>
                  <a:gd name="connsiteX1" fmla="*/ 865032 w 1730064"/>
                  <a:gd name="connsiteY1" fmla="*/ 1680783 h 1730064"/>
                  <a:gd name="connsiteX2" fmla="*/ 1680535 w 1730064"/>
                  <a:gd name="connsiteY2" fmla="*/ 865280 h 1730064"/>
                  <a:gd name="connsiteX3" fmla="*/ 865032 w 1730064"/>
                  <a:gd name="connsiteY3" fmla="*/ 49777 h 1730064"/>
                  <a:gd name="connsiteX4" fmla="*/ 49529 w 1730064"/>
                  <a:gd name="connsiteY4" fmla="*/ 865032 h 1730064"/>
                  <a:gd name="connsiteX5" fmla="*/ 865032 w 1730064"/>
                  <a:gd name="connsiteY5" fmla="*/ 1680535 h 1730064"/>
                  <a:gd name="connsiteX6" fmla="*/ 865032 w 1730064"/>
                  <a:gd name="connsiteY6" fmla="*/ 1705300 h 1730064"/>
                  <a:gd name="connsiteX7" fmla="*/ 865032 w 1730064"/>
                  <a:gd name="connsiteY7" fmla="*/ 1730064 h 1730064"/>
                  <a:gd name="connsiteX8" fmla="*/ 0 w 1730064"/>
                  <a:gd name="connsiteY8" fmla="*/ 865032 h 1730064"/>
                  <a:gd name="connsiteX9" fmla="*/ 865032 w 1730064"/>
                  <a:gd name="connsiteY9" fmla="*/ 0 h 1730064"/>
                  <a:gd name="connsiteX10" fmla="*/ 1730064 w 1730064"/>
                  <a:gd name="connsiteY10" fmla="*/ 865032 h 1730064"/>
                  <a:gd name="connsiteX11" fmla="*/ 865032 w 1730064"/>
                  <a:gd name="connsiteY11" fmla="*/ 1730064 h 1730064"/>
                  <a:gd name="connsiteX12" fmla="*/ 865032 w 1730064"/>
                  <a:gd name="connsiteY12" fmla="*/ 1705300 h 173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30064" h="1730064">
                    <a:moveTo>
                      <a:pt x="865032" y="1705547"/>
                    </a:moveTo>
                    <a:lnTo>
                      <a:pt x="865032" y="1680783"/>
                    </a:lnTo>
                    <a:cubicBezTo>
                      <a:pt x="1315503" y="1680039"/>
                      <a:pt x="1679792" y="1315750"/>
                      <a:pt x="1680535" y="865280"/>
                    </a:cubicBezTo>
                    <a:cubicBezTo>
                      <a:pt x="1679792" y="414809"/>
                      <a:pt x="1315503" y="50520"/>
                      <a:pt x="865032" y="49777"/>
                    </a:cubicBezTo>
                    <a:cubicBezTo>
                      <a:pt x="414562" y="50272"/>
                      <a:pt x="50272" y="414562"/>
                      <a:pt x="49529" y="865032"/>
                    </a:cubicBezTo>
                    <a:cubicBezTo>
                      <a:pt x="50272" y="1315503"/>
                      <a:pt x="414562" y="1679792"/>
                      <a:pt x="865032" y="1680535"/>
                    </a:cubicBezTo>
                    <a:lnTo>
                      <a:pt x="865032" y="1705300"/>
                    </a:lnTo>
                    <a:cubicBezTo>
                      <a:pt x="865032" y="1705300"/>
                      <a:pt x="865032" y="1730064"/>
                      <a:pt x="865032" y="1730064"/>
                    </a:cubicBezTo>
                    <a:cubicBezTo>
                      <a:pt x="387320" y="1730064"/>
                      <a:pt x="0" y="1342744"/>
                      <a:pt x="0" y="865032"/>
                    </a:cubicBezTo>
                    <a:cubicBezTo>
                      <a:pt x="0" y="387320"/>
                      <a:pt x="387320" y="0"/>
                      <a:pt x="865032" y="0"/>
                    </a:cubicBezTo>
                    <a:cubicBezTo>
                      <a:pt x="1342744" y="0"/>
                      <a:pt x="1730064" y="387320"/>
                      <a:pt x="1730064" y="865032"/>
                    </a:cubicBezTo>
                    <a:cubicBezTo>
                      <a:pt x="1730064" y="1342744"/>
                      <a:pt x="1342744" y="1730064"/>
                      <a:pt x="865032" y="1730064"/>
                    </a:cubicBezTo>
                    <a:lnTo>
                      <a:pt x="865032" y="1705300"/>
                    </a:lnTo>
                    <a:close/>
                  </a:path>
                </a:pathLst>
              </a:custGeom>
              <a:gradFill>
                <a:gsLst>
                  <a:gs pos="0">
                    <a:srgbClr val="F3E700"/>
                  </a:gs>
                  <a:gs pos="33000">
                    <a:srgbClr val="8CC3CA"/>
                  </a:gs>
                  <a:gs pos="67000">
                    <a:srgbClr val="2878FF"/>
                  </a:gs>
                  <a:gs pos="100000">
                    <a:srgbClr val="E229E2"/>
                  </a:gs>
                </a:gsLst>
                <a:lin ang="0" scaled="1"/>
              </a:gradFill>
              <a:ln w="24685" cap="flat">
                <a:noFill/>
                <a:prstDash val="solid"/>
                <a:miter/>
              </a:ln>
            </p:spPr>
            <p:txBody>
              <a:bodyPr rtlCol="0" anchor="ctr"/>
              <a:lstStyle/>
              <a:p>
                <a:endParaRPr lang="en-DK"/>
              </a:p>
            </p:txBody>
          </p:sp>
          <p:sp>
            <p:nvSpPr>
              <p:cNvPr id="85" name="Freeform 84">
                <a:extLst>
                  <a:ext uri="{FF2B5EF4-FFF2-40B4-BE49-F238E27FC236}">
                    <a16:creationId xmlns:a16="http://schemas.microsoft.com/office/drawing/2014/main" id="{E702E746-4ECF-6D25-33DE-7147BBA643B6}"/>
                  </a:ext>
                </a:extLst>
              </p:cNvPr>
              <p:cNvSpPr/>
              <p:nvPr/>
            </p:nvSpPr>
            <p:spPr>
              <a:xfrm>
                <a:off x="5743440" y="3655559"/>
                <a:ext cx="163265" cy="151130"/>
              </a:xfrm>
              <a:custGeom>
                <a:avLst/>
                <a:gdLst>
                  <a:gd name="connsiteX0" fmla="*/ 153151 w 163265"/>
                  <a:gd name="connsiteY0" fmla="*/ 13829 h 151130"/>
                  <a:gd name="connsiteX1" fmla="*/ 97182 w 163265"/>
                  <a:gd name="connsiteY1" fmla="*/ 9619 h 151130"/>
                  <a:gd name="connsiteX2" fmla="*/ 42205 w 163265"/>
                  <a:gd name="connsiteY2" fmla="*/ 56920 h 151130"/>
                  <a:gd name="connsiteX3" fmla="*/ 37499 w 163265"/>
                  <a:gd name="connsiteY3" fmla="*/ 61378 h 151130"/>
                  <a:gd name="connsiteX4" fmla="*/ 13478 w 163265"/>
                  <a:gd name="connsiteY4" fmla="*/ 81932 h 151130"/>
                  <a:gd name="connsiteX5" fmla="*/ 10754 w 163265"/>
                  <a:gd name="connsiteY5" fmla="*/ 84161 h 151130"/>
                  <a:gd name="connsiteX6" fmla="*/ 105 w 163265"/>
                  <a:gd name="connsiteY6" fmla="*/ 108431 h 151130"/>
                  <a:gd name="connsiteX7" fmla="*/ 9515 w 163265"/>
                  <a:gd name="connsiteY7" fmla="*/ 137405 h 151130"/>
                  <a:gd name="connsiteX8" fmla="*/ 36756 w 163265"/>
                  <a:gd name="connsiteY8" fmla="*/ 151026 h 151130"/>
                  <a:gd name="connsiteX9" fmla="*/ 65731 w 163265"/>
                  <a:gd name="connsiteY9" fmla="*/ 141615 h 151130"/>
                  <a:gd name="connsiteX10" fmla="*/ 149436 w 163265"/>
                  <a:gd name="connsiteY10" fmla="*/ 69550 h 151130"/>
                  <a:gd name="connsiteX11" fmla="*/ 153646 w 163265"/>
                  <a:gd name="connsiteY11" fmla="*/ 13582 h 151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265" h="151130">
                    <a:moveTo>
                      <a:pt x="153151" y="13829"/>
                    </a:moveTo>
                    <a:cubicBezTo>
                      <a:pt x="138787" y="-2763"/>
                      <a:pt x="113775" y="-4744"/>
                      <a:pt x="97182" y="9619"/>
                    </a:cubicBezTo>
                    <a:lnTo>
                      <a:pt x="42205" y="56920"/>
                    </a:lnTo>
                    <a:cubicBezTo>
                      <a:pt x="40719" y="58406"/>
                      <a:pt x="39233" y="60139"/>
                      <a:pt x="37499" y="61378"/>
                    </a:cubicBezTo>
                    <a:lnTo>
                      <a:pt x="13478" y="81932"/>
                    </a:lnTo>
                    <a:cubicBezTo>
                      <a:pt x="13478" y="81932"/>
                      <a:pt x="11496" y="83418"/>
                      <a:pt x="10754" y="84161"/>
                    </a:cubicBezTo>
                    <a:cubicBezTo>
                      <a:pt x="4562" y="90600"/>
                      <a:pt x="848" y="99268"/>
                      <a:pt x="105" y="108431"/>
                    </a:cubicBezTo>
                    <a:cubicBezTo>
                      <a:pt x="-638" y="119079"/>
                      <a:pt x="2581" y="129233"/>
                      <a:pt x="9515" y="137405"/>
                    </a:cubicBezTo>
                    <a:cubicBezTo>
                      <a:pt x="16449" y="145330"/>
                      <a:pt x="26108" y="150283"/>
                      <a:pt x="36756" y="151026"/>
                    </a:cubicBezTo>
                    <a:cubicBezTo>
                      <a:pt x="47405" y="151769"/>
                      <a:pt x="57559" y="148549"/>
                      <a:pt x="65731" y="141615"/>
                    </a:cubicBezTo>
                    <a:lnTo>
                      <a:pt x="149436" y="69550"/>
                    </a:lnTo>
                    <a:cubicBezTo>
                      <a:pt x="166028" y="55186"/>
                      <a:pt x="168010" y="30174"/>
                      <a:pt x="153646" y="13582"/>
                    </a:cubicBezTo>
                  </a:path>
                </a:pathLst>
              </a:custGeom>
              <a:solidFill>
                <a:srgbClr val="001965"/>
              </a:solidFill>
              <a:ln w="24685" cap="flat">
                <a:noFill/>
                <a:prstDash val="solid"/>
                <a:miter/>
              </a:ln>
            </p:spPr>
            <p:txBody>
              <a:bodyPr rtlCol="0" anchor="ctr"/>
              <a:lstStyle/>
              <a:p>
                <a:endParaRPr lang="en-DK"/>
              </a:p>
            </p:txBody>
          </p:sp>
          <p:sp>
            <p:nvSpPr>
              <p:cNvPr id="86" name="Freeform 85">
                <a:extLst>
                  <a:ext uri="{FF2B5EF4-FFF2-40B4-BE49-F238E27FC236}">
                    <a16:creationId xmlns:a16="http://schemas.microsoft.com/office/drawing/2014/main" id="{EB1A0FC1-F02B-18C3-9343-35FE3CD85896}"/>
                  </a:ext>
                </a:extLst>
              </p:cNvPr>
              <p:cNvSpPr/>
              <p:nvPr/>
            </p:nvSpPr>
            <p:spPr>
              <a:xfrm>
                <a:off x="5676471" y="3630403"/>
                <a:ext cx="103582" cy="100148"/>
              </a:xfrm>
              <a:custGeom>
                <a:avLst/>
                <a:gdLst>
                  <a:gd name="connsiteX0" fmla="*/ 103478 w 103582"/>
                  <a:gd name="connsiteY0" fmla="*/ 42700 h 100148"/>
                  <a:gd name="connsiteX1" fmla="*/ 94067 w 103582"/>
                  <a:gd name="connsiteY1" fmla="*/ 13725 h 100148"/>
                  <a:gd name="connsiteX2" fmla="*/ 66826 w 103582"/>
                  <a:gd name="connsiteY2" fmla="*/ 105 h 100148"/>
                  <a:gd name="connsiteX3" fmla="*/ 37851 w 103582"/>
                  <a:gd name="connsiteY3" fmla="*/ 9515 h 100148"/>
                  <a:gd name="connsiteX4" fmla="*/ 13829 w 103582"/>
                  <a:gd name="connsiteY4" fmla="*/ 30318 h 100148"/>
                  <a:gd name="connsiteX5" fmla="*/ 9619 w 103582"/>
                  <a:gd name="connsiteY5" fmla="*/ 86286 h 100148"/>
                  <a:gd name="connsiteX6" fmla="*/ 62616 w 103582"/>
                  <a:gd name="connsiteY6" fmla="*/ 92972 h 100148"/>
                  <a:gd name="connsiteX7" fmla="*/ 65835 w 103582"/>
                  <a:gd name="connsiteY7" fmla="*/ 90001 h 100148"/>
                  <a:gd name="connsiteX8" fmla="*/ 93324 w 103582"/>
                  <a:gd name="connsiteY8" fmla="*/ 66474 h 100148"/>
                  <a:gd name="connsiteX9" fmla="*/ 103230 w 103582"/>
                  <a:gd name="connsiteY9" fmla="*/ 42948 h 10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582" h="100148">
                    <a:moveTo>
                      <a:pt x="103478" y="42700"/>
                    </a:moveTo>
                    <a:cubicBezTo>
                      <a:pt x="104221" y="32051"/>
                      <a:pt x="101001" y="21898"/>
                      <a:pt x="94067" y="13725"/>
                    </a:cubicBezTo>
                    <a:cubicBezTo>
                      <a:pt x="87133" y="5801"/>
                      <a:pt x="77475" y="848"/>
                      <a:pt x="66826" y="105"/>
                    </a:cubicBezTo>
                    <a:cubicBezTo>
                      <a:pt x="56177" y="-638"/>
                      <a:pt x="46023" y="2581"/>
                      <a:pt x="37851" y="9515"/>
                    </a:cubicBezTo>
                    <a:lnTo>
                      <a:pt x="13829" y="30318"/>
                    </a:lnTo>
                    <a:cubicBezTo>
                      <a:pt x="-2763" y="44681"/>
                      <a:pt x="-4744" y="69694"/>
                      <a:pt x="9619" y="86286"/>
                    </a:cubicBezTo>
                    <a:cubicBezTo>
                      <a:pt x="22992" y="101888"/>
                      <a:pt x="46023" y="104612"/>
                      <a:pt x="62616" y="92972"/>
                    </a:cubicBezTo>
                    <a:cubicBezTo>
                      <a:pt x="63606" y="91982"/>
                      <a:pt x="64845" y="90991"/>
                      <a:pt x="65835" y="90001"/>
                    </a:cubicBezTo>
                    <a:lnTo>
                      <a:pt x="93324" y="66474"/>
                    </a:lnTo>
                    <a:cubicBezTo>
                      <a:pt x="99020" y="60035"/>
                      <a:pt x="102487" y="51863"/>
                      <a:pt x="103230" y="42948"/>
                    </a:cubicBezTo>
                  </a:path>
                </a:pathLst>
              </a:custGeom>
              <a:solidFill>
                <a:srgbClr val="001965"/>
              </a:solidFill>
              <a:ln w="24685" cap="flat">
                <a:noFill/>
                <a:prstDash val="solid"/>
                <a:miter/>
              </a:ln>
            </p:spPr>
            <p:txBody>
              <a:bodyPr rtlCol="0" anchor="ctr"/>
              <a:lstStyle/>
              <a:p>
                <a:endParaRPr lang="en-DK"/>
              </a:p>
            </p:txBody>
          </p:sp>
        </p:grpSp>
        <p:grpSp>
          <p:nvGrpSpPr>
            <p:cNvPr id="87" name="Group 86">
              <a:extLst>
                <a:ext uri="{FF2B5EF4-FFF2-40B4-BE49-F238E27FC236}">
                  <a16:creationId xmlns:a16="http://schemas.microsoft.com/office/drawing/2014/main" id="{25D459D3-4EF9-C4C9-AA5B-3A51DA1EA786}"/>
                </a:ext>
              </a:extLst>
            </p:cNvPr>
            <p:cNvGrpSpPr/>
            <p:nvPr/>
          </p:nvGrpSpPr>
          <p:grpSpPr>
            <a:xfrm>
              <a:off x="-1047429" y="4185473"/>
              <a:ext cx="414816" cy="546656"/>
              <a:chOff x="815567" y="3978505"/>
              <a:chExt cx="344778" cy="454358"/>
            </a:xfrm>
          </p:grpSpPr>
          <p:sp>
            <p:nvSpPr>
              <p:cNvPr id="88" name="Oval 87">
                <a:extLst>
                  <a:ext uri="{FF2B5EF4-FFF2-40B4-BE49-F238E27FC236}">
                    <a16:creationId xmlns:a16="http://schemas.microsoft.com/office/drawing/2014/main" id="{85A721FE-3A72-B9DD-D6E4-C9C03A5DFF28}"/>
                  </a:ext>
                </a:extLst>
              </p:cNvPr>
              <p:cNvSpPr/>
              <p:nvPr/>
            </p:nvSpPr>
            <p:spPr>
              <a:xfrm>
                <a:off x="1065463" y="4106561"/>
                <a:ext cx="82854" cy="82854"/>
              </a:xfrm>
              <a:prstGeom prst="ellipse">
                <a:avLst/>
              </a:prstGeom>
              <a:solidFill>
                <a:schemeClr val="tx2">
                  <a:alpha val="50151"/>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nvGrpSpPr>
              <p:cNvPr id="89" name="Graphic 19" descr="Stethoscope outline">
                <a:extLst>
                  <a:ext uri="{FF2B5EF4-FFF2-40B4-BE49-F238E27FC236}">
                    <a16:creationId xmlns:a16="http://schemas.microsoft.com/office/drawing/2014/main" id="{CDEA7DC2-9A91-C6EB-09A2-6FAEBD70B2C8}"/>
                  </a:ext>
                </a:extLst>
              </p:cNvPr>
              <p:cNvGrpSpPr/>
              <p:nvPr/>
            </p:nvGrpSpPr>
            <p:grpSpPr>
              <a:xfrm>
                <a:off x="815567" y="3978505"/>
                <a:ext cx="344778" cy="454358"/>
                <a:chOff x="815567" y="3978505"/>
                <a:chExt cx="344778" cy="454358"/>
              </a:xfrm>
              <a:solidFill>
                <a:schemeClr val="bg1"/>
              </a:solidFill>
            </p:grpSpPr>
            <p:sp>
              <p:nvSpPr>
                <p:cNvPr id="90" name="Freeform 89">
                  <a:extLst>
                    <a:ext uri="{FF2B5EF4-FFF2-40B4-BE49-F238E27FC236}">
                      <a16:creationId xmlns:a16="http://schemas.microsoft.com/office/drawing/2014/main" id="{2FBE61A7-8F93-8B8A-E23F-B87CF7D773CC}"/>
                    </a:ext>
                  </a:extLst>
                </p:cNvPr>
                <p:cNvSpPr/>
                <p:nvPr/>
              </p:nvSpPr>
              <p:spPr>
                <a:xfrm>
                  <a:off x="815567" y="3978505"/>
                  <a:ext cx="344778" cy="454358"/>
                </a:xfrm>
                <a:custGeom>
                  <a:avLst/>
                  <a:gdLst>
                    <a:gd name="connsiteX0" fmla="*/ 344778 w 344778"/>
                    <a:gd name="connsiteY0" fmla="*/ 168380 h 454358"/>
                    <a:gd name="connsiteX1" fmla="*/ 291388 w 344778"/>
                    <a:gd name="connsiteY1" fmla="*/ 114862 h 454358"/>
                    <a:gd name="connsiteX2" fmla="*/ 237870 w 344778"/>
                    <a:gd name="connsiteY2" fmla="*/ 168253 h 454358"/>
                    <a:gd name="connsiteX3" fmla="*/ 283306 w 344778"/>
                    <a:gd name="connsiteY3" fmla="*/ 221166 h 454358"/>
                    <a:gd name="connsiteX4" fmla="*/ 283306 w 344778"/>
                    <a:gd name="connsiteY4" fmla="*/ 350123 h 454358"/>
                    <a:gd name="connsiteX5" fmla="*/ 195107 w 344778"/>
                    <a:gd name="connsiteY5" fmla="*/ 438322 h 454358"/>
                    <a:gd name="connsiteX6" fmla="*/ 106908 w 344778"/>
                    <a:gd name="connsiteY6" fmla="*/ 350123 h 454358"/>
                    <a:gd name="connsiteX7" fmla="*/ 106908 w 344778"/>
                    <a:gd name="connsiteY7" fmla="*/ 282900 h 454358"/>
                    <a:gd name="connsiteX8" fmla="*/ 197780 w 344778"/>
                    <a:gd name="connsiteY8" fmla="*/ 184416 h 454358"/>
                    <a:gd name="connsiteX9" fmla="*/ 195107 w 344778"/>
                    <a:gd name="connsiteY9" fmla="*/ 178477 h 454358"/>
                    <a:gd name="connsiteX10" fmla="*/ 195107 w 344778"/>
                    <a:gd name="connsiteY10" fmla="*/ 34745 h 454358"/>
                    <a:gd name="connsiteX11" fmla="*/ 168380 w 344778"/>
                    <a:gd name="connsiteY11" fmla="*/ 8018 h 454358"/>
                    <a:gd name="connsiteX12" fmla="*/ 164841 w 344778"/>
                    <a:gd name="connsiteY12" fmla="*/ 8018 h 454358"/>
                    <a:gd name="connsiteX13" fmla="*/ 164841 w 344778"/>
                    <a:gd name="connsiteY13" fmla="*/ 7019 h 454358"/>
                    <a:gd name="connsiteX14" fmla="*/ 155487 w 344778"/>
                    <a:gd name="connsiteY14" fmla="*/ 0 h 454358"/>
                    <a:gd name="connsiteX15" fmla="*/ 152146 w 344778"/>
                    <a:gd name="connsiteY15" fmla="*/ 0 h 454358"/>
                    <a:gd name="connsiteX16" fmla="*/ 138783 w 344778"/>
                    <a:gd name="connsiteY16" fmla="*/ 13363 h 454358"/>
                    <a:gd name="connsiteX17" fmla="*/ 152146 w 344778"/>
                    <a:gd name="connsiteY17" fmla="*/ 26727 h 454358"/>
                    <a:gd name="connsiteX18" fmla="*/ 155487 w 344778"/>
                    <a:gd name="connsiteY18" fmla="*/ 26727 h 454358"/>
                    <a:gd name="connsiteX19" fmla="*/ 164841 w 344778"/>
                    <a:gd name="connsiteY19" fmla="*/ 20713 h 454358"/>
                    <a:gd name="connsiteX20" fmla="*/ 164841 w 344778"/>
                    <a:gd name="connsiteY20" fmla="*/ 18709 h 454358"/>
                    <a:gd name="connsiteX21" fmla="*/ 168380 w 344778"/>
                    <a:gd name="connsiteY21" fmla="*/ 18709 h 454358"/>
                    <a:gd name="connsiteX22" fmla="*/ 184416 w 344778"/>
                    <a:gd name="connsiteY22" fmla="*/ 34745 h 454358"/>
                    <a:gd name="connsiteX23" fmla="*/ 184416 w 344778"/>
                    <a:gd name="connsiteY23" fmla="*/ 178477 h 454358"/>
                    <a:gd name="connsiteX24" fmla="*/ 181743 w 344778"/>
                    <a:gd name="connsiteY24" fmla="*/ 184416 h 454358"/>
                    <a:gd name="connsiteX25" fmla="*/ 98890 w 344778"/>
                    <a:gd name="connsiteY25" fmla="*/ 267270 h 454358"/>
                    <a:gd name="connsiteX26" fmla="*/ 16036 w 344778"/>
                    <a:gd name="connsiteY26" fmla="*/ 184416 h 454358"/>
                    <a:gd name="connsiteX27" fmla="*/ 13363 w 344778"/>
                    <a:gd name="connsiteY27" fmla="*/ 178477 h 454358"/>
                    <a:gd name="connsiteX28" fmla="*/ 13363 w 344778"/>
                    <a:gd name="connsiteY28" fmla="*/ 34745 h 454358"/>
                    <a:gd name="connsiteX29" fmla="*/ 29400 w 344778"/>
                    <a:gd name="connsiteY29" fmla="*/ 18709 h 454358"/>
                    <a:gd name="connsiteX30" fmla="*/ 32944 w 344778"/>
                    <a:gd name="connsiteY30" fmla="*/ 18709 h 454358"/>
                    <a:gd name="connsiteX31" fmla="*/ 32944 w 344778"/>
                    <a:gd name="connsiteY31" fmla="*/ 20713 h 454358"/>
                    <a:gd name="connsiteX32" fmla="*/ 42298 w 344778"/>
                    <a:gd name="connsiteY32" fmla="*/ 26727 h 454358"/>
                    <a:gd name="connsiteX33" fmla="*/ 45639 w 344778"/>
                    <a:gd name="connsiteY33" fmla="*/ 26727 h 454358"/>
                    <a:gd name="connsiteX34" fmla="*/ 59002 w 344778"/>
                    <a:gd name="connsiteY34" fmla="*/ 13363 h 454358"/>
                    <a:gd name="connsiteX35" fmla="*/ 45639 w 344778"/>
                    <a:gd name="connsiteY35" fmla="*/ 0 h 454358"/>
                    <a:gd name="connsiteX36" fmla="*/ 42298 w 344778"/>
                    <a:gd name="connsiteY36" fmla="*/ 0 h 454358"/>
                    <a:gd name="connsiteX37" fmla="*/ 32944 w 344778"/>
                    <a:gd name="connsiteY37" fmla="*/ 7019 h 454358"/>
                    <a:gd name="connsiteX38" fmla="*/ 32944 w 344778"/>
                    <a:gd name="connsiteY38" fmla="*/ 8018 h 454358"/>
                    <a:gd name="connsiteX39" fmla="*/ 29400 w 344778"/>
                    <a:gd name="connsiteY39" fmla="*/ 8018 h 454358"/>
                    <a:gd name="connsiteX40" fmla="*/ 2673 w 344778"/>
                    <a:gd name="connsiteY40" fmla="*/ 34745 h 454358"/>
                    <a:gd name="connsiteX41" fmla="*/ 2673 w 344778"/>
                    <a:gd name="connsiteY41" fmla="*/ 178477 h 454358"/>
                    <a:gd name="connsiteX42" fmla="*/ 0 w 344778"/>
                    <a:gd name="connsiteY42" fmla="*/ 184416 h 454358"/>
                    <a:gd name="connsiteX43" fmla="*/ 90872 w 344778"/>
                    <a:gd name="connsiteY43" fmla="*/ 282900 h 454358"/>
                    <a:gd name="connsiteX44" fmla="*/ 90872 w 344778"/>
                    <a:gd name="connsiteY44" fmla="*/ 350123 h 454358"/>
                    <a:gd name="connsiteX45" fmla="*/ 195107 w 344778"/>
                    <a:gd name="connsiteY45" fmla="*/ 454359 h 454358"/>
                    <a:gd name="connsiteX46" fmla="*/ 299342 w 344778"/>
                    <a:gd name="connsiteY46" fmla="*/ 350123 h 454358"/>
                    <a:gd name="connsiteX47" fmla="*/ 299342 w 344778"/>
                    <a:gd name="connsiteY47" fmla="*/ 221166 h 454358"/>
                    <a:gd name="connsiteX48" fmla="*/ 344778 w 344778"/>
                    <a:gd name="connsiteY48" fmla="*/ 168380 h 454358"/>
                    <a:gd name="connsiteX49" fmla="*/ 293746 w 344778"/>
                    <a:gd name="connsiteY49" fmla="*/ 211020 h 454358"/>
                    <a:gd name="connsiteX50" fmla="*/ 288908 w 344778"/>
                    <a:gd name="connsiteY50" fmla="*/ 211020 h 454358"/>
                    <a:gd name="connsiteX51" fmla="*/ 248632 w 344778"/>
                    <a:gd name="connsiteY51" fmla="*/ 165907 h 454358"/>
                    <a:gd name="connsiteX52" fmla="*/ 293746 w 344778"/>
                    <a:gd name="connsiteY52" fmla="*/ 125631 h 454358"/>
                    <a:gd name="connsiteX53" fmla="*/ 334022 w 344778"/>
                    <a:gd name="connsiteY53" fmla="*/ 170744 h 454358"/>
                    <a:gd name="connsiteX54" fmla="*/ 293746 w 344778"/>
                    <a:gd name="connsiteY54" fmla="*/ 211020 h 454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44778" h="454358">
                      <a:moveTo>
                        <a:pt x="344778" y="168380"/>
                      </a:moveTo>
                      <a:cubicBezTo>
                        <a:pt x="344813" y="138858"/>
                        <a:pt x="320909" y="114898"/>
                        <a:pt x="291388" y="114862"/>
                      </a:cubicBezTo>
                      <a:cubicBezTo>
                        <a:pt x="261866" y="114828"/>
                        <a:pt x="237905" y="138731"/>
                        <a:pt x="237870" y="168253"/>
                      </a:cubicBezTo>
                      <a:cubicBezTo>
                        <a:pt x="237839" y="194703"/>
                        <a:pt x="257156" y="217198"/>
                        <a:pt x="283306" y="221166"/>
                      </a:cubicBezTo>
                      <a:lnTo>
                        <a:pt x="283306" y="350123"/>
                      </a:lnTo>
                      <a:cubicBezTo>
                        <a:pt x="283306" y="398834"/>
                        <a:pt x="243818" y="438322"/>
                        <a:pt x="195107" y="438322"/>
                      </a:cubicBezTo>
                      <a:cubicBezTo>
                        <a:pt x="146396" y="438322"/>
                        <a:pt x="106908" y="398834"/>
                        <a:pt x="106908" y="350123"/>
                      </a:cubicBezTo>
                      <a:lnTo>
                        <a:pt x="106908" y="282900"/>
                      </a:lnTo>
                      <a:cubicBezTo>
                        <a:pt x="158198" y="278694"/>
                        <a:pt x="197704" y="235878"/>
                        <a:pt x="197780" y="184416"/>
                      </a:cubicBezTo>
                      <a:cubicBezTo>
                        <a:pt x="197776" y="182146"/>
                        <a:pt x="196804" y="179986"/>
                        <a:pt x="195107" y="178477"/>
                      </a:cubicBezTo>
                      <a:lnTo>
                        <a:pt x="195107" y="34745"/>
                      </a:lnTo>
                      <a:cubicBezTo>
                        <a:pt x="195089" y="19992"/>
                        <a:pt x="183134" y="8036"/>
                        <a:pt x="168380" y="8018"/>
                      </a:cubicBezTo>
                      <a:lnTo>
                        <a:pt x="164841" y="8018"/>
                      </a:lnTo>
                      <a:lnTo>
                        <a:pt x="164841" y="7019"/>
                      </a:lnTo>
                      <a:cubicBezTo>
                        <a:pt x="163548" y="2917"/>
                        <a:pt x="159787" y="94"/>
                        <a:pt x="155487" y="0"/>
                      </a:cubicBezTo>
                      <a:lnTo>
                        <a:pt x="152146" y="0"/>
                      </a:lnTo>
                      <a:cubicBezTo>
                        <a:pt x="144766" y="0"/>
                        <a:pt x="138783" y="5983"/>
                        <a:pt x="138783" y="13363"/>
                      </a:cubicBezTo>
                      <a:cubicBezTo>
                        <a:pt x="138783" y="20744"/>
                        <a:pt x="144766" y="26727"/>
                        <a:pt x="152146" y="26727"/>
                      </a:cubicBezTo>
                      <a:lnTo>
                        <a:pt x="155487" y="26727"/>
                      </a:lnTo>
                      <a:cubicBezTo>
                        <a:pt x="159471" y="26587"/>
                        <a:pt x="163060" y="24280"/>
                        <a:pt x="164841" y="20713"/>
                      </a:cubicBezTo>
                      <a:lnTo>
                        <a:pt x="164841" y="18709"/>
                      </a:lnTo>
                      <a:lnTo>
                        <a:pt x="168380" y="18709"/>
                      </a:lnTo>
                      <a:cubicBezTo>
                        <a:pt x="177237" y="18709"/>
                        <a:pt x="184416" y="25888"/>
                        <a:pt x="184416" y="34745"/>
                      </a:cubicBezTo>
                      <a:lnTo>
                        <a:pt x="184416" y="178477"/>
                      </a:lnTo>
                      <a:cubicBezTo>
                        <a:pt x="182722" y="179988"/>
                        <a:pt x="181750" y="182147"/>
                        <a:pt x="181743" y="184416"/>
                      </a:cubicBezTo>
                      <a:cubicBezTo>
                        <a:pt x="181743" y="230175"/>
                        <a:pt x="144649" y="267270"/>
                        <a:pt x="98890" y="267270"/>
                      </a:cubicBezTo>
                      <a:cubicBezTo>
                        <a:pt x="53131" y="267270"/>
                        <a:pt x="16036" y="230175"/>
                        <a:pt x="16036" y="184416"/>
                      </a:cubicBezTo>
                      <a:cubicBezTo>
                        <a:pt x="16032" y="182146"/>
                        <a:pt x="15060" y="179986"/>
                        <a:pt x="13363" y="178477"/>
                      </a:cubicBezTo>
                      <a:lnTo>
                        <a:pt x="13363" y="34745"/>
                      </a:lnTo>
                      <a:cubicBezTo>
                        <a:pt x="13363" y="25888"/>
                        <a:pt x="20543" y="18709"/>
                        <a:pt x="29400" y="18709"/>
                      </a:cubicBezTo>
                      <a:lnTo>
                        <a:pt x="32944" y="18709"/>
                      </a:lnTo>
                      <a:lnTo>
                        <a:pt x="32944" y="20713"/>
                      </a:lnTo>
                      <a:cubicBezTo>
                        <a:pt x="34541" y="24440"/>
                        <a:pt x="38244" y="26821"/>
                        <a:pt x="42298" y="26727"/>
                      </a:cubicBezTo>
                      <a:lnTo>
                        <a:pt x="45639" y="26727"/>
                      </a:lnTo>
                      <a:cubicBezTo>
                        <a:pt x="53019" y="26727"/>
                        <a:pt x="59002" y="20744"/>
                        <a:pt x="59002" y="13363"/>
                      </a:cubicBezTo>
                      <a:cubicBezTo>
                        <a:pt x="59002" y="5983"/>
                        <a:pt x="53019" y="0"/>
                        <a:pt x="45639" y="0"/>
                      </a:cubicBezTo>
                      <a:lnTo>
                        <a:pt x="42298" y="0"/>
                      </a:lnTo>
                      <a:cubicBezTo>
                        <a:pt x="37998" y="93"/>
                        <a:pt x="34235" y="2916"/>
                        <a:pt x="32944" y="7019"/>
                      </a:cubicBezTo>
                      <a:lnTo>
                        <a:pt x="32944" y="8018"/>
                      </a:lnTo>
                      <a:lnTo>
                        <a:pt x="29400" y="8018"/>
                      </a:lnTo>
                      <a:cubicBezTo>
                        <a:pt x="14646" y="8036"/>
                        <a:pt x="2690" y="19992"/>
                        <a:pt x="2673" y="34745"/>
                      </a:cubicBezTo>
                      <a:lnTo>
                        <a:pt x="2673" y="178477"/>
                      </a:lnTo>
                      <a:cubicBezTo>
                        <a:pt x="978" y="179988"/>
                        <a:pt x="6" y="182147"/>
                        <a:pt x="0" y="184416"/>
                      </a:cubicBezTo>
                      <a:cubicBezTo>
                        <a:pt x="78" y="235877"/>
                        <a:pt x="39583" y="278691"/>
                        <a:pt x="90872" y="282900"/>
                      </a:cubicBezTo>
                      <a:lnTo>
                        <a:pt x="90872" y="350123"/>
                      </a:lnTo>
                      <a:cubicBezTo>
                        <a:pt x="90872" y="407691"/>
                        <a:pt x="137539" y="454359"/>
                        <a:pt x="195107" y="454359"/>
                      </a:cubicBezTo>
                      <a:cubicBezTo>
                        <a:pt x="252675" y="454359"/>
                        <a:pt x="299342" y="407691"/>
                        <a:pt x="299342" y="350123"/>
                      </a:cubicBezTo>
                      <a:lnTo>
                        <a:pt x="299342" y="221166"/>
                      </a:lnTo>
                      <a:cubicBezTo>
                        <a:pt x="325437" y="217191"/>
                        <a:pt x="344731" y="194776"/>
                        <a:pt x="344778" y="168380"/>
                      </a:cubicBezTo>
                      <a:close/>
                      <a:moveTo>
                        <a:pt x="293746" y="211020"/>
                      </a:moveTo>
                      <a:cubicBezTo>
                        <a:pt x="292180" y="210471"/>
                        <a:pt x="290474" y="210471"/>
                        <a:pt x="288908" y="211020"/>
                      </a:cubicBezTo>
                      <a:cubicBezTo>
                        <a:pt x="265328" y="209684"/>
                        <a:pt x="247296" y="189486"/>
                        <a:pt x="248632" y="165907"/>
                      </a:cubicBezTo>
                      <a:cubicBezTo>
                        <a:pt x="249968" y="142327"/>
                        <a:pt x="270166" y="124295"/>
                        <a:pt x="293746" y="125631"/>
                      </a:cubicBezTo>
                      <a:cubicBezTo>
                        <a:pt x="317325" y="126967"/>
                        <a:pt x="335357" y="147165"/>
                        <a:pt x="334022" y="170744"/>
                      </a:cubicBezTo>
                      <a:cubicBezTo>
                        <a:pt x="332792" y="192458"/>
                        <a:pt x="315460" y="209790"/>
                        <a:pt x="293746" y="211020"/>
                      </a:cubicBezTo>
                      <a:close/>
                    </a:path>
                  </a:pathLst>
                </a:custGeom>
                <a:solidFill>
                  <a:schemeClr val="bg1"/>
                </a:solidFill>
                <a:ln w="5259" cap="flat">
                  <a:noFill/>
                  <a:prstDash val="solid"/>
                  <a:miter/>
                </a:ln>
              </p:spPr>
              <p:txBody>
                <a:bodyPr rtlCol="0" anchor="ctr"/>
                <a:lstStyle/>
                <a:p>
                  <a:endParaRPr lang="en-DK"/>
                </a:p>
              </p:txBody>
            </p:sp>
            <p:sp>
              <p:nvSpPr>
                <p:cNvPr id="91" name="Freeform 90">
                  <a:extLst>
                    <a:ext uri="{FF2B5EF4-FFF2-40B4-BE49-F238E27FC236}">
                      <a16:creationId xmlns:a16="http://schemas.microsoft.com/office/drawing/2014/main" id="{1AA03ED9-637B-06CC-0B29-18272DDC6397}"/>
                    </a:ext>
                  </a:extLst>
                </p:cNvPr>
                <p:cNvSpPr/>
                <p:nvPr/>
              </p:nvSpPr>
              <p:spPr>
                <a:xfrm>
                  <a:off x="1077491" y="4117485"/>
                  <a:ext cx="58799" cy="58799"/>
                </a:xfrm>
                <a:custGeom>
                  <a:avLst/>
                  <a:gdLst>
                    <a:gd name="connsiteX0" fmla="*/ 29400 w 58799"/>
                    <a:gd name="connsiteY0" fmla="*/ 0 h 58799"/>
                    <a:gd name="connsiteX1" fmla="*/ 0 w 58799"/>
                    <a:gd name="connsiteY1" fmla="*/ 29400 h 58799"/>
                    <a:gd name="connsiteX2" fmla="*/ 29400 w 58799"/>
                    <a:gd name="connsiteY2" fmla="*/ 58799 h 58799"/>
                    <a:gd name="connsiteX3" fmla="*/ 58799 w 58799"/>
                    <a:gd name="connsiteY3" fmla="*/ 29400 h 58799"/>
                    <a:gd name="connsiteX4" fmla="*/ 29400 w 58799"/>
                    <a:gd name="connsiteY4" fmla="*/ 0 h 58799"/>
                    <a:gd name="connsiteX5" fmla="*/ 29400 w 58799"/>
                    <a:gd name="connsiteY5" fmla="*/ 48109 h 58799"/>
                    <a:gd name="connsiteX6" fmla="*/ 10691 w 58799"/>
                    <a:gd name="connsiteY6" fmla="*/ 29400 h 58799"/>
                    <a:gd name="connsiteX7" fmla="*/ 29400 w 58799"/>
                    <a:gd name="connsiteY7" fmla="*/ 10691 h 58799"/>
                    <a:gd name="connsiteX8" fmla="*/ 48109 w 58799"/>
                    <a:gd name="connsiteY8" fmla="*/ 29400 h 58799"/>
                    <a:gd name="connsiteX9" fmla="*/ 29400 w 58799"/>
                    <a:gd name="connsiteY9" fmla="*/ 48109 h 5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799" h="58799">
                      <a:moveTo>
                        <a:pt x="29400" y="0"/>
                      </a:moveTo>
                      <a:cubicBezTo>
                        <a:pt x="13163" y="0"/>
                        <a:pt x="0" y="13162"/>
                        <a:pt x="0" y="29400"/>
                      </a:cubicBezTo>
                      <a:cubicBezTo>
                        <a:pt x="0" y="45637"/>
                        <a:pt x="13163" y="58799"/>
                        <a:pt x="29400" y="58799"/>
                      </a:cubicBezTo>
                      <a:cubicBezTo>
                        <a:pt x="45637" y="58799"/>
                        <a:pt x="58799" y="45637"/>
                        <a:pt x="58799" y="29400"/>
                      </a:cubicBezTo>
                      <a:cubicBezTo>
                        <a:pt x="58782" y="13170"/>
                        <a:pt x="45629" y="18"/>
                        <a:pt x="29400" y="0"/>
                      </a:cubicBezTo>
                      <a:close/>
                      <a:moveTo>
                        <a:pt x="29400" y="48109"/>
                      </a:moveTo>
                      <a:cubicBezTo>
                        <a:pt x="19067" y="48109"/>
                        <a:pt x="10691" y="39732"/>
                        <a:pt x="10691" y="29400"/>
                      </a:cubicBezTo>
                      <a:cubicBezTo>
                        <a:pt x="10691" y="19067"/>
                        <a:pt x="19067" y="10691"/>
                        <a:pt x="29400" y="10691"/>
                      </a:cubicBezTo>
                      <a:cubicBezTo>
                        <a:pt x="39732" y="10691"/>
                        <a:pt x="48109" y="19067"/>
                        <a:pt x="48109" y="29400"/>
                      </a:cubicBezTo>
                      <a:cubicBezTo>
                        <a:pt x="48109" y="39732"/>
                        <a:pt x="39732" y="48109"/>
                        <a:pt x="29400" y="48109"/>
                      </a:cubicBezTo>
                      <a:close/>
                    </a:path>
                  </a:pathLst>
                </a:custGeom>
                <a:solidFill>
                  <a:schemeClr val="bg1"/>
                </a:solidFill>
                <a:ln w="5259" cap="flat">
                  <a:noFill/>
                  <a:prstDash val="solid"/>
                  <a:miter/>
                </a:ln>
              </p:spPr>
              <p:txBody>
                <a:bodyPr rtlCol="0" anchor="ctr"/>
                <a:lstStyle/>
                <a:p>
                  <a:endParaRPr lang="en-DK"/>
                </a:p>
              </p:txBody>
            </p:sp>
          </p:grpSp>
        </p:grpSp>
      </p:grpSp>
      <p:sp>
        <p:nvSpPr>
          <p:cNvPr id="124" name="Graphic 17" descr="Briefcase outline">
            <a:extLst>
              <a:ext uri="{FF2B5EF4-FFF2-40B4-BE49-F238E27FC236}">
                <a16:creationId xmlns:a16="http://schemas.microsoft.com/office/drawing/2014/main" id="{D3EA5796-734F-5FD0-40C8-58F8BB1D07D0}"/>
              </a:ext>
            </a:extLst>
          </p:cNvPr>
          <p:cNvSpPr/>
          <p:nvPr/>
        </p:nvSpPr>
        <p:spPr>
          <a:xfrm>
            <a:off x="-817477" y="4719506"/>
            <a:ext cx="442275" cy="370527"/>
          </a:xfrm>
          <a:custGeom>
            <a:avLst/>
            <a:gdLst>
              <a:gd name="connsiteX0" fmla="*/ 406250 w 427631"/>
              <a:gd name="connsiteY0" fmla="*/ 58837 h 358259"/>
              <a:gd name="connsiteX1" fmla="*/ 288651 w 427631"/>
              <a:gd name="connsiteY1" fmla="*/ 58837 h 358259"/>
              <a:gd name="connsiteX2" fmla="*/ 288651 w 427631"/>
              <a:gd name="connsiteY2" fmla="*/ 26727 h 358259"/>
              <a:gd name="connsiteX3" fmla="*/ 261924 w 427631"/>
              <a:gd name="connsiteY3" fmla="*/ 0 h 358259"/>
              <a:gd name="connsiteX4" fmla="*/ 165707 w 427631"/>
              <a:gd name="connsiteY4" fmla="*/ 0 h 358259"/>
              <a:gd name="connsiteX5" fmla="*/ 138980 w 427631"/>
              <a:gd name="connsiteY5" fmla="*/ 26727 h 358259"/>
              <a:gd name="connsiteX6" fmla="*/ 138980 w 427631"/>
              <a:gd name="connsiteY6" fmla="*/ 58837 h 358259"/>
              <a:gd name="connsiteX7" fmla="*/ 21382 w 427631"/>
              <a:gd name="connsiteY7" fmla="*/ 58837 h 358259"/>
              <a:gd name="connsiteX8" fmla="*/ 0 w 427631"/>
              <a:gd name="connsiteY8" fmla="*/ 80218 h 358259"/>
              <a:gd name="connsiteX9" fmla="*/ 0 w 427631"/>
              <a:gd name="connsiteY9" fmla="*/ 336878 h 358259"/>
              <a:gd name="connsiteX10" fmla="*/ 21382 w 427631"/>
              <a:gd name="connsiteY10" fmla="*/ 358259 h 358259"/>
              <a:gd name="connsiteX11" fmla="*/ 406250 w 427631"/>
              <a:gd name="connsiteY11" fmla="*/ 358259 h 358259"/>
              <a:gd name="connsiteX12" fmla="*/ 427632 w 427631"/>
              <a:gd name="connsiteY12" fmla="*/ 336878 h 358259"/>
              <a:gd name="connsiteX13" fmla="*/ 427632 w 427631"/>
              <a:gd name="connsiteY13" fmla="*/ 80224 h 358259"/>
              <a:gd name="connsiteX14" fmla="*/ 406250 w 427631"/>
              <a:gd name="connsiteY14" fmla="*/ 58837 h 358259"/>
              <a:gd name="connsiteX15" fmla="*/ 149671 w 427631"/>
              <a:gd name="connsiteY15" fmla="*/ 26727 h 358259"/>
              <a:gd name="connsiteX16" fmla="*/ 165707 w 427631"/>
              <a:gd name="connsiteY16" fmla="*/ 10691 h 358259"/>
              <a:gd name="connsiteX17" fmla="*/ 261924 w 427631"/>
              <a:gd name="connsiteY17" fmla="*/ 10691 h 358259"/>
              <a:gd name="connsiteX18" fmla="*/ 277961 w 427631"/>
              <a:gd name="connsiteY18" fmla="*/ 26727 h 358259"/>
              <a:gd name="connsiteX19" fmla="*/ 277961 w 427631"/>
              <a:gd name="connsiteY19" fmla="*/ 58799 h 358259"/>
              <a:gd name="connsiteX20" fmla="*/ 149671 w 427631"/>
              <a:gd name="connsiteY20" fmla="*/ 58799 h 358259"/>
              <a:gd name="connsiteX21" fmla="*/ 21382 w 427631"/>
              <a:gd name="connsiteY21" fmla="*/ 69528 h 358259"/>
              <a:gd name="connsiteX22" fmla="*/ 406250 w 427631"/>
              <a:gd name="connsiteY22" fmla="*/ 69528 h 358259"/>
              <a:gd name="connsiteX23" fmla="*/ 416941 w 427631"/>
              <a:gd name="connsiteY23" fmla="*/ 80218 h 358259"/>
              <a:gd name="connsiteX24" fmla="*/ 416941 w 427631"/>
              <a:gd name="connsiteY24" fmla="*/ 176398 h 358259"/>
              <a:gd name="connsiteX25" fmla="*/ 251234 w 427631"/>
              <a:gd name="connsiteY25" fmla="*/ 176398 h 358259"/>
              <a:gd name="connsiteX26" fmla="*/ 251234 w 427631"/>
              <a:gd name="connsiteY26" fmla="*/ 155016 h 358259"/>
              <a:gd name="connsiteX27" fmla="*/ 176398 w 427631"/>
              <a:gd name="connsiteY27" fmla="*/ 155016 h 358259"/>
              <a:gd name="connsiteX28" fmla="*/ 176398 w 427631"/>
              <a:gd name="connsiteY28" fmla="*/ 176398 h 358259"/>
              <a:gd name="connsiteX29" fmla="*/ 10691 w 427631"/>
              <a:gd name="connsiteY29" fmla="*/ 176398 h 358259"/>
              <a:gd name="connsiteX30" fmla="*/ 10691 w 427631"/>
              <a:gd name="connsiteY30" fmla="*/ 80224 h 358259"/>
              <a:gd name="connsiteX31" fmla="*/ 21376 w 427631"/>
              <a:gd name="connsiteY31" fmla="*/ 69528 h 358259"/>
              <a:gd name="connsiteX32" fmla="*/ 21382 w 427631"/>
              <a:gd name="connsiteY32" fmla="*/ 69528 h 358259"/>
              <a:gd name="connsiteX33" fmla="*/ 240543 w 427631"/>
              <a:gd name="connsiteY33" fmla="*/ 165707 h 358259"/>
              <a:gd name="connsiteX34" fmla="*/ 240543 w 427631"/>
              <a:gd name="connsiteY34" fmla="*/ 203125 h 358259"/>
              <a:gd name="connsiteX35" fmla="*/ 229852 w 427631"/>
              <a:gd name="connsiteY35" fmla="*/ 213816 h 358259"/>
              <a:gd name="connsiteX36" fmla="*/ 197780 w 427631"/>
              <a:gd name="connsiteY36" fmla="*/ 213816 h 358259"/>
              <a:gd name="connsiteX37" fmla="*/ 187089 w 427631"/>
              <a:gd name="connsiteY37" fmla="*/ 203125 h 358259"/>
              <a:gd name="connsiteX38" fmla="*/ 187089 w 427631"/>
              <a:gd name="connsiteY38" fmla="*/ 165707 h 358259"/>
              <a:gd name="connsiteX39" fmla="*/ 406250 w 427631"/>
              <a:gd name="connsiteY39" fmla="*/ 347574 h 358259"/>
              <a:gd name="connsiteX40" fmla="*/ 21382 w 427631"/>
              <a:gd name="connsiteY40" fmla="*/ 347574 h 358259"/>
              <a:gd name="connsiteX41" fmla="*/ 10691 w 427631"/>
              <a:gd name="connsiteY41" fmla="*/ 336883 h 358259"/>
              <a:gd name="connsiteX42" fmla="*/ 10691 w 427631"/>
              <a:gd name="connsiteY42" fmla="*/ 187089 h 358259"/>
              <a:gd name="connsiteX43" fmla="*/ 176398 w 427631"/>
              <a:gd name="connsiteY43" fmla="*/ 187089 h 358259"/>
              <a:gd name="connsiteX44" fmla="*/ 176398 w 427631"/>
              <a:gd name="connsiteY44" fmla="*/ 203125 h 358259"/>
              <a:gd name="connsiteX45" fmla="*/ 197780 w 427631"/>
              <a:gd name="connsiteY45" fmla="*/ 224507 h 358259"/>
              <a:gd name="connsiteX46" fmla="*/ 229852 w 427631"/>
              <a:gd name="connsiteY46" fmla="*/ 224507 h 358259"/>
              <a:gd name="connsiteX47" fmla="*/ 251234 w 427631"/>
              <a:gd name="connsiteY47" fmla="*/ 203125 h 358259"/>
              <a:gd name="connsiteX48" fmla="*/ 251234 w 427631"/>
              <a:gd name="connsiteY48" fmla="*/ 187089 h 358259"/>
              <a:gd name="connsiteX49" fmla="*/ 416941 w 427631"/>
              <a:gd name="connsiteY49" fmla="*/ 187089 h 358259"/>
              <a:gd name="connsiteX50" fmla="*/ 416941 w 427631"/>
              <a:gd name="connsiteY50" fmla="*/ 336878 h 358259"/>
              <a:gd name="connsiteX51" fmla="*/ 406255 w 427631"/>
              <a:gd name="connsiteY51" fmla="*/ 347574 h 358259"/>
              <a:gd name="connsiteX52" fmla="*/ 406250 w 427631"/>
              <a:gd name="connsiteY52" fmla="*/ 347574 h 35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27631" h="358259">
                <a:moveTo>
                  <a:pt x="406250" y="58837"/>
                </a:moveTo>
                <a:lnTo>
                  <a:pt x="288651" y="58837"/>
                </a:lnTo>
                <a:lnTo>
                  <a:pt x="288651" y="26727"/>
                </a:lnTo>
                <a:cubicBezTo>
                  <a:pt x="288634" y="11973"/>
                  <a:pt x="276678" y="18"/>
                  <a:pt x="261924" y="0"/>
                </a:cubicBezTo>
                <a:lnTo>
                  <a:pt x="165707" y="0"/>
                </a:lnTo>
                <a:cubicBezTo>
                  <a:pt x="150953" y="18"/>
                  <a:pt x="138998" y="11973"/>
                  <a:pt x="138980" y="26727"/>
                </a:cubicBezTo>
                <a:lnTo>
                  <a:pt x="138980" y="58837"/>
                </a:lnTo>
                <a:lnTo>
                  <a:pt x="21382" y="58837"/>
                </a:lnTo>
                <a:cubicBezTo>
                  <a:pt x="9589" y="58875"/>
                  <a:pt x="38" y="68425"/>
                  <a:pt x="0" y="80218"/>
                </a:cubicBezTo>
                <a:lnTo>
                  <a:pt x="0" y="336878"/>
                </a:lnTo>
                <a:cubicBezTo>
                  <a:pt x="38" y="348671"/>
                  <a:pt x="9589" y="358221"/>
                  <a:pt x="21382" y="358259"/>
                </a:cubicBezTo>
                <a:lnTo>
                  <a:pt x="406250" y="358259"/>
                </a:lnTo>
                <a:cubicBezTo>
                  <a:pt x="418043" y="358221"/>
                  <a:pt x="427594" y="348671"/>
                  <a:pt x="427632" y="336878"/>
                </a:cubicBezTo>
                <a:lnTo>
                  <a:pt x="427632" y="80224"/>
                </a:lnTo>
                <a:cubicBezTo>
                  <a:pt x="427596" y="68429"/>
                  <a:pt x="418045" y="58875"/>
                  <a:pt x="406250" y="58837"/>
                </a:cubicBezTo>
                <a:close/>
                <a:moveTo>
                  <a:pt x="149671" y="26727"/>
                </a:moveTo>
                <a:cubicBezTo>
                  <a:pt x="149671" y="17870"/>
                  <a:pt x="156851" y="10691"/>
                  <a:pt x="165707" y="10691"/>
                </a:cubicBezTo>
                <a:lnTo>
                  <a:pt x="261924" y="10691"/>
                </a:lnTo>
                <a:cubicBezTo>
                  <a:pt x="270781" y="10691"/>
                  <a:pt x="277961" y="17870"/>
                  <a:pt x="277961" y="26727"/>
                </a:cubicBezTo>
                <a:lnTo>
                  <a:pt x="277961" y="58799"/>
                </a:lnTo>
                <a:lnTo>
                  <a:pt x="149671" y="58799"/>
                </a:lnTo>
                <a:close/>
                <a:moveTo>
                  <a:pt x="21382" y="69528"/>
                </a:moveTo>
                <a:lnTo>
                  <a:pt x="406250" y="69528"/>
                </a:lnTo>
                <a:cubicBezTo>
                  <a:pt x="412155" y="69528"/>
                  <a:pt x="416941" y="74314"/>
                  <a:pt x="416941" y="80218"/>
                </a:cubicBezTo>
                <a:lnTo>
                  <a:pt x="416941" y="176398"/>
                </a:lnTo>
                <a:lnTo>
                  <a:pt x="251234" y="176398"/>
                </a:lnTo>
                <a:lnTo>
                  <a:pt x="251234" y="155016"/>
                </a:lnTo>
                <a:lnTo>
                  <a:pt x="176398" y="155016"/>
                </a:lnTo>
                <a:lnTo>
                  <a:pt x="176398" y="176398"/>
                </a:lnTo>
                <a:lnTo>
                  <a:pt x="10691" y="176398"/>
                </a:lnTo>
                <a:lnTo>
                  <a:pt x="10691" y="80224"/>
                </a:lnTo>
                <a:cubicBezTo>
                  <a:pt x="10688" y="74319"/>
                  <a:pt x="15472" y="69531"/>
                  <a:pt x="21376" y="69528"/>
                </a:cubicBezTo>
                <a:cubicBezTo>
                  <a:pt x="21378" y="69528"/>
                  <a:pt x="21380" y="69528"/>
                  <a:pt x="21382" y="69528"/>
                </a:cubicBezTo>
                <a:close/>
                <a:moveTo>
                  <a:pt x="240543" y="165707"/>
                </a:moveTo>
                <a:lnTo>
                  <a:pt x="240543" y="203125"/>
                </a:lnTo>
                <a:cubicBezTo>
                  <a:pt x="240543" y="209030"/>
                  <a:pt x="235757" y="213816"/>
                  <a:pt x="229852" y="213816"/>
                </a:cubicBezTo>
                <a:lnTo>
                  <a:pt x="197780" y="213816"/>
                </a:lnTo>
                <a:cubicBezTo>
                  <a:pt x="191875" y="213816"/>
                  <a:pt x="187089" y="209030"/>
                  <a:pt x="187089" y="203125"/>
                </a:cubicBezTo>
                <a:lnTo>
                  <a:pt x="187089" y="165707"/>
                </a:lnTo>
                <a:close/>
                <a:moveTo>
                  <a:pt x="406250" y="347574"/>
                </a:moveTo>
                <a:lnTo>
                  <a:pt x="21382" y="347574"/>
                </a:lnTo>
                <a:cubicBezTo>
                  <a:pt x="15477" y="347574"/>
                  <a:pt x="10691" y="342787"/>
                  <a:pt x="10691" y="336883"/>
                </a:cubicBezTo>
                <a:lnTo>
                  <a:pt x="10691" y="187089"/>
                </a:lnTo>
                <a:lnTo>
                  <a:pt x="176398" y="187089"/>
                </a:lnTo>
                <a:lnTo>
                  <a:pt x="176398" y="203125"/>
                </a:lnTo>
                <a:cubicBezTo>
                  <a:pt x="176398" y="214934"/>
                  <a:pt x="185971" y="224507"/>
                  <a:pt x="197780" y="224507"/>
                </a:cubicBezTo>
                <a:lnTo>
                  <a:pt x="229852" y="224507"/>
                </a:lnTo>
                <a:cubicBezTo>
                  <a:pt x="241661" y="224507"/>
                  <a:pt x="251234" y="214934"/>
                  <a:pt x="251234" y="203125"/>
                </a:cubicBezTo>
                <a:lnTo>
                  <a:pt x="251234" y="187089"/>
                </a:lnTo>
                <a:lnTo>
                  <a:pt x="416941" y="187089"/>
                </a:lnTo>
                <a:lnTo>
                  <a:pt x="416941" y="336878"/>
                </a:lnTo>
                <a:cubicBezTo>
                  <a:pt x="416944" y="342782"/>
                  <a:pt x="412160" y="347571"/>
                  <a:pt x="406255" y="347574"/>
                </a:cubicBezTo>
                <a:cubicBezTo>
                  <a:pt x="406254" y="347574"/>
                  <a:pt x="406252" y="347574"/>
                  <a:pt x="406250" y="347574"/>
                </a:cubicBezTo>
                <a:close/>
              </a:path>
            </a:pathLst>
          </a:custGeom>
          <a:solidFill>
            <a:schemeClr val="bg1"/>
          </a:solidFill>
          <a:ln w="5259" cap="flat">
            <a:noFill/>
            <a:prstDash val="solid"/>
            <a:miter/>
          </a:ln>
        </p:spPr>
        <p:txBody>
          <a:bodyPr rtlCol="0" anchor="ctr"/>
          <a:lstStyle/>
          <a:p>
            <a:endParaRPr lang="en-DK"/>
          </a:p>
        </p:txBody>
      </p:sp>
      <p:grpSp>
        <p:nvGrpSpPr>
          <p:cNvPr id="126" name="Group 125">
            <a:extLst>
              <a:ext uri="{FF2B5EF4-FFF2-40B4-BE49-F238E27FC236}">
                <a16:creationId xmlns:a16="http://schemas.microsoft.com/office/drawing/2014/main" id="{53CDC324-A786-024C-0D7B-62D2C8DA8E73}"/>
              </a:ext>
            </a:extLst>
          </p:cNvPr>
          <p:cNvGrpSpPr>
            <a:grpSpLocks noChangeAspect="1"/>
          </p:cNvGrpSpPr>
          <p:nvPr/>
        </p:nvGrpSpPr>
        <p:grpSpPr>
          <a:xfrm>
            <a:off x="666850" y="4701491"/>
            <a:ext cx="720000" cy="720000"/>
            <a:chOff x="-1884001" y="4492764"/>
            <a:chExt cx="864000" cy="864000"/>
          </a:xfrm>
        </p:grpSpPr>
        <p:pic>
          <p:nvPicPr>
            <p:cNvPr id="109" name="Graphic 108">
              <a:extLst>
                <a:ext uri="{FF2B5EF4-FFF2-40B4-BE49-F238E27FC236}">
                  <a16:creationId xmlns:a16="http://schemas.microsoft.com/office/drawing/2014/main" id="{59A2A773-2627-2E4A-C1D1-FAABED6928F5}"/>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884001" y="4492764"/>
              <a:ext cx="864000" cy="864000"/>
            </a:xfrm>
            <a:prstGeom prst="rect">
              <a:avLst/>
            </a:prstGeom>
          </p:spPr>
        </p:pic>
        <p:sp>
          <p:nvSpPr>
            <p:cNvPr id="125" name="Rectangle 124">
              <a:extLst>
                <a:ext uri="{FF2B5EF4-FFF2-40B4-BE49-F238E27FC236}">
                  <a16:creationId xmlns:a16="http://schemas.microsoft.com/office/drawing/2014/main" id="{31E5022F-7C42-1661-4F50-886EED6295A1}"/>
                </a:ext>
              </a:extLst>
            </p:cNvPr>
            <p:cNvSpPr/>
            <p:nvPr/>
          </p:nvSpPr>
          <p:spPr>
            <a:xfrm>
              <a:off x="-1488515" y="4886664"/>
              <a:ext cx="69850" cy="63500"/>
            </a:xfrm>
            <a:prstGeom prst="rect">
              <a:avLst/>
            </a:prstGeom>
            <a:solidFill>
              <a:schemeClr val="accent2">
                <a:alpha val="5042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22" name="Graphic 17" descr="Briefcase outline">
              <a:extLst>
                <a:ext uri="{FF2B5EF4-FFF2-40B4-BE49-F238E27FC236}">
                  <a16:creationId xmlns:a16="http://schemas.microsoft.com/office/drawing/2014/main" id="{F4DF0CCF-0D3B-FF76-4860-6BC376F604ED}"/>
                </a:ext>
              </a:extLst>
            </p:cNvPr>
            <p:cNvSpPr/>
            <p:nvPr/>
          </p:nvSpPr>
          <p:spPr>
            <a:xfrm>
              <a:off x="-1674727" y="4719506"/>
              <a:ext cx="442275" cy="370527"/>
            </a:xfrm>
            <a:custGeom>
              <a:avLst/>
              <a:gdLst>
                <a:gd name="connsiteX0" fmla="*/ 406250 w 427631"/>
                <a:gd name="connsiteY0" fmla="*/ 58837 h 358259"/>
                <a:gd name="connsiteX1" fmla="*/ 288651 w 427631"/>
                <a:gd name="connsiteY1" fmla="*/ 58837 h 358259"/>
                <a:gd name="connsiteX2" fmla="*/ 288651 w 427631"/>
                <a:gd name="connsiteY2" fmla="*/ 26727 h 358259"/>
                <a:gd name="connsiteX3" fmla="*/ 261924 w 427631"/>
                <a:gd name="connsiteY3" fmla="*/ 0 h 358259"/>
                <a:gd name="connsiteX4" fmla="*/ 165707 w 427631"/>
                <a:gd name="connsiteY4" fmla="*/ 0 h 358259"/>
                <a:gd name="connsiteX5" fmla="*/ 138980 w 427631"/>
                <a:gd name="connsiteY5" fmla="*/ 26727 h 358259"/>
                <a:gd name="connsiteX6" fmla="*/ 138980 w 427631"/>
                <a:gd name="connsiteY6" fmla="*/ 58837 h 358259"/>
                <a:gd name="connsiteX7" fmla="*/ 21382 w 427631"/>
                <a:gd name="connsiteY7" fmla="*/ 58837 h 358259"/>
                <a:gd name="connsiteX8" fmla="*/ 0 w 427631"/>
                <a:gd name="connsiteY8" fmla="*/ 80218 h 358259"/>
                <a:gd name="connsiteX9" fmla="*/ 0 w 427631"/>
                <a:gd name="connsiteY9" fmla="*/ 336878 h 358259"/>
                <a:gd name="connsiteX10" fmla="*/ 21382 w 427631"/>
                <a:gd name="connsiteY10" fmla="*/ 358259 h 358259"/>
                <a:gd name="connsiteX11" fmla="*/ 406250 w 427631"/>
                <a:gd name="connsiteY11" fmla="*/ 358259 h 358259"/>
                <a:gd name="connsiteX12" fmla="*/ 427632 w 427631"/>
                <a:gd name="connsiteY12" fmla="*/ 336878 h 358259"/>
                <a:gd name="connsiteX13" fmla="*/ 427632 w 427631"/>
                <a:gd name="connsiteY13" fmla="*/ 80224 h 358259"/>
                <a:gd name="connsiteX14" fmla="*/ 406250 w 427631"/>
                <a:gd name="connsiteY14" fmla="*/ 58837 h 358259"/>
                <a:gd name="connsiteX15" fmla="*/ 149671 w 427631"/>
                <a:gd name="connsiteY15" fmla="*/ 26727 h 358259"/>
                <a:gd name="connsiteX16" fmla="*/ 165707 w 427631"/>
                <a:gd name="connsiteY16" fmla="*/ 10691 h 358259"/>
                <a:gd name="connsiteX17" fmla="*/ 261924 w 427631"/>
                <a:gd name="connsiteY17" fmla="*/ 10691 h 358259"/>
                <a:gd name="connsiteX18" fmla="*/ 277961 w 427631"/>
                <a:gd name="connsiteY18" fmla="*/ 26727 h 358259"/>
                <a:gd name="connsiteX19" fmla="*/ 277961 w 427631"/>
                <a:gd name="connsiteY19" fmla="*/ 58799 h 358259"/>
                <a:gd name="connsiteX20" fmla="*/ 149671 w 427631"/>
                <a:gd name="connsiteY20" fmla="*/ 58799 h 358259"/>
                <a:gd name="connsiteX21" fmla="*/ 21382 w 427631"/>
                <a:gd name="connsiteY21" fmla="*/ 69528 h 358259"/>
                <a:gd name="connsiteX22" fmla="*/ 406250 w 427631"/>
                <a:gd name="connsiteY22" fmla="*/ 69528 h 358259"/>
                <a:gd name="connsiteX23" fmla="*/ 416941 w 427631"/>
                <a:gd name="connsiteY23" fmla="*/ 80218 h 358259"/>
                <a:gd name="connsiteX24" fmla="*/ 416941 w 427631"/>
                <a:gd name="connsiteY24" fmla="*/ 176398 h 358259"/>
                <a:gd name="connsiteX25" fmla="*/ 251234 w 427631"/>
                <a:gd name="connsiteY25" fmla="*/ 176398 h 358259"/>
                <a:gd name="connsiteX26" fmla="*/ 251234 w 427631"/>
                <a:gd name="connsiteY26" fmla="*/ 155016 h 358259"/>
                <a:gd name="connsiteX27" fmla="*/ 176398 w 427631"/>
                <a:gd name="connsiteY27" fmla="*/ 155016 h 358259"/>
                <a:gd name="connsiteX28" fmla="*/ 176398 w 427631"/>
                <a:gd name="connsiteY28" fmla="*/ 176398 h 358259"/>
                <a:gd name="connsiteX29" fmla="*/ 10691 w 427631"/>
                <a:gd name="connsiteY29" fmla="*/ 176398 h 358259"/>
                <a:gd name="connsiteX30" fmla="*/ 10691 w 427631"/>
                <a:gd name="connsiteY30" fmla="*/ 80224 h 358259"/>
                <a:gd name="connsiteX31" fmla="*/ 21376 w 427631"/>
                <a:gd name="connsiteY31" fmla="*/ 69528 h 358259"/>
                <a:gd name="connsiteX32" fmla="*/ 21382 w 427631"/>
                <a:gd name="connsiteY32" fmla="*/ 69528 h 358259"/>
                <a:gd name="connsiteX33" fmla="*/ 240543 w 427631"/>
                <a:gd name="connsiteY33" fmla="*/ 165707 h 358259"/>
                <a:gd name="connsiteX34" fmla="*/ 240543 w 427631"/>
                <a:gd name="connsiteY34" fmla="*/ 203125 h 358259"/>
                <a:gd name="connsiteX35" fmla="*/ 229852 w 427631"/>
                <a:gd name="connsiteY35" fmla="*/ 213816 h 358259"/>
                <a:gd name="connsiteX36" fmla="*/ 197780 w 427631"/>
                <a:gd name="connsiteY36" fmla="*/ 213816 h 358259"/>
                <a:gd name="connsiteX37" fmla="*/ 187089 w 427631"/>
                <a:gd name="connsiteY37" fmla="*/ 203125 h 358259"/>
                <a:gd name="connsiteX38" fmla="*/ 187089 w 427631"/>
                <a:gd name="connsiteY38" fmla="*/ 165707 h 358259"/>
                <a:gd name="connsiteX39" fmla="*/ 406250 w 427631"/>
                <a:gd name="connsiteY39" fmla="*/ 347574 h 358259"/>
                <a:gd name="connsiteX40" fmla="*/ 21382 w 427631"/>
                <a:gd name="connsiteY40" fmla="*/ 347574 h 358259"/>
                <a:gd name="connsiteX41" fmla="*/ 10691 w 427631"/>
                <a:gd name="connsiteY41" fmla="*/ 336883 h 358259"/>
                <a:gd name="connsiteX42" fmla="*/ 10691 w 427631"/>
                <a:gd name="connsiteY42" fmla="*/ 187089 h 358259"/>
                <a:gd name="connsiteX43" fmla="*/ 176398 w 427631"/>
                <a:gd name="connsiteY43" fmla="*/ 187089 h 358259"/>
                <a:gd name="connsiteX44" fmla="*/ 176398 w 427631"/>
                <a:gd name="connsiteY44" fmla="*/ 203125 h 358259"/>
                <a:gd name="connsiteX45" fmla="*/ 197780 w 427631"/>
                <a:gd name="connsiteY45" fmla="*/ 224507 h 358259"/>
                <a:gd name="connsiteX46" fmla="*/ 229852 w 427631"/>
                <a:gd name="connsiteY46" fmla="*/ 224507 h 358259"/>
                <a:gd name="connsiteX47" fmla="*/ 251234 w 427631"/>
                <a:gd name="connsiteY47" fmla="*/ 203125 h 358259"/>
                <a:gd name="connsiteX48" fmla="*/ 251234 w 427631"/>
                <a:gd name="connsiteY48" fmla="*/ 187089 h 358259"/>
                <a:gd name="connsiteX49" fmla="*/ 416941 w 427631"/>
                <a:gd name="connsiteY49" fmla="*/ 187089 h 358259"/>
                <a:gd name="connsiteX50" fmla="*/ 416941 w 427631"/>
                <a:gd name="connsiteY50" fmla="*/ 336878 h 358259"/>
                <a:gd name="connsiteX51" fmla="*/ 406255 w 427631"/>
                <a:gd name="connsiteY51" fmla="*/ 347574 h 358259"/>
                <a:gd name="connsiteX52" fmla="*/ 406250 w 427631"/>
                <a:gd name="connsiteY52" fmla="*/ 347574 h 35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27631" h="358259">
                  <a:moveTo>
                    <a:pt x="406250" y="58837"/>
                  </a:moveTo>
                  <a:lnTo>
                    <a:pt x="288651" y="58837"/>
                  </a:lnTo>
                  <a:lnTo>
                    <a:pt x="288651" y="26727"/>
                  </a:lnTo>
                  <a:cubicBezTo>
                    <a:pt x="288634" y="11973"/>
                    <a:pt x="276678" y="18"/>
                    <a:pt x="261924" y="0"/>
                  </a:cubicBezTo>
                  <a:lnTo>
                    <a:pt x="165707" y="0"/>
                  </a:lnTo>
                  <a:cubicBezTo>
                    <a:pt x="150953" y="18"/>
                    <a:pt x="138998" y="11973"/>
                    <a:pt x="138980" y="26727"/>
                  </a:cubicBezTo>
                  <a:lnTo>
                    <a:pt x="138980" y="58837"/>
                  </a:lnTo>
                  <a:lnTo>
                    <a:pt x="21382" y="58837"/>
                  </a:lnTo>
                  <a:cubicBezTo>
                    <a:pt x="9589" y="58875"/>
                    <a:pt x="38" y="68425"/>
                    <a:pt x="0" y="80218"/>
                  </a:cubicBezTo>
                  <a:lnTo>
                    <a:pt x="0" y="336878"/>
                  </a:lnTo>
                  <a:cubicBezTo>
                    <a:pt x="38" y="348671"/>
                    <a:pt x="9589" y="358221"/>
                    <a:pt x="21382" y="358259"/>
                  </a:cubicBezTo>
                  <a:lnTo>
                    <a:pt x="406250" y="358259"/>
                  </a:lnTo>
                  <a:cubicBezTo>
                    <a:pt x="418043" y="358221"/>
                    <a:pt x="427594" y="348671"/>
                    <a:pt x="427632" y="336878"/>
                  </a:cubicBezTo>
                  <a:lnTo>
                    <a:pt x="427632" y="80224"/>
                  </a:lnTo>
                  <a:cubicBezTo>
                    <a:pt x="427596" y="68429"/>
                    <a:pt x="418045" y="58875"/>
                    <a:pt x="406250" y="58837"/>
                  </a:cubicBezTo>
                  <a:close/>
                  <a:moveTo>
                    <a:pt x="149671" y="26727"/>
                  </a:moveTo>
                  <a:cubicBezTo>
                    <a:pt x="149671" y="17870"/>
                    <a:pt x="156851" y="10691"/>
                    <a:pt x="165707" y="10691"/>
                  </a:cubicBezTo>
                  <a:lnTo>
                    <a:pt x="261924" y="10691"/>
                  </a:lnTo>
                  <a:cubicBezTo>
                    <a:pt x="270781" y="10691"/>
                    <a:pt x="277961" y="17870"/>
                    <a:pt x="277961" y="26727"/>
                  </a:cubicBezTo>
                  <a:lnTo>
                    <a:pt x="277961" y="58799"/>
                  </a:lnTo>
                  <a:lnTo>
                    <a:pt x="149671" y="58799"/>
                  </a:lnTo>
                  <a:close/>
                  <a:moveTo>
                    <a:pt x="21382" y="69528"/>
                  </a:moveTo>
                  <a:lnTo>
                    <a:pt x="406250" y="69528"/>
                  </a:lnTo>
                  <a:cubicBezTo>
                    <a:pt x="412155" y="69528"/>
                    <a:pt x="416941" y="74314"/>
                    <a:pt x="416941" y="80218"/>
                  </a:cubicBezTo>
                  <a:lnTo>
                    <a:pt x="416941" y="176398"/>
                  </a:lnTo>
                  <a:lnTo>
                    <a:pt x="251234" y="176398"/>
                  </a:lnTo>
                  <a:lnTo>
                    <a:pt x="251234" y="155016"/>
                  </a:lnTo>
                  <a:lnTo>
                    <a:pt x="176398" y="155016"/>
                  </a:lnTo>
                  <a:lnTo>
                    <a:pt x="176398" y="176398"/>
                  </a:lnTo>
                  <a:lnTo>
                    <a:pt x="10691" y="176398"/>
                  </a:lnTo>
                  <a:lnTo>
                    <a:pt x="10691" y="80224"/>
                  </a:lnTo>
                  <a:cubicBezTo>
                    <a:pt x="10688" y="74319"/>
                    <a:pt x="15472" y="69531"/>
                    <a:pt x="21376" y="69528"/>
                  </a:cubicBezTo>
                  <a:cubicBezTo>
                    <a:pt x="21378" y="69528"/>
                    <a:pt x="21380" y="69528"/>
                    <a:pt x="21382" y="69528"/>
                  </a:cubicBezTo>
                  <a:close/>
                  <a:moveTo>
                    <a:pt x="240543" y="165707"/>
                  </a:moveTo>
                  <a:lnTo>
                    <a:pt x="240543" y="203125"/>
                  </a:lnTo>
                  <a:cubicBezTo>
                    <a:pt x="240543" y="209030"/>
                    <a:pt x="235757" y="213816"/>
                    <a:pt x="229852" y="213816"/>
                  </a:cubicBezTo>
                  <a:lnTo>
                    <a:pt x="197780" y="213816"/>
                  </a:lnTo>
                  <a:cubicBezTo>
                    <a:pt x="191875" y="213816"/>
                    <a:pt x="187089" y="209030"/>
                    <a:pt x="187089" y="203125"/>
                  </a:cubicBezTo>
                  <a:lnTo>
                    <a:pt x="187089" y="165707"/>
                  </a:lnTo>
                  <a:close/>
                  <a:moveTo>
                    <a:pt x="406250" y="347574"/>
                  </a:moveTo>
                  <a:lnTo>
                    <a:pt x="21382" y="347574"/>
                  </a:lnTo>
                  <a:cubicBezTo>
                    <a:pt x="15477" y="347574"/>
                    <a:pt x="10691" y="342787"/>
                    <a:pt x="10691" y="336883"/>
                  </a:cubicBezTo>
                  <a:lnTo>
                    <a:pt x="10691" y="187089"/>
                  </a:lnTo>
                  <a:lnTo>
                    <a:pt x="176398" y="187089"/>
                  </a:lnTo>
                  <a:lnTo>
                    <a:pt x="176398" y="203125"/>
                  </a:lnTo>
                  <a:cubicBezTo>
                    <a:pt x="176398" y="214934"/>
                    <a:pt x="185971" y="224507"/>
                    <a:pt x="197780" y="224507"/>
                  </a:cubicBezTo>
                  <a:lnTo>
                    <a:pt x="229852" y="224507"/>
                  </a:lnTo>
                  <a:cubicBezTo>
                    <a:pt x="241661" y="224507"/>
                    <a:pt x="251234" y="214934"/>
                    <a:pt x="251234" y="203125"/>
                  </a:cubicBezTo>
                  <a:lnTo>
                    <a:pt x="251234" y="187089"/>
                  </a:lnTo>
                  <a:lnTo>
                    <a:pt x="416941" y="187089"/>
                  </a:lnTo>
                  <a:lnTo>
                    <a:pt x="416941" y="336878"/>
                  </a:lnTo>
                  <a:cubicBezTo>
                    <a:pt x="416944" y="342782"/>
                    <a:pt x="412160" y="347571"/>
                    <a:pt x="406255" y="347574"/>
                  </a:cubicBezTo>
                  <a:cubicBezTo>
                    <a:pt x="406254" y="347574"/>
                    <a:pt x="406252" y="347574"/>
                    <a:pt x="406250" y="347574"/>
                  </a:cubicBezTo>
                  <a:close/>
                </a:path>
              </a:pathLst>
            </a:custGeom>
            <a:solidFill>
              <a:schemeClr val="bg1"/>
            </a:solidFill>
            <a:ln w="5259" cap="flat">
              <a:noFill/>
              <a:prstDash val="solid"/>
              <a:miter/>
            </a:ln>
          </p:spPr>
          <p:txBody>
            <a:bodyPr rtlCol="0" anchor="ctr"/>
            <a:lstStyle/>
            <a:p>
              <a:endParaRPr lang="en-DK"/>
            </a:p>
          </p:txBody>
        </p:sp>
      </p:grpSp>
      <p:pic>
        <p:nvPicPr>
          <p:cNvPr id="128" name="Graphic 127">
            <a:extLst>
              <a:ext uri="{FF2B5EF4-FFF2-40B4-BE49-F238E27FC236}">
                <a16:creationId xmlns:a16="http://schemas.microsoft.com/office/drawing/2014/main" id="{25C28EBA-F16E-72D7-E2E9-B0D7EA5F687B}"/>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3032449" y="6310727"/>
            <a:ext cx="569168" cy="270997"/>
          </a:xfrm>
          <a:prstGeom prst="rect">
            <a:avLst/>
          </a:prstGeom>
        </p:spPr>
      </p:pic>
      <p:sp>
        <p:nvSpPr>
          <p:cNvPr id="129" name="Rectangle: Rounded Corners 10">
            <a:extLst>
              <a:ext uri="{FF2B5EF4-FFF2-40B4-BE49-F238E27FC236}">
                <a16:creationId xmlns:a16="http://schemas.microsoft.com/office/drawing/2014/main" id="{438D1E21-5C9D-0098-78C1-000C4C7B823A}"/>
              </a:ext>
            </a:extLst>
          </p:cNvPr>
          <p:cNvSpPr/>
          <p:nvPr/>
        </p:nvSpPr>
        <p:spPr>
          <a:xfrm>
            <a:off x="677154" y="5658298"/>
            <a:ext cx="10555049" cy="373911"/>
          </a:xfrm>
          <a:prstGeom prst="roundRect">
            <a:avLst>
              <a:gd name="adj" fmla="val 50000"/>
            </a:avLst>
          </a:prstGeom>
          <a:solidFill>
            <a:schemeClr val="tx2">
              <a:alpha val="50391"/>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chemeClr val="bg1"/>
              </a:solidFill>
              <a:effectLst/>
              <a:uLnTx/>
              <a:uFillTx/>
              <a:latin typeface="Avenir Next LT Pro" panose="020B0504020202020204" pitchFamily="34" charset="0"/>
              <a:ea typeface="+mn-ea"/>
              <a:cs typeface="+mn-cs"/>
            </a:endParaRPr>
          </a:p>
        </p:txBody>
      </p:sp>
      <p:sp>
        <p:nvSpPr>
          <p:cNvPr id="130" name="Rectangle: Rounded Corners 65">
            <a:extLst>
              <a:ext uri="{FF2B5EF4-FFF2-40B4-BE49-F238E27FC236}">
                <a16:creationId xmlns:a16="http://schemas.microsoft.com/office/drawing/2014/main" id="{4C77A15E-AD4B-89BB-2D6C-30225690989C}"/>
              </a:ext>
            </a:extLst>
          </p:cNvPr>
          <p:cNvSpPr>
            <a:spLocks/>
          </p:cNvSpPr>
          <p:nvPr/>
        </p:nvSpPr>
        <p:spPr>
          <a:xfrm>
            <a:off x="565459" y="5658298"/>
            <a:ext cx="11132917" cy="373911"/>
          </a:xfrm>
          <a:prstGeom prst="roundRect">
            <a:avLst/>
          </a:prstGeom>
          <a:noFill/>
          <a:ln w="9525" cap="flat" cmpd="sng" algn="ctr">
            <a:no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defRPr/>
            </a:pPr>
            <a:r>
              <a:rPr lang="en-GB" sz="1400" b="1">
                <a:solidFill>
                  <a:srgbClr val="FFFFFF">
                    <a:lumMod val="100000"/>
                  </a:srgbClr>
                </a:solidFill>
                <a:latin typeface="Avenir Next LT Pro Demi" panose="020B0504020202020204" pitchFamily="34" charset="77"/>
              </a:rPr>
              <a:t>Risk is managed at the portfolio level, not the individual venture level</a:t>
            </a:r>
          </a:p>
        </p:txBody>
      </p:sp>
      <p:pic>
        <p:nvPicPr>
          <p:cNvPr id="135" name="Graphic 134">
            <a:extLst>
              <a:ext uri="{FF2B5EF4-FFF2-40B4-BE49-F238E27FC236}">
                <a16:creationId xmlns:a16="http://schemas.microsoft.com/office/drawing/2014/main" id="{EB696EED-D42B-FBE1-9248-5A5D874BB549}"/>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064770" y="5207362"/>
            <a:ext cx="541721" cy="257929"/>
          </a:xfrm>
          <a:prstGeom prst="rect">
            <a:avLst/>
          </a:prstGeom>
        </p:spPr>
      </p:pic>
      <p:sp>
        <p:nvSpPr>
          <p:cNvPr id="5" name="TextBox 4">
            <a:extLst>
              <a:ext uri="{FF2B5EF4-FFF2-40B4-BE49-F238E27FC236}">
                <a16:creationId xmlns:a16="http://schemas.microsoft.com/office/drawing/2014/main" id="{1B124739-C96D-D09C-7A97-433058B7E835}"/>
              </a:ext>
            </a:extLst>
          </p:cNvPr>
          <p:cNvSpPr txBox="1"/>
          <p:nvPr/>
        </p:nvSpPr>
        <p:spPr>
          <a:xfrm>
            <a:off x="11594381" y="6399575"/>
            <a:ext cx="27602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92F5A-FC14-4E83-B4CC-18F6C2D780A4}" type="slidenum">
              <a:rPr kumimoji="0" lang="en-US" sz="1000" b="0" i="0" u="none" strike="noStrike" kern="0" cap="none" spc="40" normalizeH="0" baseline="0" noProof="0" smtClean="0">
                <a:ln>
                  <a:noFill/>
                </a:ln>
                <a:solidFill>
                  <a:srgbClr val="2878FF"/>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000" b="0" i="0" u="none" strike="noStrike" kern="0" cap="none" spc="40" normalizeH="0" baseline="0" noProof="0">
              <a:ln>
                <a:noFill/>
              </a:ln>
              <a:solidFill>
                <a:srgbClr val="2878FF"/>
              </a:solidFill>
              <a:effectLst/>
              <a:uLnTx/>
              <a:uFillTx/>
              <a:latin typeface="Avenir Next LT Pro"/>
              <a:ea typeface="+mn-ea"/>
              <a:cs typeface="+mn-cs"/>
            </a:endParaRPr>
          </a:p>
        </p:txBody>
      </p:sp>
    </p:spTree>
    <p:extLst>
      <p:ext uri="{BB962C8B-B14F-4D97-AF65-F5344CB8AC3E}">
        <p14:creationId xmlns:p14="http://schemas.microsoft.com/office/powerpoint/2010/main" val="28203963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6" name="Picture 125" descr="A close-up of a laboratory equipment&#10;&#10;AI-generated content may be incorrect.">
            <a:extLst>
              <a:ext uri="{FF2B5EF4-FFF2-40B4-BE49-F238E27FC236}">
                <a16:creationId xmlns:a16="http://schemas.microsoft.com/office/drawing/2014/main" id="{3BD4C310-E053-383B-4AEB-30EDBBE36512}"/>
              </a:ext>
            </a:extLst>
          </p:cNvPr>
          <p:cNvPicPr>
            <a:picLocks noChangeAspect="1"/>
          </p:cNvPicPr>
          <p:nvPr/>
        </p:nvPicPr>
        <p:blipFill>
          <a:blip r:embed="rId4" cstate="print">
            <a:extLst>
              <a:ext uri="{28A0092B-C50C-407E-A947-70E740481C1C}">
                <a14:useLocalDpi xmlns:a14="http://schemas.microsoft.com/office/drawing/2010/main" val="0"/>
              </a:ext>
            </a:extLst>
          </a:blip>
          <a:srcRect l="35997" r="15728" b="3464"/>
          <a:stretch>
            <a:fillRect/>
          </a:stretch>
        </p:blipFill>
        <p:spPr>
          <a:xfrm>
            <a:off x="7099576" y="-2"/>
            <a:ext cx="5151524" cy="6857553"/>
          </a:xfrm>
          <a:prstGeom prst="rect">
            <a:avLst/>
          </a:prstGeom>
        </p:spPr>
      </p:pic>
      <p:sp>
        <p:nvSpPr>
          <p:cNvPr id="27" name="Rectangle 26">
            <a:extLst>
              <a:ext uri="{FF2B5EF4-FFF2-40B4-BE49-F238E27FC236}">
                <a16:creationId xmlns:a16="http://schemas.microsoft.com/office/drawing/2014/main" id="{B9764F4F-14D6-FE0C-11C9-16FAFB3E1840}"/>
              </a:ext>
            </a:extLst>
          </p:cNvPr>
          <p:cNvSpPr/>
          <p:nvPr/>
        </p:nvSpPr>
        <p:spPr>
          <a:xfrm>
            <a:off x="7099575" y="-1741"/>
            <a:ext cx="5151523" cy="6859742"/>
          </a:xfrm>
          <a:prstGeom prst="rect">
            <a:avLst/>
          </a:prstGeom>
          <a:solidFill>
            <a:schemeClr val="tx1">
              <a:alpha val="35000"/>
            </a:schemeClr>
          </a:solidFill>
          <a:ln w="9525">
            <a:no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264">
              <a:defRPr/>
            </a:pPr>
            <a:endParaRPr lang="en-DK">
              <a:solidFill>
                <a:srgbClr val="FFFFFF"/>
              </a:solidFill>
              <a:latin typeface="Calibri" panose="020F0502020204030204"/>
            </a:endParaRPr>
          </a:p>
        </p:txBody>
      </p:sp>
      <p:graphicFrame>
        <p:nvGraphicFramePr>
          <p:cNvPr id="4" name="think-cell data - do not delete" hidden="1">
            <a:extLst>
              <a:ext uri="{FF2B5EF4-FFF2-40B4-BE49-F238E27FC236}">
                <a16:creationId xmlns:a16="http://schemas.microsoft.com/office/drawing/2014/main" id="{D644F0C3-B12D-8163-CFB0-005464BCB8F1}"/>
              </a:ext>
            </a:extLst>
          </p:cNvPr>
          <p:cNvGraphicFramePr>
            <a:graphicFrameLocks/>
          </p:cNvGraphicFramePr>
          <p:nvPr>
            <p:custDataLst>
              <p:tags r:id="rId1"/>
            </p:custDataLst>
            <p:extLst>
              <p:ext uri="{D42A27DB-BD31-4B8C-83A1-F6EECF244321}">
                <p14:modId xmlns:p14="http://schemas.microsoft.com/office/powerpoint/2010/main" val="3104544495"/>
              </p:ext>
            </p:extLst>
          </p:nvPr>
        </p:nvGraphicFramePr>
        <p:xfrm>
          <a:off x="3175" y="2034"/>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4" name="think-cell data - do not delete" hidden="1">
                        <a:extLst>
                          <a:ext uri="{FF2B5EF4-FFF2-40B4-BE49-F238E27FC236}">
                            <a16:creationId xmlns:a16="http://schemas.microsoft.com/office/drawing/2014/main" id="{D644F0C3-B12D-8163-CFB0-005464BCB8F1}"/>
                          </a:ext>
                        </a:extLst>
                      </p:cNvPr>
                      <p:cNvPicPr/>
                      <p:nvPr/>
                    </p:nvPicPr>
                    <p:blipFill>
                      <a:blip r:embed="rId6"/>
                      <a:stretch>
                        <a:fillRect/>
                      </a:stretch>
                    </p:blipFill>
                    <p:spPr>
                      <a:xfrm>
                        <a:off x="3175" y="2034"/>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9970A02-079F-9F8D-EF82-6DA405FF5BD5}"/>
              </a:ext>
            </a:extLst>
          </p:cNvPr>
          <p:cNvSpPr/>
          <p:nvPr/>
        </p:nvSpPr>
        <p:spPr>
          <a:xfrm>
            <a:off x="1" y="448"/>
            <a:ext cx="7099574" cy="6857552"/>
          </a:xfrm>
          <a:prstGeom prst="rect">
            <a:avLst/>
          </a:prstGeom>
          <a:solidFill>
            <a:schemeClr val="tx1"/>
          </a:solidFill>
          <a:ln w="28575" cap="flat" cmpd="sng" algn="ctr">
            <a:noFill/>
            <a:prstDash val="solid"/>
            <a:miter lim="800000"/>
          </a:ln>
          <a:effectLst/>
        </p:spPr>
        <p:txBody>
          <a:bodyPr rtlCol="0" anchor="ctr"/>
          <a:lstStyle/>
          <a:p>
            <a:pPr defTabSz="914309">
              <a:defRPr/>
            </a:pPr>
            <a:endParaRPr lang="en-US" sz="1200" kern="0">
              <a:solidFill>
                <a:srgbClr val="001965">
                  <a:lumMod val="100000"/>
                </a:srgbClr>
              </a:solidFill>
              <a:latin typeface="Avenir Next LT Pro"/>
            </a:endParaRPr>
          </a:p>
        </p:txBody>
      </p:sp>
      <p:sp>
        <p:nvSpPr>
          <p:cNvPr id="8" name="Title 1">
            <a:extLst>
              <a:ext uri="{FF2B5EF4-FFF2-40B4-BE49-F238E27FC236}">
                <a16:creationId xmlns:a16="http://schemas.microsoft.com/office/drawing/2014/main" id="{6CF7680C-6FC3-8198-BBB6-2E24AD6230AE}"/>
              </a:ext>
            </a:extLst>
          </p:cNvPr>
          <p:cNvSpPr txBox="1">
            <a:spLocks/>
          </p:cNvSpPr>
          <p:nvPr/>
        </p:nvSpPr>
        <p:spPr>
          <a:xfrm>
            <a:off x="517460" y="514731"/>
            <a:ext cx="6409825" cy="1152849"/>
          </a:xfrm>
          <a:prstGeom prst="rect">
            <a:avLst/>
          </a:prstGeom>
        </p:spPr>
        <p:txBody>
          <a:bodyPr vert="horz" wrap="square" lIns="0" tIns="0" rIns="0" bIns="71991" rtlCol="0" anchor="t" anchorCtr="0">
            <a:spAutoFit/>
          </a:bodyPr>
          <a:lstStyle>
            <a:lvl1pPr algn="l" defTabSz="914400" rtl="0" eaLnBrk="1" latinLnBrk="0" hangingPunct="1">
              <a:lnSpc>
                <a:spcPct val="90000"/>
              </a:lnSpc>
              <a:spcBef>
                <a:spcPct val="0"/>
              </a:spcBef>
              <a:buNone/>
              <a:defRPr sz="2600" b="1" kern="1200">
                <a:solidFill>
                  <a:schemeClr val="tx1"/>
                </a:solidFill>
                <a:latin typeface="+mj-lt"/>
                <a:ea typeface="+mj-ea"/>
                <a:cs typeface="+mj-cs"/>
              </a:defRPr>
            </a:lvl1pPr>
          </a:lstStyle>
          <a:p>
            <a:pPr defTabSz="914309">
              <a:defRPr/>
            </a:pPr>
            <a:r>
              <a:rPr lang="en-DK">
                <a:solidFill>
                  <a:srgbClr val="FFFFFF"/>
                </a:solidFill>
                <a:latin typeface="Avenir Next LT Pro"/>
              </a:rPr>
              <a:t>Gubra: A disease-</a:t>
            </a:r>
            <a:r>
              <a:rPr lang="en-DK" err="1">
                <a:solidFill>
                  <a:srgbClr val="FFFFFF"/>
                </a:solidFill>
                <a:latin typeface="Avenir Next LT Pro"/>
              </a:rPr>
              <a:t>agnost</a:t>
            </a:r>
            <a:r>
              <a:rPr lang="en-GB" err="1">
                <a:solidFill>
                  <a:srgbClr val="FFFFFF"/>
                </a:solidFill>
                <a:latin typeface="Avenir Next LT Pro"/>
              </a:rPr>
              <a:t>ic</a:t>
            </a:r>
            <a:r>
              <a:rPr lang="en-DK">
                <a:solidFill>
                  <a:srgbClr val="FFFFFF"/>
                </a:solidFill>
                <a:latin typeface="Avenir Next LT Pro"/>
              </a:rPr>
              <a:t> t</a:t>
            </a:r>
            <a:r>
              <a:rPr lang="en-US" err="1">
                <a:solidFill>
                  <a:srgbClr val="FFFFFF"/>
                </a:solidFill>
                <a:latin typeface="Avenir Next LT Pro"/>
              </a:rPr>
              <a:t>echbio</a:t>
            </a:r>
            <a:r>
              <a:rPr lang="en-US">
                <a:solidFill>
                  <a:srgbClr val="FFFFFF"/>
                </a:solidFill>
                <a:latin typeface="Avenir Next LT Pro"/>
              </a:rPr>
              <a:t> with deep peptide </a:t>
            </a:r>
            <a:r>
              <a:rPr lang="en-DK">
                <a:solidFill>
                  <a:srgbClr val="FFFFFF"/>
                </a:solidFill>
                <a:latin typeface="Avenir Next LT Pro"/>
              </a:rPr>
              <a:t>and preclinical </a:t>
            </a:r>
            <a:r>
              <a:rPr lang="en-US">
                <a:solidFill>
                  <a:srgbClr val="FFFFFF"/>
                </a:solidFill>
                <a:latin typeface="Avenir Next LT Pro"/>
              </a:rPr>
              <a:t>expertise </a:t>
            </a:r>
          </a:p>
          <a:p>
            <a:pPr defTabSz="914309">
              <a:defRPr/>
            </a:pPr>
            <a:endParaRPr lang="en-US">
              <a:solidFill>
                <a:srgbClr val="FFFFFF"/>
              </a:solidFill>
              <a:latin typeface="Avenir Next LT Pro"/>
            </a:endParaRPr>
          </a:p>
        </p:txBody>
      </p:sp>
      <p:cxnSp>
        <p:nvCxnSpPr>
          <p:cNvPr id="49" name="Straight Connector 48">
            <a:extLst>
              <a:ext uri="{FF2B5EF4-FFF2-40B4-BE49-F238E27FC236}">
                <a16:creationId xmlns:a16="http://schemas.microsoft.com/office/drawing/2014/main" id="{1836CC43-134E-1132-258E-6157E40747E8}"/>
              </a:ext>
            </a:extLst>
          </p:cNvPr>
          <p:cNvCxnSpPr>
            <a:cxnSpLocks/>
          </p:cNvCxnSpPr>
          <p:nvPr/>
        </p:nvCxnSpPr>
        <p:spPr>
          <a:xfrm>
            <a:off x="9693979" y="1545842"/>
            <a:ext cx="0" cy="403194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44D3EB0D-EBFB-A40A-094E-CFD3FFC80B37}"/>
              </a:ext>
            </a:extLst>
          </p:cNvPr>
          <p:cNvCxnSpPr>
            <a:cxnSpLocks/>
          </p:cNvCxnSpPr>
          <p:nvPr/>
        </p:nvCxnSpPr>
        <p:spPr>
          <a:xfrm>
            <a:off x="7521456" y="3429000"/>
            <a:ext cx="4345050"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
        <p:nvSpPr>
          <p:cNvPr id="51" name="TextBox 50">
            <a:extLst>
              <a:ext uri="{FF2B5EF4-FFF2-40B4-BE49-F238E27FC236}">
                <a16:creationId xmlns:a16="http://schemas.microsoft.com/office/drawing/2014/main" id="{49C8301E-F392-305A-0F49-69427E1CB214}"/>
              </a:ext>
            </a:extLst>
          </p:cNvPr>
          <p:cNvSpPr txBox="1"/>
          <p:nvPr/>
        </p:nvSpPr>
        <p:spPr>
          <a:xfrm>
            <a:off x="7488853" y="2675346"/>
            <a:ext cx="2121633" cy="307777"/>
          </a:xfrm>
          <a:prstGeom prst="rect">
            <a:avLst/>
          </a:prstGeom>
          <a:noFill/>
        </p:spPr>
        <p:txBody>
          <a:bodyPr wrap="square" rtlCol="0">
            <a:spAutoFit/>
          </a:bodyPr>
          <a:lstStyle/>
          <a:p>
            <a:pPr algn="ctr"/>
            <a:r>
              <a:rPr lang="en-GB" sz="1400">
                <a:solidFill>
                  <a:schemeClr val="bg1"/>
                </a:solidFill>
                <a:latin typeface="Avenir Next LT Pro" panose="020B0504020202020204" pitchFamily="34" charset="77"/>
              </a:rPr>
              <a:t>Expertise</a:t>
            </a:r>
          </a:p>
        </p:txBody>
      </p:sp>
      <p:sp>
        <p:nvSpPr>
          <p:cNvPr id="52" name="TextBox 51">
            <a:extLst>
              <a:ext uri="{FF2B5EF4-FFF2-40B4-BE49-F238E27FC236}">
                <a16:creationId xmlns:a16="http://schemas.microsoft.com/office/drawing/2014/main" id="{DCABE33B-1D69-E4C0-CE17-5D0A80FAF0D7}"/>
              </a:ext>
            </a:extLst>
          </p:cNvPr>
          <p:cNvSpPr txBox="1"/>
          <p:nvPr/>
        </p:nvSpPr>
        <p:spPr>
          <a:xfrm>
            <a:off x="9731393" y="2675346"/>
            <a:ext cx="2030311" cy="307737"/>
          </a:xfrm>
          <a:prstGeom prst="rect">
            <a:avLst/>
          </a:prstGeom>
          <a:noFill/>
        </p:spPr>
        <p:txBody>
          <a:bodyPr wrap="square" rtlCol="0">
            <a:spAutoFit/>
          </a:bodyPr>
          <a:lstStyle/>
          <a:p>
            <a:pPr algn="ctr" defTabSz="914218">
              <a:defRPr/>
            </a:pPr>
            <a:r>
              <a:rPr lang="en-DK" sz="1400">
                <a:solidFill>
                  <a:srgbClr val="FFFFFF"/>
                </a:solidFill>
                <a:latin typeface="Avenir Next LT Pro" panose="020B0504020202020204" pitchFamily="34" charset="77"/>
              </a:rPr>
              <a:t>Employees</a:t>
            </a:r>
            <a:endParaRPr lang="en-GB" sz="1400">
              <a:solidFill>
                <a:srgbClr val="FFFFFF"/>
              </a:solidFill>
              <a:latin typeface="Avenir Next LT Pro" panose="020B0504020202020204" pitchFamily="34" charset="77"/>
            </a:endParaRPr>
          </a:p>
        </p:txBody>
      </p:sp>
      <p:sp>
        <p:nvSpPr>
          <p:cNvPr id="53" name="TextBox 52">
            <a:extLst>
              <a:ext uri="{FF2B5EF4-FFF2-40B4-BE49-F238E27FC236}">
                <a16:creationId xmlns:a16="http://schemas.microsoft.com/office/drawing/2014/main" id="{0FBB3E95-6104-E09F-96EA-C962F982283C}"/>
              </a:ext>
            </a:extLst>
          </p:cNvPr>
          <p:cNvSpPr txBox="1"/>
          <p:nvPr/>
        </p:nvSpPr>
        <p:spPr>
          <a:xfrm>
            <a:off x="9849412" y="2130216"/>
            <a:ext cx="1794275" cy="615553"/>
          </a:xfrm>
          <a:prstGeom prst="rect">
            <a:avLst/>
          </a:prstGeom>
          <a:noFill/>
        </p:spPr>
        <p:txBody>
          <a:bodyPr wrap="square" lIns="0" tIns="0" rIns="0" bIns="0" rtlCol="0" anchor="ctr">
            <a:spAutoFit/>
          </a:bodyPr>
          <a:lstStyle/>
          <a:p>
            <a:pPr algn="ctr" defTabSz="914218">
              <a:defRPr/>
            </a:pPr>
            <a:r>
              <a:rPr lang="en-DK" sz="4000" b="1" spc="50">
                <a:solidFill>
                  <a:srgbClr val="FFFFFF"/>
                </a:solidFill>
                <a:latin typeface="Avenir Next LT Pro"/>
              </a:rPr>
              <a:t>&gt;300</a:t>
            </a:r>
          </a:p>
        </p:txBody>
      </p:sp>
      <p:sp>
        <p:nvSpPr>
          <p:cNvPr id="54" name="TextBox 53">
            <a:extLst>
              <a:ext uri="{FF2B5EF4-FFF2-40B4-BE49-F238E27FC236}">
                <a16:creationId xmlns:a16="http://schemas.microsoft.com/office/drawing/2014/main" id="{32BFA81E-7EA4-7690-BBC3-3F9061B66391}"/>
              </a:ext>
            </a:extLst>
          </p:cNvPr>
          <p:cNvSpPr txBox="1"/>
          <p:nvPr/>
        </p:nvSpPr>
        <p:spPr>
          <a:xfrm>
            <a:off x="7464134" y="3712046"/>
            <a:ext cx="2171073" cy="615553"/>
          </a:xfrm>
          <a:prstGeom prst="rect">
            <a:avLst/>
          </a:prstGeom>
          <a:noFill/>
        </p:spPr>
        <p:txBody>
          <a:bodyPr wrap="square" lIns="0" tIns="0" rIns="0" bIns="0" rtlCol="0" anchor="ctr">
            <a:spAutoFit/>
          </a:bodyPr>
          <a:lstStyle/>
          <a:p>
            <a:pPr algn="ctr" defTabSz="914218">
              <a:defRPr/>
            </a:pPr>
            <a:r>
              <a:rPr lang="en-GB" sz="4000" b="1">
                <a:solidFill>
                  <a:schemeClr val="bg1"/>
                </a:solidFill>
                <a:latin typeface="Avenir Next LT Pro" panose="020B0504020202020204" pitchFamily="34" charset="77"/>
              </a:rPr>
              <a:t>$400m</a:t>
            </a:r>
          </a:p>
        </p:txBody>
      </p:sp>
      <p:sp>
        <p:nvSpPr>
          <p:cNvPr id="55" name="TextBox 54">
            <a:extLst>
              <a:ext uri="{FF2B5EF4-FFF2-40B4-BE49-F238E27FC236}">
                <a16:creationId xmlns:a16="http://schemas.microsoft.com/office/drawing/2014/main" id="{C26047F4-456B-65EC-AE3E-79A11EEC316F}"/>
              </a:ext>
            </a:extLst>
          </p:cNvPr>
          <p:cNvSpPr txBox="1"/>
          <p:nvPr/>
        </p:nvSpPr>
        <p:spPr>
          <a:xfrm>
            <a:off x="9849412" y="3712046"/>
            <a:ext cx="1794275" cy="615553"/>
          </a:xfrm>
          <a:prstGeom prst="rect">
            <a:avLst/>
          </a:prstGeom>
          <a:noFill/>
        </p:spPr>
        <p:txBody>
          <a:bodyPr wrap="square" lIns="0" tIns="0" rIns="0" bIns="0" rtlCol="0" anchor="ctr">
            <a:spAutoFit/>
          </a:bodyPr>
          <a:lstStyle/>
          <a:p>
            <a:pPr algn="ctr" defTabSz="914218">
              <a:defRPr/>
            </a:pPr>
            <a:r>
              <a:rPr lang="en-GB" sz="4000" b="1">
                <a:solidFill>
                  <a:schemeClr val="bg1"/>
                </a:solidFill>
                <a:latin typeface="Avenir Next LT Pro" panose="020B0504020202020204" pitchFamily="34" charset="77"/>
              </a:rPr>
              <a:t>$325m</a:t>
            </a:r>
          </a:p>
        </p:txBody>
      </p:sp>
      <p:sp>
        <p:nvSpPr>
          <p:cNvPr id="56" name="TextBox 55">
            <a:extLst>
              <a:ext uri="{FF2B5EF4-FFF2-40B4-BE49-F238E27FC236}">
                <a16:creationId xmlns:a16="http://schemas.microsoft.com/office/drawing/2014/main" id="{A7F52563-5E03-F8CD-1430-BA50CDF78CB7}"/>
              </a:ext>
            </a:extLst>
          </p:cNvPr>
          <p:cNvSpPr txBox="1"/>
          <p:nvPr/>
        </p:nvSpPr>
        <p:spPr>
          <a:xfrm>
            <a:off x="9637248" y="4318694"/>
            <a:ext cx="2416724" cy="523220"/>
          </a:xfrm>
          <a:prstGeom prst="rect">
            <a:avLst/>
          </a:prstGeom>
          <a:noFill/>
        </p:spPr>
        <p:txBody>
          <a:bodyPr wrap="square" rtlCol="0">
            <a:spAutoFit/>
          </a:bodyPr>
          <a:lstStyle/>
          <a:p>
            <a:pPr algn="ctr"/>
            <a:r>
              <a:rPr lang="en-GB" sz="1400">
                <a:solidFill>
                  <a:schemeClr val="bg1"/>
                </a:solidFill>
                <a:latin typeface="Avenir Next LT Pro" panose="020B0504020202020204" pitchFamily="34" charset="77"/>
              </a:rPr>
              <a:t>In operating profit in 2025 </a:t>
            </a:r>
          </a:p>
          <a:p>
            <a:pPr algn="ctr"/>
            <a:r>
              <a:rPr lang="en-GB" sz="1400">
                <a:solidFill>
                  <a:schemeClr val="bg1"/>
                </a:solidFill>
                <a:latin typeface="Avenir Next LT Pro" panose="020B0504020202020204" pitchFamily="34" charset="77"/>
              </a:rPr>
              <a:t>(DKK 2.2bn)</a:t>
            </a:r>
          </a:p>
        </p:txBody>
      </p:sp>
      <p:sp>
        <p:nvSpPr>
          <p:cNvPr id="57" name="TextBox 56">
            <a:extLst>
              <a:ext uri="{FF2B5EF4-FFF2-40B4-BE49-F238E27FC236}">
                <a16:creationId xmlns:a16="http://schemas.microsoft.com/office/drawing/2014/main" id="{642C2DEF-D802-B05B-E579-474A90501EEF}"/>
              </a:ext>
            </a:extLst>
          </p:cNvPr>
          <p:cNvSpPr txBox="1"/>
          <p:nvPr/>
        </p:nvSpPr>
        <p:spPr>
          <a:xfrm>
            <a:off x="7499160" y="4318694"/>
            <a:ext cx="2101019" cy="523220"/>
          </a:xfrm>
          <a:prstGeom prst="rect">
            <a:avLst/>
          </a:prstGeom>
          <a:noFill/>
        </p:spPr>
        <p:txBody>
          <a:bodyPr wrap="square" rtlCol="0">
            <a:spAutoFit/>
          </a:bodyPr>
          <a:lstStyle/>
          <a:p>
            <a:pPr algn="ctr" defTabSz="914218">
              <a:defRPr/>
            </a:pPr>
            <a:r>
              <a:rPr lang="en-GB" sz="1400">
                <a:solidFill>
                  <a:schemeClr val="bg1"/>
                </a:solidFill>
                <a:latin typeface="Avenir Next LT Pro" panose="020B0504020202020204" pitchFamily="34" charset="77"/>
              </a:rPr>
              <a:t>In revenue in 2025</a:t>
            </a:r>
            <a:br>
              <a:rPr lang="en-GB" sz="1400">
                <a:solidFill>
                  <a:schemeClr val="bg1"/>
                </a:solidFill>
                <a:latin typeface="Avenir Next LT Pro" panose="020B0504020202020204" pitchFamily="34" charset="77"/>
              </a:rPr>
            </a:br>
            <a:r>
              <a:rPr lang="en-GB" sz="1400">
                <a:solidFill>
                  <a:schemeClr val="bg1"/>
                </a:solidFill>
                <a:latin typeface="Avenir Next LT Pro" panose="020B0504020202020204" pitchFamily="34" charset="77"/>
              </a:rPr>
              <a:t>(DKK 2.6bn)</a:t>
            </a:r>
          </a:p>
        </p:txBody>
      </p:sp>
      <p:sp>
        <p:nvSpPr>
          <p:cNvPr id="58" name="TextBox 57">
            <a:extLst>
              <a:ext uri="{FF2B5EF4-FFF2-40B4-BE49-F238E27FC236}">
                <a16:creationId xmlns:a16="http://schemas.microsoft.com/office/drawing/2014/main" id="{60EF1648-FF8D-BBAF-D510-BCE0D4DEF929}"/>
              </a:ext>
            </a:extLst>
          </p:cNvPr>
          <p:cNvSpPr txBox="1"/>
          <p:nvPr/>
        </p:nvSpPr>
        <p:spPr>
          <a:xfrm>
            <a:off x="7423999" y="2176382"/>
            <a:ext cx="2251342" cy="523220"/>
          </a:xfrm>
          <a:prstGeom prst="rect">
            <a:avLst/>
          </a:prstGeom>
          <a:noFill/>
        </p:spPr>
        <p:txBody>
          <a:bodyPr wrap="square" lIns="0" tIns="0" rIns="0" bIns="0" rtlCol="0" anchor="ctr">
            <a:spAutoFit/>
          </a:bodyPr>
          <a:lstStyle/>
          <a:p>
            <a:pPr algn="ctr">
              <a:buNone/>
            </a:pPr>
            <a:r>
              <a:rPr lang="en-GB" sz="3400" b="1">
                <a:solidFill>
                  <a:srgbClr val="FFFFFF"/>
                </a:solidFill>
                <a:effectLst/>
                <a:latin typeface="Avenir Next LT Pro" panose="020B0504020202020204" pitchFamily="34" charset="77"/>
              </a:rPr>
              <a:t>OBESITY</a:t>
            </a:r>
          </a:p>
        </p:txBody>
      </p:sp>
      <p:sp>
        <p:nvSpPr>
          <p:cNvPr id="19" name="Rectangle: Rounded Corners 18">
            <a:extLst>
              <a:ext uri="{FF2B5EF4-FFF2-40B4-BE49-F238E27FC236}">
                <a16:creationId xmlns:a16="http://schemas.microsoft.com/office/drawing/2014/main" id="{6C8B480F-FA46-17B9-1ACB-572FDA39DE6B}"/>
              </a:ext>
            </a:extLst>
          </p:cNvPr>
          <p:cNvSpPr/>
          <p:nvPr/>
        </p:nvSpPr>
        <p:spPr>
          <a:xfrm>
            <a:off x="1275814" y="5906911"/>
            <a:ext cx="4721282" cy="531763"/>
          </a:xfrm>
          <a:prstGeom prst="roundRect">
            <a:avLst>
              <a:gd name="adj" fmla="val 50000"/>
            </a:avLst>
          </a:prstGeom>
          <a:solidFill>
            <a:schemeClr val="accent2">
              <a:alpha val="59790"/>
            </a:schemeClr>
          </a:solidFill>
          <a:ln w="12700" cap="flat" cmpd="sng" algn="ctr">
            <a:solidFill>
              <a:schemeClr val="accent2"/>
            </a:solidFill>
            <a:prstDash val="solid"/>
            <a:miter lim="800000"/>
          </a:ln>
          <a:effectLst/>
        </p:spPr>
        <p:txBody>
          <a:bodyPr lIns="359953" rIns="359953" rtlCol="0" anchor="ctr"/>
          <a:lstStyle/>
          <a:p>
            <a:pPr algn="ctr" defTabSz="914309">
              <a:defRPr/>
            </a:pPr>
            <a:r>
              <a:rPr lang="en-DK" sz="1600" b="1" kern="0">
                <a:solidFill>
                  <a:srgbClr val="FFFFFF"/>
                </a:solidFill>
                <a:latin typeface="Avenir Next LT Pro Demi" panose="020B0504020202020204" pitchFamily="34" charset="77"/>
              </a:rPr>
              <a:t>Gubra Green</a:t>
            </a:r>
          </a:p>
          <a:p>
            <a:pPr algn="ctr" defTabSz="914309">
              <a:defRPr/>
            </a:pPr>
            <a:r>
              <a:rPr lang="en-GB" sz="1400" kern="0">
                <a:solidFill>
                  <a:srgbClr val="FFFFFF"/>
                </a:solidFill>
                <a:latin typeface="Avenir Next LT Pro"/>
              </a:rPr>
              <a:t>O</a:t>
            </a:r>
            <a:r>
              <a:rPr lang="en-DK" sz="1400" kern="0" err="1">
                <a:solidFill>
                  <a:srgbClr val="FFFFFF"/>
                </a:solidFill>
                <a:latin typeface="Avenir Next LT Pro"/>
              </a:rPr>
              <a:t>ur</a:t>
            </a:r>
            <a:r>
              <a:rPr lang="en-DK" sz="1400" kern="0">
                <a:solidFill>
                  <a:srgbClr val="FFFFFF"/>
                </a:solidFill>
                <a:latin typeface="Avenir Next LT Pro"/>
              </a:rPr>
              <a:t> </a:t>
            </a:r>
            <a:r>
              <a:rPr lang="en-US" sz="1400" kern="0">
                <a:solidFill>
                  <a:srgbClr val="FFFFFF"/>
                </a:solidFill>
                <a:latin typeface="Avenir Next LT Pro"/>
              </a:rPr>
              <a:t>commitment to society</a:t>
            </a:r>
            <a:endParaRPr lang="en-US" sz="1400" b="1" kern="0">
              <a:solidFill>
                <a:srgbClr val="FFFFFF"/>
              </a:solidFill>
              <a:latin typeface="Avenir Next LT Pro"/>
            </a:endParaRPr>
          </a:p>
        </p:txBody>
      </p:sp>
      <p:sp>
        <p:nvSpPr>
          <p:cNvPr id="29" name="Oval 28">
            <a:extLst>
              <a:ext uri="{FF2B5EF4-FFF2-40B4-BE49-F238E27FC236}">
                <a16:creationId xmlns:a16="http://schemas.microsoft.com/office/drawing/2014/main" id="{2DABBD47-EE90-A8DD-ACAE-C05C545BFE31}"/>
              </a:ext>
            </a:extLst>
          </p:cNvPr>
          <p:cNvSpPr>
            <a:spLocks noChangeAspect="1"/>
          </p:cNvSpPr>
          <p:nvPr/>
        </p:nvSpPr>
        <p:spPr>
          <a:xfrm>
            <a:off x="2238266" y="1288224"/>
            <a:ext cx="2812306" cy="2812304"/>
          </a:xfrm>
          <a:prstGeom prst="ellipse">
            <a:avLst/>
          </a:prstGeom>
          <a:solidFill>
            <a:schemeClr val="tx2">
              <a:alpha val="50028"/>
            </a:schemeClr>
          </a:solidFill>
          <a:ln w="12700" cap="flat" cmpd="sng" algn="ctr">
            <a:solidFill>
              <a:schemeClr val="tx2"/>
            </a:solidFill>
            <a:prstDash val="solid"/>
            <a:miter lim="800000"/>
          </a:ln>
          <a:effectLst/>
        </p:spPr>
        <p:txBody>
          <a:bodyPr wrap="none" lIns="0" tIns="432000" rIns="0" bIns="0" rtlCol="0" anchor="ctr"/>
          <a:lstStyle/>
          <a:p>
            <a:pPr algn="ctr" defTabSz="914309">
              <a:defRPr/>
            </a:pPr>
            <a:endParaRPr lang="en-US" sz="1400" i="1" kern="0">
              <a:solidFill>
                <a:srgbClr val="FFFFFF"/>
              </a:solidFill>
              <a:latin typeface="Avenir Next LT Pro"/>
            </a:endParaRPr>
          </a:p>
        </p:txBody>
      </p:sp>
      <p:grpSp>
        <p:nvGrpSpPr>
          <p:cNvPr id="32" name="Group 31">
            <a:extLst>
              <a:ext uri="{FF2B5EF4-FFF2-40B4-BE49-F238E27FC236}">
                <a16:creationId xmlns:a16="http://schemas.microsoft.com/office/drawing/2014/main" id="{7DF8D8D5-B5F3-9789-EC44-139112AFCD63}"/>
              </a:ext>
            </a:extLst>
          </p:cNvPr>
          <p:cNvGrpSpPr/>
          <p:nvPr/>
        </p:nvGrpSpPr>
        <p:grpSpPr>
          <a:xfrm>
            <a:off x="1125936" y="3044750"/>
            <a:ext cx="2812306" cy="2812304"/>
            <a:chOff x="1210278" y="3111172"/>
            <a:chExt cx="2659096" cy="2659094"/>
          </a:xfrm>
        </p:grpSpPr>
        <p:sp>
          <p:nvSpPr>
            <p:cNvPr id="17" name="Oval 16">
              <a:extLst>
                <a:ext uri="{FF2B5EF4-FFF2-40B4-BE49-F238E27FC236}">
                  <a16:creationId xmlns:a16="http://schemas.microsoft.com/office/drawing/2014/main" id="{AC1B2E84-46CE-5D45-AC50-B1C00CEC92D0}"/>
                </a:ext>
              </a:extLst>
            </p:cNvPr>
            <p:cNvSpPr>
              <a:spLocks noChangeAspect="1"/>
            </p:cNvSpPr>
            <p:nvPr/>
          </p:nvSpPr>
          <p:spPr>
            <a:xfrm>
              <a:off x="1210278" y="3111172"/>
              <a:ext cx="2659096" cy="2659094"/>
            </a:xfrm>
            <a:prstGeom prst="ellipse">
              <a:avLst/>
            </a:prstGeom>
            <a:solidFill>
              <a:srgbClr val="E228E2">
                <a:alpha val="49809"/>
              </a:srgbClr>
            </a:solidFill>
            <a:ln w="12700" cap="flat" cmpd="sng" algn="ctr">
              <a:solidFill>
                <a:schemeClr val="accent1"/>
              </a:solidFill>
              <a:prstDash val="solid"/>
              <a:miter lim="800000"/>
            </a:ln>
            <a:effectLst/>
          </p:spPr>
          <p:txBody>
            <a:bodyPr wrap="none" lIns="0" tIns="432000" rIns="0" bIns="0" rtlCol="0" anchor="ctr"/>
            <a:lstStyle/>
            <a:p>
              <a:pPr algn="ctr" defTabSz="914309">
                <a:defRPr/>
              </a:pPr>
              <a:endParaRPr lang="en-US" sz="1400" i="1" kern="0">
                <a:solidFill>
                  <a:srgbClr val="FFFFFF"/>
                </a:solidFill>
                <a:latin typeface="Avenir Next LT Pro"/>
              </a:endParaRPr>
            </a:p>
          </p:txBody>
        </p:sp>
        <p:grpSp>
          <p:nvGrpSpPr>
            <p:cNvPr id="11" name="Graphic 26">
              <a:extLst>
                <a:ext uri="{FF2B5EF4-FFF2-40B4-BE49-F238E27FC236}">
                  <a16:creationId xmlns:a16="http://schemas.microsoft.com/office/drawing/2014/main" id="{7615BD86-5734-F5AA-D6A8-9796D3E39D95}"/>
                </a:ext>
              </a:extLst>
            </p:cNvPr>
            <p:cNvGrpSpPr/>
            <p:nvPr/>
          </p:nvGrpSpPr>
          <p:grpSpPr>
            <a:xfrm>
              <a:off x="2348795" y="3611395"/>
              <a:ext cx="254462" cy="687230"/>
              <a:chOff x="9069772" y="4371619"/>
              <a:chExt cx="258697" cy="698658"/>
            </a:xfrm>
          </p:grpSpPr>
          <p:sp>
            <p:nvSpPr>
              <p:cNvPr id="26" name="Freeform 25">
                <a:extLst>
                  <a:ext uri="{FF2B5EF4-FFF2-40B4-BE49-F238E27FC236}">
                    <a16:creationId xmlns:a16="http://schemas.microsoft.com/office/drawing/2014/main" id="{DD7A090D-C2A1-45DB-090A-B363B5FB1162}"/>
                  </a:ext>
                </a:extLst>
              </p:cNvPr>
              <p:cNvSpPr/>
              <p:nvPr/>
            </p:nvSpPr>
            <p:spPr>
              <a:xfrm>
                <a:off x="9069772" y="4371619"/>
                <a:ext cx="103441" cy="517588"/>
              </a:xfrm>
              <a:custGeom>
                <a:avLst/>
                <a:gdLst>
                  <a:gd name="connsiteX0" fmla="*/ 103442 w 103441"/>
                  <a:gd name="connsiteY0" fmla="*/ 51721 h 517588"/>
                  <a:gd name="connsiteX1" fmla="*/ 103442 w 103441"/>
                  <a:gd name="connsiteY1" fmla="*/ 0 h 517588"/>
                  <a:gd name="connsiteX2" fmla="*/ 0 w 103441"/>
                  <a:gd name="connsiteY2" fmla="*/ 0 h 517588"/>
                  <a:gd name="connsiteX3" fmla="*/ 0 w 103441"/>
                  <a:gd name="connsiteY3" fmla="*/ 51721 h 517588"/>
                  <a:gd name="connsiteX4" fmla="*/ 25813 w 103441"/>
                  <a:gd name="connsiteY4" fmla="*/ 51721 h 517588"/>
                  <a:gd name="connsiteX5" fmla="*/ 25813 w 103441"/>
                  <a:gd name="connsiteY5" fmla="*/ 103537 h 517588"/>
                  <a:gd name="connsiteX6" fmla="*/ 0 w 103441"/>
                  <a:gd name="connsiteY6" fmla="*/ 103537 h 517588"/>
                  <a:gd name="connsiteX7" fmla="*/ 0 w 103441"/>
                  <a:gd name="connsiteY7" fmla="*/ 388144 h 517588"/>
                  <a:gd name="connsiteX8" fmla="*/ 25813 w 103441"/>
                  <a:gd name="connsiteY8" fmla="*/ 388144 h 517588"/>
                  <a:gd name="connsiteX9" fmla="*/ 25813 w 103441"/>
                  <a:gd name="connsiteY9" fmla="*/ 517589 h 517588"/>
                  <a:gd name="connsiteX10" fmla="*/ 77629 w 103441"/>
                  <a:gd name="connsiteY10" fmla="*/ 517589 h 517588"/>
                  <a:gd name="connsiteX11" fmla="*/ 77629 w 103441"/>
                  <a:gd name="connsiteY11" fmla="*/ 388144 h 517588"/>
                  <a:gd name="connsiteX12" fmla="*/ 103442 w 103441"/>
                  <a:gd name="connsiteY12" fmla="*/ 388144 h 517588"/>
                  <a:gd name="connsiteX13" fmla="*/ 103442 w 103441"/>
                  <a:gd name="connsiteY13" fmla="*/ 103537 h 517588"/>
                  <a:gd name="connsiteX14" fmla="*/ 77629 w 103441"/>
                  <a:gd name="connsiteY14" fmla="*/ 103537 h 517588"/>
                  <a:gd name="connsiteX15" fmla="*/ 77629 w 103441"/>
                  <a:gd name="connsiteY15" fmla="*/ 51721 h 517588"/>
                  <a:gd name="connsiteX16" fmla="*/ 103442 w 103441"/>
                  <a:gd name="connsiteY16" fmla="*/ 51721 h 5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441" h="517588">
                    <a:moveTo>
                      <a:pt x="103442" y="51721"/>
                    </a:moveTo>
                    <a:lnTo>
                      <a:pt x="103442" y="0"/>
                    </a:lnTo>
                    <a:lnTo>
                      <a:pt x="0" y="0"/>
                    </a:lnTo>
                    <a:lnTo>
                      <a:pt x="0" y="51721"/>
                    </a:lnTo>
                    <a:lnTo>
                      <a:pt x="25813" y="51721"/>
                    </a:lnTo>
                    <a:lnTo>
                      <a:pt x="25813" y="103537"/>
                    </a:lnTo>
                    <a:lnTo>
                      <a:pt x="0" y="103537"/>
                    </a:lnTo>
                    <a:lnTo>
                      <a:pt x="0" y="388144"/>
                    </a:lnTo>
                    <a:lnTo>
                      <a:pt x="25813" y="388144"/>
                    </a:lnTo>
                    <a:lnTo>
                      <a:pt x="25813" y="517589"/>
                    </a:lnTo>
                    <a:lnTo>
                      <a:pt x="77629" y="517589"/>
                    </a:lnTo>
                    <a:lnTo>
                      <a:pt x="77629" y="388144"/>
                    </a:lnTo>
                    <a:lnTo>
                      <a:pt x="103442" y="388144"/>
                    </a:lnTo>
                    <a:lnTo>
                      <a:pt x="103442" y="103537"/>
                    </a:lnTo>
                    <a:lnTo>
                      <a:pt x="77629" y="103537"/>
                    </a:lnTo>
                    <a:lnTo>
                      <a:pt x="77629" y="51721"/>
                    </a:lnTo>
                    <a:lnTo>
                      <a:pt x="103442" y="51721"/>
                    </a:lnTo>
                    <a:close/>
                  </a:path>
                </a:pathLst>
              </a:custGeom>
              <a:noFill/>
              <a:ln w="9525" cap="flat">
                <a:noFill/>
                <a:prstDash val="solid"/>
                <a:miter/>
              </a:ln>
            </p:spPr>
            <p:txBody>
              <a:bodyPr rtlCol="0" anchor="ctr"/>
              <a:lstStyle/>
              <a:p>
                <a:pPr defTabSz="914355">
                  <a:defRPr/>
                </a:pPr>
                <a:endParaRPr lang="en-DK">
                  <a:solidFill>
                    <a:srgbClr val="001965"/>
                  </a:solidFill>
                  <a:latin typeface="Calibri" panose="020F0502020204030204"/>
                </a:endParaRPr>
              </a:p>
            </p:txBody>
          </p:sp>
          <p:sp>
            <p:nvSpPr>
              <p:cNvPr id="22" name="Freeform 21">
                <a:extLst>
                  <a:ext uri="{FF2B5EF4-FFF2-40B4-BE49-F238E27FC236}">
                    <a16:creationId xmlns:a16="http://schemas.microsoft.com/office/drawing/2014/main" id="{CE4FF052-4664-8295-F390-989CCD189C4D}"/>
                  </a:ext>
                </a:extLst>
              </p:cNvPr>
              <p:cNvSpPr/>
              <p:nvPr/>
            </p:nvSpPr>
            <p:spPr>
              <a:xfrm>
                <a:off x="9069772" y="5018557"/>
                <a:ext cx="103536" cy="51720"/>
              </a:xfrm>
              <a:custGeom>
                <a:avLst/>
                <a:gdLst>
                  <a:gd name="connsiteX0" fmla="*/ 0 w 103536"/>
                  <a:gd name="connsiteY0" fmla="*/ 0 h 51720"/>
                  <a:gd name="connsiteX1" fmla="*/ 103537 w 103536"/>
                  <a:gd name="connsiteY1" fmla="*/ 0 h 51720"/>
                  <a:gd name="connsiteX2" fmla="*/ 103537 w 103536"/>
                  <a:gd name="connsiteY2" fmla="*/ 51721 h 51720"/>
                  <a:gd name="connsiteX3" fmla="*/ 0 w 103536"/>
                  <a:gd name="connsiteY3" fmla="*/ 51721 h 51720"/>
                </a:gdLst>
                <a:ahLst/>
                <a:cxnLst>
                  <a:cxn ang="0">
                    <a:pos x="connsiteX0" y="connsiteY0"/>
                  </a:cxn>
                  <a:cxn ang="0">
                    <a:pos x="connsiteX1" y="connsiteY1"/>
                  </a:cxn>
                  <a:cxn ang="0">
                    <a:pos x="connsiteX2" y="connsiteY2"/>
                  </a:cxn>
                  <a:cxn ang="0">
                    <a:pos x="connsiteX3" y="connsiteY3"/>
                  </a:cxn>
                </a:cxnLst>
                <a:rect l="l" t="t" r="r" b="b"/>
                <a:pathLst>
                  <a:path w="103536" h="51720">
                    <a:moveTo>
                      <a:pt x="0" y="0"/>
                    </a:moveTo>
                    <a:lnTo>
                      <a:pt x="103537" y="0"/>
                    </a:lnTo>
                    <a:lnTo>
                      <a:pt x="103537" y="51721"/>
                    </a:lnTo>
                    <a:lnTo>
                      <a:pt x="0" y="51721"/>
                    </a:lnTo>
                    <a:close/>
                  </a:path>
                </a:pathLst>
              </a:custGeom>
              <a:noFill/>
              <a:ln w="9525" cap="flat">
                <a:noFill/>
                <a:prstDash val="solid"/>
                <a:miter/>
              </a:ln>
            </p:spPr>
            <p:txBody>
              <a:bodyPr rtlCol="0" anchor="ctr"/>
              <a:lstStyle/>
              <a:p>
                <a:pPr defTabSz="914355">
                  <a:defRPr/>
                </a:pPr>
                <a:endParaRPr lang="en-DK">
                  <a:solidFill>
                    <a:srgbClr val="001965"/>
                  </a:solidFill>
                  <a:latin typeface="Calibri" panose="020F0502020204030204"/>
                </a:endParaRPr>
              </a:p>
            </p:txBody>
          </p:sp>
          <p:sp>
            <p:nvSpPr>
              <p:cNvPr id="20" name="Freeform 19">
                <a:extLst>
                  <a:ext uri="{FF2B5EF4-FFF2-40B4-BE49-F238E27FC236}">
                    <a16:creationId xmlns:a16="http://schemas.microsoft.com/office/drawing/2014/main" id="{A600D152-2E07-85FC-2094-D4E06D1D3DDC}"/>
                  </a:ext>
                </a:extLst>
              </p:cNvPr>
              <p:cNvSpPr/>
              <p:nvPr/>
            </p:nvSpPr>
            <p:spPr>
              <a:xfrm>
                <a:off x="9199119" y="4475156"/>
                <a:ext cx="129350" cy="129350"/>
              </a:xfrm>
              <a:custGeom>
                <a:avLst/>
                <a:gdLst>
                  <a:gd name="connsiteX0" fmla="*/ 129349 w 129349"/>
                  <a:gd name="connsiteY0" fmla="*/ 64675 h 129349"/>
                  <a:gd name="connsiteX1" fmla="*/ 64675 w 129349"/>
                  <a:gd name="connsiteY1" fmla="*/ 129350 h 129349"/>
                  <a:gd name="connsiteX2" fmla="*/ 0 w 129349"/>
                  <a:gd name="connsiteY2" fmla="*/ 64675 h 129349"/>
                  <a:gd name="connsiteX3" fmla="*/ 64675 w 129349"/>
                  <a:gd name="connsiteY3" fmla="*/ 0 h 129349"/>
                  <a:gd name="connsiteX4" fmla="*/ 129349 w 129349"/>
                  <a:gd name="connsiteY4" fmla="*/ 64675 h 129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349" h="129349">
                    <a:moveTo>
                      <a:pt x="129349" y="64675"/>
                    </a:moveTo>
                    <a:cubicBezTo>
                      <a:pt x="129349" y="100394"/>
                      <a:pt x="100394" y="129350"/>
                      <a:pt x="64675" y="129350"/>
                    </a:cubicBezTo>
                    <a:cubicBezTo>
                      <a:pt x="28956" y="129350"/>
                      <a:pt x="0" y="100394"/>
                      <a:pt x="0" y="64675"/>
                    </a:cubicBezTo>
                    <a:cubicBezTo>
                      <a:pt x="0" y="28956"/>
                      <a:pt x="28956" y="0"/>
                      <a:pt x="64675" y="0"/>
                    </a:cubicBezTo>
                    <a:cubicBezTo>
                      <a:pt x="100394" y="0"/>
                      <a:pt x="129349" y="28956"/>
                      <a:pt x="129349" y="64675"/>
                    </a:cubicBezTo>
                    <a:close/>
                  </a:path>
                </a:pathLst>
              </a:custGeom>
              <a:noFill/>
              <a:ln w="9525" cap="flat">
                <a:noFill/>
                <a:prstDash val="solid"/>
                <a:miter/>
              </a:ln>
            </p:spPr>
            <p:txBody>
              <a:bodyPr rtlCol="0" anchor="ctr"/>
              <a:lstStyle/>
              <a:p>
                <a:pPr defTabSz="914355">
                  <a:defRPr/>
                </a:pPr>
                <a:endParaRPr lang="en-DK">
                  <a:solidFill>
                    <a:srgbClr val="001965"/>
                  </a:solidFill>
                  <a:latin typeface="Calibri" panose="020F0502020204030204"/>
                </a:endParaRPr>
              </a:p>
            </p:txBody>
          </p:sp>
        </p:grpSp>
      </p:grpSp>
      <p:sp>
        <p:nvSpPr>
          <p:cNvPr id="16" name="Oval 15">
            <a:extLst>
              <a:ext uri="{FF2B5EF4-FFF2-40B4-BE49-F238E27FC236}">
                <a16:creationId xmlns:a16="http://schemas.microsoft.com/office/drawing/2014/main" id="{DC1DA19B-38CA-3758-685C-2E47A22A9827}"/>
              </a:ext>
            </a:extLst>
          </p:cNvPr>
          <p:cNvSpPr>
            <a:spLocks noChangeAspect="1"/>
          </p:cNvSpPr>
          <p:nvPr/>
        </p:nvSpPr>
        <p:spPr>
          <a:xfrm>
            <a:off x="3350596" y="3044750"/>
            <a:ext cx="2812306" cy="2812304"/>
          </a:xfrm>
          <a:prstGeom prst="ellipse">
            <a:avLst/>
          </a:prstGeom>
          <a:solidFill>
            <a:schemeClr val="bg2">
              <a:alpha val="50231"/>
            </a:schemeClr>
          </a:solidFill>
          <a:ln w="12700" cap="flat" cmpd="sng" algn="ctr">
            <a:solidFill>
              <a:schemeClr val="bg2"/>
            </a:solidFill>
            <a:prstDash val="solid"/>
            <a:miter lim="800000"/>
          </a:ln>
          <a:effectLst/>
        </p:spPr>
        <p:txBody>
          <a:bodyPr wrap="none" lIns="0" tIns="432000" rIns="0" bIns="0" rtlCol="0" anchor="ctr"/>
          <a:lstStyle/>
          <a:p>
            <a:pPr algn="ctr" defTabSz="914309">
              <a:defRPr/>
            </a:pPr>
            <a:endParaRPr lang="en-US" sz="1400" i="1" kern="0">
              <a:solidFill>
                <a:srgbClr val="FFFFFF"/>
              </a:solidFill>
              <a:latin typeface="Avenir Next LT Pro"/>
            </a:endParaRPr>
          </a:p>
        </p:txBody>
      </p:sp>
      <p:grpSp>
        <p:nvGrpSpPr>
          <p:cNvPr id="7" name="Graphic 17">
            <a:extLst>
              <a:ext uri="{FF2B5EF4-FFF2-40B4-BE49-F238E27FC236}">
                <a16:creationId xmlns:a16="http://schemas.microsoft.com/office/drawing/2014/main" id="{01108077-4C32-D429-AEFF-744549698F3C}"/>
              </a:ext>
            </a:extLst>
          </p:cNvPr>
          <p:cNvGrpSpPr/>
          <p:nvPr/>
        </p:nvGrpSpPr>
        <p:grpSpPr>
          <a:xfrm>
            <a:off x="2242342" y="3746074"/>
            <a:ext cx="568612" cy="713454"/>
            <a:chOff x="8959092" y="2103540"/>
            <a:chExt cx="609504" cy="764762"/>
          </a:xfrm>
        </p:grpSpPr>
        <p:grpSp>
          <p:nvGrpSpPr>
            <p:cNvPr id="9" name="Graphic 17">
              <a:extLst>
                <a:ext uri="{FF2B5EF4-FFF2-40B4-BE49-F238E27FC236}">
                  <a16:creationId xmlns:a16="http://schemas.microsoft.com/office/drawing/2014/main" id="{7AD9ACB5-047C-C6DE-FAEF-EE781D996E0C}"/>
                </a:ext>
              </a:extLst>
            </p:cNvPr>
            <p:cNvGrpSpPr/>
            <p:nvPr/>
          </p:nvGrpSpPr>
          <p:grpSpPr>
            <a:xfrm>
              <a:off x="9062628" y="2103540"/>
              <a:ext cx="117824" cy="531876"/>
              <a:chOff x="9062628" y="2103540"/>
              <a:chExt cx="117824" cy="531876"/>
            </a:xfrm>
          </p:grpSpPr>
          <p:sp>
            <p:nvSpPr>
              <p:cNvPr id="42" name="Freeform 41">
                <a:extLst>
                  <a:ext uri="{FF2B5EF4-FFF2-40B4-BE49-F238E27FC236}">
                    <a16:creationId xmlns:a16="http://schemas.microsoft.com/office/drawing/2014/main" id="{2D14AD5E-AED4-7398-EC87-B9E14A03E76E}"/>
                  </a:ext>
                </a:extLst>
              </p:cNvPr>
              <p:cNvSpPr/>
              <p:nvPr/>
            </p:nvSpPr>
            <p:spPr>
              <a:xfrm>
                <a:off x="9069772" y="2110683"/>
                <a:ext cx="103441" cy="517588"/>
              </a:xfrm>
              <a:custGeom>
                <a:avLst/>
                <a:gdLst>
                  <a:gd name="connsiteX0" fmla="*/ 103442 w 103441"/>
                  <a:gd name="connsiteY0" fmla="*/ 51721 h 517588"/>
                  <a:gd name="connsiteX1" fmla="*/ 103442 w 103441"/>
                  <a:gd name="connsiteY1" fmla="*/ 0 h 517588"/>
                  <a:gd name="connsiteX2" fmla="*/ 0 w 103441"/>
                  <a:gd name="connsiteY2" fmla="*/ 0 h 517588"/>
                  <a:gd name="connsiteX3" fmla="*/ 0 w 103441"/>
                  <a:gd name="connsiteY3" fmla="*/ 51721 h 517588"/>
                  <a:gd name="connsiteX4" fmla="*/ 25813 w 103441"/>
                  <a:gd name="connsiteY4" fmla="*/ 51721 h 517588"/>
                  <a:gd name="connsiteX5" fmla="*/ 25813 w 103441"/>
                  <a:gd name="connsiteY5" fmla="*/ 103537 h 517588"/>
                  <a:gd name="connsiteX6" fmla="*/ 0 w 103441"/>
                  <a:gd name="connsiteY6" fmla="*/ 103537 h 517588"/>
                  <a:gd name="connsiteX7" fmla="*/ 0 w 103441"/>
                  <a:gd name="connsiteY7" fmla="*/ 388144 h 517588"/>
                  <a:gd name="connsiteX8" fmla="*/ 25813 w 103441"/>
                  <a:gd name="connsiteY8" fmla="*/ 388144 h 517588"/>
                  <a:gd name="connsiteX9" fmla="*/ 25813 w 103441"/>
                  <a:gd name="connsiteY9" fmla="*/ 517589 h 517588"/>
                  <a:gd name="connsiteX10" fmla="*/ 77629 w 103441"/>
                  <a:gd name="connsiteY10" fmla="*/ 517589 h 517588"/>
                  <a:gd name="connsiteX11" fmla="*/ 77629 w 103441"/>
                  <a:gd name="connsiteY11" fmla="*/ 388144 h 517588"/>
                  <a:gd name="connsiteX12" fmla="*/ 103442 w 103441"/>
                  <a:gd name="connsiteY12" fmla="*/ 388144 h 517588"/>
                  <a:gd name="connsiteX13" fmla="*/ 103442 w 103441"/>
                  <a:gd name="connsiteY13" fmla="*/ 103537 h 517588"/>
                  <a:gd name="connsiteX14" fmla="*/ 77629 w 103441"/>
                  <a:gd name="connsiteY14" fmla="*/ 103537 h 517588"/>
                  <a:gd name="connsiteX15" fmla="*/ 77629 w 103441"/>
                  <a:gd name="connsiteY15" fmla="*/ 51721 h 517588"/>
                  <a:gd name="connsiteX16" fmla="*/ 103442 w 103441"/>
                  <a:gd name="connsiteY16" fmla="*/ 51721 h 5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441" h="517588">
                    <a:moveTo>
                      <a:pt x="103442" y="51721"/>
                    </a:moveTo>
                    <a:lnTo>
                      <a:pt x="103442" y="0"/>
                    </a:lnTo>
                    <a:lnTo>
                      <a:pt x="0" y="0"/>
                    </a:lnTo>
                    <a:lnTo>
                      <a:pt x="0" y="51721"/>
                    </a:lnTo>
                    <a:lnTo>
                      <a:pt x="25813" y="51721"/>
                    </a:lnTo>
                    <a:lnTo>
                      <a:pt x="25813" y="103537"/>
                    </a:lnTo>
                    <a:lnTo>
                      <a:pt x="0" y="103537"/>
                    </a:lnTo>
                    <a:lnTo>
                      <a:pt x="0" y="388144"/>
                    </a:lnTo>
                    <a:lnTo>
                      <a:pt x="25813" y="388144"/>
                    </a:lnTo>
                    <a:lnTo>
                      <a:pt x="25813" y="517589"/>
                    </a:lnTo>
                    <a:lnTo>
                      <a:pt x="77629" y="517589"/>
                    </a:lnTo>
                    <a:lnTo>
                      <a:pt x="77629" y="388144"/>
                    </a:lnTo>
                    <a:lnTo>
                      <a:pt x="103442" y="388144"/>
                    </a:lnTo>
                    <a:lnTo>
                      <a:pt x="103442" y="103537"/>
                    </a:lnTo>
                    <a:lnTo>
                      <a:pt x="77629" y="103537"/>
                    </a:lnTo>
                    <a:lnTo>
                      <a:pt x="77629" y="51721"/>
                    </a:lnTo>
                    <a:lnTo>
                      <a:pt x="103442" y="51721"/>
                    </a:lnTo>
                    <a:close/>
                  </a:path>
                </a:pathLst>
              </a:custGeom>
              <a:solidFill>
                <a:srgbClr val="2878FF">
                  <a:alpha val="50183"/>
                </a:srgbClr>
              </a:solidFill>
              <a:ln w="9525" cap="flat">
                <a:noFill/>
                <a:prstDash val="solid"/>
                <a:miter/>
              </a:ln>
            </p:spPr>
            <p:txBody>
              <a:bodyPr rtlCol="0" anchor="ctr"/>
              <a:lstStyle/>
              <a:p>
                <a:endParaRPr lang="en-DK"/>
              </a:p>
            </p:txBody>
          </p:sp>
          <p:sp>
            <p:nvSpPr>
              <p:cNvPr id="43" name="Freeform 42">
                <a:extLst>
                  <a:ext uri="{FF2B5EF4-FFF2-40B4-BE49-F238E27FC236}">
                    <a16:creationId xmlns:a16="http://schemas.microsoft.com/office/drawing/2014/main" id="{A8360B80-B91A-1988-0F82-9076D740C33B}"/>
                  </a:ext>
                </a:extLst>
              </p:cNvPr>
              <p:cNvSpPr/>
              <p:nvPr/>
            </p:nvSpPr>
            <p:spPr>
              <a:xfrm>
                <a:off x="9062628" y="2103540"/>
                <a:ext cx="117824" cy="531876"/>
              </a:xfrm>
              <a:custGeom>
                <a:avLst/>
                <a:gdLst>
                  <a:gd name="connsiteX0" fmla="*/ 84773 w 117824"/>
                  <a:gd name="connsiteY0" fmla="*/ 531876 h 531876"/>
                  <a:gd name="connsiteX1" fmla="*/ 33052 w 117824"/>
                  <a:gd name="connsiteY1" fmla="*/ 531876 h 531876"/>
                  <a:gd name="connsiteX2" fmla="*/ 25908 w 117824"/>
                  <a:gd name="connsiteY2" fmla="*/ 524732 h 531876"/>
                  <a:gd name="connsiteX3" fmla="*/ 25908 w 117824"/>
                  <a:gd name="connsiteY3" fmla="*/ 402526 h 531876"/>
                  <a:gd name="connsiteX4" fmla="*/ 7144 w 117824"/>
                  <a:gd name="connsiteY4" fmla="*/ 402526 h 531876"/>
                  <a:gd name="connsiteX5" fmla="*/ 0 w 117824"/>
                  <a:gd name="connsiteY5" fmla="*/ 395383 h 531876"/>
                  <a:gd name="connsiteX6" fmla="*/ 0 w 117824"/>
                  <a:gd name="connsiteY6" fmla="*/ 110681 h 531876"/>
                  <a:gd name="connsiteX7" fmla="*/ 7144 w 117824"/>
                  <a:gd name="connsiteY7" fmla="*/ 103537 h 531876"/>
                  <a:gd name="connsiteX8" fmla="*/ 25908 w 117824"/>
                  <a:gd name="connsiteY8" fmla="*/ 103537 h 531876"/>
                  <a:gd name="connsiteX9" fmla="*/ 25908 w 117824"/>
                  <a:gd name="connsiteY9" fmla="*/ 66104 h 531876"/>
                  <a:gd name="connsiteX10" fmla="*/ 7144 w 117824"/>
                  <a:gd name="connsiteY10" fmla="*/ 66104 h 531876"/>
                  <a:gd name="connsiteX11" fmla="*/ 0 w 117824"/>
                  <a:gd name="connsiteY11" fmla="*/ 58960 h 531876"/>
                  <a:gd name="connsiteX12" fmla="*/ 0 w 117824"/>
                  <a:gd name="connsiteY12" fmla="*/ 7144 h 531876"/>
                  <a:gd name="connsiteX13" fmla="*/ 7144 w 117824"/>
                  <a:gd name="connsiteY13" fmla="*/ 0 h 531876"/>
                  <a:gd name="connsiteX14" fmla="*/ 110681 w 117824"/>
                  <a:gd name="connsiteY14" fmla="*/ 0 h 531876"/>
                  <a:gd name="connsiteX15" fmla="*/ 117824 w 117824"/>
                  <a:gd name="connsiteY15" fmla="*/ 7144 h 531876"/>
                  <a:gd name="connsiteX16" fmla="*/ 117824 w 117824"/>
                  <a:gd name="connsiteY16" fmla="*/ 58865 h 531876"/>
                  <a:gd name="connsiteX17" fmla="*/ 110681 w 117824"/>
                  <a:gd name="connsiteY17" fmla="*/ 66008 h 531876"/>
                  <a:gd name="connsiteX18" fmla="*/ 91916 w 117824"/>
                  <a:gd name="connsiteY18" fmla="*/ 66008 h 531876"/>
                  <a:gd name="connsiteX19" fmla="*/ 91916 w 117824"/>
                  <a:gd name="connsiteY19" fmla="*/ 103442 h 531876"/>
                  <a:gd name="connsiteX20" fmla="*/ 110681 w 117824"/>
                  <a:gd name="connsiteY20" fmla="*/ 103442 h 531876"/>
                  <a:gd name="connsiteX21" fmla="*/ 117824 w 117824"/>
                  <a:gd name="connsiteY21" fmla="*/ 110585 h 531876"/>
                  <a:gd name="connsiteX22" fmla="*/ 117824 w 117824"/>
                  <a:gd name="connsiteY22" fmla="*/ 395192 h 531876"/>
                  <a:gd name="connsiteX23" fmla="*/ 110681 w 117824"/>
                  <a:gd name="connsiteY23" fmla="*/ 402336 h 531876"/>
                  <a:gd name="connsiteX24" fmla="*/ 91916 w 117824"/>
                  <a:gd name="connsiteY24" fmla="*/ 402336 h 531876"/>
                  <a:gd name="connsiteX25" fmla="*/ 91916 w 117824"/>
                  <a:gd name="connsiteY25" fmla="*/ 524542 h 531876"/>
                  <a:gd name="connsiteX26" fmla="*/ 84773 w 117824"/>
                  <a:gd name="connsiteY26" fmla="*/ 531686 h 531876"/>
                  <a:gd name="connsiteX27" fmla="*/ 40196 w 117824"/>
                  <a:gd name="connsiteY27" fmla="*/ 517589 h 531876"/>
                  <a:gd name="connsiteX28" fmla="*/ 77629 w 117824"/>
                  <a:gd name="connsiteY28" fmla="*/ 517589 h 531876"/>
                  <a:gd name="connsiteX29" fmla="*/ 77629 w 117824"/>
                  <a:gd name="connsiteY29" fmla="*/ 395383 h 531876"/>
                  <a:gd name="connsiteX30" fmla="*/ 84773 w 117824"/>
                  <a:gd name="connsiteY30" fmla="*/ 388239 h 531876"/>
                  <a:gd name="connsiteX31" fmla="*/ 103537 w 117824"/>
                  <a:gd name="connsiteY31" fmla="*/ 388239 h 531876"/>
                  <a:gd name="connsiteX32" fmla="*/ 103537 w 117824"/>
                  <a:gd name="connsiteY32" fmla="*/ 117824 h 531876"/>
                  <a:gd name="connsiteX33" fmla="*/ 84773 w 117824"/>
                  <a:gd name="connsiteY33" fmla="*/ 117824 h 531876"/>
                  <a:gd name="connsiteX34" fmla="*/ 77629 w 117824"/>
                  <a:gd name="connsiteY34" fmla="*/ 110681 h 531876"/>
                  <a:gd name="connsiteX35" fmla="*/ 77629 w 117824"/>
                  <a:gd name="connsiteY35" fmla="*/ 58960 h 531876"/>
                  <a:gd name="connsiteX36" fmla="*/ 84773 w 117824"/>
                  <a:gd name="connsiteY36" fmla="*/ 51816 h 531876"/>
                  <a:gd name="connsiteX37" fmla="*/ 103537 w 117824"/>
                  <a:gd name="connsiteY37" fmla="*/ 51816 h 531876"/>
                  <a:gd name="connsiteX38" fmla="*/ 103537 w 117824"/>
                  <a:gd name="connsiteY38" fmla="*/ 14288 h 531876"/>
                  <a:gd name="connsiteX39" fmla="*/ 14288 w 117824"/>
                  <a:gd name="connsiteY39" fmla="*/ 14288 h 531876"/>
                  <a:gd name="connsiteX40" fmla="*/ 14288 w 117824"/>
                  <a:gd name="connsiteY40" fmla="*/ 51721 h 531876"/>
                  <a:gd name="connsiteX41" fmla="*/ 33052 w 117824"/>
                  <a:gd name="connsiteY41" fmla="*/ 51721 h 531876"/>
                  <a:gd name="connsiteX42" fmla="*/ 40196 w 117824"/>
                  <a:gd name="connsiteY42" fmla="*/ 58865 h 531876"/>
                  <a:gd name="connsiteX43" fmla="*/ 40196 w 117824"/>
                  <a:gd name="connsiteY43" fmla="*/ 110585 h 531876"/>
                  <a:gd name="connsiteX44" fmla="*/ 33052 w 117824"/>
                  <a:gd name="connsiteY44" fmla="*/ 117729 h 531876"/>
                  <a:gd name="connsiteX45" fmla="*/ 14288 w 117824"/>
                  <a:gd name="connsiteY45" fmla="*/ 117729 h 531876"/>
                  <a:gd name="connsiteX46" fmla="*/ 14288 w 117824"/>
                  <a:gd name="connsiteY46" fmla="*/ 388049 h 531876"/>
                  <a:gd name="connsiteX47" fmla="*/ 33052 w 117824"/>
                  <a:gd name="connsiteY47" fmla="*/ 388049 h 531876"/>
                  <a:gd name="connsiteX48" fmla="*/ 40196 w 117824"/>
                  <a:gd name="connsiteY48" fmla="*/ 395192 h 531876"/>
                  <a:gd name="connsiteX49" fmla="*/ 40196 w 117824"/>
                  <a:gd name="connsiteY49" fmla="*/ 517398 h 53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7824" h="531876">
                    <a:moveTo>
                      <a:pt x="84773" y="531876"/>
                    </a:moveTo>
                    <a:lnTo>
                      <a:pt x="33052" y="531876"/>
                    </a:lnTo>
                    <a:cubicBezTo>
                      <a:pt x="29147" y="531876"/>
                      <a:pt x="25908" y="528638"/>
                      <a:pt x="25908" y="524732"/>
                    </a:cubicBezTo>
                    <a:lnTo>
                      <a:pt x="25908" y="402526"/>
                    </a:lnTo>
                    <a:lnTo>
                      <a:pt x="7144" y="402526"/>
                    </a:lnTo>
                    <a:cubicBezTo>
                      <a:pt x="3239" y="402526"/>
                      <a:pt x="0" y="399288"/>
                      <a:pt x="0" y="395383"/>
                    </a:cubicBezTo>
                    <a:lnTo>
                      <a:pt x="0" y="110681"/>
                    </a:lnTo>
                    <a:cubicBezTo>
                      <a:pt x="0" y="106775"/>
                      <a:pt x="3239" y="103537"/>
                      <a:pt x="7144" y="103537"/>
                    </a:cubicBezTo>
                    <a:lnTo>
                      <a:pt x="25908" y="103537"/>
                    </a:lnTo>
                    <a:lnTo>
                      <a:pt x="25908" y="66104"/>
                    </a:lnTo>
                    <a:lnTo>
                      <a:pt x="7144" y="66104"/>
                    </a:lnTo>
                    <a:cubicBezTo>
                      <a:pt x="3239" y="66104"/>
                      <a:pt x="0" y="62865"/>
                      <a:pt x="0" y="58960"/>
                    </a:cubicBezTo>
                    <a:lnTo>
                      <a:pt x="0" y="7144"/>
                    </a:lnTo>
                    <a:cubicBezTo>
                      <a:pt x="0" y="3239"/>
                      <a:pt x="3239" y="0"/>
                      <a:pt x="7144" y="0"/>
                    </a:cubicBezTo>
                    <a:lnTo>
                      <a:pt x="110681" y="0"/>
                    </a:lnTo>
                    <a:cubicBezTo>
                      <a:pt x="114586" y="0"/>
                      <a:pt x="117824" y="3239"/>
                      <a:pt x="117824" y="7144"/>
                    </a:cubicBezTo>
                    <a:lnTo>
                      <a:pt x="117824" y="58865"/>
                    </a:lnTo>
                    <a:cubicBezTo>
                      <a:pt x="117824" y="62770"/>
                      <a:pt x="114586" y="66008"/>
                      <a:pt x="110681" y="66008"/>
                    </a:cubicBezTo>
                    <a:lnTo>
                      <a:pt x="91916" y="66008"/>
                    </a:lnTo>
                    <a:lnTo>
                      <a:pt x="91916" y="103442"/>
                    </a:lnTo>
                    <a:lnTo>
                      <a:pt x="110681" y="103442"/>
                    </a:lnTo>
                    <a:cubicBezTo>
                      <a:pt x="114586" y="103442"/>
                      <a:pt x="117824" y="106680"/>
                      <a:pt x="117824" y="110585"/>
                    </a:cubicBezTo>
                    <a:lnTo>
                      <a:pt x="117824" y="395192"/>
                    </a:lnTo>
                    <a:cubicBezTo>
                      <a:pt x="117824" y="399098"/>
                      <a:pt x="114586" y="402336"/>
                      <a:pt x="110681" y="402336"/>
                    </a:cubicBezTo>
                    <a:lnTo>
                      <a:pt x="91916" y="402336"/>
                    </a:lnTo>
                    <a:lnTo>
                      <a:pt x="91916" y="524542"/>
                    </a:lnTo>
                    <a:cubicBezTo>
                      <a:pt x="91916" y="528447"/>
                      <a:pt x="88678" y="531686"/>
                      <a:pt x="84773" y="531686"/>
                    </a:cubicBezTo>
                    <a:close/>
                    <a:moveTo>
                      <a:pt x="40196" y="517589"/>
                    </a:moveTo>
                    <a:lnTo>
                      <a:pt x="77629" y="517589"/>
                    </a:lnTo>
                    <a:lnTo>
                      <a:pt x="77629" y="395383"/>
                    </a:lnTo>
                    <a:cubicBezTo>
                      <a:pt x="77629" y="391478"/>
                      <a:pt x="80867" y="388239"/>
                      <a:pt x="84773" y="388239"/>
                    </a:cubicBezTo>
                    <a:lnTo>
                      <a:pt x="103537" y="388239"/>
                    </a:lnTo>
                    <a:lnTo>
                      <a:pt x="103537" y="117824"/>
                    </a:lnTo>
                    <a:lnTo>
                      <a:pt x="84773" y="117824"/>
                    </a:lnTo>
                    <a:cubicBezTo>
                      <a:pt x="80867" y="117824"/>
                      <a:pt x="77629" y="114586"/>
                      <a:pt x="77629" y="110681"/>
                    </a:cubicBezTo>
                    <a:lnTo>
                      <a:pt x="77629" y="58960"/>
                    </a:lnTo>
                    <a:cubicBezTo>
                      <a:pt x="77629" y="55055"/>
                      <a:pt x="80867" y="51816"/>
                      <a:pt x="84773" y="51816"/>
                    </a:cubicBezTo>
                    <a:lnTo>
                      <a:pt x="103537" y="51816"/>
                    </a:lnTo>
                    <a:lnTo>
                      <a:pt x="103537" y="14288"/>
                    </a:lnTo>
                    <a:lnTo>
                      <a:pt x="14288" y="14288"/>
                    </a:lnTo>
                    <a:lnTo>
                      <a:pt x="14288" y="51721"/>
                    </a:lnTo>
                    <a:lnTo>
                      <a:pt x="33052" y="51721"/>
                    </a:lnTo>
                    <a:cubicBezTo>
                      <a:pt x="36957" y="51721"/>
                      <a:pt x="40196" y="54959"/>
                      <a:pt x="40196" y="58865"/>
                    </a:cubicBezTo>
                    <a:lnTo>
                      <a:pt x="40196" y="110585"/>
                    </a:lnTo>
                    <a:cubicBezTo>
                      <a:pt x="40196" y="114491"/>
                      <a:pt x="36957" y="117729"/>
                      <a:pt x="33052" y="117729"/>
                    </a:cubicBezTo>
                    <a:lnTo>
                      <a:pt x="14288" y="117729"/>
                    </a:lnTo>
                    <a:lnTo>
                      <a:pt x="14288" y="388049"/>
                    </a:lnTo>
                    <a:lnTo>
                      <a:pt x="33052" y="388049"/>
                    </a:lnTo>
                    <a:cubicBezTo>
                      <a:pt x="36957" y="388049"/>
                      <a:pt x="40196" y="391287"/>
                      <a:pt x="40196" y="395192"/>
                    </a:cubicBezTo>
                    <a:lnTo>
                      <a:pt x="40196" y="517398"/>
                    </a:lnTo>
                    <a:close/>
                  </a:path>
                </a:pathLst>
              </a:custGeom>
              <a:solidFill>
                <a:srgbClr val="FFFFFF"/>
              </a:solidFill>
              <a:ln w="9525" cap="flat">
                <a:noFill/>
                <a:prstDash val="solid"/>
                <a:miter/>
              </a:ln>
            </p:spPr>
            <p:txBody>
              <a:bodyPr rtlCol="0" anchor="ctr"/>
              <a:lstStyle/>
              <a:p>
                <a:endParaRPr lang="en-DK"/>
              </a:p>
            </p:txBody>
          </p:sp>
        </p:grpSp>
        <p:sp>
          <p:nvSpPr>
            <p:cNvPr id="30" name="Freeform 29">
              <a:extLst>
                <a:ext uri="{FF2B5EF4-FFF2-40B4-BE49-F238E27FC236}">
                  <a16:creationId xmlns:a16="http://schemas.microsoft.com/office/drawing/2014/main" id="{C76E85B3-CEE0-58DB-48CD-151F7784BAD1}"/>
                </a:ext>
              </a:extLst>
            </p:cNvPr>
            <p:cNvSpPr/>
            <p:nvPr/>
          </p:nvSpPr>
          <p:spPr>
            <a:xfrm>
              <a:off x="9010812" y="2672849"/>
              <a:ext cx="247173" cy="14287"/>
            </a:xfrm>
            <a:custGeom>
              <a:avLst/>
              <a:gdLst>
                <a:gd name="connsiteX0" fmla="*/ 240125 w 247173"/>
                <a:gd name="connsiteY0" fmla="*/ 14288 h 14287"/>
                <a:gd name="connsiteX1" fmla="*/ 7144 w 247173"/>
                <a:gd name="connsiteY1" fmla="*/ 14288 h 14287"/>
                <a:gd name="connsiteX2" fmla="*/ 0 w 247173"/>
                <a:gd name="connsiteY2" fmla="*/ 7144 h 14287"/>
                <a:gd name="connsiteX3" fmla="*/ 7144 w 247173"/>
                <a:gd name="connsiteY3" fmla="*/ 0 h 14287"/>
                <a:gd name="connsiteX4" fmla="*/ 240030 w 247173"/>
                <a:gd name="connsiteY4" fmla="*/ 0 h 14287"/>
                <a:gd name="connsiteX5" fmla="*/ 247174 w 247173"/>
                <a:gd name="connsiteY5" fmla="*/ 7144 h 14287"/>
                <a:gd name="connsiteX6" fmla="*/ 240030 w 24717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173" h="14287">
                  <a:moveTo>
                    <a:pt x="240125" y="14288"/>
                  </a:moveTo>
                  <a:lnTo>
                    <a:pt x="7144" y="14288"/>
                  </a:lnTo>
                  <a:cubicBezTo>
                    <a:pt x="3239" y="14288"/>
                    <a:pt x="0" y="11049"/>
                    <a:pt x="0" y="7144"/>
                  </a:cubicBezTo>
                  <a:cubicBezTo>
                    <a:pt x="0" y="3239"/>
                    <a:pt x="3239" y="0"/>
                    <a:pt x="7144" y="0"/>
                  </a:cubicBezTo>
                  <a:lnTo>
                    <a:pt x="240030" y="0"/>
                  </a:lnTo>
                  <a:cubicBezTo>
                    <a:pt x="243935" y="0"/>
                    <a:pt x="247174" y="3239"/>
                    <a:pt x="247174" y="7144"/>
                  </a:cubicBezTo>
                  <a:cubicBezTo>
                    <a:pt x="247174" y="11049"/>
                    <a:pt x="243935" y="14288"/>
                    <a:pt x="240030" y="14288"/>
                  </a:cubicBezTo>
                  <a:close/>
                </a:path>
              </a:pathLst>
            </a:custGeom>
            <a:solidFill>
              <a:srgbClr val="FFFFFF"/>
            </a:solidFill>
            <a:ln w="9525" cap="flat">
              <a:noFill/>
              <a:prstDash val="solid"/>
              <a:miter/>
            </a:ln>
          </p:spPr>
          <p:txBody>
            <a:bodyPr rtlCol="0" anchor="ctr"/>
            <a:lstStyle/>
            <a:p>
              <a:endParaRPr lang="en-DK"/>
            </a:p>
          </p:txBody>
        </p:sp>
        <p:grpSp>
          <p:nvGrpSpPr>
            <p:cNvPr id="34" name="Graphic 17">
              <a:extLst>
                <a:ext uri="{FF2B5EF4-FFF2-40B4-BE49-F238E27FC236}">
                  <a16:creationId xmlns:a16="http://schemas.microsoft.com/office/drawing/2014/main" id="{D28604CB-F2AC-2263-9F30-3FEF2C5DA59E}"/>
                </a:ext>
              </a:extLst>
            </p:cNvPr>
            <p:cNvGrpSpPr/>
            <p:nvPr/>
          </p:nvGrpSpPr>
          <p:grpSpPr>
            <a:xfrm>
              <a:off x="9062628" y="2750477"/>
              <a:ext cx="117824" cy="66008"/>
              <a:chOff x="9062628" y="2750477"/>
              <a:chExt cx="117824" cy="66008"/>
            </a:xfrm>
          </p:grpSpPr>
          <p:sp>
            <p:nvSpPr>
              <p:cNvPr id="40" name="Freeform 39">
                <a:extLst>
                  <a:ext uri="{FF2B5EF4-FFF2-40B4-BE49-F238E27FC236}">
                    <a16:creationId xmlns:a16="http://schemas.microsoft.com/office/drawing/2014/main" id="{C691CD2B-B5F1-7C16-24DD-18EAF1F1D7A2}"/>
                  </a:ext>
                </a:extLst>
              </p:cNvPr>
              <p:cNvSpPr/>
              <p:nvPr/>
            </p:nvSpPr>
            <p:spPr>
              <a:xfrm>
                <a:off x="9069772" y="2757621"/>
                <a:ext cx="103536" cy="51720"/>
              </a:xfrm>
              <a:custGeom>
                <a:avLst/>
                <a:gdLst>
                  <a:gd name="connsiteX0" fmla="*/ 0 w 103536"/>
                  <a:gd name="connsiteY0" fmla="*/ 0 h 51720"/>
                  <a:gd name="connsiteX1" fmla="*/ 103537 w 103536"/>
                  <a:gd name="connsiteY1" fmla="*/ 0 h 51720"/>
                  <a:gd name="connsiteX2" fmla="*/ 103537 w 103536"/>
                  <a:gd name="connsiteY2" fmla="*/ 51721 h 51720"/>
                  <a:gd name="connsiteX3" fmla="*/ 0 w 103536"/>
                  <a:gd name="connsiteY3" fmla="*/ 51721 h 51720"/>
                </a:gdLst>
                <a:ahLst/>
                <a:cxnLst>
                  <a:cxn ang="0">
                    <a:pos x="connsiteX0" y="connsiteY0"/>
                  </a:cxn>
                  <a:cxn ang="0">
                    <a:pos x="connsiteX1" y="connsiteY1"/>
                  </a:cxn>
                  <a:cxn ang="0">
                    <a:pos x="connsiteX2" y="connsiteY2"/>
                  </a:cxn>
                  <a:cxn ang="0">
                    <a:pos x="connsiteX3" y="connsiteY3"/>
                  </a:cxn>
                </a:cxnLst>
                <a:rect l="l" t="t" r="r" b="b"/>
                <a:pathLst>
                  <a:path w="103536" h="51720">
                    <a:moveTo>
                      <a:pt x="0" y="0"/>
                    </a:moveTo>
                    <a:lnTo>
                      <a:pt x="103537" y="0"/>
                    </a:lnTo>
                    <a:lnTo>
                      <a:pt x="103537" y="51721"/>
                    </a:lnTo>
                    <a:lnTo>
                      <a:pt x="0" y="51721"/>
                    </a:lnTo>
                    <a:close/>
                  </a:path>
                </a:pathLst>
              </a:custGeom>
              <a:solidFill>
                <a:srgbClr val="2878FF">
                  <a:alpha val="50132"/>
                </a:srgbClr>
              </a:solidFill>
              <a:ln w="9525" cap="flat">
                <a:noFill/>
                <a:prstDash val="solid"/>
                <a:miter/>
              </a:ln>
            </p:spPr>
            <p:txBody>
              <a:bodyPr rtlCol="0" anchor="ctr"/>
              <a:lstStyle/>
              <a:p>
                <a:endParaRPr lang="en-DK"/>
              </a:p>
            </p:txBody>
          </p:sp>
          <p:sp>
            <p:nvSpPr>
              <p:cNvPr id="41" name="Freeform 40">
                <a:extLst>
                  <a:ext uri="{FF2B5EF4-FFF2-40B4-BE49-F238E27FC236}">
                    <a16:creationId xmlns:a16="http://schemas.microsoft.com/office/drawing/2014/main" id="{13ECFD96-6435-7A04-34FD-2E65E2BCB348}"/>
                  </a:ext>
                </a:extLst>
              </p:cNvPr>
              <p:cNvSpPr/>
              <p:nvPr/>
            </p:nvSpPr>
            <p:spPr>
              <a:xfrm>
                <a:off x="9062628" y="2750477"/>
                <a:ext cx="117824" cy="66008"/>
              </a:xfrm>
              <a:custGeom>
                <a:avLst/>
                <a:gdLst>
                  <a:gd name="connsiteX0" fmla="*/ 110681 w 117824"/>
                  <a:gd name="connsiteY0" fmla="*/ 66008 h 66008"/>
                  <a:gd name="connsiteX1" fmla="*/ 7144 w 117824"/>
                  <a:gd name="connsiteY1" fmla="*/ 66008 h 66008"/>
                  <a:gd name="connsiteX2" fmla="*/ 0 w 117824"/>
                  <a:gd name="connsiteY2" fmla="*/ 58865 h 66008"/>
                  <a:gd name="connsiteX3" fmla="*/ 0 w 117824"/>
                  <a:gd name="connsiteY3" fmla="*/ 7144 h 66008"/>
                  <a:gd name="connsiteX4" fmla="*/ 7144 w 117824"/>
                  <a:gd name="connsiteY4" fmla="*/ 0 h 66008"/>
                  <a:gd name="connsiteX5" fmla="*/ 110681 w 117824"/>
                  <a:gd name="connsiteY5" fmla="*/ 0 h 66008"/>
                  <a:gd name="connsiteX6" fmla="*/ 117824 w 117824"/>
                  <a:gd name="connsiteY6" fmla="*/ 7144 h 66008"/>
                  <a:gd name="connsiteX7" fmla="*/ 117824 w 117824"/>
                  <a:gd name="connsiteY7" fmla="*/ 58865 h 66008"/>
                  <a:gd name="connsiteX8" fmla="*/ 110681 w 117824"/>
                  <a:gd name="connsiteY8" fmla="*/ 66008 h 66008"/>
                  <a:gd name="connsiteX9" fmla="*/ 14288 w 117824"/>
                  <a:gd name="connsiteY9" fmla="*/ 51721 h 66008"/>
                  <a:gd name="connsiteX10" fmla="*/ 103537 w 117824"/>
                  <a:gd name="connsiteY10" fmla="*/ 51721 h 66008"/>
                  <a:gd name="connsiteX11" fmla="*/ 103537 w 117824"/>
                  <a:gd name="connsiteY11" fmla="*/ 14288 h 66008"/>
                  <a:gd name="connsiteX12" fmla="*/ 14288 w 117824"/>
                  <a:gd name="connsiteY12" fmla="*/ 14288 h 66008"/>
                  <a:gd name="connsiteX13" fmla="*/ 14288 w 117824"/>
                  <a:gd name="connsiteY13" fmla="*/ 51721 h 66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824" h="66008">
                    <a:moveTo>
                      <a:pt x="110681" y="66008"/>
                    </a:moveTo>
                    <a:lnTo>
                      <a:pt x="7144" y="66008"/>
                    </a:lnTo>
                    <a:cubicBezTo>
                      <a:pt x="3239" y="66008"/>
                      <a:pt x="0" y="62770"/>
                      <a:pt x="0" y="58865"/>
                    </a:cubicBezTo>
                    <a:lnTo>
                      <a:pt x="0" y="7144"/>
                    </a:lnTo>
                    <a:cubicBezTo>
                      <a:pt x="0" y="3239"/>
                      <a:pt x="3239" y="0"/>
                      <a:pt x="7144" y="0"/>
                    </a:cubicBezTo>
                    <a:lnTo>
                      <a:pt x="110681" y="0"/>
                    </a:lnTo>
                    <a:cubicBezTo>
                      <a:pt x="114586" y="0"/>
                      <a:pt x="117824" y="3239"/>
                      <a:pt x="117824" y="7144"/>
                    </a:cubicBezTo>
                    <a:lnTo>
                      <a:pt x="117824" y="58865"/>
                    </a:lnTo>
                    <a:cubicBezTo>
                      <a:pt x="117824" y="62770"/>
                      <a:pt x="114586" y="66008"/>
                      <a:pt x="110681" y="66008"/>
                    </a:cubicBezTo>
                    <a:close/>
                    <a:moveTo>
                      <a:pt x="14288" y="51721"/>
                    </a:moveTo>
                    <a:lnTo>
                      <a:pt x="103537" y="51721"/>
                    </a:lnTo>
                    <a:lnTo>
                      <a:pt x="103537" y="14288"/>
                    </a:lnTo>
                    <a:lnTo>
                      <a:pt x="14288" y="14288"/>
                    </a:lnTo>
                    <a:lnTo>
                      <a:pt x="14288" y="51721"/>
                    </a:lnTo>
                    <a:close/>
                  </a:path>
                </a:pathLst>
              </a:custGeom>
              <a:solidFill>
                <a:srgbClr val="FFFFFF"/>
              </a:solidFill>
              <a:ln w="9525" cap="flat">
                <a:noFill/>
                <a:prstDash val="solid"/>
                <a:miter/>
              </a:ln>
            </p:spPr>
            <p:txBody>
              <a:bodyPr rtlCol="0" anchor="ctr"/>
              <a:lstStyle/>
              <a:p>
                <a:endParaRPr lang="en-DK"/>
              </a:p>
            </p:txBody>
          </p:sp>
        </p:grpSp>
        <p:grpSp>
          <p:nvGrpSpPr>
            <p:cNvPr id="36" name="Graphic 17">
              <a:extLst>
                <a:ext uri="{FF2B5EF4-FFF2-40B4-BE49-F238E27FC236}">
                  <a16:creationId xmlns:a16="http://schemas.microsoft.com/office/drawing/2014/main" id="{B658D06C-D430-53F8-D2EB-EF50AB70E57F}"/>
                </a:ext>
              </a:extLst>
            </p:cNvPr>
            <p:cNvGrpSpPr/>
            <p:nvPr/>
          </p:nvGrpSpPr>
          <p:grpSpPr>
            <a:xfrm>
              <a:off x="9191978" y="2207076"/>
              <a:ext cx="143636" cy="143637"/>
              <a:chOff x="9191978" y="2207076"/>
              <a:chExt cx="143636" cy="143637"/>
            </a:xfrm>
          </p:grpSpPr>
          <p:sp>
            <p:nvSpPr>
              <p:cNvPr id="38" name="Freeform 37">
                <a:extLst>
                  <a:ext uri="{FF2B5EF4-FFF2-40B4-BE49-F238E27FC236}">
                    <a16:creationId xmlns:a16="http://schemas.microsoft.com/office/drawing/2014/main" id="{B77317A3-05DF-D87A-FF12-888E47CB8953}"/>
                  </a:ext>
                </a:extLst>
              </p:cNvPr>
              <p:cNvSpPr/>
              <p:nvPr/>
            </p:nvSpPr>
            <p:spPr>
              <a:xfrm>
                <a:off x="9199122" y="2214220"/>
                <a:ext cx="129349" cy="129349"/>
              </a:xfrm>
              <a:custGeom>
                <a:avLst/>
                <a:gdLst>
                  <a:gd name="connsiteX0" fmla="*/ 129349 w 129349"/>
                  <a:gd name="connsiteY0" fmla="*/ 64675 h 129349"/>
                  <a:gd name="connsiteX1" fmla="*/ 64675 w 129349"/>
                  <a:gd name="connsiteY1" fmla="*/ 129350 h 129349"/>
                  <a:gd name="connsiteX2" fmla="*/ 0 w 129349"/>
                  <a:gd name="connsiteY2" fmla="*/ 64675 h 129349"/>
                  <a:gd name="connsiteX3" fmla="*/ 64675 w 129349"/>
                  <a:gd name="connsiteY3" fmla="*/ 0 h 129349"/>
                  <a:gd name="connsiteX4" fmla="*/ 129349 w 129349"/>
                  <a:gd name="connsiteY4" fmla="*/ 64675 h 129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349" h="129349">
                    <a:moveTo>
                      <a:pt x="129349" y="64675"/>
                    </a:moveTo>
                    <a:cubicBezTo>
                      <a:pt x="129349" y="100394"/>
                      <a:pt x="100394" y="129350"/>
                      <a:pt x="64675" y="129350"/>
                    </a:cubicBezTo>
                    <a:cubicBezTo>
                      <a:pt x="28956" y="129350"/>
                      <a:pt x="0" y="100394"/>
                      <a:pt x="0" y="64675"/>
                    </a:cubicBezTo>
                    <a:cubicBezTo>
                      <a:pt x="0" y="28956"/>
                      <a:pt x="28956" y="0"/>
                      <a:pt x="64675" y="0"/>
                    </a:cubicBezTo>
                    <a:cubicBezTo>
                      <a:pt x="100394" y="0"/>
                      <a:pt x="129349" y="28956"/>
                      <a:pt x="129349" y="64675"/>
                    </a:cubicBezTo>
                    <a:close/>
                  </a:path>
                </a:pathLst>
              </a:custGeom>
              <a:solidFill>
                <a:srgbClr val="2878FF">
                  <a:alpha val="50259"/>
                </a:srgbClr>
              </a:solidFill>
              <a:ln w="9525" cap="flat">
                <a:noFill/>
                <a:prstDash val="solid"/>
                <a:miter/>
              </a:ln>
            </p:spPr>
            <p:txBody>
              <a:bodyPr rtlCol="0" anchor="ctr"/>
              <a:lstStyle/>
              <a:p>
                <a:endParaRPr lang="en-DK"/>
              </a:p>
            </p:txBody>
          </p:sp>
          <p:sp>
            <p:nvSpPr>
              <p:cNvPr id="39" name="Freeform 38">
                <a:extLst>
                  <a:ext uri="{FF2B5EF4-FFF2-40B4-BE49-F238E27FC236}">
                    <a16:creationId xmlns:a16="http://schemas.microsoft.com/office/drawing/2014/main" id="{A01BE31B-4E48-3D2B-E482-76D00798F551}"/>
                  </a:ext>
                </a:extLst>
              </p:cNvPr>
              <p:cNvSpPr/>
              <p:nvPr/>
            </p:nvSpPr>
            <p:spPr>
              <a:xfrm>
                <a:off x="9191978" y="2207076"/>
                <a:ext cx="143636" cy="143637"/>
              </a:xfrm>
              <a:custGeom>
                <a:avLst/>
                <a:gdLst>
                  <a:gd name="connsiteX0" fmla="*/ 71818 w 143636"/>
                  <a:gd name="connsiteY0" fmla="*/ 143637 h 143637"/>
                  <a:gd name="connsiteX1" fmla="*/ 0 w 143636"/>
                  <a:gd name="connsiteY1" fmla="*/ 71819 h 143637"/>
                  <a:gd name="connsiteX2" fmla="*/ 71818 w 143636"/>
                  <a:gd name="connsiteY2" fmla="*/ 0 h 143637"/>
                  <a:gd name="connsiteX3" fmla="*/ 143637 w 143636"/>
                  <a:gd name="connsiteY3" fmla="*/ 71819 h 143637"/>
                  <a:gd name="connsiteX4" fmla="*/ 71818 w 143636"/>
                  <a:gd name="connsiteY4" fmla="*/ 143637 h 143637"/>
                  <a:gd name="connsiteX5" fmla="*/ 71818 w 143636"/>
                  <a:gd name="connsiteY5" fmla="*/ 14288 h 143637"/>
                  <a:gd name="connsiteX6" fmla="*/ 14288 w 143636"/>
                  <a:gd name="connsiteY6" fmla="*/ 71819 h 143637"/>
                  <a:gd name="connsiteX7" fmla="*/ 71818 w 143636"/>
                  <a:gd name="connsiteY7" fmla="*/ 129350 h 143637"/>
                  <a:gd name="connsiteX8" fmla="*/ 129349 w 143636"/>
                  <a:gd name="connsiteY8" fmla="*/ 71819 h 143637"/>
                  <a:gd name="connsiteX9" fmla="*/ 71818 w 143636"/>
                  <a:gd name="connsiteY9" fmla="*/ 14288 h 14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636" h="143637">
                    <a:moveTo>
                      <a:pt x="71818" y="143637"/>
                    </a:moveTo>
                    <a:cubicBezTo>
                      <a:pt x="32194" y="143637"/>
                      <a:pt x="0" y="111443"/>
                      <a:pt x="0" y="71819"/>
                    </a:cubicBezTo>
                    <a:cubicBezTo>
                      <a:pt x="0" y="32195"/>
                      <a:pt x="32194" y="0"/>
                      <a:pt x="71818" y="0"/>
                    </a:cubicBezTo>
                    <a:cubicBezTo>
                      <a:pt x="111443" y="0"/>
                      <a:pt x="143637" y="32195"/>
                      <a:pt x="143637" y="71819"/>
                    </a:cubicBezTo>
                    <a:cubicBezTo>
                      <a:pt x="143637" y="111443"/>
                      <a:pt x="111443" y="143637"/>
                      <a:pt x="71818" y="143637"/>
                    </a:cubicBezTo>
                    <a:close/>
                    <a:moveTo>
                      <a:pt x="71818" y="14288"/>
                    </a:moveTo>
                    <a:cubicBezTo>
                      <a:pt x="40100" y="14288"/>
                      <a:pt x="14288" y="40100"/>
                      <a:pt x="14288" y="71819"/>
                    </a:cubicBezTo>
                    <a:cubicBezTo>
                      <a:pt x="14288" y="103537"/>
                      <a:pt x="40100" y="129350"/>
                      <a:pt x="71818" y="129350"/>
                    </a:cubicBezTo>
                    <a:cubicBezTo>
                      <a:pt x="103537" y="129350"/>
                      <a:pt x="129349" y="103537"/>
                      <a:pt x="129349" y="71819"/>
                    </a:cubicBezTo>
                    <a:cubicBezTo>
                      <a:pt x="129349" y="40100"/>
                      <a:pt x="103537" y="14288"/>
                      <a:pt x="71818" y="14288"/>
                    </a:cubicBezTo>
                    <a:close/>
                  </a:path>
                </a:pathLst>
              </a:custGeom>
              <a:solidFill>
                <a:srgbClr val="FFFFFF"/>
              </a:solidFill>
              <a:ln w="9525" cap="flat">
                <a:noFill/>
                <a:prstDash val="solid"/>
                <a:miter/>
              </a:ln>
            </p:spPr>
            <p:txBody>
              <a:bodyPr rtlCol="0" anchor="ctr"/>
              <a:lstStyle/>
              <a:p>
                <a:endParaRPr lang="en-DK"/>
              </a:p>
            </p:txBody>
          </p:sp>
        </p:grpSp>
        <p:sp>
          <p:nvSpPr>
            <p:cNvPr id="37" name="Freeform 36">
              <a:extLst>
                <a:ext uri="{FF2B5EF4-FFF2-40B4-BE49-F238E27FC236}">
                  <a16:creationId xmlns:a16="http://schemas.microsoft.com/office/drawing/2014/main" id="{E724BDB2-0E1D-D185-254B-714BA7A92C07}"/>
                </a:ext>
              </a:extLst>
            </p:cNvPr>
            <p:cNvSpPr/>
            <p:nvPr/>
          </p:nvSpPr>
          <p:spPr>
            <a:xfrm>
              <a:off x="8959092" y="2235672"/>
              <a:ext cx="609504" cy="632630"/>
            </a:xfrm>
            <a:custGeom>
              <a:avLst/>
              <a:gdLst>
                <a:gd name="connsiteX0" fmla="*/ 602361 w 609504"/>
                <a:gd name="connsiteY0" fmla="*/ 632630 h 632630"/>
                <a:gd name="connsiteX1" fmla="*/ 7144 w 609504"/>
                <a:gd name="connsiteY1" fmla="*/ 632630 h 632630"/>
                <a:gd name="connsiteX2" fmla="*/ 0 w 609504"/>
                <a:gd name="connsiteY2" fmla="*/ 625486 h 632630"/>
                <a:gd name="connsiteX3" fmla="*/ 0 w 609504"/>
                <a:gd name="connsiteY3" fmla="*/ 599578 h 632630"/>
                <a:gd name="connsiteX4" fmla="*/ 33052 w 609504"/>
                <a:gd name="connsiteY4" fmla="*/ 566527 h 632630"/>
                <a:gd name="connsiteX5" fmla="*/ 310610 w 609504"/>
                <a:gd name="connsiteY5" fmla="*/ 566527 h 632630"/>
                <a:gd name="connsiteX6" fmla="*/ 310610 w 609504"/>
                <a:gd name="connsiteY6" fmla="*/ 496042 h 632630"/>
                <a:gd name="connsiteX7" fmla="*/ 317754 w 609504"/>
                <a:gd name="connsiteY7" fmla="*/ 488898 h 632630"/>
                <a:gd name="connsiteX8" fmla="*/ 517589 w 609504"/>
                <a:gd name="connsiteY8" fmla="*/ 289063 h 632630"/>
                <a:gd name="connsiteX9" fmla="*/ 352711 w 609504"/>
                <a:gd name="connsiteY9" fmla="*/ 92277 h 632630"/>
                <a:gd name="connsiteX10" fmla="*/ 346900 w 609504"/>
                <a:gd name="connsiteY10" fmla="*/ 83990 h 632630"/>
                <a:gd name="connsiteX11" fmla="*/ 355187 w 609504"/>
                <a:gd name="connsiteY11" fmla="*/ 78180 h 632630"/>
                <a:gd name="connsiteX12" fmla="*/ 531876 w 609504"/>
                <a:gd name="connsiteY12" fmla="*/ 289063 h 632630"/>
                <a:gd name="connsiteX13" fmla="*/ 324898 w 609504"/>
                <a:gd name="connsiteY13" fmla="*/ 503090 h 632630"/>
                <a:gd name="connsiteX14" fmla="*/ 324898 w 609504"/>
                <a:gd name="connsiteY14" fmla="*/ 573670 h 632630"/>
                <a:gd name="connsiteX15" fmla="*/ 317754 w 609504"/>
                <a:gd name="connsiteY15" fmla="*/ 580814 h 632630"/>
                <a:gd name="connsiteX16" fmla="*/ 33052 w 609504"/>
                <a:gd name="connsiteY16" fmla="*/ 580814 h 632630"/>
                <a:gd name="connsiteX17" fmla="*/ 14288 w 609504"/>
                <a:gd name="connsiteY17" fmla="*/ 599578 h 632630"/>
                <a:gd name="connsiteX18" fmla="*/ 14288 w 609504"/>
                <a:gd name="connsiteY18" fmla="*/ 618343 h 632630"/>
                <a:gd name="connsiteX19" fmla="*/ 595217 w 609504"/>
                <a:gd name="connsiteY19" fmla="*/ 618343 h 632630"/>
                <a:gd name="connsiteX20" fmla="*/ 595217 w 609504"/>
                <a:gd name="connsiteY20" fmla="*/ 599578 h 632630"/>
                <a:gd name="connsiteX21" fmla="*/ 576453 w 609504"/>
                <a:gd name="connsiteY21" fmla="*/ 580814 h 632630"/>
                <a:gd name="connsiteX22" fmla="*/ 511778 w 609504"/>
                <a:gd name="connsiteY22" fmla="*/ 580814 h 632630"/>
                <a:gd name="connsiteX23" fmla="*/ 504635 w 609504"/>
                <a:gd name="connsiteY23" fmla="*/ 573670 h 632630"/>
                <a:gd name="connsiteX24" fmla="*/ 504635 w 609504"/>
                <a:gd name="connsiteY24" fmla="*/ 496804 h 632630"/>
                <a:gd name="connsiteX25" fmla="*/ 506921 w 609504"/>
                <a:gd name="connsiteY25" fmla="*/ 491565 h 632630"/>
                <a:gd name="connsiteX26" fmla="*/ 595217 w 609504"/>
                <a:gd name="connsiteY26" fmla="*/ 288968 h 632630"/>
                <a:gd name="connsiteX27" fmla="*/ 357569 w 609504"/>
                <a:gd name="connsiteY27" fmla="*/ 14267 h 632630"/>
                <a:gd name="connsiteX28" fmla="*/ 351473 w 609504"/>
                <a:gd name="connsiteY28" fmla="*/ 6171 h 632630"/>
                <a:gd name="connsiteX29" fmla="*/ 359569 w 609504"/>
                <a:gd name="connsiteY29" fmla="*/ 75 h 632630"/>
                <a:gd name="connsiteX30" fmla="*/ 609505 w 609504"/>
                <a:gd name="connsiteY30" fmla="*/ 288873 h 632630"/>
                <a:gd name="connsiteX31" fmla="*/ 518922 w 609504"/>
                <a:gd name="connsiteY31" fmla="*/ 499756 h 632630"/>
                <a:gd name="connsiteX32" fmla="*/ 518922 w 609504"/>
                <a:gd name="connsiteY32" fmla="*/ 566336 h 632630"/>
                <a:gd name="connsiteX33" fmla="*/ 576453 w 609504"/>
                <a:gd name="connsiteY33" fmla="*/ 566336 h 632630"/>
                <a:gd name="connsiteX34" fmla="*/ 609505 w 609504"/>
                <a:gd name="connsiteY34" fmla="*/ 599388 h 632630"/>
                <a:gd name="connsiteX35" fmla="*/ 609505 w 609504"/>
                <a:gd name="connsiteY35" fmla="*/ 625296 h 632630"/>
                <a:gd name="connsiteX36" fmla="*/ 602361 w 609504"/>
                <a:gd name="connsiteY36" fmla="*/ 632440 h 63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9504" h="632630">
                  <a:moveTo>
                    <a:pt x="602361" y="632630"/>
                  </a:moveTo>
                  <a:lnTo>
                    <a:pt x="7144" y="632630"/>
                  </a:lnTo>
                  <a:cubicBezTo>
                    <a:pt x="3239" y="632630"/>
                    <a:pt x="0" y="629392"/>
                    <a:pt x="0" y="625486"/>
                  </a:cubicBezTo>
                  <a:lnTo>
                    <a:pt x="0" y="599578"/>
                  </a:lnTo>
                  <a:cubicBezTo>
                    <a:pt x="0" y="581386"/>
                    <a:pt x="14859" y="566527"/>
                    <a:pt x="33052" y="566527"/>
                  </a:cubicBezTo>
                  <a:lnTo>
                    <a:pt x="310610" y="566527"/>
                  </a:lnTo>
                  <a:lnTo>
                    <a:pt x="310610" y="496042"/>
                  </a:lnTo>
                  <a:cubicBezTo>
                    <a:pt x="310610" y="492136"/>
                    <a:pt x="313849" y="488898"/>
                    <a:pt x="317754" y="488898"/>
                  </a:cubicBezTo>
                  <a:cubicBezTo>
                    <a:pt x="427958" y="488898"/>
                    <a:pt x="517589" y="399268"/>
                    <a:pt x="517589" y="289063"/>
                  </a:cubicBezTo>
                  <a:cubicBezTo>
                    <a:pt x="517589" y="191908"/>
                    <a:pt x="448247" y="109136"/>
                    <a:pt x="352711" y="92277"/>
                  </a:cubicBezTo>
                  <a:cubicBezTo>
                    <a:pt x="348806" y="91610"/>
                    <a:pt x="346234" y="87895"/>
                    <a:pt x="346900" y="83990"/>
                  </a:cubicBezTo>
                  <a:cubicBezTo>
                    <a:pt x="347567" y="80085"/>
                    <a:pt x="351187" y="77513"/>
                    <a:pt x="355187" y="78180"/>
                  </a:cubicBezTo>
                  <a:cubicBezTo>
                    <a:pt x="457581" y="96277"/>
                    <a:pt x="531876" y="184955"/>
                    <a:pt x="531876" y="289063"/>
                  </a:cubicBezTo>
                  <a:cubicBezTo>
                    <a:pt x="531876" y="404792"/>
                    <a:pt x="439674" y="499280"/>
                    <a:pt x="324898" y="503090"/>
                  </a:cubicBezTo>
                  <a:lnTo>
                    <a:pt x="324898" y="573670"/>
                  </a:lnTo>
                  <a:cubicBezTo>
                    <a:pt x="324898" y="577576"/>
                    <a:pt x="321659" y="580814"/>
                    <a:pt x="317754" y="580814"/>
                  </a:cubicBezTo>
                  <a:lnTo>
                    <a:pt x="33052" y="580814"/>
                  </a:lnTo>
                  <a:cubicBezTo>
                    <a:pt x="22765" y="580814"/>
                    <a:pt x="14288" y="589196"/>
                    <a:pt x="14288" y="599578"/>
                  </a:cubicBezTo>
                  <a:lnTo>
                    <a:pt x="14288" y="618343"/>
                  </a:lnTo>
                  <a:lnTo>
                    <a:pt x="595217" y="618343"/>
                  </a:lnTo>
                  <a:lnTo>
                    <a:pt x="595217" y="599578"/>
                  </a:lnTo>
                  <a:cubicBezTo>
                    <a:pt x="595217" y="589291"/>
                    <a:pt x="586835" y="580814"/>
                    <a:pt x="576453" y="580814"/>
                  </a:cubicBezTo>
                  <a:lnTo>
                    <a:pt x="511778" y="580814"/>
                  </a:lnTo>
                  <a:cubicBezTo>
                    <a:pt x="507873" y="580814"/>
                    <a:pt x="504635" y="577576"/>
                    <a:pt x="504635" y="573670"/>
                  </a:cubicBezTo>
                  <a:lnTo>
                    <a:pt x="504635" y="496804"/>
                  </a:lnTo>
                  <a:cubicBezTo>
                    <a:pt x="504635" y="494803"/>
                    <a:pt x="505492" y="492898"/>
                    <a:pt x="506921" y="491565"/>
                  </a:cubicBezTo>
                  <a:cubicBezTo>
                    <a:pt x="563880" y="438320"/>
                    <a:pt x="595217" y="366406"/>
                    <a:pt x="595217" y="288968"/>
                  </a:cubicBezTo>
                  <a:cubicBezTo>
                    <a:pt x="595217" y="151903"/>
                    <a:pt x="493014" y="33793"/>
                    <a:pt x="357569" y="14267"/>
                  </a:cubicBezTo>
                  <a:cubicBezTo>
                    <a:pt x="353663" y="13696"/>
                    <a:pt x="350901" y="10076"/>
                    <a:pt x="351473" y="6171"/>
                  </a:cubicBezTo>
                  <a:cubicBezTo>
                    <a:pt x="352044" y="2266"/>
                    <a:pt x="355568" y="-497"/>
                    <a:pt x="359569" y="75"/>
                  </a:cubicBezTo>
                  <a:cubicBezTo>
                    <a:pt x="502063" y="20554"/>
                    <a:pt x="609505" y="144760"/>
                    <a:pt x="609505" y="288873"/>
                  </a:cubicBezTo>
                  <a:cubicBezTo>
                    <a:pt x="609505" y="369264"/>
                    <a:pt x="577406" y="444035"/>
                    <a:pt x="518922" y="499756"/>
                  </a:cubicBezTo>
                  <a:lnTo>
                    <a:pt x="518922" y="566336"/>
                  </a:lnTo>
                  <a:lnTo>
                    <a:pt x="576453" y="566336"/>
                  </a:lnTo>
                  <a:cubicBezTo>
                    <a:pt x="594646" y="566336"/>
                    <a:pt x="609505" y="581195"/>
                    <a:pt x="609505" y="599388"/>
                  </a:cubicBezTo>
                  <a:lnTo>
                    <a:pt x="609505" y="625296"/>
                  </a:lnTo>
                  <a:cubicBezTo>
                    <a:pt x="609505" y="629201"/>
                    <a:pt x="606266" y="632440"/>
                    <a:pt x="602361" y="632440"/>
                  </a:cubicBezTo>
                  <a:close/>
                </a:path>
              </a:pathLst>
            </a:custGeom>
            <a:solidFill>
              <a:srgbClr val="FFFFFF"/>
            </a:solidFill>
            <a:ln w="9525" cap="flat">
              <a:noFill/>
              <a:prstDash val="solid"/>
              <a:miter/>
            </a:ln>
          </p:spPr>
          <p:txBody>
            <a:bodyPr rtlCol="0" anchor="ctr"/>
            <a:lstStyle/>
            <a:p>
              <a:endParaRPr lang="en-DK"/>
            </a:p>
          </p:txBody>
        </p:sp>
      </p:grpSp>
      <p:sp>
        <p:nvSpPr>
          <p:cNvPr id="44" name="TextBox 43">
            <a:extLst>
              <a:ext uri="{FF2B5EF4-FFF2-40B4-BE49-F238E27FC236}">
                <a16:creationId xmlns:a16="http://schemas.microsoft.com/office/drawing/2014/main" id="{81A2C9E1-C7F5-D215-014B-AE328F2E89D6}"/>
              </a:ext>
            </a:extLst>
          </p:cNvPr>
          <p:cNvSpPr txBox="1"/>
          <p:nvPr/>
        </p:nvSpPr>
        <p:spPr>
          <a:xfrm>
            <a:off x="1368197" y="4559599"/>
            <a:ext cx="2293156" cy="553998"/>
          </a:xfrm>
          <a:prstGeom prst="rect">
            <a:avLst/>
          </a:prstGeom>
          <a:noFill/>
        </p:spPr>
        <p:txBody>
          <a:bodyPr wrap="square" rtlCol="0">
            <a:spAutoFit/>
          </a:bodyPr>
          <a:lstStyle/>
          <a:p>
            <a:pPr algn="ctr" defTabSz="914309">
              <a:defRPr/>
            </a:pPr>
            <a:r>
              <a:rPr lang="en-DK" sz="1600" b="1" kern="0">
                <a:solidFill>
                  <a:srgbClr val="FFFFFF"/>
                </a:solidFill>
                <a:latin typeface="Avenir Next LT Pro Demi" panose="020B0504020202020204" pitchFamily="34" charset="77"/>
              </a:rPr>
              <a:t>Gubra CRO</a:t>
            </a:r>
          </a:p>
          <a:p>
            <a:pPr algn="ctr" defTabSz="914309">
              <a:defRPr/>
            </a:pPr>
            <a:r>
              <a:rPr lang="en-DK" sz="1400" kern="0">
                <a:solidFill>
                  <a:srgbClr val="FFFFFF"/>
                </a:solidFill>
                <a:latin typeface="Avenir Next LT Pro"/>
              </a:rPr>
              <a:t>Our value enabler</a:t>
            </a:r>
            <a:endParaRPr lang="en-US" sz="1400" kern="0">
              <a:solidFill>
                <a:srgbClr val="FFFFFF"/>
              </a:solidFill>
              <a:latin typeface="Avenir Next LT Pro"/>
            </a:endParaRPr>
          </a:p>
        </p:txBody>
      </p:sp>
      <p:sp>
        <p:nvSpPr>
          <p:cNvPr id="45" name="TextBox 44">
            <a:extLst>
              <a:ext uri="{FF2B5EF4-FFF2-40B4-BE49-F238E27FC236}">
                <a16:creationId xmlns:a16="http://schemas.microsoft.com/office/drawing/2014/main" id="{12A2F1F8-B3E5-EDF6-B020-9ED994DC20A1}"/>
              </a:ext>
            </a:extLst>
          </p:cNvPr>
          <p:cNvSpPr txBox="1"/>
          <p:nvPr/>
        </p:nvSpPr>
        <p:spPr>
          <a:xfrm>
            <a:off x="3633816" y="4559599"/>
            <a:ext cx="2299851" cy="553998"/>
          </a:xfrm>
          <a:prstGeom prst="rect">
            <a:avLst/>
          </a:prstGeom>
          <a:noFill/>
        </p:spPr>
        <p:txBody>
          <a:bodyPr wrap="square" rtlCol="0">
            <a:spAutoFit/>
          </a:bodyPr>
          <a:lstStyle/>
          <a:p>
            <a:pPr algn="ctr" defTabSz="914309">
              <a:defRPr/>
            </a:pPr>
            <a:r>
              <a:rPr lang="en-DK" sz="1600" kern="0">
                <a:solidFill>
                  <a:srgbClr val="FFFFFF"/>
                </a:solidFill>
                <a:latin typeface="Avenir Next LT Pro Demi" panose="020B0504020202020204" pitchFamily="34" charset="77"/>
              </a:rPr>
              <a:t>Gubra Ventures</a:t>
            </a:r>
          </a:p>
          <a:p>
            <a:pPr algn="ctr" defTabSz="914309">
              <a:defRPr/>
            </a:pPr>
            <a:r>
              <a:rPr lang="en-DK" sz="1400" kern="0">
                <a:solidFill>
                  <a:srgbClr val="FFFFFF"/>
                </a:solidFill>
                <a:latin typeface="Avenir Next LT Pro"/>
              </a:rPr>
              <a:t>Our value accelerator</a:t>
            </a:r>
            <a:endParaRPr lang="en-US" sz="1400" kern="0">
              <a:solidFill>
                <a:srgbClr val="FFFFFF"/>
              </a:solidFill>
              <a:latin typeface="Avenir Next LT Pro"/>
            </a:endParaRPr>
          </a:p>
        </p:txBody>
      </p:sp>
      <p:sp>
        <p:nvSpPr>
          <p:cNvPr id="105" name="TextBox 104">
            <a:extLst>
              <a:ext uri="{FF2B5EF4-FFF2-40B4-BE49-F238E27FC236}">
                <a16:creationId xmlns:a16="http://schemas.microsoft.com/office/drawing/2014/main" id="{47F53F97-85A7-4D70-843A-9AF3AD852ECC}"/>
              </a:ext>
            </a:extLst>
          </p:cNvPr>
          <p:cNvSpPr txBox="1"/>
          <p:nvPr/>
        </p:nvSpPr>
        <p:spPr>
          <a:xfrm>
            <a:off x="2406200" y="2582101"/>
            <a:ext cx="2478677" cy="553998"/>
          </a:xfrm>
          <a:prstGeom prst="rect">
            <a:avLst/>
          </a:prstGeom>
          <a:noFill/>
        </p:spPr>
        <p:txBody>
          <a:bodyPr wrap="square" rtlCol="0">
            <a:spAutoFit/>
          </a:bodyPr>
          <a:lstStyle/>
          <a:p>
            <a:pPr algn="ctr" defTabSz="914309">
              <a:defRPr/>
            </a:pPr>
            <a:r>
              <a:rPr lang="en-DK" sz="1600" b="1" kern="0">
                <a:solidFill>
                  <a:srgbClr val="FFFFFF"/>
                </a:solidFill>
                <a:latin typeface="Avenir Next LT Pro Demi" panose="020B0504020202020204" pitchFamily="34" charset="77"/>
              </a:rPr>
              <a:t>Gubra Biotech</a:t>
            </a:r>
          </a:p>
          <a:p>
            <a:pPr algn="ctr" defTabSz="914309">
              <a:defRPr/>
            </a:pPr>
            <a:r>
              <a:rPr lang="en-DK" sz="1400" kern="0">
                <a:solidFill>
                  <a:srgbClr val="FFFFFF"/>
                </a:solidFill>
                <a:latin typeface="Avenir Next LT Pro"/>
              </a:rPr>
              <a:t>Our value driver</a:t>
            </a:r>
            <a:endParaRPr lang="en-US" sz="1400" kern="0">
              <a:solidFill>
                <a:srgbClr val="FFFFFF"/>
              </a:solidFill>
              <a:latin typeface="Avenir Next LT Pro"/>
            </a:endParaRPr>
          </a:p>
        </p:txBody>
      </p:sp>
      <p:grpSp>
        <p:nvGrpSpPr>
          <p:cNvPr id="108" name="Graphic 106">
            <a:extLst>
              <a:ext uri="{FF2B5EF4-FFF2-40B4-BE49-F238E27FC236}">
                <a16:creationId xmlns:a16="http://schemas.microsoft.com/office/drawing/2014/main" id="{13651E0F-E870-A7EC-4448-81735F60F95B}"/>
              </a:ext>
            </a:extLst>
          </p:cNvPr>
          <p:cNvGrpSpPr/>
          <p:nvPr/>
        </p:nvGrpSpPr>
        <p:grpSpPr>
          <a:xfrm>
            <a:off x="1934530" y="5944363"/>
            <a:ext cx="432597" cy="455550"/>
            <a:chOff x="1976294" y="5955072"/>
            <a:chExt cx="456200" cy="480405"/>
          </a:xfrm>
        </p:grpSpPr>
        <p:sp>
          <p:nvSpPr>
            <p:cNvPr id="109" name="Freeform 108">
              <a:extLst>
                <a:ext uri="{FF2B5EF4-FFF2-40B4-BE49-F238E27FC236}">
                  <a16:creationId xmlns:a16="http://schemas.microsoft.com/office/drawing/2014/main" id="{59741FE2-CCEA-D3BA-0B14-87EA77E2DCEE}"/>
                </a:ext>
              </a:extLst>
            </p:cNvPr>
            <p:cNvSpPr/>
            <p:nvPr/>
          </p:nvSpPr>
          <p:spPr>
            <a:xfrm>
              <a:off x="1984632" y="5961337"/>
              <a:ext cx="273258" cy="268468"/>
            </a:xfrm>
            <a:custGeom>
              <a:avLst/>
              <a:gdLst>
                <a:gd name="connsiteX0" fmla="*/ 116435 w 273258"/>
                <a:gd name="connsiteY0" fmla="*/ 267124 h 268468"/>
                <a:gd name="connsiteX1" fmla="*/ 60488 w 273258"/>
                <a:gd name="connsiteY1" fmla="*/ 250897 h 268468"/>
                <a:gd name="connsiteX2" fmla="*/ 25026 w 273258"/>
                <a:gd name="connsiteY2" fmla="*/ 214314 h 268468"/>
                <a:gd name="connsiteX3" fmla="*/ 3189 w 273258"/>
                <a:gd name="connsiteY3" fmla="*/ 176291 h 268468"/>
                <a:gd name="connsiteX4" fmla="*/ 0 w 273258"/>
                <a:gd name="connsiteY4" fmla="*/ 118487 h 268468"/>
                <a:gd name="connsiteX5" fmla="*/ 34592 w 273258"/>
                <a:gd name="connsiteY5" fmla="*/ 124824 h 268468"/>
                <a:gd name="connsiteX6" fmla="*/ 75562 w 273258"/>
                <a:gd name="connsiteY6" fmla="*/ 141820 h 268468"/>
                <a:gd name="connsiteX7" fmla="*/ 68701 w 273258"/>
                <a:gd name="connsiteY7" fmla="*/ 114262 h 268468"/>
                <a:gd name="connsiteX8" fmla="*/ 76818 w 273258"/>
                <a:gd name="connsiteY8" fmla="*/ 61068 h 268468"/>
                <a:gd name="connsiteX9" fmla="*/ 101361 w 273258"/>
                <a:gd name="connsiteY9" fmla="*/ 14979 h 268468"/>
                <a:gd name="connsiteX10" fmla="*/ 123875 w 273258"/>
                <a:gd name="connsiteY10" fmla="*/ 0 h 268468"/>
                <a:gd name="connsiteX11" fmla="*/ 160013 w 273258"/>
                <a:gd name="connsiteY11" fmla="*/ 40808 h 268468"/>
                <a:gd name="connsiteX12" fmla="*/ 170932 w 273258"/>
                <a:gd name="connsiteY12" fmla="*/ 61068 h 268468"/>
                <a:gd name="connsiteX13" fmla="*/ 166873 w 273258"/>
                <a:gd name="connsiteY13" fmla="*/ 81424 h 268468"/>
                <a:gd name="connsiteX14" fmla="*/ 215959 w 273258"/>
                <a:gd name="connsiteY14" fmla="*/ 67885 h 268468"/>
                <a:gd name="connsiteX15" fmla="*/ 247363 w 273258"/>
                <a:gd name="connsiteY15" fmla="*/ 63853 h 268468"/>
                <a:gd name="connsiteX16" fmla="*/ 260987 w 273258"/>
                <a:gd name="connsiteY16" fmla="*/ 78735 h 268468"/>
                <a:gd name="connsiteX17" fmla="*/ 273259 w 273258"/>
                <a:gd name="connsiteY17" fmla="*/ 134330 h 268468"/>
                <a:gd name="connsiteX18" fmla="*/ 265046 w 273258"/>
                <a:gd name="connsiteY18" fmla="*/ 187141 h 268468"/>
                <a:gd name="connsiteX19" fmla="*/ 247363 w 273258"/>
                <a:gd name="connsiteY19" fmla="*/ 217002 h 268468"/>
                <a:gd name="connsiteX20" fmla="*/ 198277 w 273258"/>
                <a:gd name="connsiteY20" fmla="*/ 254930 h 268468"/>
                <a:gd name="connsiteX21" fmla="*/ 160013 w 273258"/>
                <a:gd name="connsiteY21" fmla="*/ 268469 h 268468"/>
                <a:gd name="connsiteX22" fmla="*/ 116435 w 273258"/>
                <a:gd name="connsiteY22" fmla="*/ 267124 h 26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3258" h="268468">
                  <a:moveTo>
                    <a:pt x="116435" y="267124"/>
                  </a:moveTo>
                  <a:lnTo>
                    <a:pt x="60488" y="250897"/>
                  </a:lnTo>
                  <a:lnTo>
                    <a:pt x="25026" y="214314"/>
                  </a:lnTo>
                  <a:lnTo>
                    <a:pt x="3189" y="176291"/>
                  </a:lnTo>
                  <a:lnTo>
                    <a:pt x="0" y="118487"/>
                  </a:lnTo>
                  <a:lnTo>
                    <a:pt x="34592" y="124824"/>
                  </a:lnTo>
                  <a:lnTo>
                    <a:pt x="75562" y="141820"/>
                  </a:lnTo>
                  <a:lnTo>
                    <a:pt x="68701" y="114262"/>
                  </a:lnTo>
                  <a:lnTo>
                    <a:pt x="76818" y="61068"/>
                  </a:lnTo>
                  <a:lnTo>
                    <a:pt x="101361" y="14979"/>
                  </a:lnTo>
                  <a:lnTo>
                    <a:pt x="123875" y="0"/>
                  </a:lnTo>
                  <a:lnTo>
                    <a:pt x="160013" y="40808"/>
                  </a:lnTo>
                  <a:lnTo>
                    <a:pt x="170932" y="61068"/>
                  </a:lnTo>
                  <a:lnTo>
                    <a:pt x="166873" y="81424"/>
                  </a:lnTo>
                  <a:lnTo>
                    <a:pt x="215959" y="67885"/>
                  </a:lnTo>
                  <a:lnTo>
                    <a:pt x="247363" y="63853"/>
                  </a:lnTo>
                  <a:lnTo>
                    <a:pt x="260987" y="78735"/>
                  </a:lnTo>
                  <a:lnTo>
                    <a:pt x="273259" y="134330"/>
                  </a:lnTo>
                  <a:lnTo>
                    <a:pt x="265046" y="187141"/>
                  </a:lnTo>
                  <a:lnTo>
                    <a:pt x="247363" y="217002"/>
                  </a:lnTo>
                  <a:lnTo>
                    <a:pt x="198277" y="254930"/>
                  </a:lnTo>
                  <a:lnTo>
                    <a:pt x="160013" y="268469"/>
                  </a:lnTo>
                  <a:lnTo>
                    <a:pt x="116435" y="267124"/>
                  </a:lnTo>
                  <a:close/>
                </a:path>
              </a:pathLst>
            </a:custGeom>
            <a:solidFill>
              <a:srgbClr val="2878FF">
                <a:alpha val="50494"/>
              </a:srgbClr>
            </a:solidFill>
            <a:ln w="9525" cap="flat">
              <a:noFill/>
              <a:prstDash val="solid"/>
              <a:miter/>
            </a:ln>
          </p:spPr>
          <p:txBody>
            <a:bodyPr rtlCol="0" anchor="ctr"/>
            <a:lstStyle/>
            <a:p>
              <a:endParaRPr lang="en-DK"/>
            </a:p>
          </p:txBody>
        </p:sp>
        <p:grpSp>
          <p:nvGrpSpPr>
            <p:cNvPr id="110" name="Graphic 106">
              <a:extLst>
                <a:ext uri="{FF2B5EF4-FFF2-40B4-BE49-F238E27FC236}">
                  <a16:creationId xmlns:a16="http://schemas.microsoft.com/office/drawing/2014/main" id="{93D515C5-18B6-511B-F9FA-B2C812756302}"/>
                </a:ext>
              </a:extLst>
            </p:cNvPr>
            <p:cNvGrpSpPr/>
            <p:nvPr/>
          </p:nvGrpSpPr>
          <p:grpSpPr>
            <a:xfrm>
              <a:off x="1976294" y="5955072"/>
              <a:ext cx="456200" cy="480405"/>
              <a:chOff x="1976294" y="5955072"/>
              <a:chExt cx="456200" cy="480405"/>
            </a:xfrm>
            <a:solidFill>
              <a:srgbClr val="FFFFFF"/>
            </a:solidFill>
          </p:grpSpPr>
          <p:sp>
            <p:nvSpPr>
              <p:cNvPr id="111" name="Freeform 110">
                <a:extLst>
                  <a:ext uri="{FF2B5EF4-FFF2-40B4-BE49-F238E27FC236}">
                    <a16:creationId xmlns:a16="http://schemas.microsoft.com/office/drawing/2014/main" id="{8170D88A-C570-2CFA-6D0D-D8BB1F63248C}"/>
                  </a:ext>
                </a:extLst>
              </p:cNvPr>
              <p:cNvSpPr/>
              <p:nvPr/>
            </p:nvSpPr>
            <p:spPr>
              <a:xfrm>
                <a:off x="1976425" y="6257260"/>
                <a:ext cx="456069" cy="178217"/>
              </a:xfrm>
              <a:custGeom>
                <a:avLst/>
                <a:gdLst>
                  <a:gd name="connsiteX0" fmla="*/ 208514 w 456069"/>
                  <a:gd name="connsiteY0" fmla="*/ 178121 h 178217"/>
                  <a:gd name="connsiteX1" fmla="*/ 202426 w 456069"/>
                  <a:gd name="connsiteY1" fmla="*/ 178025 h 178217"/>
                  <a:gd name="connsiteX2" fmla="*/ 100196 w 456069"/>
                  <a:gd name="connsiteY2" fmla="*/ 149892 h 178217"/>
                  <a:gd name="connsiteX3" fmla="*/ 8111 w 456069"/>
                  <a:gd name="connsiteY3" fmla="*/ 59634 h 178217"/>
                  <a:gd name="connsiteX4" fmla="*/ 188 w 456069"/>
                  <a:gd name="connsiteY4" fmla="*/ 43023 h 178217"/>
                  <a:gd name="connsiteX5" fmla="*/ 13522 w 456069"/>
                  <a:gd name="connsiteY5" fmla="*/ 16714 h 178217"/>
                  <a:gd name="connsiteX6" fmla="*/ 43186 w 456069"/>
                  <a:gd name="connsiteY6" fmla="*/ 17194 h 178217"/>
                  <a:gd name="connsiteX7" fmla="*/ 129183 w 456069"/>
                  <a:gd name="connsiteY7" fmla="*/ 73941 h 178217"/>
                  <a:gd name="connsiteX8" fmla="*/ 257696 w 456069"/>
                  <a:gd name="connsiteY8" fmla="*/ 72309 h 178217"/>
                  <a:gd name="connsiteX9" fmla="*/ 286394 w 456069"/>
                  <a:gd name="connsiteY9" fmla="*/ 64915 h 178217"/>
                  <a:gd name="connsiteX10" fmla="*/ 211896 w 456069"/>
                  <a:gd name="connsiteY10" fmla="*/ 62611 h 178217"/>
                  <a:gd name="connsiteX11" fmla="*/ 194599 w 456069"/>
                  <a:gd name="connsiteY11" fmla="*/ 62995 h 178217"/>
                  <a:gd name="connsiteX12" fmla="*/ 156722 w 456069"/>
                  <a:gd name="connsiteY12" fmla="*/ 59250 h 178217"/>
                  <a:gd name="connsiteX13" fmla="*/ 136430 w 456069"/>
                  <a:gd name="connsiteY13" fmla="*/ 26028 h 178217"/>
                  <a:gd name="connsiteX14" fmla="*/ 169573 w 456069"/>
                  <a:gd name="connsiteY14" fmla="*/ 5576 h 178217"/>
                  <a:gd name="connsiteX15" fmla="*/ 170539 w 456069"/>
                  <a:gd name="connsiteY15" fmla="*/ 5864 h 178217"/>
                  <a:gd name="connsiteX16" fmla="*/ 259242 w 456069"/>
                  <a:gd name="connsiteY16" fmla="*/ 2119 h 178217"/>
                  <a:gd name="connsiteX17" fmla="*/ 285525 w 456069"/>
                  <a:gd name="connsiteY17" fmla="*/ 102 h 178217"/>
                  <a:gd name="connsiteX18" fmla="*/ 402539 w 456069"/>
                  <a:gd name="connsiteY18" fmla="*/ 41871 h 178217"/>
                  <a:gd name="connsiteX19" fmla="*/ 428435 w 456069"/>
                  <a:gd name="connsiteY19" fmla="*/ 59250 h 178217"/>
                  <a:gd name="connsiteX20" fmla="*/ 447567 w 456069"/>
                  <a:gd name="connsiteY20" fmla="*/ 60786 h 178217"/>
                  <a:gd name="connsiteX21" fmla="*/ 454717 w 456069"/>
                  <a:gd name="connsiteY21" fmla="*/ 59922 h 178217"/>
                  <a:gd name="connsiteX22" fmla="*/ 456070 w 456069"/>
                  <a:gd name="connsiteY22" fmla="*/ 72309 h 178217"/>
                  <a:gd name="connsiteX23" fmla="*/ 449113 w 456069"/>
                  <a:gd name="connsiteY23" fmla="*/ 73173 h 178217"/>
                  <a:gd name="connsiteX24" fmla="*/ 425536 w 456069"/>
                  <a:gd name="connsiteY24" fmla="*/ 71444 h 178217"/>
                  <a:gd name="connsiteX25" fmla="*/ 394809 w 456069"/>
                  <a:gd name="connsiteY25" fmla="*/ 51761 h 178217"/>
                  <a:gd name="connsiteX26" fmla="*/ 286008 w 456069"/>
                  <a:gd name="connsiteY26" fmla="*/ 12585 h 178217"/>
                  <a:gd name="connsiteX27" fmla="*/ 260209 w 456069"/>
                  <a:gd name="connsiteY27" fmla="*/ 14601 h 178217"/>
                  <a:gd name="connsiteX28" fmla="*/ 166385 w 456069"/>
                  <a:gd name="connsiteY28" fmla="*/ 17770 h 178217"/>
                  <a:gd name="connsiteX29" fmla="*/ 148509 w 456069"/>
                  <a:gd name="connsiteY29" fmla="*/ 29004 h 178217"/>
                  <a:gd name="connsiteX30" fmla="*/ 159621 w 456069"/>
                  <a:gd name="connsiteY30" fmla="*/ 47248 h 178217"/>
                  <a:gd name="connsiteX31" fmla="*/ 194020 w 456069"/>
                  <a:gd name="connsiteY31" fmla="*/ 50608 h 178217"/>
                  <a:gd name="connsiteX32" fmla="*/ 211316 w 456069"/>
                  <a:gd name="connsiteY32" fmla="*/ 50224 h 178217"/>
                  <a:gd name="connsiteX33" fmla="*/ 303787 w 456069"/>
                  <a:gd name="connsiteY33" fmla="*/ 66067 h 178217"/>
                  <a:gd name="connsiteX34" fmla="*/ 260305 w 456069"/>
                  <a:gd name="connsiteY34" fmla="*/ 84599 h 178217"/>
                  <a:gd name="connsiteX35" fmla="*/ 124352 w 456069"/>
                  <a:gd name="connsiteY35" fmla="*/ 85559 h 178217"/>
                  <a:gd name="connsiteX36" fmla="*/ 36132 w 456069"/>
                  <a:gd name="connsiteY36" fmla="*/ 27564 h 178217"/>
                  <a:gd name="connsiteX37" fmla="*/ 36132 w 456069"/>
                  <a:gd name="connsiteY37" fmla="*/ 27564 h 178217"/>
                  <a:gd name="connsiteX38" fmla="*/ 19996 w 456069"/>
                  <a:gd name="connsiteY38" fmla="*/ 27468 h 178217"/>
                  <a:gd name="connsiteX39" fmla="*/ 12652 w 456069"/>
                  <a:gd name="connsiteY39" fmla="*/ 41775 h 178217"/>
                  <a:gd name="connsiteX40" fmla="*/ 17097 w 456069"/>
                  <a:gd name="connsiteY40" fmla="*/ 51088 h 178217"/>
                  <a:gd name="connsiteX41" fmla="*/ 106959 w 456069"/>
                  <a:gd name="connsiteY41" fmla="*/ 139426 h 178217"/>
                  <a:gd name="connsiteX42" fmla="*/ 203103 w 456069"/>
                  <a:gd name="connsiteY42" fmla="*/ 165639 h 178217"/>
                  <a:gd name="connsiteX43" fmla="*/ 296733 w 456069"/>
                  <a:gd name="connsiteY43" fmla="*/ 160838 h 178217"/>
                  <a:gd name="connsiteX44" fmla="*/ 455587 w 456069"/>
                  <a:gd name="connsiteY44" fmla="*/ 154021 h 178217"/>
                  <a:gd name="connsiteX45" fmla="*/ 454910 w 456069"/>
                  <a:gd name="connsiteY45" fmla="*/ 166503 h 178217"/>
                  <a:gd name="connsiteX46" fmla="*/ 297603 w 456069"/>
                  <a:gd name="connsiteY46" fmla="*/ 173320 h 178217"/>
                  <a:gd name="connsiteX47" fmla="*/ 208417 w 456069"/>
                  <a:gd name="connsiteY47" fmla="*/ 178217 h 178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56069" h="178217">
                    <a:moveTo>
                      <a:pt x="208514" y="178121"/>
                    </a:moveTo>
                    <a:cubicBezTo>
                      <a:pt x="206195" y="178121"/>
                      <a:pt x="204069" y="178121"/>
                      <a:pt x="202426" y="178025"/>
                    </a:cubicBezTo>
                    <a:cubicBezTo>
                      <a:pt x="168607" y="176201"/>
                      <a:pt x="120874" y="163046"/>
                      <a:pt x="100196" y="149892"/>
                    </a:cubicBezTo>
                    <a:cubicBezTo>
                      <a:pt x="79324" y="136641"/>
                      <a:pt x="11010" y="62803"/>
                      <a:pt x="8111" y="59634"/>
                    </a:cubicBezTo>
                    <a:cubicBezTo>
                      <a:pt x="3763" y="55409"/>
                      <a:pt x="864" y="49456"/>
                      <a:pt x="188" y="43023"/>
                    </a:cubicBezTo>
                    <a:cubicBezTo>
                      <a:pt x="-1069" y="32461"/>
                      <a:pt x="4053" y="22379"/>
                      <a:pt x="13522" y="16714"/>
                    </a:cubicBezTo>
                    <a:cubicBezTo>
                      <a:pt x="22991" y="11049"/>
                      <a:pt x="34393" y="11241"/>
                      <a:pt x="43186" y="17194"/>
                    </a:cubicBezTo>
                    <a:cubicBezTo>
                      <a:pt x="60096" y="29772"/>
                      <a:pt x="111598" y="66740"/>
                      <a:pt x="129183" y="73941"/>
                    </a:cubicBezTo>
                    <a:cubicBezTo>
                      <a:pt x="142325" y="79318"/>
                      <a:pt x="212958" y="82103"/>
                      <a:pt x="257696" y="72309"/>
                    </a:cubicBezTo>
                    <a:cubicBezTo>
                      <a:pt x="267745" y="70100"/>
                      <a:pt x="279147" y="67220"/>
                      <a:pt x="286394" y="64915"/>
                    </a:cubicBezTo>
                    <a:cubicBezTo>
                      <a:pt x="270741" y="60786"/>
                      <a:pt x="227549" y="62131"/>
                      <a:pt x="211896" y="62611"/>
                    </a:cubicBezTo>
                    <a:cubicBezTo>
                      <a:pt x="204842" y="62803"/>
                      <a:pt x="198754" y="62995"/>
                      <a:pt x="194599" y="62995"/>
                    </a:cubicBezTo>
                    <a:cubicBezTo>
                      <a:pt x="177786" y="63955"/>
                      <a:pt x="160104" y="60018"/>
                      <a:pt x="156722" y="59250"/>
                    </a:cubicBezTo>
                    <a:cubicBezTo>
                      <a:pt x="139233" y="54545"/>
                      <a:pt x="133338" y="38990"/>
                      <a:pt x="136430" y="26028"/>
                    </a:cubicBezTo>
                    <a:cubicBezTo>
                      <a:pt x="139619" y="13065"/>
                      <a:pt x="151987" y="1831"/>
                      <a:pt x="169573" y="5576"/>
                    </a:cubicBezTo>
                    <a:cubicBezTo>
                      <a:pt x="169960" y="5576"/>
                      <a:pt x="170250" y="5768"/>
                      <a:pt x="170539" y="5864"/>
                    </a:cubicBezTo>
                    <a:cubicBezTo>
                      <a:pt x="178753" y="9032"/>
                      <a:pt x="233057" y="4423"/>
                      <a:pt x="259242" y="2119"/>
                    </a:cubicBezTo>
                    <a:cubicBezTo>
                      <a:pt x="271514" y="1063"/>
                      <a:pt x="281176" y="198"/>
                      <a:pt x="285525" y="102"/>
                    </a:cubicBezTo>
                    <a:cubicBezTo>
                      <a:pt x="321856" y="-1914"/>
                      <a:pt x="383987" y="26316"/>
                      <a:pt x="402539" y="41871"/>
                    </a:cubicBezTo>
                    <a:cubicBezTo>
                      <a:pt x="409883" y="48016"/>
                      <a:pt x="421478" y="57618"/>
                      <a:pt x="428435" y="59250"/>
                    </a:cubicBezTo>
                    <a:cubicBezTo>
                      <a:pt x="439450" y="61747"/>
                      <a:pt x="439547" y="61747"/>
                      <a:pt x="447567" y="60786"/>
                    </a:cubicBezTo>
                    <a:cubicBezTo>
                      <a:pt x="449499" y="60498"/>
                      <a:pt x="451818" y="60210"/>
                      <a:pt x="454717" y="59922"/>
                    </a:cubicBezTo>
                    <a:lnTo>
                      <a:pt x="456070" y="72309"/>
                    </a:lnTo>
                    <a:cubicBezTo>
                      <a:pt x="453268" y="72597"/>
                      <a:pt x="450949" y="72885"/>
                      <a:pt x="449113" y="73173"/>
                    </a:cubicBezTo>
                    <a:cubicBezTo>
                      <a:pt x="439933" y="74325"/>
                      <a:pt x="438291" y="74325"/>
                      <a:pt x="425536" y="71444"/>
                    </a:cubicBezTo>
                    <a:cubicBezTo>
                      <a:pt x="415583" y="69140"/>
                      <a:pt x="403602" y="59154"/>
                      <a:pt x="394809" y="51761"/>
                    </a:cubicBezTo>
                    <a:cubicBezTo>
                      <a:pt x="377320" y="37166"/>
                      <a:pt x="317508" y="10761"/>
                      <a:pt x="286008" y="12585"/>
                    </a:cubicBezTo>
                    <a:cubicBezTo>
                      <a:pt x="281756" y="12681"/>
                      <a:pt x="271804" y="13545"/>
                      <a:pt x="260209" y="14601"/>
                    </a:cubicBezTo>
                    <a:cubicBezTo>
                      <a:pt x="215471" y="18442"/>
                      <a:pt x="177400" y="21419"/>
                      <a:pt x="166385" y="17770"/>
                    </a:cubicBezTo>
                    <a:cubicBezTo>
                      <a:pt x="156335" y="15850"/>
                      <a:pt x="150248" y="21995"/>
                      <a:pt x="148509" y="29004"/>
                    </a:cubicBezTo>
                    <a:cubicBezTo>
                      <a:pt x="146769" y="36110"/>
                      <a:pt x="149572" y="44559"/>
                      <a:pt x="159621" y="47248"/>
                    </a:cubicBezTo>
                    <a:cubicBezTo>
                      <a:pt x="161360" y="47632"/>
                      <a:pt x="178270" y="51569"/>
                      <a:pt x="194020" y="50608"/>
                    </a:cubicBezTo>
                    <a:cubicBezTo>
                      <a:pt x="198464" y="50608"/>
                      <a:pt x="204359" y="50416"/>
                      <a:pt x="211316" y="50224"/>
                    </a:cubicBezTo>
                    <a:cubicBezTo>
                      <a:pt x="273350" y="48208"/>
                      <a:pt x="303111" y="50032"/>
                      <a:pt x="303787" y="66067"/>
                    </a:cubicBezTo>
                    <a:cubicBezTo>
                      <a:pt x="303980" y="70868"/>
                      <a:pt x="304173" y="74997"/>
                      <a:pt x="260305" y="84599"/>
                    </a:cubicBezTo>
                    <a:cubicBezTo>
                      <a:pt x="214601" y="94585"/>
                      <a:pt x="141165" y="92473"/>
                      <a:pt x="124352" y="85559"/>
                    </a:cubicBezTo>
                    <a:cubicBezTo>
                      <a:pt x="103481" y="77014"/>
                      <a:pt x="44249" y="33613"/>
                      <a:pt x="36132" y="27564"/>
                    </a:cubicBezTo>
                    <a:lnTo>
                      <a:pt x="36132" y="27564"/>
                    </a:lnTo>
                    <a:cubicBezTo>
                      <a:pt x="30432" y="23723"/>
                      <a:pt x="24054" y="24971"/>
                      <a:pt x="19996" y="27468"/>
                    </a:cubicBezTo>
                    <a:cubicBezTo>
                      <a:pt x="15938" y="29964"/>
                      <a:pt x="11879" y="34957"/>
                      <a:pt x="12652" y="41775"/>
                    </a:cubicBezTo>
                    <a:cubicBezTo>
                      <a:pt x="13039" y="45327"/>
                      <a:pt x="14681" y="48688"/>
                      <a:pt x="17097" y="51088"/>
                    </a:cubicBezTo>
                    <a:cubicBezTo>
                      <a:pt x="41447" y="77494"/>
                      <a:pt x="91306" y="129536"/>
                      <a:pt x="106959" y="139426"/>
                    </a:cubicBezTo>
                    <a:cubicBezTo>
                      <a:pt x="125802" y="151428"/>
                      <a:pt x="171699" y="163911"/>
                      <a:pt x="203103" y="165639"/>
                    </a:cubicBezTo>
                    <a:cubicBezTo>
                      <a:pt x="216244" y="166407"/>
                      <a:pt x="253541" y="163815"/>
                      <a:pt x="296733" y="160838"/>
                    </a:cubicBezTo>
                    <a:cubicBezTo>
                      <a:pt x="355772" y="156805"/>
                      <a:pt x="422734" y="152196"/>
                      <a:pt x="455587" y="154021"/>
                    </a:cubicBezTo>
                    <a:lnTo>
                      <a:pt x="454910" y="166503"/>
                    </a:lnTo>
                    <a:cubicBezTo>
                      <a:pt x="422734" y="164679"/>
                      <a:pt x="356255" y="169288"/>
                      <a:pt x="297603" y="173320"/>
                    </a:cubicBezTo>
                    <a:cubicBezTo>
                      <a:pt x="259242" y="175913"/>
                      <a:pt x="225520" y="178217"/>
                      <a:pt x="208417" y="178217"/>
                    </a:cubicBezTo>
                    <a:close/>
                  </a:path>
                </a:pathLst>
              </a:custGeom>
              <a:solidFill>
                <a:srgbClr val="FFFFFF"/>
              </a:solidFill>
              <a:ln w="9525" cap="flat">
                <a:noFill/>
                <a:prstDash val="solid"/>
                <a:miter/>
              </a:ln>
            </p:spPr>
            <p:txBody>
              <a:bodyPr rtlCol="0" anchor="ctr"/>
              <a:lstStyle/>
              <a:p>
                <a:endParaRPr lang="en-DK"/>
              </a:p>
            </p:txBody>
          </p:sp>
          <p:grpSp>
            <p:nvGrpSpPr>
              <p:cNvPr id="112" name="Graphic 106">
                <a:extLst>
                  <a:ext uri="{FF2B5EF4-FFF2-40B4-BE49-F238E27FC236}">
                    <a16:creationId xmlns:a16="http://schemas.microsoft.com/office/drawing/2014/main" id="{586DC1EC-6ECF-CB33-5855-1AAD963A0A87}"/>
                  </a:ext>
                </a:extLst>
              </p:cNvPr>
              <p:cNvGrpSpPr/>
              <p:nvPr/>
            </p:nvGrpSpPr>
            <p:grpSpPr>
              <a:xfrm>
                <a:off x="1976294" y="5955072"/>
                <a:ext cx="287323" cy="283374"/>
                <a:chOff x="1976294" y="5955072"/>
                <a:chExt cx="287323" cy="283374"/>
              </a:xfrm>
              <a:solidFill>
                <a:srgbClr val="FFFFFF"/>
              </a:solidFill>
            </p:grpSpPr>
            <p:grpSp>
              <p:nvGrpSpPr>
                <p:cNvPr id="113" name="Graphic 106">
                  <a:extLst>
                    <a:ext uri="{FF2B5EF4-FFF2-40B4-BE49-F238E27FC236}">
                      <a16:creationId xmlns:a16="http://schemas.microsoft.com/office/drawing/2014/main" id="{06C462A5-E963-6C98-0C81-2251F6564BAE}"/>
                    </a:ext>
                  </a:extLst>
                </p:cNvPr>
                <p:cNvGrpSpPr/>
                <p:nvPr/>
              </p:nvGrpSpPr>
              <p:grpSpPr>
                <a:xfrm>
                  <a:off x="1976294" y="5955072"/>
                  <a:ext cx="287323" cy="283374"/>
                  <a:chOff x="1976294" y="5955072"/>
                  <a:chExt cx="287323" cy="283374"/>
                </a:xfrm>
                <a:solidFill>
                  <a:srgbClr val="FFFFFF"/>
                </a:solidFill>
              </p:grpSpPr>
              <p:sp>
                <p:nvSpPr>
                  <p:cNvPr id="114" name="Freeform 113">
                    <a:extLst>
                      <a:ext uri="{FF2B5EF4-FFF2-40B4-BE49-F238E27FC236}">
                        <a16:creationId xmlns:a16="http://schemas.microsoft.com/office/drawing/2014/main" id="{5C9E36DF-F72C-0D1A-222E-45A41AAF5896}"/>
                      </a:ext>
                    </a:extLst>
                  </p:cNvPr>
                  <p:cNvSpPr/>
                  <p:nvPr/>
                </p:nvSpPr>
                <p:spPr>
                  <a:xfrm>
                    <a:off x="2045986" y="5955072"/>
                    <a:ext cx="119111" cy="154325"/>
                  </a:xfrm>
                  <a:custGeom>
                    <a:avLst/>
                    <a:gdLst>
                      <a:gd name="connsiteX0" fmla="*/ 14112 w 119111"/>
                      <a:gd name="connsiteY0" fmla="*/ 154326 h 154325"/>
                      <a:gd name="connsiteX1" fmla="*/ 8217 w 119111"/>
                      <a:gd name="connsiteY1" fmla="*/ 150293 h 154325"/>
                      <a:gd name="connsiteX2" fmla="*/ 1067 w 119111"/>
                      <a:gd name="connsiteY2" fmla="*/ 121391 h 154325"/>
                      <a:gd name="connsiteX3" fmla="*/ 38075 w 119111"/>
                      <a:gd name="connsiteY3" fmla="*/ 17307 h 154325"/>
                      <a:gd name="connsiteX4" fmla="*/ 63004 w 119111"/>
                      <a:gd name="connsiteY4" fmla="*/ 24 h 154325"/>
                      <a:gd name="connsiteX5" fmla="*/ 119048 w 119111"/>
                      <a:gd name="connsiteY5" fmla="*/ 85288 h 154325"/>
                      <a:gd name="connsiteX6" fmla="*/ 113733 w 119111"/>
                      <a:gd name="connsiteY6" fmla="*/ 92394 h 154325"/>
                      <a:gd name="connsiteX7" fmla="*/ 106583 w 119111"/>
                      <a:gd name="connsiteY7" fmla="*/ 87113 h 154325"/>
                      <a:gd name="connsiteX8" fmla="*/ 62231 w 119111"/>
                      <a:gd name="connsiteY8" fmla="*/ 12986 h 154325"/>
                      <a:gd name="connsiteX9" fmla="*/ 13532 w 119111"/>
                      <a:gd name="connsiteY9" fmla="*/ 119567 h 154325"/>
                      <a:gd name="connsiteX10" fmla="*/ 20006 w 119111"/>
                      <a:gd name="connsiteY10" fmla="*/ 145780 h 154325"/>
                      <a:gd name="connsiteX11" fmla="*/ 16334 w 119111"/>
                      <a:gd name="connsiteY11" fmla="*/ 153846 h 154325"/>
                      <a:gd name="connsiteX12" fmla="*/ 14112 w 119111"/>
                      <a:gd name="connsiteY12" fmla="*/ 154230 h 15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9111" h="154325">
                        <a:moveTo>
                          <a:pt x="14112" y="154326"/>
                        </a:moveTo>
                        <a:cubicBezTo>
                          <a:pt x="11599" y="154326"/>
                          <a:pt x="9184" y="152790"/>
                          <a:pt x="8217" y="150293"/>
                        </a:cubicBezTo>
                        <a:cubicBezTo>
                          <a:pt x="4932" y="141555"/>
                          <a:pt x="2516" y="131761"/>
                          <a:pt x="1067" y="121391"/>
                        </a:cubicBezTo>
                        <a:cubicBezTo>
                          <a:pt x="-6083" y="69925"/>
                          <a:pt x="24547" y="31518"/>
                          <a:pt x="38075" y="17307"/>
                        </a:cubicBezTo>
                        <a:cubicBezTo>
                          <a:pt x="42133" y="13178"/>
                          <a:pt x="55854" y="-648"/>
                          <a:pt x="63004" y="24"/>
                        </a:cubicBezTo>
                        <a:cubicBezTo>
                          <a:pt x="72184" y="792"/>
                          <a:pt x="111994" y="38431"/>
                          <a:pt x="119048" y="85288"/>
                        </a:cubicBezTo>
                        <a:cubicBezTo>
                          <a:pt x="119531" y="88745"/>
                          <a:pt x="117212" y="91914"/>
                          <a:pt x="113733" y="92394"/>
                        </a:cubicBezTo>
                        <a:cubicBezTo>
                          <a:pt x="110351" y="92874"/>
                          <a:pt x="107066" y="90569"/>
                          <a:pt x="106583" y="87113"/>
                        </a:cubicBezTo>
                        <a:cubicBezTo>
                          <a:pt x="100785" y="48129"/>
                          <a:pt x="70445" y="18651"/>
                          <a:pt x="62231" y="12986"/>
                        </a:cubicBezTo>
                        <a:cubicBezTo>
                          <a:pt x="52472" y="19131"/>
                          <a:pt x="5222" y="60035"/>
                          <a:pt x="13532" y="119567"/>
                        </a:cubicBezTo>
                        <a:cubicBezTo>
                          <a:pt x="14885" y="129073"/>
                          <a:pt x="17010" y="137907"/>
                          <a:pt x="20006" y="145780"/>
                        </a:cubicBezTo>
                        <a:cubicBezTo>
                          <a:pt x="21262" y="149045"/>
                          <a:pt x="19619" y="152598"/>
                          <a:pt x="16334" y="153846"/>
                        </a:cubicBezTo>
                        <a:cubicBezTo>
                          <a:pt x="15658" y="154134"/>
                          <a:pt x="14885" y="154230"/>
                          <a:pt x="14112" y="154230"/>
                        </a:cubicBezTo>
                        <a:close/>
                      </a:path>
                    </a:pathLst>
                  </a:custGeom>
                  <a:solidFill>
                    <a:srgbClr val="FFFFFF"/>
                  </a:solidFill>
                  <a:ln w="9525" cap="flat">
                    <a:noFill/>
                    <a:prstDash val="solid"/>
                    <a:miter/>
                  </a:ln>
                </p:spPr>
                <p:txBody>
                  <a:bodyPr rtlCol="0" anchor="ctr"/>
                  <a:lstStyle/>
                  <a:p>
                    <a:endParaRPr lang="en-DK"/>
                  </a:p>
                </p:txBody>
              </p:sp>
              <p:sp>
                <p:nvSpPr>
                  <p:cNvPr id="115" name="Freeform 114">
                    <a:extLst>
                      <a:ext uri="{FF2B5EF4-FFF2-40B4-BE49-F238E27FC236}">
                        <a16:creationId xmlns:a16="http://schemas.microsoft.com/office/drawing/2014/main" id="{009BE280-6220-5DB3-6C2E-93C5143FA2FE}"/>
                      </a:ext>
                    </a:extLst>
                  </p:cNvPr>
                  <p:cNvSpPr/>
                  <p:nvPr/>
                </p:nvSpPr>
                <p:spPr>
                  <a:xfrm>
                    <a:off x="1976294" y="6072896"/>
                    <a:ext cx="141634" cy="164878"/>
                  </a:xfrm>
                  <a:custGeom>
                    <a:avLst/>
                    <a:gdLst>
                      <a:gd name="connsiteX0" fmla="*/ 133856 w 141634"/>
                      <a:gd name="connsiteY0" fmla="*/ 164879 h 164878"/>
                      <a:gd name="connsiteX1" fmla="*/ 40032 w 141634"/>
                      <a:gd name="connsiteY1" fmla="*/ 121190 h 164878"/>
                      <a:gd name="connsiteX2" fmla="*/ 3217 w 141634"/>
                      <a:gd name="connsiteY2" fmla="*/ 3183 h 164878"/>
                      <a:gd name="connsiteX3" fmla="*/ 87282 w 141634"/>
                      <a:gd name="connsiteY3" fmla="*/ 25076 h 164878"/>
                      <a:gd name="connsiteX4" fmla="*/ 114724 w 141634"/>
                      <a:gd name="connsiteY4" fmla="*/ 48408 h 164878"/>
                      <a:gd name="connsiteX5" fmla="*/ 114241 w 141634"/>
                      <a:gd name="connsiteY5" fmla="*/ 57242 h 164878"/>
                      <a:gd name="connsiteX6" fmla="*/ 105351 w 141634"/>
                      <a:gd name="connsiteY6" fmla="*/ 56762 h 164878"/>
                      <a:gd name="connsiteX7" fmla="*/ 80325 w 141634"/>
                      <a:gd name="connsiteY7" fmla="*/ 35542 h 164878"/>
                      <a:gd name="connsiteX8" fmla="*/ 12976 w 141634"/>
                      <a:gd name="connsiteY8" fmla="*/ 12305 h 164878"/>
                      <a:gd name="connsiteX9" fmla="*/ 12976 w 141634"/>
                      <a:gd name="connsiteY9" fmla="*/ 12305 h 164878"/>
                      <a:gd name="connsiteX10" fmla="*/ 49018 w 141634"/>
                      <a:gd name="connsiteY10" fmla="*/ 112453 h 164878"/>
                      <a:gd name="connsiteX11" fmla="*/ 134242 w 141634"/>
                      <a:gd name="connsiteY11" fmla="*/ 152397 h 164878"/>
                      <a:gd name="connsiteX12" fmla="*/ 141489 w 141634"/>
                      <a:gd name="connsiteY12" fmla="*/ 157101 h 164878"/>
                      <a:gd name="connsiteX13" fmla="*/ 136465 w 141634"/>
                      <a:gd name="connsiteY13" fmla="*/ 164687 h 164878"/>
                      <a:gd name="connsiteX14" fmla="*/ 133856 w 141634"/>
                      <a:gd name="connsiteY14" fmla="*/ 164879 h 164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1634" h="164878">
                        <a:moveTo>
                          <a:pt x="133856" y="164879"/>
                        </a:moveTo>
                        <a:cubicBezTo>
                          <a:pt x="122067" y="164879"/>
                          <a:pt x="76943" y="159118"/>
                          <a:pt x="40032" y="121190"/>
                        </a:cubicBezTo>
                        <a:cubicBezTo>
                          <a:pt x="-3160" y="76830"/>
                          <a:pt x="-3547" y="12305"/>
                          <a:pt x="3217" y="3183"/>
                        </a:cubicBezTo>
                        <a:cubicBezTo>
                          <a:pt x="9691" y="-5650"/>
                          <a:pt x="55878" y="4624"/>
                          <a:pt x="87282" y="25076"/>
                        </a:cubicBezTo>
                        <a:cubicBezTo>
                          <a:pt x="97621" y="31797"/>
                          <a:pt x="106897" y="39670"/>
                          <a:pt x="114724" y="48408"/>
                        </a:cubicBezTo>
                        <a:cubicBezTo>
                          <a:pt x="117043" y="51001"/>
                          <a:pt x="116850" y="54937"/>
                          <a:pt x="114241" y="57242"/>
                        </a:cubicBezTo>
                        <a:cubicBezTo>
                          <a:pt x="111632" y="59546"/>
                          <a:pt x="107670" y="59354"/>
                          <a:pt x="105351" y="56762"/>
                        </a:cubicBezTo>
                        <a:cubicBezTo>
                          <a:pt x="98201" y="48792"/>
                          <a:pt x="89794" y="41687"/>
                          <a:pt x="80325" y="35542"/>
                        </a:cubicBezTo>
                        <a:cubicBezTo>
                          <a:pt x="51530" y="16722"/>
                          <a:pt x="21866" y="12305"/>
                          <a:pt x="12976" y="12305"/>
                        </a:cubicBezTo>
                        <a:lnTo>
                          <a:pt x="12976" y="12305"/>
                        </a:lnTo>
                        <a:cubicBezTo>
                          <a:pt x="11044" y="23731"/>
                          <a:pt x="12397" y="74909"/>
                          <a:pt x="49018" y="112453"/>
                        </a:cubicBezTo>
                        <a:cubicBezTo>
                          <a:pt x="86992" y="151436"/>
                          <a:pt x="133663" y="152300"/>
                          <a:pt x="134242" y="152397"/>
                        </a:cubicBezTo>
                        <a:cubicBezTo>
                          <a:pt x="137624" y="151628"/>
                          <a:pt x="140716" y="153741"/>
                          <a:pt x="141489" y="157101"/>
                        </a:cubicBezTo>
                        <a:cubicBezTo>
                          <a:pt x="142262" y="160462"/>
                          <a:pt x="139847" y="163823"/>
                          <a:pt x="136465" y="164687"/>
                        </a:cubicBezTo>
                        <a:cubicBezTo>
                          <a:pt x="135982" y="164783"/>
                          <a:pt x="135112" y="164879"/>
                          <a:pt x="133856" y="164879"/>
                        </a:cubicBezTo>
                        <a:close/>
                      </a:path>
                    </a:pathLst>
                  </a:custGeom>
                  <a:solidFill>
                    <a:srgbClr val="FFFFFF"/>
                  </a:solidFill>
                  <a:ln w="9525" cap="flat">
                    <a:noFill/>
                    <a:prstDash val="solid"/>
                    <a:miter/>
                  </a:ln>
                </p:spPr>
                <p:txBody>
                  <a:bodyPr rtlCol="0" anchor="ctr"/>
                  <a:lstStyle/>
                  <a:p>
                    <a:endParaRPr lang="en-DK"/>
                  </a:p>
                </p:txBody>
              </p:sp>
              <p:sp>
                <p:nvSpPr>
                  <p:cNvPr id="116" name="Freeform 115">
                    <a:extLst>
                      <a:ext uri="{FF2B5EF4-FFF2-40B4-BE49-F238E27FC236}">
                        <a16:creationId xmlns:a16="http://schemas.microsoft.com/office/drawing/2014/main" id="{793CE34B-13F8-D873-32CA-D40DD77ED062}"/>
                      </a:ext>
                    </a:extLst>
                  </p:cNvPr>
                  <p:cNvSpPr/>
                  <p:nvPr/>
                </p:nvSpPr>
                <p:spPr>
                  <a:xfrm>
                    <a:off x="2076484" y="6021061"/>
                    <a:ext cx="187133" cy="217385"/>
                  </a:xfrm>
                  <a:custGeom>
                    <a:avLst/>
                    <a:gdLst>
                      <a:gd name="connsiteX0" fmla="*/ 45937 w 187133"/>
                      <a:gd name="connsiteY0" fmla="*/ 217386 h 217385"/>
                      <a:gd name="connsiteX1" fmla="*/ 31250 w 187133"/>
                      <a:gd name="connsiteY1" fmla="*/ 215562 h 217385"/>
                      <a:gd name="connsiteX2" fmla="*/ 12021 w 187133"/>
                      <a:gd name="connsiteY2" fmla="*/ 78639 h 217385"/>
                      <a:gd name="connsiteX3" fmla="*/ 12021 w 187133"/>
                      <a:gd name="connsiteY3" fmla="*/ 78639 h 217385"/>
                      <a:gd name="connsiteX4" fmla="*/ 111063 w 187133"/>
                      <a:gd name="connsiteY4" fmla="*/ 4512 h 217385"/>
                      <a:gd name="connsiteX5" fmla="*/ 167107 w 187133"/>
                      <a:gd name="connsiteY5" fmla="*/ 3456 h 217385"/>
                      <a:gd name="connsiteX6" fmla="*/ 186818 w 187133"/>
                      <a:gd name="connsiteY6" fmla="*/ 67405 h 217385"/>
                      <a:gd name="connsiteX7" fmla="*/ 151840 w 187133"/>
                      <a:gd name="connsiteY7" fmla="*/ 170049 h 217385"/>
                      <a:gd name="connsiteX8" fmla="*/ 45937 w 187133"/>
                      <a:gd name="connsiteY8" fmla="*/ 217386 h 217385"/>
                      <a:gd name="connsiteX9" fmla="*/ 37821 w 187133"/>
                      <a:gd name="connsiteY9" fmla="*/ 204615 h 217385"/>
                      <a:gd name="connsiteX10" fmla="*/ 142467 w 187133"/>
                      <a:gd name="connsiteY10" fmla="*/ 161887 h 217385"/>
                      <a:gd name="connsiteX11" fmla="*/ 159183 w 187133"/>
                      <a:gd name="connsiteY11" fmla="*/ 13346 h 217385"/>
                      <a:gd name="connsiteX12" fmla="*/ 23713 w 187133"/>
                      <a:gd name="connsiteY12" fmla="*/ 83632 h 217385"/>
                      <a:gd name="connsiteX13" fmla="*/ 37917 w 187133"/>
                      <a:gd name="connsiteY13" fmla="*/ 204615 h 21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133" h="217385">
                        <a:moveTo>
                          <a:pt x="45937" y="217386"/>
                        </a:moveTo>
                        <a:cubicBezTo>
                          <a:pt x="38014" y="217386"/>
                          <a:pt x="32603" y="216522"/>
                          <a:pt x="31250" y="215562"/>
                        </a:cubicBezTo>
                        <a:cubicBezTo>
                          <a:pt x="24003" y="210857"/>
                          <a:pt x="-21121" y="155262"/>
                          <a:pt x="12021" y="78639"/>
                        </a:cubicBezTo>
                        <a:lnTo>
                          <a:pt x="12021" y="78639"/>
                        </a:lnTo>
                        <a:cubicBezTo>
                          <a:pt x="33666" y="28709"/>
                          <a:pt x="83332" y="10753"/>
                          <a:pt x="111063" y="4512"/>
                        </a:cubicBezTo>
                        <a:cubicBezTo>
                          <a:pt x="132997" y="-481"/>
                          <a:pt x="160826" y="-2017"/>
                          <a:pt x="167107" y="3456"/>
                        </a:cubicBezTo>
                        <a:cubicBezTo>
                          <a:pt x="172711" y="8353"/>
                          <a:pt x="184789" y="35334"/>
                          <a:pt x="186818" y="67405"/>
                        </a:cubicBezTo>
                        <a:cubicBezTo>
                          <a:pt x="188558" y="94194"/>
                          <a:pt x="183919" y="133850"/>
                          <a:pt x="151840" y="170049"/>
                        </a:cubicBezTo>
                        <a:cubicBezTo>
                          <a:pt x="117054" y="209320"/>
                          <a:pt x="69804" y="217386"/>
                          <a:pt x="45937" y="217386"/>
                        </a:cubicBezTo>
                        <a:close/>
                        <a:moveTo>
                          <a:pt x="37821" y="204615"/>
                        </a:moveTo>
                        <a:cubicBezTo>
                          <a:pt x="46710" y="205288"/>
                          <a:pt x="102077" y="207400"/>
                          <a:pt x="142467" y="161887"/>
                        </a:cubicBezTo>
                        <a:cubicBezTo>
                          <a:pt x="198703" y="98419"/>
                          <a:pt x="165947" y="22660"/>
                          <a:pt x="159183" y="13346"/>
                        </a:cubicBezTo>
                        <a:cubicBezTo>
                          <a:pt x="146332" y="9697"/>
                          <a:pt x="53667" y="14210"/>
                          <a:pt x="23713" y="83632"/>
                        </a:cubicBezTo>
                        <a:cubicBezTo>
                          <a:pt x="-5275" y="150749"/>
                          <a:pt x="31443" y="197222"/>
                          <a:pt x="37917" y="204615"/>
                        </a:cubicBezTo>
                        <a:close/>
                      </a:path>
                    </a:pathLst>
                  </a:custGeom>
                  <a:solidFill>
                    <a:srgbClr val="FFFFFF"/>
                  </a:solidFill>
                  <a:ln w="9525" cap="flat">
                    <a:noFill/>
                    <a:prstDash val="solid"/>
                    <a:miter/>
                  </a:ln>
                </p:spPr>
                <p:txBody>
                  <a:bodyPr rtlCol="0" anchor="ctr"/>
                  <a:lstStyle/>
                  <a:p>
                    <a:endParaRPr lang="en-DK"/>
                  </a:p>
                </p:txBody>
              </p:sp>
            </p:grpSp>
            <p:grpSp>
              <p:nvGrpSpPr>
                <p:cNvPr id="117" name="Graphic 106">
                  <a:extLst>
                    <a:ext uri="{FF2B5EF4-FFF2-40B4-BE49-F238E27FC236}">
                      <a16:creationId xmlns:a16="http://schemas.microsoft.com/office/drawing/2014/main" id="{1596DFD0-80E5-39A0-463C-64EFD1758E40}"/>
                    </a:ext>
                  </a:extLst>
                </p:cNvPr>
                <p:cNvGrpSpPr/>
                <p:nvPr/>
              </p:nvGrpSpPr>
              <p:grpSpPr>
                <a:xfrm>
                  <a:off x="2011508" y="6003585"/>
                  <a:ext cx="212668" cy="209992"/>
                  <a:chOff x="2011508" y="6003585"/>
                  <a:chExt cx="212668" cy="209992"/>
                </a:xfrm>
                <a:solidFill>
                  <a:srgbClr val="FFFFFF"/>
                </a:solidFill>
              </p:grpSpPr>
              <p:sp>
                <p:nvSpPr>
                  <p:cNvPr id="118" name="Freeform 117">
                    <a:extLst>
                      <a:ext uri="{FF2B5EF4-FFF2-40B4-BE49-F238E27FC236}">
                        <a16:creationId xmlns:a16="http://schemas.microsoft.com/office/drawing/2014/main" id="{80646696-B66C-2698-14B8-B2A9D09CBD50}"/>
                      </a:ext>
                    </a:extLst>
                  </p:cNvPr>
                  <p:cNvSpPr/>
                  <p:nvPr/>
                </p:nvSpPr>
                <p:spPr>
                  <a:xfrm>
                    <a:off x="2100294" y="6003585"/>
                    <a:ext cx="12561" cy="83536"/>
                  </a:xfrm>
                  <a:custGeom>
                    <a:avLst/>
                    <a:gdLst>
                      <a:gd name="connsiteX0" fmla="*/ 6281 w 12561"/>
                      <a:gd name="connsiteY0" fmla="*/ 83536 h 83536"/>
                      <a:gd name="connsiteX1" fmla="*/ 0 w 12561"/>
                      <a:gd name="connsiteY1" fmla="*/ 77295 h 83536"/>
                      <a:gd name="connsiteX2" fmla="*/ 0 w 12561"/>
                      <a:gd name="connsiteY2" fmla="*/ 0 h 83536"/>
                      <a:gd name="connsiteX3" fmla="*/ 12561 w 12561"/>
                      <a:gd name="connsiteY3" fmla="*/ 0 h 83536"/>
                      <a:gd name="connsiteX4" fmla="*/ 12561 w 12561"/>
                      <a:gd name="connsiteY4" fmla="*/ 77199 h 83536"/>
                      <a:gd name="connsiteX5" fmla="*/ 6281 w 12561"/>
                      <a:gd name="connsiteY5" fmla="*/ 83440 h 83536"/>
                      <a:gd name="connsiteX6" fmla="*/ 6281 w 12561"/>
                      <a:gd name="connsiteY6" fmla="*/ 83440 h 8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 h="83536">
                        <a:moveTo>
                          <a:pt x="6281" y="83536"/>
                        </a:moveTo>
                        <a:cubicBezTo>
                          <a:pt x="2802" y="83536"/>
                          <a:pt x="0" y="80752"/>
                          <a:pt x="0" y="77295"/>
                        </a:cubicBezTo>
                        <a:cubicBezTo>
                          <a:pt x="0" y="49546"/>
                          <a:pt x="0" y="0"/>
                          <a:pt x="0" y="0"/>
                        </a:cubicBezTo>
                        <a:lnTo>
                          <a:pt x="12561" y="0"/>
                        </a:lnTo>
                        <a:cubicBezTo>
                          <a:pt x="12561" y="0"/>
                          <a:pt x="12465" y="49450"/>
                          <a:pt x="12561" y="77199"/>
                        </a:cubicBezTo>
                        <a:cubicBezTo>
                          <a:pt x="12561" y="80656"/>
                          <a:pt x="9759" y="83440"/>
                          <a:pt x="6281" y="83440"/>
                        </a:cubicBezTo>
                        <a:lnTo>
                          <a:pt x="6281" y="83440"/>
                        </a:lnTo>
                        <a:close/>
                      </a:path>
                    </a:pathLst>
                  </a:custGeom>
                  <a:solidFill>
                    <a:srgbClr val="FFFFFF"/>
                  </a:solidFill>
                  <a:ln w="9525" cap="flat">
                    <a:noFill/>
                    <a:prstDash val="solid"/>
                    <a:miter/>
                  </a:ln>
                </p:spPr>
                <p:txBody>
                  <a:bodyPr rtlCol="0" anchor="ctr"/>
                  <a:lstStyle/>
                  <a:p>
                    <a:endParaRPr lang="en-DK"/>
                  </a:p>
                </p:txBody>
              </p:sp>
              <p:sp>
                <p:nvSpPr>
                  <p:cNvPr id="119" name="Freeform 118">
                    <a:extLst>
                      <a:ext uri="{FF2B5EF4-FFF2-40B4-BE49-F238E27FC236}">
                        <a16:creationId xmlns:a16="http://schemas.microsoft.com/office/drawing/2014/main" id="{DB392DDF-4DB8-C6B8-26F0-D697EBAF102B}"/>
                      </a:ext>
                    </a:extLst>
                  </p:cNvPr>
                  <p:cNvSpPr/>
                  <p:nvPr/>
                </p:nvSpPr>
                <p:spPr>
                  <a:xfrm>
                    <a:off x="2011508" y="6110276"/>
                    <a:ext cx="84419" cy="91300"/>
                  </a:xfrm>
                  <a:custGeom>
                    <a:avLst/>
                    <a:gdLst>
                      <a:gd name="connsiteX0" fmla="*/ 78157 w 84419"/>
                      <a:gd name="connsiteY0" fmla="*/ 91204 h 91300"/>
                      <a:gd name="connsiteX1" fmla="*/ 73035 w 84419"/>
                      <a:gd name="connsiteY1" fmla="*/ 88516 h 91300"/>
                      <a:gd name="connsiteX2" fmla="*/ 47140 w 84419"/>
                      <a:gd name="connsiteY2" fmla="*/ 54525 h 91300"/>
                      <a:gd name="connsiteX3" fmla="*/ 2498 w 84419"/>
                      <a:gd name="connsiteY3" fmla="*/ 11220 h 91300"/>
                      <a:gd name="connsiteX4" fmla="*/ 1242 w 84419"/>
                      <a:gd name="connsiteY4" fmla="*/ 2483 h 91300"/>
                      <a:gd name="connsiteX5" fmla="*/ 10035 w 84419"/>
                      <a:gd name="connsiteY5" fmla="*/ 1234 h 91300"/>
                      <a:gd name="connsiteX6" fmla="*/ 56706 w 84419"/>
                      <a:gd name="connsiteY6" fmla="*/ 46555 h 91300"/>
                      <a:gd name="connsiteX7" fmla="*/ 83278 w 84419"/>
                      <a:gd name="connsiteY7" fmla="*/ 81506 h 91300"/>
                      <a:gd name="connsiteX8" fmla="*/ 81732 w 84419"/>
                      <a:gd name="connsiteY8" fmla="*/ 90148 h 91300"/>
                      <a:gd name="connsiteX9" fmla="*/ 78157 w 84419"/>
                      <a:gd name="connsiteY9" fmla="*/ 91300 h 9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419" h="91300">
                        <a:moveTo>
                          <a:pt x="78157" y="91204"/>
                        </a:moveTo>
                        <a:cubicBezTo>
                          <a:pt x="76128" y="91204"/>
                          <a:pt x="74195" y="90244"/>
                          <a:pt x="73035" y="88516"/>
                        </a:cubicBezTo>
                        <a:cubicBezTo>
                          <a:pt x="64242" y="75937"/>
                          <a:pt x="55546" y="64511"/>
                          <a:pt x="47140" y="54525"/>
                        </a:cubicBezTo>
                        <a:cubicBezTo>
                          <a:pt x="38057" y="43675"/>
                          <a:pt x="15350" y="20726"/>
                          <a:pt x="2498" y="11220"/>
                        </a:cubicBezTo>
                        <a:cubicBezTo>
                          <a:pt x="-304" y="9108"/>
                          <a:pt x="-787" y="5267"/>
                          <a:pt x="1242" y="2483"/>
                        </a:cubicBezTo>
                        <a:cubicBezTo>
                          <a:pt x="3271" y="-302"/>
                          <a:pt x="7233" y="-782"/>
                          <a:pt x="10035" y="1234"/>
                        </a:cubicBezTo>
                        <a:cubicBezTo>
                          <a:pt x="23949" y="11604"/>
                          <a:pt x="47430" y="35417"/>
                          <a:pt x="56706" y="46555"/>
                        </a:cubicBezTo>
                        <a:cubicBezTo>
                          <a:pt x="65402" y="56925"/>
                          <a:pt x="74292" y="68640"/>
                          <a:pt x="83278" y="81506"/>
                        </a:cubicBezTo>
                        <a:cubicBezTo>
                          <a:pt x="85307" y="84291"/>
                          <a:pt x="84534" y="88227"/>
                          <a:pt x="81732" y="90148"/>
                        </a:cubicBezTo>
                        <a:cubicBezTo>
                          <a:pt x="80669" y="90916"/>
                          <a:pt x="79413" y="91300"/>
                          <a:pt x="78157" y="91300"/>
                        </a:cubicBezTo>
                        <a:close/>
                      </a:path>
                    </a:pathLst>
                  </a:custGeom>
                  <a:solidFill>
                    <a:srgbClr val="FFFFFF"/>
                  </a:solidFill>
                  <a:ln w="9525" cap="flat">
                    <a:noFill/>
                    <a:prstDash val="solid"/>
                    <a:miter/>
                  </a:ln>
                </p:spPr>
                <p:txBody>
                  <a:bodyPr rtlCol="0" anchor="ctr"/>
                  <a:lstStyle/>
                  <a:p>
                    <a:endParaRPr lang="en-DK"/>
                  </a:p>
                </p:txBody>
              </p:sp>
              <p:grpSp>
                <p:nvGrpSpPr>
                  <p:cNvPr id="120" name="Graphic 106">
                    <a:extLst>
                      <a:ext uri="{FF2B5EF4-FFF2-40B4-BE49-F238E27FC236}">
                        <a16:creationId xmlns:a16="http://schemas.microsoft.com/office/drawing/2014/main" id="{7E99C6C9-E9D8-B2C9-4D9C-24F3FBBA51DC}"/>
                      </a:ext>
                    </a:extLst>
                  </p:cNvPr>
                  <p:cNvGrpSpPr/>
                  <p:nvPr/>
                </p:nvGrpSpPr>
                <p:grpSpPr>
                  <a:xfrm>
                    <a:off x="2115207" y="6059347"/>
                    <a:ext cx="108969" cy="154230"/>
                    <a:chOff x="2115207" y="6059347"/>
                    <a:chExt cx="108969" cy="154230"/>
                  </a:xfrm>
                  <a:solidFill>
                    <a:srgbClr val="FFFFFF"/>
                  </a:solidFill>
                </p:grpSpPr>
                <p:sp>
                  <p:nvSpPr>
                    <p:cNvPr id="121" name="Freeform 120">
                      <a:extLst>
                        <a:ext uri="{FF2B5EF4-FFF2-40B4-BE49-F238E27FC236}">
                          <a16:creationId xmlns:a16="http://schemas.microsoft.com/office/drawing/2014/main" id="{B10D1719-0F8E-98A6-EC5C-F4AFAE24D50A}"/>
                        </a:ext>
                      </a:extLst>
                    </p:cNvPr>
                    <p:cNvSpPr/>
                    <p:nvPr/>
                  </p:nvSpPr>
                  <p:spPr>
                    <a:xfrm>
                      <a:off x="2118254" y="6059347"/>
                      <a:ext cx="99465" cy="154230"/>
                    </a:xfrm>
                    <a:custGeom>
                      <a:avLst/>
                      <a:gdLst>
                        <a:gd name="connsiteX0" fmla="*/ 6293 w 99465"/>
                        <a:gd name="connsiteY0" fmla="*/ 154231 h 154230"/>
                        <a:gd name="connsiteX1" fmla="*/ 4360 w 99465"/>
                        <a:gd name="connsiteY1" fmla="*/ 153943 h 154230"/>
                        <a:gd name="connsiteX2" fmla="*/ 302 w 99465"/>
                        <a:gd name="connsiteY2" fmla="*/ 146069 h 154230"/>
                        <a:gd name="connsiteX3" fmla="*/ 88811 w 99465"/>
                        <a:gd name="connsiteY3" fmla="*/ 1753 h 154230"/>
                        <a:gd name="connsiteX4" fmla="*/ 97701 w 99465"/>
                        <a:gd name="connsiteY4" fmla="*/ 1849 h 154230"/>
                        <a:gd name="connsiteX5" fmla="*/ 97604 w 99465"/>
                        <a:gd name="connsiteY5" fmla="*/ 10683 h 154230"/>
                        <a:gd name="connsiteX6" fmla="*/ 12380 w 99465"/>
                        <a:gd name="connsiteY6" fmla="*/ 149814 h 154230"/>
                        <a:gd name="connsiteX7" fmla="*/ 6389 w 99465"/>
                        <a:gd name="connsiteY7" fmla="*/ 154231 h 15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465" h="154230">
                          <a:moveTo>
                            <a:pt x="6293" y="154231"/>
                          </a:moveTo>
                          <a:cubicBezTo>
                            <a:pt x="5713" y="154231"/>
                            <a:pt x="5037" y="154231"/>
                            <a:pt x="4360" y="153943"/>
                          </a:cubicBezTo>
                          <a:cubicBezTo>
                            <a:pt x="1075" y="152887"/>
                            <a:pt x="-761" y="149430"/>
                            <a:pt x="302" y="146069"/>
                          </a:cubicBezTo>
                          <a:cubicBezTo>
                            <a:pt x="15665" y="97484"/>
                            <a:pt x="53736" y="35456"/>
                            <a:pt x="88811" y="1753"/>
                          </a:cubicBezTo>
                          <a:cubicBezTo>
                            <a:pt x="91324" y="-647"/>
                            <a:pt x="95285" y="-551"/>
                            <a:pt x="97701" y="1849"/>
                          </a:cubicBezTo>
                          <a:cubicBezTo>
                            <a:pt x="100117" y="4346"/>
                            <a:pt x="100020" y="8282"/>
                            <a:pt x="97604" y="10683"/>
                          </a:cubicBezTo>
                          <a:cubicBezTo>
                            <a:pt x="63882" y="43137"/>
                            <a:pt x="27164" y="102957"/>
                            <a:pt x="12380" y="149814"/>
                          </a:cubicBezTo>
                          <a:cubicBezTo>
                            <a:pt x="11511" y="152503"/>
                            <a:pt x="9095" y="154231"/>
                            <a:pt x="6389" y="154231"/>
                          </a:cubicBezTo>
                          <a:close/>
                        </a:path>
                      </a:pathLst>
                    </a:custGeom>
                    <a:solidFill>
                      <a:srgbClr val="FFFFFF"/>
                    </a:solidFill>
                    <a:ln w="9525" cap="flat">
                      <a:noFill/>
                      <a:prstDash val="solid"/>
                      <a:miter/>
                    </a:ln>
                  </p:spPr>
                  <p:txBody>
                    <a:bodyPr rtlCol="0" anchor="ctr"/>
                    <a:lstStyle/>
                    <a:p>
                      <a:endParaRPr lang="en-DK"/>
                    </a:p>
                  </p:txBody>
                </p:sp>
                <p:sp>
                  <p:nvSpPr>
                    <p:cNvPr id="122" name="Freeform 121">
                      <a:extLst>
                        <a:ext uri="{FF2B5EF4-FFF2-40B4-BE49-F238E27FC236}">
                          <a16:creationId xmlns:a16="http://schemas.microsoft.com/office/drawing/2014/main" id="{3B33B7A3-340C-B0C5-DD7B-A1C1B244715D}"/>
                        </a:ext>
                      </a:extLst>
                    </p:cNvPr>
                    <p:cNvSpPr/>
                    <p:nvPr/>
                  </p:nvSpPr>
                  <p:spPr>
                    <a:xfrm>
                      <a:off x="2139565" y="6078425"/>
                      <a:ext cx="84611" cy="60835"/>
                    </a:xfrm>
                    <a:custGeom>
                      <a:avLst/>
                      <a:gdLst>
                        <a:gd name="connsiteX0" fmla="*/ 19960 w 84611"/>
                        <a:gd name="connsiteY0" fmla="*/ 60739 h 60835"/>
                        <a:gd name="connsiteX1" fmla="*/ 13873 w 84611"/>
                        <a:gd name="connsiteY1" fmla="*/ 56226 h 60835"/>
                        <a:gd name="connsiteX2" fmla="*/ 249 w 84611"/>
                        <a:gd name="connsiteY2" fmla="*/ 7929 h 60835"/>
                        <a:gd name="connsiteX3" fmla="*/ 4597 w 84611"/>
                        <a:gd name="connsiteY3" fmla="*/ 247 h 60835"/>
                        <a:gd name="connsiteX4" fmla="*/ 12327 w 84611"/>
                        <a:gd name="connsiteY4" fmla="*/ 4568 h 60835"/>
                        <a:gd name="connsiteX5" fmla="*/ 24309 w 84611"/>
                        <a:gd name="connsiteY5" fmla="*/ 47008 h 60835"/>
                        <a:gd name="connsiteX6" fmla="*/ 76777 w 84611"/>
                        <a:gd name="connsiteY6" fmla="*/ 33566 h 60835"/>
                        <a:gd name="connsiteX7" fmla="*/ 84410 w 84611"/>
                        <a:gd name="connsiteY7" fmla="*/ 38079 h 60835"/>
                        <a:gd name="connsiteX8" fmla="*/ 79869 w 84611"/>
                        <a:gd name="connsiteY8" fmla="*/ 45664 h 60835"/>
                        <a:gd name="connsiteX9" fmla="*/ 21410 w 84611"/>
                        <a:gd name="connsiteY9" fmla="*/ 60643 h 60835"/>
                        <a:gd name="connsiteX10" fmla="*/ 19864 w 84611"/>
                        <a:gd name="connsiteY10" fmla="*/ 60835 h 60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11" h="60835">
                          <a:moveTo>
                            <a:pt x="19960" y="60739"/>
                          </a:moveTo>
                          <a:cubicBezTo>
                            <a:pt x="17158" y="60739"/>
                            <a:pt x="14646" y="58915"/>
                            <a:pt x="13873" y="56226"/>
                          </a:cubicBezTo>
                          <a:lnTo>
                            <a:pt x="249" y="7929"/>
                          </a:lnTo>
                          <a:cubicBezTo>
                            <a:pt x="-718" y="4568"/>
                            <a:pt x="1215" y="1207"/>
                            <a:pt x="4597" y="247"/>
                          </a:cubicBezTo>
                          <a:cubicBezTo>
                            <a:pt x="7979" y="-713"/>
                            <a:pt x="11361" y="1207"/>
                            <a:pt x="12327" y="4568"/>
                          </a:cubicBezTo>
                          <a:lnTo>
                            <a:pt x="24309" y="47008"/>
                          </a:lnTo>
                          <a:lnTo>
                            <a:pt x="76777" y="33566"/>
                          </a:lnTo>
                          <a:cubicBezTo>
                            <a:pt x="80062" y="32702"/>
                            <a:pt x="83541" y="34718"/>
                            <a:pt x="84410" y="38079"/>
                          </a:cubicBezTo>
                          <a:cubicBezTo>
                            <a:pt x="85280" y="41439"/>
                            <a:pt x="83251" y="44800"/>
                            <a:pt x="79869" y="45664"/>
                          </a:cubicBezTo>
                          <a:lnTo>
                            <a:pt x="21410" y="60643"/>
                          </a:lnTo>
                          <a:cubicBezTo>
                            <a:pt x="20927" y="60739"/>
                            <a:pt x="20347" y="60835"/>
                            <a:pt x="19864" y="60835"/>
                          </a:cubicBezTo>
                          <a:close/>
                        </a:path>
                      </a:pathLst>
                    </a:custGeom>
                    <a:solidFill>
                      <a:srgbClr val="FFFFFF"/>
                    </a:solidFill>
                    <a:ln w="9525" cap="flat">
                      <a:noFill/>
                      <a:prstDash val="solid"/>
                      <a:miter/>
                    </a:ln>
                  </p:spPr>
                  <p:txBody>
                    <a:bodyPr rtlCol="0" anchor="ctr"/>
                    <a:lstStyle/>
                    <a:p>
                      <a:endParaRPr lang="en-DK"/>
                    </a:p>
                  </p:txBody>
                </p:sp>
                <p:sp>
                  <p:nvSpPr>
                    <p:cNvPr id="123" name="Freeform 122">
                      <a:extLst>
                        <a:ext uri="{FF2B5EF4-FFF2-40B4-BE49-F238E27FC236}">
                          <a16:creationId xmlns:a16="http://schemas.microsoft.com/office/drawing/2014/main" id="{ADB5D8DA-051E-EDE0-51D7-A3BEC76D347A}"/>
                        </a:ext>
                      </a:extLst>
                    </p:cNvPr>
                    <p:cNvSpPr/>
                    <p:nvPr/>
                  </p:nvSpPr>
                  <p:spPr>
                    <a:xfrm>
                      <a:off x="2115207" y="6122969"/>
                      <a:ext cx="84625" cy="61035"/>
                    </a:xfrm>
                    <a:custGeom>
                      <a:avLst/>
                      <a:gdLst>
                        <a:gd name="connsiteX0" fmla="*/ 20741 w 84625"/>
                        <a:gd name="connsiteY0" fmla="*/ 60843 h 61035"/>
                        <a:gd name="connsiteX1" fmla="*/ 14751 w 84625"/>
                        <a:gd name="connsiteY1" fmla="*/ 56426 h 61035"/>
                        <a:gd name="connsiteX2" fmla="*/ 257 w 84625"/>
                        <a:gd name="connsiteY2" fmla="*/ 8033 h 61035"/>
                        <a:gd name="connsiteX3" fmla="*/ 4508 w 84625"/>
                        <a:gd name="connsiteY3" fmla="*/ 255 h 61035"/>
                        <a:gd name="connsiteX4" fmla="*/ 12335 w 84625"/>
                        <a:gd name="connsiteY4" fmla="*/ 4480 h 61035"/>
                        <a:gd name="connsiteX5" fmla="*/ 25090 w 84625"/>
                        <a:gd name="connsiteY5" fmla="*/ 47112 h 61035"/>
                        <a:gd name="connsiteX6" fmla="*/ 76688 w 84625"/>
                        <a:gd name="connsiteY6" fmla="*/ 33382 h 61035"/>
                        <a:gd name="connsiteX7" fmla="*/ 84418 w 84625"/>
                        <a:gd name="connsiteY7" fmla="*/ 37798 h 61035"/>
                        <a:gd name="connsiteX8" fmla="*/ 79973 w 84625"/>
                        <a:gd name="connsiteY8" fmla="*/ 45480 h 61035"/>
                        <a:gd name="connsiteX9" fmla="*/ 22481 w 84625"/>
                        <a:gd name="connsiteY9" fmla="*/ 60843 h 61035"/>
                        <a:gd name="connsiteX10" fmla="*/ 20838 w 84625"/>
                        <a:gd name="connsiteY10" fmla="*/ 61035 h 61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5" h="61035">
                          <a:moveTo>
                            <a:pt x="20741" y="60843"/>
                          </a:moveTo>
                          <a:cubicBezTo>
                            <a:pt x="18036" y="60843"/>
                            <a:pt x="15524" y="59115"/>
                            <a:pt x="14751" y="56426"/>
                          </a:cubicBezTo>
                          <a:lnTo>
                            <a:pt x="257" y="8033"/>
                          </a:lnTo>
                          <a:cubicBezTo>
                            <a:pt x="-710" y="4768"/>
                            <a:pt x="1126" y="1215"/>
                            <a:pt x="4508" y="255"/>
                          </a:cubicBezTo>
                          <a:cubicBezTo>
                            <a:pt x="7794" y="-705"/>
                            <a:pt x="11369" y="1119"/>
                            <a:pt x="12335" y="4480"/>
                          </a:cubicBezTo>
                          <a:lnTo>
                            <a:pt x="25090" y="47112"/>
                          </a:lnTo>
                          <a:lnTo>
                            <a:pt x="76688" y="33382"/>
                          </a:lnTo>
                          <a:cubicBezTo>
                            <a:pt x="80070" y="32517"/>
                            <a:pt x="83452" y="34438"/>
                            <a:pt x="84418" y="37798"/>
                          </a:cubicBezTo>
                          <a:cubicBezTo>
                            <a:pt x="85288" y="41159"/>
                            <a:pt x="83355" y="44520"/>
                            <a:pt x="79973" y="45480"/>
                          </a:cubicBezTo>
                          <a:lnTo>
                            <a:pt x="22481" y="60843"/>
                          </a:lnTo>
                          <a:cubicBezTo>
                            <a:pt x="21901" y="61035"/>
                            <a:pt x="21418" y="61035"/>
                            <a:pt x="20838" y="61035"/>
                          </a:cubicBezTo>
                          <a:close/>
                        </a:path>
                      </a:pathLst>
                    </a:custGeom>
                    <a:solidFill>
                      <a:srgbClr val="FFFFFF"/>
                    </a:solidFill>
                    <a:ln w="9525" cap="flat">
                      <a:noFill/>
                      <a:prstDash val="solid"/>
                      <a:miter/>
                    </a:ln>
                  </p:spPr>
                  <p:txBody>
                    <a:bodyPr rtlCol="0" anchor="ctr"/>
                    <a:lstStyle/>
                    <a:p>
                      <a:endParaRPr lang="en-DK"/>
                    </a:p>
                  </p:txBody>
                </p:sp>
              </p:grpSp>
            </p:grpSp>
          </p:grpSp>
        </p:grpSp>
      </p:grpSp>
      <p:grpSp>
        <p:nvGrpSpPr>
          <p:cNvPr id="130" name="Graphic 128">
            <a:extLst>
              <a:ext uri="{FF2B5EF4-FFF2-40B4-BE49-F238E27FC236}">
                <a16:creationId xmlns:a16="http://schemas.microsoft.com/office/drawing/2014/main" id="{0FBACA56-8940-8299-E335-39A69C3B6747}"/>
              </a:ext>
            </a:extLst>
          </p:cNvPr>
          <p:cNvGrpSpPr/>
          <p:nvPr/>
        </p:nvGrpSpPr>
        <p:grpSpPr>
          <a:xfrm>
            <a:off x="4478589" y="3839539"/>
            <a:ext cx="578384" cy="578384"/>
            <a:chOff x="4455955" y="3908292"/>
            <a:chExt cx="578384" cy="578384"/>
          </a:xfrm>
        </p:grpSpPr>
        <p:sp>
          <p:nvSpPr>
            <p:cNvPr id="131" name="Freeform 130">
              <a:extLst>
                <a:ext uri="{FF2B5EF4-FFF2-40B4-BE49-F238E27FC236}">
                  <a16:creationId xmlns:a16="http://schemas.microsoft.com/office/drawing/2014/main" id="{3CBF59B1-75AD-7BCE-0E19-C8A2F2D0A40A}"/>
                </a:ext>
              </a:extLst>
            </p:cNvPr>
            <p:cNvSpPr/>
            <p:nvPr/>
          </p:nvSpPr>
          <p:spPr>
            <a:xfrm>
              <a:off x="4834261" y="3917584"/>
              <a:ext cx="190623" cy="196340"/>
            </a:xfrm>
            <a:custGeom>
              <a:avLst/>
              <a:gdLst>
                <a:gd name="connsiteX0" fmla="*/ 179352 w 190623"/>
                <a:gd name="connsiteY0" fmla="*/ 0 h 196340"/>
                <a:gd name="connsiteX1" fmla="*/ 102744 w 190623"/>
                <a:gd name="connsiteY1" fmla="*/ 4574 h 196340"/>
                <a:gd name="connsiteX2" fmla="*/ 13721 w 190623"/>
                <a:gd name="connsiteY2" fmla="*/ 29729 h 196340"/>
                <a:gd name="connsiteX3" fmla="*/ 0 w 190623"/>
                <a:gd name="connsiteY3" fmla="*/ 40019 h 196340"/>
                <a:gd name="connsiteX4" fmla="*/ 148480 w 190623"/>
                <a:gd name="connsiteY4" fmla="*/ 196340 h 196340"/>
                <a:gd name="connsiteX5" fmla="*/ 169062 w 190623"/>
                <a:gd name="connsiteY5" fmla="*/ 151747 h 196340"/>
                <a:gd name="connsiteX6" fmla="*/ 184906 w 190623"/>
                <a:gd name="connsiteY6" fmla="*/ 90166 h 196340"/>
                <a:gd name="connsiteX7" fmla="*/ 190623 w 190623"/>
                <a:gd name="connsiteY7" fmla="*/ 40019 h 196340"/>
                <a:gd name="connsiteX8" fmla="*/ 179352 w 190623"/>
                <a:gd name="connsiteY8" fmla="*/ 0 h 19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623" h="196340">
                  <a:moveTo>
                    <a:pt x="179352" y="0"/>
                  </a:moveTo>
                  <a:lnTo>
                    <a:pt x="102744" y="4574"/>
                  </a:lnTo>
                  <a:lnTo>
                    <a:pt x="13721" y="29729"/>
                  </a:lnTo>
                  <a:lnTo>
                    <a:pt x="0" y="40019"/>
                  </a:lnTo>
                  <a:lnTo>
                    <a:pt x="148480" y="196340"/>
                  </a:lnTo>
                  <a:lnTo>
                    <a:pt x="169062" y="151747"/>
                  </a:lnTo>
                  <a:lnTo>
                    <a:pt x="184906" y="90166"/>
                  </a:lnTo>
                  <a:lnTo>
                    <a:pt x="190623" y="40019"/>
                  </a:lnTo>
                  <a:lnTo>
                    <a:pt x="179352" y="0"/>
                  </a:lnTo>
                  <a:close/>
                </a:path>
              </a:pathLst>
            </a:custGeom>
            <a:solidFill>
              <a:srgbClr val="2978FF">
                <a:alpha val="49641"/>
              </a:srgbClr>
            </a:solidFill>
            <a:ln w="16329" cap="flat">
              <a:noFill/>
              <a:prstDash val="solid"/>
              <a:miter/>
            </a:ln>
          </p:spPr>
          <p:txBody>
            <a:bodyPr rtlCol="0" anchor="ctr"/>
            <a:lstStyle/>
            <a:p>
              <a:endParaRPr lang="en-DK"/>
            </a:p>
          </p:txBody>
        </p:sp>
        <p:sp>
          <p:nvSpPr>
            <p:cNvPr id="132" name="Freeform 131">
              <a:extLst>
                <a:ext uri="{FF2B5EF4-FFF2-40B4-BE49-F238E27FC236}">
                  <a16:creationId xmlns:a16="http://schemas.microsoft.com/office/drawing/2014/main" id="{378E10C6-D102-5F47-BCEB-9A8A7BB508B9}"/>
                </a:ext>
              </a:extLst>
            </p:cNvPr>
            <p:cNvSpPr/>
            <p:nvPr/>
          </p:nvSpPr>
          <p:spPr>
            <a:xfrm>
              <a:off x="4532890" y="4255544"/>
              <a:ext cx="146193" cy="152890"/>
            </a:xfrm>
            <a:custGeom>
              <a:avLst/>
              <a:gdLst>
                <a:gd name="connsiteX0" fmla="*/ 29729 w 146193"/>
                <a:gd name="connsiteY0" fmla="*/ 0 h 152890"/>
                <a:gd name="connsiteX1" fmla="*/ 0 w 146193"/>
                <a:gd name="connsiteY1" fmla="*/ 68441 h 152890"/>
                <a:gd name="connsiteX2" fmla="*/ 81182 w 146193"/>
                <a:gd name="connsiteY2" fmla="*/ 152891 h 152890"/>
                <a:gd name="connsiteX3" fmla="*/ 146193 w 146193"/>
                <a:gd name="connsiteY3" fmla="*/ 122018 h 152890"/>
                <a:gd name="connsiteX4" fmla="*/ 29729 w 146193"/>
                <a:gd name="connsiteY4" fmla="*/ 0 h 152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193" h="152890">
                  <a:moveTo>
                    <a:pt x="29729" y="0"/>
                  </a:moveTo>
                  <a:lnTo>
                    <a:pt x="0" y="68441"/>
                  </a:lnTo>
                  <a:lnTo>
                    <a:pt x="81182" y="152891"/>
                  </a:lnTo>
                  <a:lnTo>
                    <a:pt x="146193" y="122018"/>
                  </a:lnTo>
                  <a:lnTo>
                    <a:pt x="29729" y="0"/>
                  </a:lnTo>
                  <a:close/>
                </a:path>
              </a:pathLst>
            </a:custGeom>
            <a:solidFill>
              <a:srgbClr val="2978FF">
                <a:alpha val="50000"/>
              </a:srgbClr>
            </a:solidFill>
            <a:ln w="16329" cap="flat">
              <a:noFill/>
              <a:prstDash val="solid"/>
              <a:miter/>
            </a:ln>
          </p:spPr>
          <p:txBody>
            <a:bodyPr rtlCol="0" anchor="ctr"/>
            <a:lstStyle/>
            <a:p>
              <a:endParaRPr lang="en-DK"/>
            </a:p>
          </p:txBody>
        </p:sp>
        <p:sp>
          <p:nvSpPr>
            <p:cNvPr id="133" name="Freeform 132">
              <a:extLst>
                <a:ext uri="{FF2B5EF4-FFF2-40B4-BE49-F238E27FC236}">
                  <a16:creationId xmlns:a16="http://schemas.microsoft.com/office/drawing/2014/main" id="{5F71D870-075F-F2D1-8503-A90CEDF291F3}"/>
                </a:ext>
              </a:extLst>
            </p:cNvPr>
            <p:cNvSpPr/>
            <p:nvPr/>
          </p:nvSpPr>
          <p:spPr>
            <a:xfrm>
              <a:off x="4726412" y="4073741"/>
              <a:ext cx="142518" cy="142273"/>
            </a:xfrm>
            <a:custGeom>
              <a:avLst/>
              <a:gdLst>
                <a:gd name="connsiteX0" fmla="*/ 71259 w 142518"/>
                <a:gd name="connsiteY0" fmla="*/ 21071 h 142273"/>
                <a:gd name="connsiteX1" fmla="*/ 29443 w 142518"/>
                <a:gd name="connsiteY1" fmla="*/ 43450 h 142273"/>
                <a:gd name="connsiteX2" fmla="*/ 29443 w 142518"/>
                <a:gd name="connsiteY2" fmla="*/ 98987 h 142273"/>
                <a:gd name="connsiteX3" fmla="*/ 71259 w 142518"/>
                <a:gd name="connsiteY3" fmla="*/ 121365 h 142273"/>
                <a:gd name="connsiteX4" fmla="*/ 71259 w 142518"/>
                <a:gd name="connsiteY4" fmla="*/ 121365 h 142273"/>
                <a:gd name="connsiteX5" fmla="*/ 113075 w 142518"/>
                <a:gd name="connsiteY5" fmla="*/ 98987 h 142273"/>
                <a:gd name="connsiteX6" fmla="*/ 113075 w 142518"/>
                <a:gd name="connsiteY6" fmla="*/ 43450 h 142273"/>
                <a:gd name="connsiteX7" fmla="*/ 71259 w 142518"/>
                <a:gd name="connsiteY7" fmla="*/ 21071 h 142273"/>
                <a:gd name="connsiteX8" fmla="*/ 71259 w 142518"/>
                <a:gd name="connsiteY8" fmla="*/ 21071 h 142273"/>
                <a:gd name="connsiteX9" fmla="*/ 71259 w 142518"/>
                <a:gd name="connsiteY9" fmla="*/ 142273 h 142273"/>
                <a:gd name="connsiteX10" fmla="*/ 71259 w 142518"/>
                <a:gd name="connsiteY10" fmla="*/ 142273 h 142273"/>
                <a:gd name="connsiteX11" fmla="*/ 12128 w 142518"/>
                <a:gd name="connsiteY11" fmla="*/ 110748 h 142273"/>
                <a:gd name="connsiteX12" fmla="*/ 12128 w 142518"/>
                <a:gd name="connsiteY12" fmla="*/ 31526 h 142273"/>
                <a:gd name="connsiteX13" fmla="*/ 71259 w 142518"/>
                <a:gd name="connsiteY13" fmla="*/ 0 h 142273"/>
                <a:gd name="connsiteX14" fmla="*/ 71259 w 142518"/>
                <a:gd name="connsiteY14" fmla="*/ 0 h 142273"/>
                <a:gd name="connsiteX15" fmla="*/ 130390 w 142518"/>
                <a:gd name="connsiteY15" fmla="*/ 31526 h 142273"/>
                <a:gd name="connsiteX16" fmla="*/ 130390 w 142518"/>
                <a:gd name="connsiteY16" fmla="*/ 110748 h 142273"/>
                <a:gd name="connsiteX17" fmla="*/ 71259 w 142518"/>
                <a:gd name="connsiteY17" fmla="*/ 142273 h 14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518" h="142273">
                  <a:moveTo>
                    <a:pt x="71259" y="21071"/>
                  </a:moveTo>
                  <a:cubicBezTo>
                    <a:pt x="54435" y="21071"/>
                    <a:pt x="39244" y="29239"/>
                    <a:pt x="29443" y="43450"/>
                  </a:cubicBezTo>
                  <a:cubicBezTo>
                    <a:pt x="18335" y="59784"/>
                    <a:pt x="18335" y="82652"/>
                    <a:pt x="29443" y="98987"/>
                  </a:cubicBezTo>
                  <a:cubicBezTo>
                    <a:pt x="39080" y="113198"/>
                    <a:pt x="54271" y="121365"/>
                    <a:pt x="71259" y="121365"/>
                  </a:cubicBezTo>
                  <a:lnTo>
                    <a:pt x="71259" y="121365"/>
                  </a:lnTo>
                  <a:cubicBezTo>
                    <a:pt x="88084" y="121365"/>
                    <a:pt x="103275" y="113198"/>
                    <a:pt x="113075" y="98987"/>
                  </a:cubicBezTo>
                  <a:cubicBezTo>
                    <a:pt x="124183" y="82652"/>
                    <a:pt x="124183" y="59784"/>
                    <a:pt x="113075" y="43450"/>
                  </a:cubicBezTo>
                  <a:cubicBezTo>
                    <a:pt x="103438" y="29239"/>
                    <a:pt x="88247" y="21071"/>
                    <a:pt x="71259" y="21071"/>
                  </a:cubicBezTo>
                  <a:lnTo>
                    <a:pt x="71259" y="21071"/>
                  </a:lnTo>
                  <a:close/>
                  <a:moveTo>
                    <a:pt x="71259" y="142273"/>
                  </a:moveTo>
                  <a:lnTo>
                    <a:pt x="71259" y="142273"/>
                  </a:lnTo>
                  <a:cubicBezTo>
                    <a:pt x="47737" y="142273"/>
                    <a:pt x="25523" y="130512"/>
                    <a:pt x="12128" y="110748"/>
                  </a:cubicBezTo>
                  <a:cubicBezTo>
                    <a:pt x="-4043" y="87063"/>
                    <a:pt x="-4043" y="55210"/>
                    <a:pt x="12128" y="31526"/>
                  </a:cubicBezTo>
                  <a:cubicBezTo>
                    <a:pt x="25523" y="11761"/>
                    <a:pt x="47737" y="0"/>
                    <a:pt x="71259" y="0"/>
                  </a:cubicBezTo>
                  <a:lnTo>
                    <a:pt x="71259" y="0"/>
                  </a:lnTo>
                  <a:cubicBezTo>
                    <a:pt x="94781" y="0"/>
                    <a:pt x="116996" y="11761"/>
                    <a:pt x="130390" y="31526"/>
                  </a:cubicBezTo>
                  <a:cubicBezTo>
                    <a:pt x="146561" y="55210"/>
                    <a:pt x="146561" y="87063"/>
                    <a:pt x="130390" y="110748"/>
                  </a:cubicBezTo>
                  <a:cubicBezTo>
                    <a:pt x="116996" y="130512"/>
                    <a:pt x="94781" y="142273"/>
                    <a:pt x="71259" y="142273"/>
                  </a:cubicBezTo>
                </a:path>
              </a:pathLst>
            </a:custGeom>
            <a:solidFill>
              <a:srgbClr val="FFFFFF"/>
            </a:solidFill>
            <a:ln w="16329" cap="flat">
              <a:noFill/>
              <a:prstDash val="solid"/>
              <a:miter/>
            </a:ln>
          </p:spPr>
          <p:txBody>
            <a:bodyPr rtlCol="0" anchor="ctr"/>
            <a:lstStyle/>
            <a:p>
              <a:endParaRPr lang="en-DK"/>
            </a:p>
          </p:txBody>
        </p:sp>
        <p:sp>
          <p:nvSpPr>
            <p:cNvPr id="134" name="Freeform 133">
              <a:extLst>
                <a:ext uri="{FF2B5EF4-FFF2-40B4-BE49-F238E27FC236}">
                  <a16:creationId xmlns:a16="http://schemas.microsoft.com/office/drawing/2014/main" id="{0B34563C-8BBD-3B42-E4A9-6C6635DC74AC}"/>
                </a:ext>
              </a:extLst>
            </p:cNvPr>
            <p:cNvSpPr/>
            <p:nvPr/>
          </p:nvSpPr>
          <p:spPr>
            <a:xfrm>
              <a:off x="4813557" y="3946537"/>
              <a:ext cx="182537" cy="182741"/>
            </a:xfrm>
            <a:custGeom>
              <a:avLst/>
              <a:gdLst>
                <a:gd name="connsiteX0" fmla="*/ 172124 w 182537"/>
                <a:gd name="connsiteY0" fmla="*/ 182742 h 182741"/>
                <a:gd name="connsiteX1" fmla="*/ 164774 w 182537"/>
                <a:gd name="connsiteY1" fmla="*/ 179638 h 182741"/>
                <a:gd name="connsiteX2" fmla="*/ 3063 w 182537"/>
                <a:gd name="connsiteY2" fmla="*/ 17927 h 182741"/>
                <a:gd name="connsiteX3" fmla="*/ 3063 w 182537"/>
                <a:gd name="connsiteY3" fmla="*/ 3063 h 182741"/>
                <a:gd name="connsiteX4" fmla="*/ 17927 w 182537"/>
                <a:gd name="connsiteY4" fmla="*/ 3063 h 182741"/>
                <a:gd name="connsiteX5" fmla="*/ 179475 w 182537"/>
                <a:gd name="connsiteY5" fmla="*/ 164774 h 182741"/>
                <a:gd name="connsiteX6" fmla="*/ 179475 w 182537"/>
                <a:gd name="connsiteY6" fmla="*/ 179638 h 182741"/>
                <a:gd name="connsiteX7" fmla="*/ 171961 w 182537"/>
                <a:gd name="connsiteY7" fmla="*/ 182742 h 182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537" h="182741">
                  <a:moveTo>
                    <a:pt x="172124" y="182742"/>
                  </a:moveTo>
                  <a:cubicBezTo>
                    <a:pt x="169347" y="182742"/>
                    <a:pt x="166734" y="181762"/>
                    <a:pt x="164774" y="179638"/>
                  </a:cubicBezTo>
                  <a:lnTo>
                    <a:pt x="3063" y="17927"/>
                  </a:lnTo>
                  <a:cubicBezTo>
                    <a:pt x="-1021" y="13843"/>
                    <a:pt x="-1021" y="7146"/>
                    <a:pt x="3063" y="3063"/>
                  </a:cubicBezTo>
                  <a:cubicBezTo>
                    <a:pt x="7146" y="-1021"/>
                    <a:pt x="13843" y="-1021"/>
                    <a:pt x="17927" y="3063"/>
                  </a:cubicBezTo>
                  <a:lnTo>
                    <a:pt x="179475" y="164774"/>
                  </a:lnTo>
                  <a:cubicBezTo>
                    <a:pt x="183558" y="168857"/>
                    <a:pt x="183558" y="175555"/>
                    <a:pt x="179475" y="179638"/>
                  </a:cubicBezTo>
                  <a:cubicBezTo>
                    <a:pt x="177351" y="181598"/>
                    <a:pt x="174738" y="182742"/>
                    <a:pt x="171961" y="182742"/>
                  </a:cubicBezTo>
                </a:path>
              </a:pathLst>
            </a:custGeom>
            <a:solidFill>
              <a:srgbClr val="FFFFFF"/>
            </a:solidFill>
            <a:ln w="16329" cap="flat">
              <a:noFill/>
              <a:prstDash val="solid"/>
              <a:miter/>
            </a:ln>
          </p:spPr>
          <p:txBody>
            <a:bodyPr rtlCol="0" anchor="ctr"/>
            <a:lstStyle/>
            <a:p>
              <a:endParaRPr lang="en-DK"/>
            </a:p>
          </p:txBody>
        </p:sp>
        <p:sp>
          <p:nvSpPr>
            <p:cNvPr id="135" name="Freeform 134">
              <a:extLst>
                <a:ext uri="{FF2B5EF4-FFF2-40B4-BE49-F238E27FC236}">
                  <a16:creationId xmlns:a16="http://schemas.microsoft.com/office/drawing/2014/main" id="{9344E3F8-7A99-E8F7-1B74-1652632A385F}"/>
                </a:ext>
              </a:extLst>
            </p:cNvPr>
            <p:cNvSpPr/>
            <p:nvPr/>
          </p:nvSpPr>
          <p:spPr>
            <a:xfrm>
              <a:off x="4558576" y="4253298"/>
              <a:ext cx="131084" cy="131288"/>
            </a:xfrm>
            <a:custGeom>
              <a:avLst/>
              <a:gdLst>
                <a:gd name="connsiteX0" fmla="*/ 120671 w 131084"/>
                <a:gd name="connsiteY0" fmla="*/ 131288 h 131288"/>
                <a:gd name="connsiteX1" fmla="*/ 113320 w 131084"/>
                <a:gd name="connsiteY1" fmla="*/ 128185 h 131288"/>
                <a:gd name="connsiteX2" fmla="*/ 3063 w 131084"/>
                <a:gd name="connsiteY2" fmla="*/ 17927 h 131288"/>
                <a:gd name="connsiteX3" fmla="*/ 3063 w 131084"/>
                <a:gd name="connsiteY3" fmla="*/ 3063 h 131288"/>
                <a:gd name="connsiteX4" fmla="*/ 17927 w 131084"/>
                <a:gd name="connsiteY4" fmla="*/ 3063 h 131288"/>
                <a:gd name="connsiteX5" fmla="*/ 128021 w 131084"/>
                <a:gd name="connsiteY5" fmla="*/ 113320 h 131288"/>
                <a:gd name="connsiteX6" fmla="*/ 128021 w 131084"/>
                <a:gd name="connsiteY6" fmla="*/ 128185 h 131288"/>
                <a:gd name="connsiteX7" fmla="*/ 120671 w 131084"/>
                <a:gd name="connsiteY7" fmla="*/ 131288 h 13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084" h="131288">
                  <a:moveTo>
                    <a:pt x="120671" y="131288"/>
                  </a:moveTo>
                  <a:cubicBezTo>
                    <a:pt x="118057" y="131288"/>
                    <a:pt x="115280" y="130308"/>
                    <a:pt x="113320" y="128185"/>
                  </a:cubicBezTo>
                  <a:lnTo>
                    <a:pt x="3063" y="17927"/>
                  </a:lnTo>
                  <a:cubicBezTo>
                    <a:pt x="-1021" y="13843"/>
                    <a:pt x="-1021" y="7146"/>
                    <a:pt x="3063" y="3063"/>
                  </a:cubicBezTo>
                  <a:cubicBezTo>
                    <a:pt x="7146" y="-1021"/>
                    <a:pt x="13843" y="-1021"/>
                    <a:pt x="17927" y="3063"/>
                  </a:cubicBezTo>
                  <a:lnTo>
                    <a:pt x="128021" y="113320"/>
                  </a:lnTo>
                  <a:cubicBezTo>
                    <a:pt x="132105" y="117404"/>
                    <a:pt x="132105" y="124101"/>
                    <a:pt x="128021" y="128185"/>
                  </a:cubicBezTo>
                  <a:cubicBezTo>
                    <a:pt x="125898" y="130145"/>
                    <a:pt x="123284" y="131288"/>
                    <a:pt x="120671" y="131288"/>
                  </a:cubicBezTo>
                </a:path>
              </a:pathLst>
            </a:custGeom>
            <a:solidFill>
              <a:srgbClr val="FFFFFF"/>
            </a:solidFill>
            <a:ln w="16329" cap="flat">
              <a:noFill/>
              <a:prstDash val="solid"/>
              <a:miter/>
            </a:ln>
          </p:spPr>
          <p:txBody>
            <a:bodyPr rtlCol="0" anchor="ctr"/>
            <a:lstStyle/>
            <a:p>
              <a:endParaRPr lang="en-DK"/>
            </a:p>
          </p:txBody>
        </p:sp>
        <p:sp>
          <p:nvSpPr>
            <p:cNvPr id="136" name="Freeform 135">
              <a:extLst>
                <a:ext uri="{FF2B5EF4-FFF2-40B4-BE49-F238E27FC236}">
                  <a16:creationId xmlns:a16="http://schemas.microsoft.com/office/drawing/2014/main" id="{C79879FD-38DB-D43E-D852-AB40AD2BC0B4}"/>
                </a:ext>
              </a:extLst>
            </p:cNvPr>
            <p:cNvSpPr/>
            <p:nvPr/>
          </p:nvSpPr>
          <p:spPr>
            <a:xfrm>
              <a:off x="4455955" y="4092321"/>
              <a:ext cx="158159" cy="146725"/>
            </a:xfrm>
            <a:custGeom>
              <a:avLst/>
              <a:gdLst>
                <a:gd name="connsiteX0" fmla="*/ 18785 w 158159"/>
                <a:gd name="connsiteY0" fmla="*/ 73383 h 146725"/>
                <a:gd name="connsiteX1" fmla="*/ 18785 w 158159"/>
                <a:gd name="connsiteY1" fmla="*/ 73383 h 146725"/>
                <a:gd name="connsiteX2" fmla="*/ 18785 w 158159"/>
                <a:gd name="connsiteY2" fmla="*/ 73383 h 146725"/>
                <a:gd name="connsiteX3" fmla="*/ 77752 w 158159"/>
                <a:gd name="connsiteY3" fmla="*/ 146725 h 146725"/>
                <a:gd name="connsiteX4" fmla="*/ 70402 w 158159"/>
                <a:gd name="connsiteY4" fmla="*/ 143622 h 146725"/>
                <a:gd name="connsiteX5" fmla="*/ 3920 w 158159"/>
                <a:gd name="connsiteY5" fmla="*/ 77140 h 146725"/>
                <a:gd name="connsiteX6" fmla="*/ 0 w 158159"/>
                <a:gd name="connsiteY6" fmla="*/ 67830 h 146725"/>
                <a:gd name="connsiteX7" fmla="*/ 3920 w 158159"/>
                <a:gd name="connsiteY7" fmla="*/ 58519 h 146725"/>
                <a:gd name="connsiteX8" fmla="*/ 27605 w 158159"/>
                <a:gd name="connsiteY8" fmla="*/ 34834 h 146725"/>
                <a:gd name="connsiteX9" fmla="*/ 61091 w 158159"/>
                <a:gd name="connsiteY9" fmla="*/ 16866 h 146725"/>
                <a:gd name="connsiteX10" fmla="*/ 145540 w 158159"/>
                <a:gd name="connsiteY10" fmla="*/ 205 h 146725"/>
                <a:gd name="connsiteX11" fmla="*/ 157954 w 158159"/>
                <a:gd name="connsiteY11" fmla="*/ 8536 h 146725"/>
                <a:gd name="connsiteX12" fmla="*/ 149624 w 158159"/>
                <a:gd name="connsiteY12" fmla="*/ 20950 h 146725"/>
                <a:gd name="connsiteX13" fmla="*/ 65174 w 158159"/>
                <a:gd name="connsiteY13" fmla="*/ 37611 h 146725"/>
                <a:gd name="connsiteX14" fmla="*/ 42470 w 158159"/>
                <a:gd name="connsiteY14" fmla="*/ 49698 h 146725"/>
                <a:gd name="connsiteX15" fmla="*/ 24338 w 158159"/>
                <a:gd name="connsiteY15" fmla="*/ 67830 h 146725"/>
                <a:gd name="connsiteX16" fmla="*/ 85266 w 158159"/>
                <a:gd name="connsiteY16" fmla="*/ 128757 h 146725"/>
                <a:gd name="connsiteX17" fmla="*/ 85266 w 158159"/>
                <a:gd name="connsiteY17" fmla="*/ 143622 h 146725"/>
                <a:gd name="connsiteX18" fmla="*/ 77915 w 158159"/>
                <a:gd name="connsiteY18" fmla="*/ 146725 h 14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59" h="146725">
                  <a:moveTo>
                    <a:pt x="18785" y="73383"/>
                  </a:moveTo>
                  <a:lnTo>
                    <a:pt x="18785" y="73383"/>
                  </a:lnTo>
                  <a:cubicBezTo>
                    <a:pt x="18785" y="73383"/>
                    <a:pt x="18785" y="73383"/>
                    <a:pt x="18785" y="73383"/>
                  </a:cubicBezTo>
                  <a:moveTo>
                    <a:pt x="77752" y="146725"/>
                  </a:moveTo>
                  <a:cubicBezTo>
                    <a:pt x="75139" y="146725"/>
                    <a:pt x="72362" y="145745"/>
                    <a:pt x="70402" y="143622"/>
                  </a:cubicBezTo>
                  <a:lnTo>
                    <a:pt x="3920" y="77140"/>
                  </a:lnTo>
                  <a:cubicBezTo>
                    <a:pt x="1470" y="74690"/>
                    <a:pt x="0" y="71260"/>
                    <a:pt x="0" y="67830"/>
                  </a:cubicBezTo>
                  <a:cubicBezTo>
                    <a:pt x="0" y="64399"/>
                    <a:pt x="1470" y="60969"/>
                    <a:pt x="3920" y="58519"/>
                  </a:cubicBezTo>
                  <a:lnTo>
                    <a:pt x="27605" y="34834"/>
                  </a:lnTo>
                  <a:cubicBezTo>
                    <a:pt x="36753" y="25687"/>
                    <a:pt x="48350" y="19480"/>
                    <a:pt x="61091" y="16866"/>
                  </a:cubicBezTo>
                  <a:lnTo>
                    <a:pt x="145540" y="205"/>
                  </a:lnTo>
                  <a:cubicBezTo>
                    <a:pt x="151257" y="-938"/>
                    <a:pt x="156811" y="2819"/>
                    <a:pt x="157954" y="8536"/>
                  </a:cubicBezTo>
                  <a:cubicBezTo>
                    <a:pt x="159098" y="14253"/>
                    <a:pt x="155341" y="19806"/>
                    <a:pt x="149624" y="20950"/>
                  </a:cubicBezTo>
                  <a:lnTo>
                    <a:pt x="65174" y="37611"/>
                  </a:lnTo>
                  <a:cubicBezTo>
                    <a:pt x="56517" y="39244"/>
                    <a:pt x="48677" y="43491"/>
                    <a:pt x="42470" y="49698"/>
                  </a:cubicBezTo>
                  <a:lnTo>
                    <a:pt x="24338" y="67830"/>
                  </a:lnTo>
                  <a:lnTo>
                    <a:pt x="85266" y="128757"/>
                  </a:lnTo>
                  <a:cubicBezTo>
                    <a:pt x="89349" y="132841"/>
                    <a:pt x="89349" y="139538"/>
                    <a:pt x="85266" y="143622"/>
                  </a:cubicBezTo>
                  <a:cubicBezTo>
                    <a:pt x="83142" y="145582"/>
                    <a:pt x="80529" y="146725"/>
                    <a:pt x="77915" y="146725"/>
                  </a:cubicBezTo>
                </a:path>
              </a:pathLst>
            </a:custGeom>
            <a:solidFill>
              <a:srgbClr val="FFFFFF"/>
            </a:solidFill>
            <a:ln w="16329" cap="flat">
              <a:noFill/>
              <a:prstDash val="solid"/>
              <a:miter/>
            </a:ln>
          </p:spPr>
          <p:txBody>
            <a:bodyPr rtlCol="0" anchor="ctr"/>
            <a:lstStyle/>
            <a:p>
              <a:endParaRPr lang="en-DK"/>
            </a:p>
          </p:txBody>
        </p:sp>
        <p:sp>
          <p:nvSpPr>
            <p:cNvPr id="137" name="Freeform 136">
              <a:extLst>
                <a:ext uri="{FF2B5EF4-FFF2-40B4-BE49-F238E27FC236}">
                  <a16:creationId xmlns:a16="http://schemas.microsoft.com/office/drawing/2014/main" id="{C49C97B1-5A4A-4F3C-84F3-B5C363A296E1}"/>
                </a:ext>
              </a:extLst>
            </p:cNvPr>
            <p:cNvSpPr/>
            <p:nvPr/>
          </p:nvSpPr>
          <p:spPr>
            <a:xfrm>
              <a:off x="4703462" y="4328725"/>
              <a:ext cx="146684" cy="157951"/>
            </a:xfrm>
            <a:custGeom>
              <a:avLst/>
              <a:gdLst>
                <a:gd name="connsiteX0" fmla="*/ 78855 w 146684"/>
                <a:gd name="connsiteY0" fmla="*/ 157952 h 157951"/>
                <a:gd name="connsiteX1" fmla="*/ 69544 w 146684"/>
                <a:gd name="connsiteY1" fmla="*/ 154195 h 157951"/>
                <a:gd name="connsiteX2" fmla="*/ 3063 w 146684"/>
                <a:gd name="connsiteY2" fmla="*/ 87713 h 157951"/>
                <a:gd name="connsiteX3" fmla="*/ 3063 w 146684"/>
                <a:gd name="connsiteY3" fmla="*/ 72849 h 157951"/>
                <a:gd name="connsiteX4" fmla="*/ 17927 w 146684"/>
                <a:gd name="connsiteY4" fmla="*/ 72849 h 157951"/>
                <a:gd name="connsiteX5" fmla="*/ 78855 w 146684"/>
                <a:gd name="connsiteY5" fmla="*/ 133777 h 157951"/>
                <a:gd name="connsiteX6" fmla="*/ 96986 w 146684"/>
                <a:gd name="connsiteY6" fmla="*/ 115645 h 157951"/>
                <a:gd name="connsiteX7" fmla="*/ 109073 w 146684"/>
                <a:gd name="connsiteY7" fmla="*/ 92940 h 157951"/>
                <a:gd name="connsiteX8" fmla="*/ 125734 w 146684"/>
                <a:gd name="connsiteY8" fmla="*/ 8491 h 157951"/>
                <a:gd name="connsiteX9" fmla="*/ 138149 w 146684"/>
                <a:gd name="connsiteY9" fmla="*/ 161 h 157951"/>
                <a:gd name="connsiteX10" fmla="*/ 146479 w 146684"/>
                <a:gd name="connsiteY10" fmla="*/ 12575 h 157951"/>
                <a:gd name="connsiteX11" fmla="*/ 129818 w 146684"/>
                <a:gd name="connsiteY11" fmla="*/ 97024 h 157951"/>
                <a:gd name="connsiteX12" fmla="*/ 111850 w 146684"/>
                <a:gd name="connsiteY12" fmla="*/ 130510 h 157951"/>
                <a:gd name="connsiteX13" fmla="*/ 88165 w 146684"/>
                <a:gd name="connsiteY13" fmla="*/ 154195 h 157951"/>
                <a:gd name="connsiteX14" fmla="*/ 78855 w 146684"/>
                <a:gd name="connsiteY14" fmla="*/ 157952 h 15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6684" h="157951">
                  <a:moveTo>
                    <a:pt x="78855" y="157952"/>
                  </a:moveTo>
                  <a:cubicBezTo>
                    <a:pt x="75588" y="157952"/>
                    <a:pt x="72157" y="156645"/>
                    <a:pt x="69544" y="154195"/>
                  </a:cubicBezTo>
                  <a:lnTo>
                    <a:pt x="3063" y="87713"/>
                  </a:lnTo>
                  <a:cubicBezTo>
                    <a:pt x="-1021" y="83630"/>
                    <a:pt x="-1021" y="76933"/>
                    <a:pt x="3063" y="72849"/>
                  </a:cubicBezTo>
                  <a:cubicBezTo>
                    <a:pt x="7146" y="68765"/>
                    <a:pt x="13843" y="68765"/>
                    <a:pt x="17927" y="72849"/>
                  </a:cubicBezTo>
                  <a:lnTo>
                    <a:pt x="78855" y="133777"/>
                  </a:lnTo>
                  <a:lnTo>
                    <a:pt x="96986" y="115645"/>
                  </a:lnTo>
                  <a:cubicBezTo>
                    <a:pt x="103193" y="109438"/>
                    <a:pt x="107440" y="101598"/>
                    <a:pt x="109073" y="92940"/>
                  </a:cubicBezTo>
                  <a:lnTo>
                    <a:pt x="125734" y="8491"/>
                  </a:lnTo>
                  <a:cubicBezTo>
                    <a:pt x="126878" y="2774"/>
                    <a:pt x="132432" y="-819"/>
                    <a:pt x="138149" y="161"/>
                  </a:cubicBezTo>
                  <a:cubicBezTo>
                    <a:pt x="143866" y="1304"/>
                    <a:pt x="147623" y="6858"/>
                    <a:pt x="146479" y="12575"/>
                  </a:cubicBezTo>
                  <a:lnTo>
                    <a:pt x="129818" y="97024"/>
                  </a:lnTo>
                  <a:cubicBezTo>
                    <a:pt x="127205" y="109765"/>
                    <a:pt x="121161" y="121362"/>
                    <a:pt x="111850" y="130510"/>
                  </a:cubicBezTo>
                  <a:lnTo>
                    <a:pt x="88165" y="154195"/>
                  </a:lnTo>
                  <a:cubicBezTo>
                    <a:pt x="85552" y="156808"/>
                    <a:pt x="82285" y="157952"/>
                    <a:pt x="78855" y="157952"/>
                  </a:cubicBezTo>
                </a:path>
              </a:pathLst>
            </a:custGeom>
            <a:solidFill>
              <a:srgbClr val="FFFFFF"/>
            </a:solidFill>
            <a:ln w="16329" cap="flat">
              <a:noFill/>
              <a:prstDash val="solid"/>
              <a:miter/>
            </a:ln>
          </p:spPr>
          <p:txBody>
            <a:bodyPr rtlCol="0" anchor="ctr"/>
            <a:lstStyle/>
            <a:p>
              <a:endParaRPr lang="en-DK"/>
            </a:p>
          </p:txBody>
        </p:sp>
        <p:sp>
          <p:nvSpPr>
            <p:cNvPr id="138" name="Freeform 137">
              <a:extLst>
                <a:ext uri="{FF2B5EF4-FFF2-40B4-BE49-F238E27FC236}">
                  <a16:creationId xmlns:a16="http://schemas.microsoft.com/office/drawing/2014/main" id="{C65C678F-65E6-D030-E13B-DC180B092F85}"/>
                </a:ext>
              </a:extLst>
            </p:cNvPr>
            <p:cNvSpPr/>
            <p:nvPr/>
          </p:nvSpPr>
          <p:spPr>
            <a:xfrm>
              <a:off x="4523019" y="3908292"/>
              <a:ext cx="511320" cy="511250"/>
            </a:xfrm>
            <a:custGeom>
              <a:avLst/>
              <a:gdLst>
                <a:gd name="connsiteX0" fmla="*/ 21795 w 511320"/>
                <a:gd name="connsiteY0" fmla="*/ 414060 h 511250"/>
                <a:gd name="connsiteX1" fmla="*/ 97260 w 511320"/>
                <a:gd name="connsiteY1" fmla="*/ 489525 h 511250"/>
                <a:gd name="connsiteX2" fmla="*/ 156718 w 511320"/>
                <a:gd name="connsiteY2" fmla="*/ 462247 h 511250"/>
                <a:gd name="connsiteX3" fmla="*/ 490267 w 511320"/>
                <a:gd name="connsiteY3" fmla="*/ 21216 h 511250"/>
                <a:gd name="connsiteX4" fmla="*/ 49074 w 511320"/>
                <a:gd name="connsiteY4" fmla="*/ 354603 h 511250"/>
                <a:gd name="connsiteX5" fmla="*/ 21795 w 511320"/>
                <a:gd name="connsiteY5" fmla="*/ 413897 h 511250"/>
                <a:gd name="connsiteX6" fmla="*/ 96607 w 511320"/>
                <a:gd name="connsiteY6" fmla="*/ 511250 h 511250"/>
                <a:gd name="connsiteX7" fmla="*/ 84029 w 511320"/>
                <a:gd name="connsiteY7" fmla="*/ 506023 h 511250"/>
                <a:gd name="connsiteX8" fmla="*/ 5134 w 511320"/>
                <a:gd name="connsiteY8" fmla="*/ 427128 h 511250"/>
                <a:gd name="connsiteX9" fmla="*/ 1540 w 511320"/>
                <a:gd name="connsiteY9" fmla="*/ 407363 h 511250"/>
                <a:gd name="connsiteX10" fmla="*/ 29962 w 511320"/>
                <a:gd name="connsiteY10" fmla="*/ 345619 h 511250"/>
                <a:gd name="connsiteX11" fmla="*/ 497455 w 511320"/>
                <a:gd name="connsiteY11" fmla="*/ 145 h 511250"/>
                <a:gd name="connsiteX12" fmla="*/ 511176 w 511320"/>
                <a:gd name="connsiteY12" fmla="*/ 13866 h 511250"/>
                <a:gd name="connsiteX13" fmla="*/ 165538 w 511320"/>
                <a:gd name="connsiteY13" fmla="*/ 481195 h 511250"/>
                <a:gd name="connsiteX14" fmla="*/ 103794 w 511320"/>
                <a:gd name="connsiteY14" fmla="*/ 509617 h 511250"/>
                <a:gd name="connsiteX15" fmla="*/ 96444 w 511320"/>
                <a:gd name="connsiteY15" fmla="*/ 511250 h 51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1320" h="511250">
                  <a:moveTo>
                    <a:pt x="21795" y="414060"/>
                  </a:moveTo>
                  <a:lnTo>
                    <a:pt x="97260" y="489525"/>
                  </a:lnTo>
                  <a:lnTo>
                    <a:pt x="156718" y="462247"/>
                  </a:lnTo>
                  <a:cubicBezTo>
                    <a:pt x="392097" y="350192"/>
                    <a:pt x="492391" y="218047"/>
                    <a:pt x="490267" y="21216"/>
                  </a:cubicBezTo>
                  <a:cubicBezTo>
                    <a:pt x="293274" y="18930"/>
                    <a:pt x="161291" y="119223"/>
                    <a:pt x="49074" y="354603"/>
                  </a:cubicBezTo>
                  <a:lnTo>
                    <a:pt x="21795" y="413897"/>
                  </a:lnTo>
                  <a:close/>
                  <a:moveTo>
                    <a:pt x="96607" y="511250"/>
                  </a:moveTo>
                  <a:cubicBezTo>
                    <a:pt x="92033" y="511250"/>
                    <a:pt x="87460" y="509453"/>
                    <a:pt x="84029" y="506023"/>
                  </a:cubicBezTo>
                  <a:lnTo>
                    <a:pt x="5134" y="427128"/>
                  </a:lnTo>
                  <a:cubicBezTo>
                    <a:pt x="-93" y="421901"/>
                    <a:pt x="-1400" y="413897"/>
                    <a:pt x="1540" y="407363"/>
                  </a:cubicBezTo>
                  <a:lnTo>
                    <a:pt x="29962" y="345619"/>
                  </a:lnTo>
                  <a:cubicBezTo>
                    <a:pt x="147571" y="98968"/>
                    <a:pt x="287067" y="-4429"/>
                    <a:pt x="497455" y="145"/>
                  </a:cubicBezTo>
                  <a:cubicBezTo>
                    <a:pt x="504805" y="308"/>
                    <a:pt x="511012" y="6515"/>
                    <a:pt x="511176" y="13866"/>
                  </a:cubicBezTo>
                  <a:cubicBezTo>
                    <a:pt x="515749" y="223927"/>
                    <a:pt x="412515" y="363750"/>
                    <a:pt x="165538" y="481195"/>
                  </a:cubicBezTo>
                  <a:lnTo>
                    <a:pt x="103794" y="509617"/>
                  </a:lnTo>
                  <a:cubicBezTo>
                    <a:pt x="101507" y="510760"/>
                    <a:pt x="98894" y="511250"/>
                    <a:pt x="96444" y="511250"/>
                  </a:cubicBezTo>
                </a:path>
              </a:pathLst>
            </a:custGeom>
            <a:solidFill>
              <a:srgbClr val="FFFFFF"/>
            </a:solidFill>
            <a:ln w="16329" cap="flat">
              <a:noFill/>
              <a:prstDash val="solid"/>
              <a:miter/>
            </a:ln>
          </p:spPr>
          <p:txBody>
            <a:bodyPr rtlCol="0" anchor="ctr"/>
            <a:lstStyle/>
            <a:p>
              <a:endParaRPr lang="en-DK"/>
            </a:p>
          </p:txBody>
        </p:sp>
        <p:sp>
          <p:nvSpPr>
            <p:cNvPr id="139" name="Freeform 138">
              <a:extLst>
                <a:ext uri="{FF2B5EF4-FFF2-40B4-BE49-F238E27FC236}">
                  <a16:creationId xmlns:a16="http://schemas.microsoft.com/office/drawing/2014/main" id="{BC374F74-1BA8-42E6-8042-AB643A562113}"/>
                </a:ext>
              </a:extLst>
            </p:cNvPr>
            <p:cNvSpPr/>
            <p:nvPr/>
          </p:nvSpPr>
          <p:spPr>
            <a:xfrm>
              <a:off x="4484581" y="4386587"/>
              <a:ext cx="71299" cy="71340"/>
            </a:xfrm>
            <a:custGeom>
              <a:avLst/>
              <a:gdLst>
                <a:gd name="connsiteX0" fmla="*/ 10577 w 71299"/>
                <a:gd name="connsiteY0" fmla="*/ 71341 h 71340"/>
                <a:gd name="connsiteX1" fmla="*/ 3063 w 71299"/>
                <a:gd name="connsiteY1" fmla="*/ 68237 h 71340"/>
                <a:gd name="connsiteX2" fmla="*/ 3063 w 71299"/>
                <a:gd name="connsiteY2" fmla="*/ 53373 h 71340"/>
                <a:gd name="connsiteX3" fmla="*/ 53373 w 71299"/>
                <a:gd name="connsiteY3" fmla="*/ 3063 h 71340"/>
                <a:gd name="connsiteX4" fmla="*/ 68237 w 71299"/>
                <a:gd name="connsiteY4" fmla="*/ 3063 h 71340"/>
                <a:gd name="connsiteX5" fmla="*/ 68237 w 71299"/>
                <a:gd name="connsiteY5" fmla="*/ 17927 h 71340"/>
                <a:gd name="connsiteX6" fmla="*/ 17927 w 71299"/>
                <a:gd name="connsiteY6" fmla="*/ 68237 h 71340"/>
                <a:gd name="connsiteX7" fmla="*/ 10577 w 71299"/>
                <a:gd name="connsiteY7" fmla="*/ 71341 h 7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99" h="71340">
                  <a:moveTo>
                    <a:pt x="10577" y="71341"/>
                  </a:moveTo>
                  <a:cubicBezTo>
                    <a:pt x="7963" y="71341"/>
                    <a:pt x="5186" y="70361"/>
                    <a:pt x="3063" y="68237"/>
                  </a:cubicBezTo>
                  <a:cubicBezTo>
                    <a:pt x="-1021" y="64154"/>
                    <a:pt x="-1021" y="57456"/>
                    <a:pt x="3063" y="53373"/>
                  </a:cubicBezTo>
                  <a:lnTo>
                    <a:pt x="53373" y="3063"/>
                  </a:lnTo>
                  <a:cubicBezTo>
                    <a:pt x="57456" y="-1021"/>
                    <a:pt x="64154" y="-1021"/>
                    <a:pt x="68237" y="3063"/>
                  </a:cubicBezTo>
                  <a:cubicBezTo>
                    <a:pt x="72321" y="7146"/>
                    <a:pt x="72321" y="13843"/>
                    <a:pt x="68237" y="17927"/>
                  </a:cubicBezTo>
                  <a:lnTo>
                    <a:pt x="17927" y="68237"/>
                  </a:lnTo>
                  <a:cubicBezTo>
                    <a:pt x="15804" y="70361"/>
                    <a:pt x="13190" y="71341"/>
                    <a:pt x="10577" y="71341"/>
                  </a:cubicBezTo>
                </a:path>
              </a:pathLst>
            </a:custGeom>
            <a:solidFill>
              <a:srgbClr val="FFFFFF"/>
            </a:solidFill>
            <a:ln w="16329" cap="flat">
              <a:noFill/>
              <a:prstDash val="solid"/>
              <a:miter/>
            </a:ln>
          </p:spPr>
          <p:txBody>
            <a:bodyPr rtlCol="0" anchor="ctr"/>
            <a:lstStyle/>
            <a:p>
              <a:endParaRPr lang="en-DK"/>
            </a:p>
          </p:txBody>
        </p:sp>
        <p:sp>
          <p:nvSpPr>
            <p:cNvPr id="140" name="Freeform 139">
              <a:extLst>
                <a:ext uri="{FF2B5EF4-FFF2-40B4-BE49-F238E27FC236}">
                  <a16:creationId xmlns:a16="http://schemas.microsoft.com/office/drawing/2014/main" id="{132A8215-280E-B009-2860-22DB96F3177D}"/>
                </a:ext>
              </a:extLst>
            </p:cNvPr>
            <p:cNvSpPr/>
            <p:nvPr/>
          </p:nvSpPr>
          <p:spPr>
            <a:xfrm>
              <a:off x="4464653" y="4346894"/>
              <a:ext cx="51371" cy="51412"/>
            </a:xfrm>
            <a:custGeom>
              <a:avLst/>
              <a:gdLst>
                <a:gd name="connsiteX0" fmla="*/ 10577 w 51371"/>
                <a:gd name="connsiteY0" fmla="*/ 51413 h 51412"/>
                <a:gd name="connsiteX1" fmla="*/ 3063 w 51371"/>
                <a:gd name="connsiteY1" fmla="*/ 48309 h 51412"/>
                <a:gd name="connsiteX2" fmla="*/ 3063 w 51371"/>
                <a:gd name="connsiteY2" fmla="*/ 33445 h 51412"/>
                <a:gd name="connsiteX3" fmla="*/ 33445 w 51371"/>
                <a:gd name="connsiteY3" fmla="*/ 3063 h 51412"/>
                <a:gd name="connsiteX4" fmla="*/ 48309 w 51371"/>
                <a:gd name="connsiteY4" fmla="*/ 3063 h 51412"/>
                <a:gd name="connsiteX5" fmla="*/ 48309 w 51371"/>
                <a:gd name="connsiteY5" fmla="*/ 17927 h 51412"/>
                <a:gd name="connsiteX6" fmla="*/ 17927 w 51371"/>
                <a:gd name="connsiteY6" fmla="*/ 48309 h 51412"/>
                <a:gd name="connsiteX7" fmla="*/ 10413 w 51371"/>
                <a:gd name="connsiteY7" fmla="*/ 51413 h 5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371" h="51412">
                  <a:moveTo>
                    <a:pt x="10577" y="51413"/>
                  </a:moveTo>
                  <a:cubicBezTo>
                    <a:pt x="7963" y="51413"/>
                    <a:pt x="5186" y="50433"/>
                    <a:pt x="3063" y="48309"/>
                  </a:cubicBezTo>
                  <a:cubicBezTo>
                    <a:pt x="-1021" y="44226"/>
                    <a:pt x="-1021" y="37528"/>
                    <a:pt x="3063" y="33445"/>
                  </a:cubicBezTo>
                  <a:lnTo>
                    <a:pt x="33445" y="3063"/>
                  </a:lnTo>
                  <a:cubicBezTo>
                    <a:pt x="37528" y="-1021"/>
                    <a:pt x="44226" y="-1021"/>
                    <a:pt x="48309" y="3063"/>
                  </a:cubicBezTo>
                  <a:cubicBezTo>
                    <a:pt x="52393" y="7146"/>
                    <a:pt x="52393" y="13843"/>
                    <a:pt x="48309" y="17927"/>
                  </a:cubicBezTo>
                  <a:lnTo>
                    <a:pt x="17927" y="48309"/>
                  </a:lnTo>
                  <a:cubicBezTo>
                    <a:pt x="15804" y="50269"/>
                    <a:pt x="13190" y="51413"/>
                    <a:pt x="10413" y="51413"/>
                  </a:cubicBezTo>
                </a:path>
              </a:pathLst>
            </a:custGeom>
            <a:solidFill>
              <a:srgbClr val="FFFFFF"/>
            </a:solidFill>
            <a:ln w="16329" cap="flat">
              <a:noFill/>
              <a:prstDash val="solid"/>
              <a:miter/>
            </a:ln>
          </p:spPr>
          <p:txBody>
            <a:bodyPr rtlCol="0" anchor="ctr"/>
            <a:lstStyle/>
            <a:p>
              <a:endParaRPr lang="en-DK"/>
            </a:p>
          </p:txBody>
        </p:sp>
        <p:sp>
          <p:nvSpPr>
            <p:cNvPr id="141" name="Freeform 140">
              <a:extLst>
                <a:ext uri="{FF2B5EF4-FFF2-40B4-BE49-F238E27FC236}">
                  <a16:creationId xmlns:a16="http://schemas.microsoft.com/office/drawing/2014/main" id="{EAB4E1D4-0048-1354-9C45-18579A18CD95}"/>
                </a:ext>
              </a:extLst>
            </p:cNvPr>
            <p:cNvSpPr/>
            <p:nvPr/>
          </p:nvSpPr>
          <p:spPr>
            <a:xfrm>
              <a:off x="4544365" y="4426443"/>
              <a:ext cx="51371" cy="51412"/>
            </a:xfrm>
            <a:custGeom>
              <a:avLst/>
              <a:gdLst>
                <a:gd name="connsiteX0" fmla="*/ 10413 w 51371"/>
                <a:gd name="connsiteY0" fmla="*/ 51413 h 51412"/>
                <a:gd name="connsiteX1" fmla="*/ 3063 w 51371"/>
                <a:gd name="connsiteY1" fmla="*/ 48309 h 51412"/>
                <a:gd name="connsiteX2" fmla="*/ 3063 w 51371"/>
                <a:gd name="connsiteY2" fmla="*/ 33445 h 51412"/>
                <a:gd name="connsiteX3" fmla="*/ 33445 w 51371"/>
                <a:gd name="connsiteY3" fmla="*/ 3063 h 51412"/>
                <a:gd name="connsiteX4" fmla="*/ 48309 w 51371"/>
                <a:gd name="connsiteY4" fmla="*/ 3063 h 51412"/>
                <a:gd name="connsiteX5" fmla="*/ 48309 w 51371"/>
                <a:gd name="connsiteY5" fmla="*/ 17927 h 51412"/>
                <a:gd name="connsiteX6" fmla="*/ 17927 w 51371"/>
                <a:gd name="connsiteY6" fmla="*/ 48309 h 51412"/>
                <a:gd name="connsiteX7" fmla="*/ 10577 w 51371"/>
                <a:gd name="connsiteY7" fmla="*/ 51413 h 5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371" h="51412">
                  <a:moveTo>
                    <a:pt x="10413" y="51413"/>
                  </a:moveTo>
                  <a:cubicBezTo>
                    <a:pt x="7800" y="51413"/>
                    <a:pt x="5023" y="50433"/>
                    <a:pt x="3063" y="48309"/>
                  </a:cubicBezTo>
                  <a:cubicBezTo>
                    <a:pt x="-1021" y="44226"/>
                    <a:pt x="-1021" y="37528"/>
                    <a:pt x="3063" y="33445"/>
                  </a:cubicBezTo>
                  <a:lnTo>
                    <a:pt x="33445" y="3063"/>
                  </a:lnTo>
                  <a:cubicBezTo>
                    <a:pt x="37528" y="-1021"/>
                    <a:pt x="44226" y="-1021"/>
                    <a:pt x="48309" y="3063"/>
                  </a:cubicBezTo>
                  <a:cubicBezTo>
                    <a:pt x="52393" y="7146"/>
                    <a:pt x="52393" y="13843"/>
                    <a:pt x="48309" y="17927"/>
                  </a:cubicBezTo>
                  <a:lnTo>
                    <a:pt x="17927" y="48309"/>
                  </a:lnTo>
                  <a:cubicBezTo>
                    <a:pt x="15804" y="50269"/>
                    <a:pt x="13190" y="51413"/>
                    <a:pt x="10577" y="51413"/>
                  </a:cubicBezTo>
                </a:path>
              </a:pathLst>
            </a:custGeom>
            <a:solidFill>
              <a:srgbClr val="FFFFFF"/>
            </a:solidFill>
            <a:ln w="16329" cap="flat">
              <a:noFill/>
              <a:prstDash val="solid"/>
              <a:miter/>
            </a:ln>
          </p:spPr>
          <p:txBody>
            <a:bodyPr rtlCol="0" anchor="ctr"/>
            <a:lstStyle/>
            <a:p>
              <a:endParaRPr lang="en-DK"/>
            </a:p>
          </p:txBody>
        </p:sp>
      </p:grpSp>
      <p:grpSp>
        <p:nvGrpSpPr>
          <p:cNvPr id="10" name="Graphic 4">
            <a:extLst>
              <a:ext uri="{FF2B5EF4-FFF2-40B4-BE49-F238E27FC236}">
                <a16:creationId xmlns:a16="http://schemas.microsoft.com/office/drawing/2014/main" id="{EABBD037-1185-B2F9-6E16-DE5CB39FD13E}"/>
              </a:ext>
            </a:extLst>
          </p:cNvPr>
          <p:cNvGrpSpPr/>
          <p:nvPr/>
        </p:nvGrpSpPr>
        <p:grpSpPr>
          <a:xfrm>
            <a:off x="3318977" y="1818077"/>
            <a:ext cx="643889" cy="757241"/>
            <a:chOff x="5772944" y="3047995"/>
            <a:chExt cx="643889" cy="757241"/>
          </a:xfrm>
        </p:grpSpPr>
        <p:grpSp>
          <p:nvGrpSpPr>
            <p:cNvPr id="12" name="Graphic 4">
              <a:extLst>
                <a:ext uri="{FF2B5EF4-FFF2-40B4-BE49-F238E27FC236}">
                  <a16:creationId xmlns:a16="http://schemas.microsoft.com/office/drawing/2014/main" id="{88B78CAC-E570-5A94-638B-1F831004DD35}"/>
                </a:ext>
              </a:extLst>
            </p:cNvPr>
            <p:cNvGrpSpPr/>
            <p:nvPr/>
          </p:nvGrpSpPr>
          <p:grpSpPr>
            <a:xfrm>
              <a:off x="5956586" y="3318795"/>
              <a:ext cx="250317" cy="250316"/>
              <a:chOff x="5956586" y="3318795"/>
              <a:chExt cx="250317" cy="250316"/>
            </a:xfrm>
          </p:grpSpPr>
          <p:sp>
            <p:nvSpPr>
              <p:cNvPr id="13" name="Freeform 12">
                <a:extLst>
                  <a:ext uri="{FF2B5EF4-FFF2-40B4-BE49-F238E27FC236}">
                    <a16:creationId xmlns:a16="http://schemas.microsoft.com/office/drawing/2014/main" id="{E48744FD-A76E-68B6-C2AE-9927ECF3BB09}"/>
                  </a:ext>
                </a:extLst>
              </p:cNvPr>
              <p:cNvSpPr/>
              <p:nvPr/>
            </p:nvSpPr>
            <p:spPr>
              <a:xfrm>
                <a:off x="5963729" y="3325939"/>
                <a:ext cx="236029" cy="236029"/>
              </a:xfrm>
              <a:custGeom>
                <a:avLst/>
                <a:gdLst>
                  <a:gd name="connsiteX0" fmla="*/ 236030 w 236029"/>
                  <a:gd name="connsiteY0" fmla="*/ 118015 h 236029"/>
                  <a:gd name="connsiteX1" fmla="*/ 118015 w 236029"/>
                  <a:gd name="connsiteY1" fmla="*/ 236029 h 236029"/>
                  <a:gd name="connsiteX2" fmla="*/ 0 w 236029"/>
                  <a:gd name="connsiteY2" fmla="*/ 118015 h 236029"/>
                  <a:gd name="connsiteX3" fmla="*/ 118015 w 236029"/>
                  <a:gd name="connsiteY3" fmla="*/ 0 h 236029"/>
                  <a:gd name="connsiteX4" fmla="*/ 236030 w 236029"/>
                  <a:gd name="connsiteY4" fmla="*/ 118015 h 236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029" h="236029">
                    <a:moveTo>
                      <a:pt x="236030" y="118015"/>
                    </a:moveTo>
                    <a:cubicBezTo>
                      <a:pt x="236030" y="183192"/>
                      <a:pt x="183193" y="236029"/>
                      <a:pt x="118015" y="236029"/>
                    </a:cubicBezTo>
                    <a:cubicBezTo>
                      <a:pt x="52837" y="236029"/>
                      <a:pt x="0" y="183192"/>
                      <a:pt x="0" y="118015"/>
                    </a:cubicBezTo>
                    <a:cubicBezTo>
                      <a:pt x="0" y="52837"/>
                      <a:pt x="52837" y="0"/>
                      <a:pt x="118015" y="0"/>
                    </a:cubicBezTo>
                    <a:cubicBezTo>
                      <a:pt x="183193" y="0"/>
                      <a:pt x="236030" y="52837"/>
                      <a:pt x="236030" y="118015"/>
                    </a:cubicBezTo>
                    <a:close/>
                  </a:path>
                </a:pathLst>
              </a:custGeom>
              <a:solidFill>
                <a:srgbClr val="2878FF">
                  <a:alpha val="50000"/>
                </a:srgbClr>
              </a:solidFill>
              <a:ln w="9525" cap="flat">
                <a:noFill/>
                <a:prstDash val="solid"/>
                <a:miter/>
              </a:ln>
            </p:spPr>
            <p:txBody>
              <a:bodyPr rtlCol="0" anchor="ctr"/>
              <a:lstStyle/>
              <a:p>
                <a:endParaRPr lang="en-DK"/>
              </a:p>
            </p:txBody>
          </p:sp>
          <p:sp>
            <p:nvSpPr>
              <p:cNvPr id="14" name="Freeform 13">
                <a:extLst>
                  <a:ext uri="{FF2B5EF4-FFF2-40B4-BE49-F238E27FC236}">
                    <a16:creationId xmlns:a16="http://schemas.microsoft.com/office/drawing/2014/main" id="{A925CB0A-1F84-95B7-9C35-0732CAEAB97B}"/>
                  </a:ext>
                </a:extLst>
              </p:cNvPr>
              <p:cNvSpPr/>
              <p:nvPr/>
            </p:nvSpPr>
            <p:spPr>
              <a:xfrm>
                <a:off x="5956586" y="3318795"/>
                <a:ext cx="250317" cy="250316"/>
              </a:xfrm>
              <a:custGeom>
                <a:avLst/>
                <a:gdLst>
                  <a:gd name="connsiteX0" fmla="*/ 125158 w 250317"/>
                  <a:gd name="connsiteY0" fmla="*/ 250317 h 250316"/>
                  <a:gd name="connsiteX1" fmla="*/ 0 w 250317"/>
                  <a:gd name="connsiteY1" fmla="*/ 125158 h 250316"/>
                  <a:gd name="connsiteX2" fmla="*/ 125158 w 250317"/>
                  <a:gd name="connsiteY2" fmla="*/ 0 h 250316"/>
                  <a:gd name="connsiteX3" fmla="*/ 250317 w 250317"/>
                  <a:gd name="connsiteY3" fmla="*/ 125158 h 250316"/>
                  <a:gd name="connsiteX4" fmla="*/ 125158 w 250317"/>
                  <a:gd name="connsiteY4" fmla="*/ 250317 h 250316"/>
                  <a:gd name="connsiteX5" fmla="*/ 125158 w 250317"/>
                  <a:gd name="connsiteY5" fmla="*/ 14192 h 250316"/>
                  <a:gd name="connsiteX6" fmla="*/ 14288 w 250317"/>
                  <a:gd name="connsiteY6" fmla="*/ 125063 h 250316"/>
                  <a:gd name="connsiteX7" fmla="*/ 125158 w 250317"/>
                  <a:gd name="connsiteY7" fmla="*/ 235934 h 250316"/>
                  <a:gd name="connsiteX8" fmla="*/ 236030 w 250317"/>
                  <a:gd name="connsiteY8" fmla="*/ 125063 h 250316"/>
                  <a:gd name="connsiteX9" fmla="*/ 125158 w 250317"/>
                  <a:gd name="connsiteY9" fmla="*/ 14192 h 25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0317" h="250316">
                    <a:moveTo>
                      <a:pt x="125158" y="250317"/>
                    </a:moveTo>
                    <a:cubicBezTo>
                      <a:pt x="56102" y="250317"/>
                      <a:pt x="0" y="194120"/>
                      <a:pt x="0" y="125158"/>
                    </a:cubicBezTo>
                    <a:cubicBezTo>
                      <a:pt x="0" y="56198"/>
                      <a:pt x="56197" y="0"/>
                      <a:pt x="125158" y="0"/>
                    </a:cubicBezTo>
                    <a:cubicBezTo>
                      <a:pt x="194119" y="0"/>
                      <a:pt x="250317" y="56198"/>
                      <a:pt x="250317" y="125158"/>
                    </a:cubicBezTo>
                    <a:cubicBezTo>
                      <a:pt x="250317" y="194120"/>
                      <a:pt x="194119" y="250317"/>
                      <a:pt x="125158" y="250317"/>
                    </a:cubicBezTo>
                    <a:close/>
                    <a:moveTo>
                      <a:pt x="125158" y="14192"/>
                    </a:moveTo>
                    <a:cubicBezTo>
                      <a:pt x="64008" y="14192"/>
                      <a:pt x="14288" y="63913"/>
                      <a:pt x="14288" y="125063"/>
                    </a:cubicBezTo>
                    <a:cubicBezTo>
                      <a:pt x="14288" y="186214"/>
                      <a:pt x="64008" y="235934"/>
                      <a:pt x="125158" y="235934"/>
                    </a:cubicBezTo>
                    <a:cubicBezTo>
                      <a:pt x="186309" y="235934"/>
                      <a:pt x="236030" y="186214"/>
                      <a:pt x="236030" y="125063"/>
                    </a:cubicBezTo>
                    <a:cubicBezTo>
                      <a:pt x="236030" y="63913"/>
                      <a:pt x="186309" y="14192"/>
                      <a:pt x="125158" y="14192"/>
                    </a:cubicBezTo>
                    <a:close/>
                  </a:path>
                </a:pathLst>
              </a:custGeom>
              <a:solidFill>
                <a:srgbClr val="FFFFFF"/>
              </a:solidFill>
              <a:ln w="9525" cap="flat">
                <a:noFill/>
                <a:prstDash val="solid"/>
                <a:miter/>
              </a:ln>
            </p:spPr>
            <p:txBody>
              <a:bodyPr rtlCol="0" anchor="ctr"/>
              <a:lstStyle/>
              <a:p>
                <a:endParaRPr lang="en-DK"/>
              </a:p>
            </p:txBody>
          </p:sp>
        </p:grpSp>
        <p:grpSp>
          <p:nvGrpSpPr>
            <p:cNvPr id="15" name="Graphic 4">
              <a:extLst>
                <a:ext uri="{FF2B5EF4-FFF2-40B4-BE49-F238E27FC236}">
                  <a16:creationId xmlns:a16="http://schemas.microsoft.com/office/drawing/2014/main" id="{347E7A16-C223-088B-0AFE-B585186F50B9}"/>
                </a:ext>
              </a:extLst>
            </p:cNvPr>
            <p:cNvGrpSpPr/>
            <p:nvPr/>
          </p:nvGrpSpPr>
          <p:grpSpPr>
            <a:xfrm>
              <a:off x="6258337" y="3462909"/>
              <a:ext cx="145446" cy="145541"/>
              <a:chOff x="6258337" y="3462909"/>
              <a:chExt cx="145446" cy="145541"/>
            </a:xfrm>
          </p:grpSpPr>
          <p:sp>
            <p:nvSpPr>
              <p:cNvPr id="18" name="Freeform 17">
                <a:extLst>
                  <a:ext uri="{FF2B5EF4-FFF2-40B4-BE49-F238E27FC236}">
                    <a16:creationId xmlns:a16="http://schemas.microsoft.com/office/drawing/2014/main" id="{AA5C6B4B-C9F0-A60A-E343-BB6A4314254F}"/>
                  </a:ext>
                </a:extLst>
              </p:cNvPr>
              <p:cNvSpPr/>
              <p:nvPr/>
            </p:nvSpPr>
            <p:spPr>
              <a:xfrm rot="-2700000">
                <a:off x="6265389" y="3470162"/>
                <a:ext cx="131254" cy="131254"/>
              </a:xfrm>
              <a:custGeom>
                <a:avLst/>
                <a:gdLst>
                  <a:gd name="connsiteX0" fmla="*/ 131255 w 131254"/>
                  <a:gd name="connsiteY0" fmla="*/ 65627 h 131254"/>
                  <a:gd name="connsiteX1" fmla="*/ 65627 w 131254"/>
                  <a:gd name="connsiteY1" fmla="*/ 131255 h 131254"/>
                  <a:gd name="connsiteX2" fmla="*/ 0 w 131254"/>
                  <a:gd name="connsiteY2" fmla="*/ 65627 h 131254"/>
                  <a:gd name="connsiteX3" fmla="*/ 65627 w 131254"/>
                  <a:gd name="connsiteY3" fmla="*/ 0 h 131254"/>
                  <a:gd name="connsiteX4" fmla="*/ 131255 w 131254"/>
                  <a:gd name="connsiteY4" fmla="*/ 65627 h 13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54" h="131254">
                    <a:moveTo>
                      <a:pt x="131255" y="65627"/>
                    </a:moveTo>
                    <a:cubicBezTo>
                      <a:pt x="131255" y="101872"/>
                      <a:pt x="101872" y="131255"/>
                      <a:pt x="65627" y="131255"/>
                    </a:cubicBezTo>
                    <a:cubicBezTo>
                      <a:pt x="29382" y="131255"/>
                      <a:pt x="0" y="101872"/>
                      <a:pt x="0" y="65627"/>
                    </a:cubicBezTo>
                    <a:cubicBezTo>
                      <a:pt x="0" y="29382"/>
                      <a:pt x="29382" y="0"/>
                      <a:pt x="65627" y="0"/>
                    </a:cubicBezTo>
                    <a:cubicBezTo>
                      <a:pt x="101872" y="0"/>
                      <a:pt x="131255" y="29382"/>
                      <a:pt x="131255" y="65627"/>
                    </a:cubicBezTo>
                    <a:close/>
                  </a:path>
                </a:pathLst>
              </a:custGeom>
              <a:solidFill>
                <a:srgbClr val="2878FF">
                  <a:alpha val="49908"/>
                </a:srgbClr>
              </a:solidFill>
              <a:ln w="9525" cap="flat">
                <a:noFill/>
                <a:prstDash val="solid"/>
                <a:miter/>
              </a:ln>
            </p:spPr>
            <p:txBody>
              <a:bodyPr rtlCol="0" anchor="ctr"/>
              <a:lstStyle/>
              <a:p>
                <a:endParaRPr lang="en-DK"/>
              </a:p>
            </p:txBody>
          </p:sp>
          <p:sp>
            <p:nvSpPr>
              <p:cNvPr id="21" name="Freeform 20">
                <a:extLst>
                  <a:ext uri="{FF2B5EF4-FFF2-40B4-BE49-F238E27FC236}">
                    <a16:creationId xmlns:a16="http://schemas.microsoft.com/office/drawing/2014/main" id="{45AA01A3-DE79-7D02-F150-D0F070690DD5}"/>
                  </a:ext>
                </a:extLst>
              </p:cNvPr>
              <p:cNvSpPr/>
              <p:nvPr/>
            </p:nvSpPr>
            <p:spPr>
              <a:xfrm>
                <a:off x="6258337" y="3462909"/>
                <a:ext cx="145446" cy="145541"/>
              </a:xfrm>
              <a:custGeom>
                <a:avLst/>
                <a:gdLst>
                  <a:gd name="connsiteX0" fmla="*/ 72676 w 145446"/>
                  <a:gd name="connsiteY0" fmla="*/ 145542 h 145541"/>
                  <a:gd name="connsiteX1" fmla="*/ 0 w 145446"/>
                  <a:gd name="connsiteY1" fmla="*/ 72771 h 145541"/>
                  <a:gd name="connsiteX2" fmla="*/ 72676 w 145446"/>
                  <a:gd name="connsiteY2" fmla="*/ 0 h 145541"/>
                  <a:gd name="connsiteX3" fmla="*/ 145447 w 145446"/>
                  <a:gd name="connsiteY3" fmla="*/ 72771 h 145541"/>
                  <a:gd name="connsiteX4" fmla="*/ 72676 w 145446"/>
                  <a:gd name="connsiteY4" fmla="*/ 145542 h 145541"/>
                  <a:gd name="connsiteX5" fmla="*/ 72676 w 145446"/>
                  <a:gd name="connsiteY5" fmla="*/ 14383 h 145541"/>
                  <a:gd name="connsiteX6" fmla="*/ 14288 w 145446"/>
                  <a:gd name="connsiteY6" fmla="*/ 72866 h 145541"/>
                  <a:gd name="connsiteX7" fmla="*/ 72676 w 145446"/>
                  <a:gd name="connsiteY7" fmla="*/ 131350 h 145541"/>
                  <a:gd name="connsiteX8" fmla="*/ 131159 w 145446"/>
                  <a:gd name="connsiteY8" fmla="*/ 72866 h 145541"/>
                  <a:gd name="connsiteX9" fmla="*/ 72676 w 145446"/>
                  <a:gd name="connsiteY9" fmla="*/ 14383 h 14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446" h="145541">
                    <a:moveTo>
                      <a:pt x="72676" y="145542"/>
                    </a:moveTo>
                    <a:cubicBezTo>
                      <a:pt x="32576" y="145542"/>
                      <a:pt x="0" y="112871"/>
                      <a:pt x="0" y="72771"/>
                    </a:cubicBezTo>
                    <a:cubicBezTo>
                      <a:pt x="0" y="32671"/>
                      <a:pt x="32576" y="0"/>
                      <a:pt x="72676" y="0"/>
                    </a:cubicBezTo>
                    <a:cubicBezTo>
                      <a:pt x="112776" y="0"/>
                      <a:pt x="145447" y="32671"/>
                      <a:pt x="145447" y="72771"/>
                    </a:cubicBezTo>
                    <a:cubicBezTo>
                      <a:pt x="145447" y="112871"/>
                      <a:pt x="112776" y="145542"/>
                      <a:pt x="72676" y="145542"/>
                    </a:cubicBezTo>
                    <a:close/>
                    <a:moveTo>
                      <a:pt x="72676" y="14383"/>
                    </a:moveTo>
                    <a:cubicBezTo>
                      <a:pt x="40481" y="14383"/>
                      <a:pt x="14288" y="40576"/>
                      <a:pt x="14288" y="72866"/>
                    </a:cubicBezTo>
                    <a:cubicBezTo>
                      <a:pt x="14288" y="105156"/>
                      <a:pt x="40481" y="131350"/>
                      <a:pt x="72676" y="131350"/>
                    </a:cubicBezTo>
                    <a:cubicBezTo>
                      <a:pt x="104870" y="131350"/>
                      <a:pt x="131159" y="105156"/>
                      <a:pt x="131159" y="72866"/>
                    </a:cubicBezTo>
                    <a:cubicBezTo>
                      <a:pt x="131159" y="40576"/>
                      <a:pt x="104966" y="14383"/>
                      <a:pt x="72676" y="14383"/>
                    </a:cubicBezTo>
                    <a:close/>
                  </a:path>
                </a:pathLst>
              </a:custGeom>
              <a:solidFill>
                <a:srgbClr val="FFFFFF"/>
              </a:solidFill>
              <a:ln w="9525" cap="flat">
                <a:noFill/>
                <a:prstDash val="solid"/>
                <a:miter/>
              </a:ln>
            </p:spPr>
            <p:txBody>
              <a:bodyPr rtlCol="0" anchor="ctr"/>
              <a:lstStyle/>
              <a:p>
                <a:endParaRPr lang="en-DK"/>
              </a:p>
            </p:txBody>
          </p:sp>
        </p:grpSp>
        <p:sp>
          <p:nvSpPr>
            <p:cNvPr id="23" name="Freeform 22">
              <a:extLst>
                <a:ext uri="{FF2B5EF4-FFF2-40B4-BE49-F238E27FC236}">
                  <a16:creationId xmlns:a16="http://schemas.microsoft.com/office/drawing/2014/main" id="{7137BF30-98EE-0471-7C8B-11536E1957EF}"/>
                </a:ext>
              </a:extLst>
            </p:cNvPr>
            <p:cNvSpPr/>
            <p:nvPr/>
          </p:nvSpPr>
          <p:spPr>
            <a:xfrm>
              <a:off x="6153281" y="3047995"/>
              <a:ext cx="119245" cy="119257"/>
            </a:xfrm>
            <a:custGeom>
              <a:avLst/>
              <a:gdLst>
                <a:gd name="connsiteX0" fmla="*/ 59623 w 119245"/>
                <a:gd name="connsiteY0" fmla="*/ 119257 h 119257"/>
                <a:gd name="connsiteX1" fmla="*/ 2663 w 119245"/>
                <a:gd name="connsiteY1" fmla="*/ 77252 h 119257"/>
                <a:gd name="connsiteX2" fmla="*/ 42001 w 119245"/>
                <a:gd name="connsiteY2" fmla="*/ 2671 h 119257"/>
                <a:gd name="connsiteX3" fmla="*/ 116582 w 119245"/>
                <a:gd name="connsiteY3" fmla="*/ 42009 h 119257"/>
                <a:gd name="connsiteX4" fmla="*/ 116582 w 119245"/>
                <a:gd name="connsiteY4" fmla="*/ 42009 h 119257"/>
                <a:gd name="connsiteX5" fmla="*/ 77244 w 119245"/>
                <a:gd name="connsiteY5" fmla="*/ 116590 h 119257"/>
                <a:gd name="connsiteX6" fmla="*/ 59718 w 119245"/>
                <a:gd name="connsiteY6" fmla="*/ 119257 h 119257"/>
                <a:gd name="connsiteX7" fmla="*/ 59623 w 119245"/>
                <a:gd name="connsiteY7" fmla="*/ 14292 h 119257"/>
                <a:gd name="connsiteX8" fmla="*/ 46288 w 119245"/>
                <a:gd name="connsiteY8" fmla="*/ 16292 h 119257"/>
                <a:gd name="connsiteX9" fmla="*/ 16379 w 119245"/>
                <a:gd name="connsiteY9" fmla="*/ 72966 h 119257"/>
                <a:gd name="connsiteX10" fmla="*/ 73053 w 119245"/>
                <a:gd name="connsiteY10" fmla="*/ 102874 h 119257"/>
                <a:gd name="connsiteX11" fmla="*/ 102961 w 119245"/>
                <a:gd name="connsiteY11" fmla="*/ 46200 h 119257"/>
                <a:gd name="connsiteX12" fmla="*/ 59623 w 119245"/>
                <a:gd name="connsiteY12" fmla="*/ 14292 h 11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9245" h="119257">
                  <a:moveTo>
                    <a:pt x="59623" y="119257"/>
                  </a:moveTo>
                  <a:cubicBezTo>
                    <a:pt x="34191" y="119257"/>
                    <a:pt x="10569" y="102779"/>
                    <a:pt x="2663" y="77252"/>
                  </a:cubicBezTo>
                  <a:cubicBezTo>
                    <a:pt x="-7052" y="45819"/>
                    <a:pt x="10664" y="12387"/>
                    <a:pt x="42001" y="2671"/>
                  </a:cubicBezTo>
                  <a:cubicBezTo>
                    <a:pt x="73434" y="-7044"/>
                    <a:pt x="106867" y="10577"/>
                    <a:pt x="116582" y="42009"/>
                  </a:cubicBezTo>
                  <a:lnTo>
                    <a:pt x="116582" y="42009"/>
                  </a:lnTo>
                  <a:cubicBezTo>
                    <a:pt x="126298" y="73442"/>
                    <a:pt x="108581" y="106875"/>
                    <a:pt x="77244" y="116590"/>
                  </a:cubicBezTo>
                  <a:cubicBezTo>
                    <a:pt x="71434" y="118400"/>
                    <a:pt x="65528" y="119257"/>
                    <a:pt x="59718" y="119257"/>
                  </a:cubicBezTo>
                  <a:close/>
                  <a:moveTo>
                    <a:pt x="59623" y="14292"/>
                  </a:moveTo>
                  <a:cubicBezTo>
                    <a:pt x="55241" y="14292"/>
                    <a:pt x="50669" y="14958"/>
                    <a:pt x="46288" y="16292"/>
                  </a:cubicBezTo>
                  <a:cubicBezTo>
                    <a:pt x="22380" y="23626"/>
                    <a:pt x="8950" y="49058"/>
                    <a:pt x="16379" y="72966"/>
                  </a:cubicBezTo>
                  <a:cubicBezTo>
                    <a:pt x="23809" y="96873"/>
                    <a:pt x="49240" y="110304"/>
                    <a:pt x="73053" y="102874"/>
                  </a:cubicBezTo>
                  <a:cubicBezTo>
                    <a:pt x="96961" y="95540"/>
                    <a:pt x="110391" y="70108"/>
                    <a:pt x="102961" y="46200"/>
                  </a:cubicBezTo>
                  <a:cubicBezTo>
                    <a:pt x="96961" y="26769"/>
                    <a:pt x="78958" y="14292"/>
                    <a:pt x="59623" y="14292"/>
                  </a:cubicBezTo>
                  <a:close/>
                </a:path>
              </a:pathLst>
            </a:custGeom>
            <a:solidFill>
              <a:srgbClr val="FFFFFF"/>
            </a:solidFill>
            <a:ln w="9525" cap="flat">
              <a:noFill/>
              <a:prstDash val="solid"/>
              <a:miter/>
            </a:ln>
          </p:spPr>
          <p:txBody>
            <a:bodyPr rtlCol="0" anchor="ctr"/>
            <a:lstStyle/>
            <a:p>
              <a:endParaRPr lang="en-DK"/>
            </a:p>
          </p:txBody>
        </p:sp>
        <p:grpSp>
          <p:nvGrpSpPr>
            <p:cNvPr id="24" name="Graphic 4">
              <a:extLst>
                <a:ext uri="{FF2B5EF4-FFF2-40B4-BE49-F238E27FC236}">
                  <a16:creationId xmlns:a16="http://schemas.microsoft.com/office/drawing/2014/main" id="{DDA68DC4-ED22-A037-1D5A-28DA11F07FFC}"/>
                </a:ext>
              </a:extLst>
            </p:cNvPr>
            <p:cNvGrpSpPr/>
            <p:nvPr/>
          </p:nvGrpSpPr>
          <p:grpSpPr>
            <a:xfrm>
              <a:off x="6022143" y="3121995"/>
              <a:ext cx="66718" cy="66784"/>
              <a:chOff x="6022143" y="3121995"/>
              <a:chExt cx="66718" cy="66784"/>
            </a:xfrm>
          </p:grpSpPr>
          <p:sp>
            <p:nvSpPr>
              <p:cNvPr id="25" name="Freeform 24">
                <a:extLst>
                  <a:ext uri="{FF2B5EF4-FFF2-40B4-BE49-F238E27FC236}">
                    <a16:creationId xmlns:a16="http://schemas.microsoft.com/office/drawing/2014/main" id="{0F9B6557-0B23-C373-83AB-F997C3F75CC1}"/>
                  </a:ext>
                </a:extLst>
              </p:cNvPr>
              <p:cNvSpPr/>
              <p:nvPr/>
            </p:nvSpPr>
            <p:spPr>
              <a:xfrm>
                <a:off x="6029259" y="3129055"/>
                <a:ext cx="52486" cy="52486"/>
              </a:xfrm>
              <a:custGeom>
                <a:avLst/>
                <a:gdLst>
                  <a:gd name="connsiteX0" fmla="*/ 50485 w 52486"/>
                  <a:gd name="connsiteY0" fmla="*/ 16195 h 52486"/>
                  <a:gd name="connsiteX1" fmla="*/ 36292 w 52486"/>
                  <a:gd name="connsiteY1" fmla="*/ 50485 h 52486"/>
                  <a:gd name="connsiteX2" fmla="*/ 2002 w 52486"/>
                  <a:gd name="connsiteY2" fmla="*/ 36292 h 52486"/>
                  <a:gd name="connsiteX3" fmla="*/ 16195 w 52486"/>
                  <a:gd name="connsiteY3" fmla="*/ 2002 h 52486"/>
                  <a:gd name="connsiteX4" fmla="*/ 50485 w 52486"/>
                  <a:gd name="connsiteY4" fmla="*/ 16195 h 52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86" h="52486">
                    <a:moveTo>
                      <a:pt x="50485" y="16195"/>
                    </a:moveTo>
                    <a:cubicBezTo>
                      <a:pt x="56009" y="29530"/>
                      <a:pt x="49723" y="44960"/>
                      <a:pt x="36292" y="50485"/>
                    </a:cubicBezTo>
                    <a:cubicBezTo>
                      <a:pt x="22957" y="56009"/>
                      <a:pt x="7527" y="49723"/>
                      <a:pt x="2002" y="36292"/>
                    </a:cubicBezTo>
                    <a:cubicBezTo>
                      <a:pt x="-3522" y="22957"/>
                      <a:pt x="2764" y="7527"/>
                      <a:pt x="16195" y="2002"/>
                    </a:cubicBezTo>
                    <a:cubicBezTo>
                      <a:pt x="29530" y="-3522"/>
                      <a:pt x="44960" y="2764"/>
                      <a:pt x="50485" y="16195"/>
                    </a:cubicBezTo>
                    <a:close/>
                  </a:path>
                </a:pathLst>
              </a:custGeom>
              <a:solidFill>
                <a:srgbClr val="2878FF">
                  <a:alpha val="49872"/>
                </a:srgbClr>
              </a:solidFill>
              <a:ln w="9525" cap="flat">
                <a:noFill/>
                <a:prstDash val="solid"/>
                <a:miter/>
              </a:ln>
            </p:spPr>
            <p:txBody>
              <a:bodyPr rtlCol="0" anchor="ctr"/>
              <a:lstStyle/>
              <a:p>
                <a:endParaRPr lang="en-DK"/>
              </a:p>
            </p:txBody>
          </p:sp>
          <p:sp>
            <p:nvSpPr>
              <p:cNvPr id="28" name="Freeform 27">
                <a:extLst>
                  <a:ext uri="{FF2B5EF4-FFF2-40B4-BE49-F238E27FC236}">
                    <a16:creationId xmlns:a16="http://schemas.microsoft.com/office/drawing/2014/main" id="{EFB4453E-7D8E-FEC5-136F-2C753E100C8C}"/>
                  </a:ext>
                </a:extLst>
              </p:cNvPr>
              <p:cNvSpPr/>
              <p:nvPr/>
            </p:nvSpPr>
            <p:spPr>
              <a:xfrm>
                <a:off x="6022143" y="3121995"/>
                <a:ext cx="66718" cy="66784"/>
              </a:xfrm>
              <a:custGeom>
                <a:avLst/>
                <a:gdLst>
                  <a:gd name="connsiteX0" fmla="*/ 33407 w 66718"/>
                  <a:gd name="connsiteY0" fmla="*/ 66784 h 66784"/>
                  <a:gd name="connsiteX1" fmla="*/ 2546 w 66718"/>
                  <a:gd name="connsiteY1" fmla="*/ 46210 h 66784"/>
                  <a:gd name="connsiteX2" fmla="*/ 20548 w 66718"/>
                  <a:gd name="connsiteY2" fmla="*/ 2586 h 66784"/>
                  <a:gd name="connsiteX3" fmla="*/ 64173 w 66718"/>
                  <a:gd name="connsiteY3" fmla="*/ 20588 h 66784"/>
                  <a:gd name="connsiteX4" fmla="*/ 64173 w 66718"/>
                  <a:gd name="connsiteY4" fmla="*/ 20588 h 66784"/>
                  <a:gd name="connsiteX5" fmla="*/ 46170 w 66718"/>
                  <a:gd name="connsiteY5" fmla="*/ 64213 h 66784"/>
                  <a:gd name="connsiteX6" fmla="*/ 33407 w 66718"/>
                  <a:gd name="connsiteY6" fmla="*/ 66784 h 66784"/>
                  <a:gd name="connsiteX7" fmla="*/ 33407 w 66718"/>
                  <a:gd name="connsiteY7" fmla="*/ 14302 h 66784"/>
                  <a:gd name="connsiteX8" fmla="*/ 26073 w 66718"/>
                  <a:gd name="connsiteY8" fmla="*/ 15730 h 66784"/>
                  <a:gd name="connsiteX9" fmla="*/ 15786 w 66718"/>
                  <a:gd name="connsiteY9" fmla="*/ 40686 h 66784"/>
                  <a:gd name="connsiteX10" fmla="*/ 40741 w 66718"/>
                  <a:gd name="connsiteY10" fmla="*/ 50973 h 66784"/>
                  <a:gd name="connsiteX11" fmla="*/ 51028 w 66718"/>
                  <a:gd name="connsiteY11" fmla="*/ 26017 h 66784"/>
                  <a:gd name="connsiteX12" fmla="*/ 33407 w 66718"/>
                  <a:gd name="connsiteY12" fmla="*/ 14302 h 66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718" h="66784">
                    <a:moveTo>
                      <a:pt x="33407" y="66784"/>
                    </a:moveTo>
                    <a:cubicBezTo>
                      <a:pt x="20358" y="66784"/>
                      <a:pt x="7880" y="59069"/>
                      <a:pt x="2546" y="46210"/>
                    </a:cubicBezTo>
                    <a:cubicBezTo>
                      <a:pt x="-4503" y="29256"/>
                      <a:pt x="3594" y="9634"/>
                      <a:pt x="20548" y="2586"/>
                    </a:cubicBezTo>
                    <a:cubicBezTo>
                      <a:pt x="37598" y="-4558"/>
                      <a:pt x="57124" y="3634"/>
                      <a:pt x="64173" y="20588"/>
                    </a:cubicBezTo>
                    <a:lnTo>
                      <a:pt x="64173" y="20588"/>
                    </a:lnTo>
                    <a:cubicBezTo>
                      <a:pt x="71221" y="37543"/>
                      <a:pt x="63125" y="57164"/>
                      <a:pt x="46170" y="64213"/>
                    </a:cubicBezTo>
                    <a:cubicBezTo>
                      <a:pt x="41979" y="65927"/>
                      <a:pt x="37693" y="66784"/>
                      <a:pt x="33407" y="66784"/>
                    </a:cubicBezTo>
                    <a:close/>
                    <a:moveTo>
                      <a:pt x="33407" y="14302"/>
                    </a:moveTo>
                    <a:cubicBezTo>
                      <a:pt x="30930" y="14302"/>
                      <a:pt x="28454" y="14778"/>
                      <a:pt x="26073" y="15730"/>
                    </a:cubicBezTo>
                    <a:cubicBezTo>
                      <a:pt x="16357" y="19731"/>
                      <a:pt x="11785" y="30970"/>
                      <a:pt x="15786" y="40686"/>
                    </a:cubicBezTo>
                    <a:cubicBezTo>
                      <a:pt x="19786" y="50401"/>
                      <a:pt x="31026" y="54973"/>
                      <a:pt x="40741" y="50973"/>
                    </a:cubicBezTo>
                    <a:cubicBezTo>
                      <a:pt x="50457" y="46972"/>
                      <a:pt x="55029" y="35733"/>
                      <a:pt x="51028" y="26017"/>
                    </a:cubicBezTo>
                    <a:cubicBezTo>
                      <a:pt x="47980" y="18683"/>
                      <a:pt x="40836" y="14302"/>
                      <a:pt x="33407" y="14302"/>
                    </a:cubicBezTo>
                    <a:close/>
                  </a:path>
                </a:pathLst>
              </a:custGeom>
              <a:solidFill>
                <a:srgbClr val="FFFFFF"/>
              </a:solidFill>
              <a:ln w="9525" cap="flat">
                <a:noFill/>
                <a:prstDash val="solid"/>
                <a:miter/>
              </a:ln>
            </p:spPr>
            <p:txBody>
              <a:bodyPr rtlCol="0" anchor="ctr"/>
              <a:lstStyle/>
              <a:p>
                <a:endParaRPr lang="en-DK"/>
              </a:p>
            </p:txBody>
          </p:sp>
        </p:grpSp>
        <p:sp>
          <p:nvSpPr>
            <p:cNvPr id="31" name="Freeform 30">
              <a:extLst>
                <a:ext uri="{FF2B5EF4-FFF2-40B4-BE49-F238E27FC236}">
                  <a16:creationId xmlns:a16="http://schemas.microsoft.com/office/drawing/2014/main" id="{25F1A0C2-9409-6F28-E3C7-84996AD0A8FE}"/>
                </a:ext>
              </a:extLst>
            </p:cNvPr>
            <p:cNvSpPr/>
            <p:nvPr/>
          </p:nvSpPr>
          <p:spPr>
            <a:xfrm>
              <a:off x="5772944" y="3082671"/>
              <a:ext cx="171640" cy="171640"/>
            </a:xfrm>
            <a:custGeom>
              <a:avLst/>
              <a:gdLst>
                <a:gd name="connsiteX0" fmla="*/ 85820 w 171640"/>
                <a:gd name="connsiteY0" fmla="*/ 171641 h 171640"/>
                <a:gd name="connsiteX1" fmla="*/ 0 w 171640"/>
                <a:gd name="connsiteY1" fmla="*/ 85820 h 171640"/>
                <a:gd name="connsiteX2" fmla="*/ 85820 w 171640"/>
                <a:gd name="connsiteY2" fmla="*/ 0 h 171640"/>
                <a:gd name="connsiteX3" fmla="*/ 171641 w 171640"/>
                <a:gd name="connsiteY3" fmla="*/ 85820 h 171640"/>
                <a:gd name="connsiteX4" fmla="*/ 85820 w 171640"/>
                <a:gd name="connsiteY4" fmla="*/ 171641 h 171640"/>
                <a:gd name="connsiteX5" fmla="*/ 85820 w 171640"/>
                <a:gd name="connsiteY5" fmla="*/ 14287 h 171640"/>
                <a:gd name="connsiteX6" fmla="*/ 14288 w 171640"/>
                <a:gd name="connsiteY6" fmla="*/ 85820 h 171640"/>
                <a:gd name="connsiteX7" fmla="*/ 85820 w 171640"/>
                <a:gd name="connsiteY7" fmla="*/ 157353 h 171640"/>
                <a:gd name="connsiteX8" fmla="*/ 157353 w 171640"/>
                <a:gd name="connsiteY8" fmla="*/ 85820 h 171640"/>
                <a:gd name="connsiteX9" fmla="*/ 85820 w 171640"/>
                <a:gd name="connsiteY9" fmla="*/ 14287 h 171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640" h="171640">
                  <a:moveTo>
                    <a:pt x="85820" y="171641"/>
                  </a:moveTo>
                  <a:cubicBezTo>
                    <a:pt x="38481" y="171641"/>
                    <a:pt x="0" y="133160"/>
                    <a:pt x="0" y="85820"/>
                  </a:cubicBezTo>
                  <a:cubicBezTo>
                    <a:pt x="0" y="38481"/>
                    <a:pt x="38481" y="0"/>
                    <a:pt x="85820" y="0"/>
                  </a:cubicBezTo>
                  <a:cubicBezTo>
                    <a:pt x="133160" y="0"/>
                    <a:pt x="171641" y="38481"/>
                    <a:pt x="171641" y="85820"/>
                  </a:cubicBezTo>
                  <a:cubicBezTo>
                    <a:pt x="171641" y="133160"/>
                    <a:pt x="133160" y="171641"/>
                    <a:pt x="85820" y="171641"/>
                  </a:cubicBezTo>
                  <a:close/>
                  <a:moveTo>
                    <a:pt x="85820" y="14287"/>
                  </a:moveTo>
                  <a:cubicBezTo>
                    <a:pt x="46387" y="14287"/>
                    <a:pt x="14288" y="46387"/>
                    <a:pt x="14288" y="85820"/>
                  </a:cubicBezTo>
                  <a:cubicBezTo>
                    <a:pt x="14288" y="125254"/>
                    <a:pt x="46387" y="157353"/>
                    <a:pt x="85820" y="157353"/>
                  </a:cubicBezTo>
                  <a:cubicBezTo>
                    <a:pt x="125254" y="157353"/>
                    <a:pt x="157353" y="125254"/>
                    <a:pt x="157353" y="85820"/>
                  </a:cubicBezTo>
                  <a:cubicBezTo>
                    <a:pt x="157353" y="46387"/>
                    <a:pt x="125254" y="14287"/>
                    <a:pt x="85820" y="14287"/>
                  </a:cubicBezTo>
                  <a:close/>
                </a:path>
              </a:pathLst>
            </a:custGeom>
            <a:solidFill>
              <a:srgbClr val="FFFFFF"/>
            </a:solidFill>
            <a:ln w="9525" cap="flat">
              <a:noFill/>
              <a:prstDash val="solid"/>
              <a:miter/>
            </a:ln>
          </p:spPr>
          <p:txBody>
            <a:bodyPr rtlCol="0" anchor="ctr"/>
            <a:lstStyle/>
            <a:p>
              <a:endParaRPr lang="en-DK"/>
            </a:p>
          </p:txBody>
        </p:sp>
        <p:sp>
          <p:nvSpPr>
            <p:cNvPr id="33" name="Freeform 32">
              <a:extLst>
                <a:ext uri="{FF2B5EF4-FFF2-40B4-BE49-F238E27FC236}">
                  <a16:creationId xmlns:a16="http://schemas.microsoft.com/office/drawing/2014/main" id="{64D5F614-7060-5B3E-211D-221BBECF41CF}"/>
                </a:ext>
              </a:extLst>
            </p:cNvPr>
            <p:cNvSpPr/>
            <p:nvPr/>
          </p:nvSpPr>
          <p:spPr>
            <a:xfrm>
              <a:off x="5812282" y="3633596"/>
              <a:ext cx="171640" cy="171640"/>
            </a:xfrm>
            <a:custGeom>
              <a:avLst/>
              <a:gdLst>
                <a:gd name="connsiteX0" fmla="*/ 85820 w 171640"/>
                <a:gd name="connsiteY0" fmla="*/ 171641 h 171640"/>
                <a:gd name="connsiteX1" fmla="*/ 0 w 171640"/>
                <a:gd name="connsiteY1" fmla="*/ 85820 h 171640"/>
                <a:gd name="connsiteX2" fmla="*/ 85820 w 171640"/>
                <a:gd name="connsiteY2" fmla="*/ 0 h 171640"/>
                <a:gd name="connsiteX3" fmla="*/ 171641 w 171640"/>
                <a:gd name="connsiteY3" fmla="*/ 85820 h 171640"/>
                <a:gd name="connsiteX4" fmla="*/ 85820 w 171640"/>
                <a:gd name="connsiteY4" fmla="*/ 171641 h 171640"/>
                <a:gd name="connsiteX5" fmla="*/ 85820 w 171640"/>
                <a:gd name="connsiteY5" fmla="*/ 14192 h 171640"/>
                <a:gd name="connsiteX6" fmla="*/ 14288 w 171640"/>
                <a:gd name="connsiteY6" fmla="*/ 85725 h 171640"/>
                <a:gd name="connsiteX7" fmla="*/ 85820 w 171640"/>
                <a:gd name="connsiteY7" fmla="*/ 157258 h 171640"/>
                <a:gd name="connsiteX8" fmla="*/ 157353 w 171640"/>
                <a:gd name="connsiteY8" fmla="*/ 85725 h 171640"/>
                <a:gd name="connsiteX9" fmla="*/ 85820 w 171640"/>
                <a:gd name="connsiteY9" fmla="*/ 14192 h 171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640" h="171640">
                  <a:moveTo>
                    <a:pt x="85820" y="171641"/>
                  </a:moveTo>
                  <a:cubicBezTo>
                    <a:pt x="38481" y="171641"/>
                    <a:pt x="0" y="133160"/>
                    <a:pt x="0" y="85820"/>
                  </a:cubicBezTo>
                  <a:cubicBezTo>
                    <a:pt x="0" y="38481"/>
                    <a:pt x="38481" y="0"/>
                    <a:pt x="85820" y="0"/>
                  </a:cubicBezTo>
                  <a:cubicBezTo>
                    <a:pt x="133160" y="0"/>
                    <a:pt x="171641" y="38481"/>
                    <a:pt x="171641" y="85820"/>
                  </a:cubicBezTo>
                  <a:cubicBezTo>
                    <a:pt x="171641" y="133160"/>
                    <a:pt x="133160" y="171641"/>
                    <a:pt x="85820" y="171641"/>
                  </a:cubicBezTo>
                  <a:close/>
                  <a:moveTo>
                    <a:pt x="85820" y="14192"/>
                  </a:moveTo>
                  <a:cubicBezTo>
                    <a:pt x="46387" y="14192"/>
                    <a:pt x="14288" y="46291"/>
                    <a:pt x="14288" y="85725"/>
                  </a:cubicBezTo>
                  <a:cubicBezTo>
                    <a:pt x="14288" y="125159"/>
                    <a:pt x="46387" y="157258"/>
                    <a:pt x="85820" y="157258"/>
                  </a:cubicBezTo>
                  <a:cubicBezTo>
                    <a:pt x="125254" y="157258"/>
                    <a:pt x="157353" y="125159"/>
                    <a:pt x="157353" y="85725"/>
                  </a:cubicBezTo>
                  <a:cubicBezTo>
                    <a:pt x="157353" y="46291"/>
                    <a:pt x="125254" y="14192"/>
                    <a:pt x="85820" y="14192"/>
                  </a:cubicBezTo>
                  <a:close/>
                </a:path>
              </a:pathLst>
            </a:custGeom>
            <a:solidFill>
              <a:srgbClr val="FFFFFF"/>
            </a:solidFill>
            <a:ln w="9525" cap="flat">
              <a:noFill/>
              <a:prstDash val="solid"/>
              <a:miter/>
            </a:ln>
          </p:spPr>
          <p:txBody>
            <a:bodyPr rtlCol="0" anchor="ctr"/>
            <a:lstStyle/>
            <a:p>
              <a:endParaRPr lang="en-DK"/>
            </a:p>
          </p:txBody>
        </p:sp>
        <p:grpSp>
          <p:nvGrpSpPr>
            <p:cNvPr id="35" name="Graphic 4">
              <a:extLst>
                <a:ext uri="{FF2B5EF4-FFF2-40B4-BE49-F238E27FC236}">
                  <a16:creationId xmlns:a16="http://schemas.microsoft.com/office/drawing/2014/main" id="{74AC2D94-55F7-B12C-4945-0796EF54B22D}"/>
                </a:ext>
              </a:extLst>
            </p:cNvPr>
            <p:cNvGrpSpPr/>
            <p:nvPr/>
          </p:nvGrpSpPr>
          <p:grpSpPr>
            <a:xfrm>
              <a:off x="6245193" y="3187636"/>
              <a:ext cx="171640" cy="171640"/>
              <a:chOff x="6245193" y="3187636"/>
              <a:chExt cx="171640" cy="171640"/>
            </a:xfrm>
          </p:grpSpPr>
          <p:sp>
            <p:nvSpPr>
              <p:cNvPr id="82" name="Freeform 81">
                <a:extLst>
                  <a:ext uri="{FF2B5EF4-FFF2-40B4-BE49-F238E27FC236}">
                    <a16:creationId xmlns:a16="http://schemas.microsoft.com/office/drawing/2014/main" id="{852E4ECF-8408-26FC-9FF6-029F91CB678B}"/>
                  </a:ext>
                </a:extLst>
              </p:cNvPr>
              <p:cNvSpPr/>
              <p:nvPr/>
            </p:nvSpPr>
            <p:spPr>
              <a:xfrm>
                <a:off x="6252337" y="3194780"/>
                <a:ext cx="157353" cy="157352"/>
              </a:xfrm>
              <a:custGeom>
                <a:avLst/>
                <a:gdLst>
                  <a:gd name="connsiteX0" fmla="*/ 157353 w 157353"/>
                  <a:gd name="connsiteY0" fmla="*/ 78677 h 157352"/>
                  <a:gd name="connsiteX1" fmla="*/ 78677 w 157353"/>
                  <a:gd name="connsiteY1" fmla="*/ 157353 h 157352"/>
                  <a:gd name="connsiteX2" fmla="*/ 0 w 157353"/>
                  <a:gd name="connsiteY2" fmla="*/ 78677 h 157352"/>
                  <a:gd name="connsiteX3" fmla="*/ 78677 w 157353"/>
                  <a:gd name="connsiteY3" fmla="*/ 0 h 157352"/>
                  <a:gd name="connsiteX4" fmla="*/ 157353 w 157353"/>
                  <a:gd name="connsiteY4" fmla="*/ 78677 h 157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53" h="157352">
                    <a:moveTo>
                      <a:pt x="157353" y="78677"/>
                    </a:moveTo>
                    <a:cubicBezTo>
                      <a:pt x="157353" y="122128"/>
                      <a:pt x="122128" y="157353"/>
                      <a:pt x="78677" y="157353"/>
                    </a:cubicBezTo>
                    <a:cubicBezTo>
                      <a:pt x="35225" y="157353"/>
                      <a:pt x="0" y="122128"/>
                      <a:pt x="0" y="78677"/>
                    </a:cubicBezTo>
                    <a:cubicBezTo>
                      <a:pt x="0" y="35225"/>
                      <a:pt x="35225" y="0"/>
                      <a:pt x="78677" y="0"/>
                    </a:cubicBezTo>
                    <a:cubicBezTo>
                      <a:pt x="122128" y="0"/>
                      <a:pt x="157353" y="35225"/>
                      <a:pt x="157353" y="78677"/>
                    </a:cubicBezTo>
                    <a:close/>
                  </a:path>
                </a:pathLst>
              </a:custGeom>
              <a:solidFill>
                <a:srgbClr val="2878FF">
                  <a:alpha val="49773"/>
                </a:srgbClr>
              </a:solidFill>
              <a:ln w="9525" cap="flat">
                <a:noFill/>
                <a:prstDash val="solid"/>
                <a:miter/>
              </a:ln>
            </p:spPr>
            <p:txBody>
              <a:bodyPr rtlCol="0" anchor="ctr"/>
              <a:lstStyle/>
              <a:p>
                <a:endParaRPr lang="en-DK"/>
              </a:p>
            </p:txBody>
          </p:sp>
          <p:sp>
            <p:nvSpPr>
              <p:cNvPr id="83" name="Freeform 82">
                <a:extLst>
                  <a:ext uri="{FF2B5EF4-FFF2-40B4-BE49-F238E27FC236}">
                    <a16:creationId xmlns:a16="http://schemas.microsoft.com/office/drawing/2014/main" id="{6FF5C600-3D5F-3312-1C62-F22806C5A1F7}"/>
                  </a:ext>
                </a:extLst>
              </p:cNvPr>
              <p:cNvSpPr/>
              <p:nvPr/>
            </p:nvSpPr>
            <p:spPr>
              <a:xfrm>
                <a:off x="6245193" y="3187636"/>
                <a:ext cx="171640" cy="171640"/>
              </a:xfrm>
              <a:custGeom>
                <a:avLst/>
                <a:gdLst>
                  <a:gd name="connsiteX0" fmla="*/ 85820 w 171640"/>
                  <a:gd name="connsiteY0" fmla="*/ 171641 h 171640"/>
                  <a:gd name="connsiteX1" fmla="*/ 0 w 171640"/>
                  <a:gd name="connsiteY1" fmla="*/ 85820 h 171640"/>
                  <a:gd name="connsiteX2" fmla="*/ 85820 w 171640"/>
                  <a:gd name="connsiteY2" fmla="*/ 0 h 171640"/>
                  <a:gd name="connsiteX3" fmla="*/ 171640 w 171640"/>
                  <a:gd name="connsiteY3" fmla="*/ 85820 h 171640"/>
                  <a:gd name="connsiteX4" fmla="*/ 85820 w 171640"/>
                  <a:gd name="connsiteY4" fmla="*/ 171641 h 171640"/>
                  <a:gd name="connsiteX5" fmla="*/ 85820 w 171640"/>
                  <a:gd name="connsiteY5" fmla="*/ 14192 h 171640"/>
                  <a:gd name="connsiteX6" fmla="*/ 14288 w 171640"/>
                  <a:gd name="connsiteY6" fmla="*/ 85725 h 171640"/>
                  <a:gd name="connsiteX7" fmla="*/ 85820 w 171640"/>
                  <a:gd name="connsiteY7" fmla="*/ 157258 h 171640"/>
                  <a:gd name="connsiteX8" fmla="*/ 157353 w 171640"/>
                  <a:gd name="connsiteY8" fmla="*/ 85725 h 171640"/>
                  <a:gd name="connsiteX9" fmla="*/ 85820 w 171640"/>
                  <a:gd name="connsiteY9" fmla="*/ 14192 h 171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640" h="171640">
                    <a:moveTo>
                      <a:pt x="85820" y="171641"/>
                    </a:moveTo>
                    <a:cubicBezTo>
                      <a:pt x="38481" y="171641"/>
                      <a:pt x="0" y="133160"/>
                      <a:pt x="0" y="85820"/>
                    </a:cubicBezTo>
                    <a:cubicBezTo>
                      <a:pt x="0" y="38481"/>
                      <a:pt x="38481" y="0"/>
                      <a:pt x="85820" y="0"/>
                    </a:cubicBezTo>
                    <a:cubicBezTo>
                      <a:pt x="133160" y="0"/>
                      <a:pt x="171640" y="38481"/>
                      <a:pt x="171640" y="85820"/>
                    </a:cubicBezTo>
                    <a:cubicBezTo>
                      <a:pt x="171640" y="133160"/>
                      <a:pt x="133160" y="171641"/>
                      <a:pt x="85820" y="171641"/>
                    </a:cubicBezTo>
                    <a:close/>
                    <a:moveTo>
                      <a:pt x="85820" y="14192"/>
                    </a:moveTo>
                    <a:cubicBezTo>
                      <a:pt x="46387" y="14192"/>
                      <a:pt x="14288" y="46292"/>
                      <a:pt x="14288" y="85725"/>
                    </a:cubicBezTo>
                    <a:cubicBezTo>
                      <a:pt x="14288" y="125158"/>
                      <a:pt x="46387" y="157258"/>
                      <a:pt x="85820" y="157258"/>
                    </a:cubicBezTo>
                    <a:cubicBezTo>
                      <a:pt x="125254" y="157258"/>
                      <a:pt x="157353" y="125158"/>
                      <a:pt x="157353" y="85725"/>
                    </a:cubicBezTo>
                    <a:cubicBezTo>
                      <a:pt x="157353" y="46292"/>
                      <a:pt x="125254" y="14192"/>
                      <a:pt x="85820" y="14192"/>
                    </a:cubicBezTo>
                    <a:close/>
                  </a:path>
                </a:pathLst>
              </a:custGeom>
              <a:solidFill>
                <a:srgbClr val="FFFFFF"/>
              </a:solidFill>
              <a:ln w="9525" cap="flat">
                <a:noFill/>
                <a:prstDash val="solid"/>
                <a:miter/>
              </a:ln>
            </p:spPr>
            <p:txBody>
              <a:bodyPr rtlCol="0" anchor="ctr"/>
              <a:lstStyle/>
              <a:p>
                <a:endParaRPr lang="en-DK"/>
              </a:p>
            </p:txBody>
          </p:sp>
        </p:grpSp>
        <p:sp>
          <p:nvSpPr>
            <p:cNvPr id="84" name="Freeform 83">
              <a:extLst>
                <a:ext uri="{FF2B5EF4-FFF2-40B4-BE49-F238E27FC236}">
                  <a16:creationId xmlns:a16="http://schemas.microsoft.com/office/drawing/2014/main" id="{CDB6A4C6-8098-14DA-B4F5-4BF4D1FC574D}"/>
                </a:ext>
              </a:extLst>
            </p:cNvPr>
            <p:cNvSpPr/>
            <p:nvPr/>
          </p:nvSpPr>
          <p:spPr>
            <a:xfrm rot="-2497802">
              <a:off x="5943468" y="3214138"/>
              <a:ext cx="14287" cy="157924"/>
            </a:xfrm>
            <a:custGeom>
              <a:avLst/>
              <a:gdLst>
                <a:gd name="connsiteX0" fmla="*/ 0 w 14287"/>
                <a:gd name="connsiteY0" fmla="*/ 0 h 157924"/>
                <a:gd name="connsiteX1" fmla="*/ 14287 w 14287"/>
                <a:gd name="connsiteY1" fmla="*/ 0 h 157924"/>
                <a:gd name="connsiteX2" fmla="*/ 14287 w 14287"/>
                <a:gd name="connsiteY2" fmla="*/ 157925 h 157924"/>
                <a:gd name="connsiteX3" fmla="*/ 0 w 14287"/>
                <a:gd name="connsiteY3" fmla="*/ 157925 h 157924"/>
              </a:gdLst>
              <a:ahLst/>
              <a:cxnLst>
                <a:cxn ang="0">
                  <a:pos x="connsiteX0" y="connsiteY0"/>
                </a:cxn>
                <a:cxn ang="0">
                  <a:pos x="connsiteX1" y="connsiteY1"/>
                </a:cxn>
                <a:cxn ang="0">
                  <a:pos x="connsiteX2" y="connsiteY2"/>
                </a:cxn>
                <a:cxn ang="0">
                  <a:pos x="connsiteX3" y="connsiteY3"/>
                </a:cxn>
              </a:cxnLst>
              <a:rect l="l" t="t" r="r" b="b"/>
              <a:pathLst>
                <a:path w="14287" h="157924">
                  <a:moveTo>
                    <a:pt x="0" y="0"/>
                  </a:moveTo>
                  <a:lnTo>
                    <a:pt x="14287" y="0"/>
                  </a:lnTo>
                  <a:lnTo>
                    <a:pt x="14287" y="157925"/>
                  </a:lnTo>
                  <a:lnTo>
                    <a:pt x="0" y="157925"/>
                  </a:lnTo>
                  <a:close/>
                </a:path>
              </a:pathLst>
            </a:custGeom>
            <a:solidFill>
              <a:srgbClr val="FFFFFF"/>
            </a:solidFill>
            <a:ln w="9525" cap="flat">
              <a:noFill/>
              <a:prstDash val="solid"/>
              <a:miter/>
            </a:ln>
          </p:spPr>
          <p:txBody>
            <a:bodyPr rtlCol="0" anchor="ctr"/>
            <a:lstStyle/>
            <a:p>
              <a:endParaRPr lang="en-DK"/>
            </a:p>
          </p:txBody>
        </p:sp>
        <p:sp>
          <p:nvSpPr>
            <p:cNvPr id="85" name="Freeform 84">
              <a:extLst>
                <a:ext uri="{FF2B5EF4-FFF2-40B4-BE49-F238E27FC236}">
                  <a16:creationId xmlns:a16="http://schemas.microsoft.com/office/drawing/2014/main" id="{AE5B385A-7478-BA3A-3FE3-F6DB06EBBED5}"/>
                </a:ext>
              </a:extLst>
            </p:cNvPr>
            <p:cNvSpPr/>
            <p:nvPr/>
          </p:nvSpPr>
          <p:spPr>
            <a:xfrm rot="-3778200">
              <a:off x="6227671" y="3461968"/>
              <a:ext cx="14287" cy="78390"/>
            </a:xfrm>
            <a:custGeom>
              <a:avLst/>
              <a:gdLst>
                <a:gd name="connsiteX0" fmla="*/ 0 w 14287"/>
                <a:gd name="connsiteY0" fmla="*/ 0 h 78390"/>
                <a:gd name="connsiteX1" fmla="*/ 14288 w 14287"/>
                <a:gd name="connsiteY1" fmla="*/ 0 h 78390"/>
                <a:gd name="connsiteX2" fmla="*/ 14288 w 14287"/>
                <a:gd name="connsiteY2" fmla="*/ 78391 h 78390"/>
                <a:gd name="connsiteX3" fmla="*/ 0 w 14287"/>
                <a:gd name="connsiteY3" fmla="*/ 78391 h 78390"/>
              </a:gdLst>
              <a:ahLst/>
              <a:cxnLst>
                <a:cxn ang="0">
                  <a:pos x="connsiteX0" y="connsiteY0"/>
                </a:cxn>
                <a:cxn ang="0">
                  <a:pos x="connsiteX1" y="connsiteY1"/>
                </a:cxn>
                <a:cxn ang="0">
                  <a:pos x="connsiteX2" y="connsiteY2"/>
                </a:cxn>
                <a:cxn ang="0">
                  <a:pos x="connsiteX3" y="connsiteY3"/>
                </a:cxn>
              </a:cxnLst>
              <a:rect l="l" t="t" r="r" b="b"/>
              <a:pathLst>
                <a:path w="14287" h="78390">
                  <a:moveTo>
                    <a:pt x="0" y="0"/>
                  </a:moveTo>
                  <a:lnTo>
                    <a:pt x="14288" y="0"/>
                  </a:lnTo>
                  <a:lnTo>
                    <a:pt x="14288" y="78391"/>
                  </a:lnTo>
                  <a:lnTo>
                    <a:pt x="0" y="78391"/>
                  </a:lnTo>
                  <a:close/>
                </a:path>
              </a:pathLst>
            </a:custGeom>
            <a:solidFill>
              <a:srgbClr val="FFFFFF"/>
            </a:solidFill>
            <a:ln w="9525" cap="flat">
              <a:noFill/>
              <a:prstDash val="solid"/>
              <a:miter/>
            </a:ln>
          </p:spPr>
          <p:txBody>
            <a:bodyPr rtlCol="0" anchor="ctr"/>
            <a:lstStyle/>
            <a:p>
              <a:endParaRPr lang="en-DK"/>
            </a:p>
          </p:txBody>
        </p:sp>
        <p:sp>
          <p:nvSpPr>
            <p:cNvPr id="86" name="Freeform 85">
              <a:extLst>
                <a:ext uri="{FF2B5EF4-FFF2-40B4-BE49-F238E27FC236}">
                  <a16:creationId xmlns:a16="http://schemas.microsoft.com/office/drawing/2014/main" id="{D4ECFF05-A0B1-D3B5-5ADE-C92AB6F5C940}"/>
                </a:ext>
              </a:extLst>
            </p:cNvPr>
            <p:cNvSpPr/>
            <p:nvPr/>
          </p:nvSpPr>
          <p:spPr>
            <a:xfrm rot="-3378601">
              <a:off x="5905873" y="3587548"/>
              <a:ext cx="141922" cy="14287"/>
            </a:xfrm>
            <a:custGeom>
              <a:avLst/>
              <a:gdLst>
                <a:gd name="connsiteX0" fmla="*/ 0 w 141922"/>
                <a:gd name="connsiteY0" fmla="*/ 0 h 14287"/>
                <a:gd name="connsiteX1" fmla="*/ 141922 w 141922"/>
                <a:gd name="connsiteY1" fmla="*/ 0 h 14287"/>
                <a:gd name="connsiteX2" fmla="*/ 141922 w 141922"/>
                <a:gd name="connsiteY2" fmla="*/ 14288 h 14287"/>
                <a:gd name="connsiteX3" fmla="*/ 0 w 141922"/>
                <a:gd name="connsiteY3" fmla="*/ 14288 h 14287"/>
              </a:gdLst>
              <a:ahLst/>
              <a:cxnLst>
                <a:cxn ang="0">
                  <a:pos x="connsiteX0" y="connsiteY0"/>
                </a:cxn>
                <a:cxn ang="0">
                  <a:pos x="connsiteX1" y="connsiteY1"/>
                </a:cxn>
                <a:cxn ang="0">
                  <a:pos x="connsiteX2" y="connsiteY2"/>
                </a:cxn>
                <a:cxn ang="0">
                  <a:pos x="connsiteX3" y="connsiteY3"/>
                </a:cxn>
              </a:cxnLst>
              <a:rect l="l" t="t" r="r" b="b"/>
              <a:pathLst>
                <a:path w="141922" h="14287">
                  <a:moveTo>
                    <a:pt x="0" y="0"/>
                  </a:moveTo>
                  <a:lnTo>
                    <a:pt x="141922" y="0"/>
                  </a:lnTo>
                  <a:lnTo>
                    <a:pt x="141922" y="14288"/>
                  </a:lnTo>
                  <a:lnTo>
                    <a:pt x="0" y="14288"/>
                  </a:lnTo>
                  <a:close/>
                </a:path>
              </a:pathLst>
            </a:custGeom>
            <a:solidFill>
              <a:srgbClr val="FFFFFF"/>
            </a:solidFill>
            <a:ln w="9525" cap="flat">
              <a:noFill/>
              <a:prstDash val="solid"/>
              <a:miter/>
            </a:ln>
          </p:spPr>
          <p:txBody>
            <a:bodyPr rtlCol="0" anchor="ctr"/>
            <a:lstStyle/>
            <a:p>
              <a:endParaRPr lang="en-DK"/>
            </a:p>
          </p:txBody>
        </p:sp>
        <p:sp>
          <p:nvSpPr>
            <p:cNvPr id="87" name="Freeform 86">
              <a:extLst>
                <a:ext uri="{FF2B5EF4-FFF2-40B4-BE49-F238E27FC236}">
                  <a16:creationId xmlns:a16="http://schemas.microsoft.com/office/drawing/2014/main" id="{785CB87C-E0B4-C30A-4708-0659A8C1BF7F}"/>
                </a:ext>
              </a:extLst>
            </p:cNvPr>
            <p:cNvSpPr/>
            <p:nvPr/>
          </p:nvSpPr>
          <p:spPr>
            <a:xfrm rot="-1893599">
              <a:off x="6168718" y="3332893"/>
              <a:ext cx="104394" cy="14287"/>
            </a:xfrm>
            <a:custGeom>
              <a:avLst/>
              <a:gdLst>
                <a:gd name="connsiteX0" fmla="*/ 0 w 104394"/>
                <a:gd name="connsiteY0" fmla="*/ 0 h 14287"/>
                <a:gd name="connsiteX1" fmla="*/ 104394 w 104394"/>
                <a:gd name="connsiteY1" fmla="*/ 0 h 14287"/>
                <a:gd name="connsiteX2" fmla="*/ 104394 w 104394"/>
                <a:gd name="connsiteY2" fmla="*/ 14288 h 14287"/>
                <a:gd name="connsiteX3" fmla="*/ 0 w 104394"/>
                <a:gd name="connsiteY3" fmla="*/ 14288 h 14287"/>
              </a:gdLst>
              <a:ahLst/>
              <a:cxnLst>
                <a:cxn ang="0">
                  <a:pos x="connsiteX0" y="connsiteY0"/>
                </a:cxn>
                <a:cxn ang="0">
                  <a:pos x="connsiteX1" y="connsiteY1"/>
                </a:cxn>
                <a:cxn ang="0">
                  <a:pos x="connsiteX2" y="connsiteY2"/>
                </a:cxn>
                <a:cxn ang="0">
                  <a:pos x="connsiteX3" y="connsiteY3"/>
                </a:cxn>
              </a:cxnLst>
              <a:rect l="l" t="t" r="r" b="b"/>
              <a:pathLst>
                <a:path w="104394" h="14287">
                  <a:moveTo>
                    <a:pt x="0" y="0"/>
                  </a:moveTo>
                  <a:lnTo>
                    <a:pt x="104394" y="0"/>
                  </a:lnTo>
                  <a:lnTo>
                    <a:pt x="104394" y="14288"/>
                  </a:lnTo>
                  <a:lnTo>
                    <a:pt x="0" y="14288"/>
                  </a:lnTo>
                  <a:close/>
                </a:path>
              </a:pathLst>
            </a:custGeom>
            <a:solidFill>
              <a:srgbClr val="FFFFFF"/>
            </a:solidFill>
            <a:ln w="9525" cap="flat">
              <a:noFill/>
              <a:prstDash val="solid"/>
              <a:miter/>
            </a:ln>
          </p:spPr>
          <p:txBody>
            <a:bodyPr rtlCol="0" anchor="ctr"/>
            <a:lstStyle/>
            <a:p>
              <a:endParaRPr lang="en-DK"/>
            </a:p>
          </p:txBody>
        </p:sp>
        <p:sp>
          <p:nvSpPr>
            <p:cNvPr id="88" name="Freeform 87">
              <a:extLst>
                <a:ext uri="{FF2B5EF4-FFF2-40B4-BE49-F238E27FC236}">
                  <a16:creationId xmlns:a16="http://schemas.microsoft.com/office/drawing/2014/main" id="{6C26C298-9F60-7067-E2DC-95ADF369AF92}"/>
                </a:ext>
              </a:extLst>
            </p:cNvPr>
            <p:cNvSpPr/>
            <p:nvPr/>
          </p:nvSpPr>
          <p:spPr>
            <a:xfrm rot="-1107000">
              <a:off x="6079624" y="3121945"/>
              <a:ext cx="82962" cy="14287"/>
            </a:xfrm>
            <a:custGeom>
              <a:avLst/>
              <a:gdLst>
                <a:gd name="connsiteX0" fmla="*/ 0 w 82962"/>
                <a:gd name="connsiteY0" fmla="*/ 0 h 14287"/>
                <a:gd name="connsiteX1" fmla="*/ 82963 w 82962"/>
                <a:gd name="connsiteY1" fmla="*/ 0 h 14287"/>
                <a:gd name="connsiteX2" fmla="*/ 82963 w 82962"/>
                <a:gd name="connsiteY2" fmla="*/ 14287 h 14287"/>
                <a:gd name="connsiteX3" fmla="*/ 0 w 82962"/>
                <a:gd name="connsiteY3" fmla="*/ 14287 h 14287"/>
              </a:gdLst>
              <a:ahLst/>
              <a:cxnLst>
                <a:cxn ang="0">
                  <a:pos x="connsiteX0" y="connsiteY0"/>
                </a:cxn>
                <a:cxn ang="0">
                  <a:pos x="connsiteX1" y="connsiteY1"/>
                </a:cxn>
                <a:cxn ang="0">
                  <a:pos x="connsiteX2" y="connsiteY2"/>
                </a:cxn>
                <a:cxn ang="0">
                  <a:pos x="connsiteX3" y="connsiteY3"/>
                </a:cxn>
              </a:cxnLst>
              <a:rect l="l" t="t" r="r" b="b"/>
              <a:pathLst>
                <a:path w="82962" h="14287">
                  <a:moveTo>
                    <a:pt x="0" y="0"/>
                  </a:moveTo>
                  <a:lnTo>
                    <a:pt x="82963" y="0"/>
                  </a:lnTo>
                  <a:lnTo>
                    <a:pt x="82963" y="14287"/>
                  </a:lnTo>
                  <a:lnTo>
                    <a:pt x="0" y="14287"/>
                  </a:lnTo>
                  <a:close/>
                </a:path>
              </a:pathLst>
            </a:custGeom>
            <a:solidFill>
              <a:srgbClr val="FFFFFF"/>
            </a:solidFill>
            <a:ln w="9525" cap="flat">
              <a:noFill/>
              <a:prstDash val="solid"/>
              <a:miter/>
            </a:ln>
          </p:spPr>
          <p:txBody>
            <a:bodyPr rtlCol="0" anchor="ctr"/>
            <a:lstStyle/>
            <a:p>
              <a:endParaRPr lang="en-DK"/>
            </a:p>
          </p:txBody>
        </p:sp>
        <p:sp>
          <p:nvSpPr>
            <p:cNvPr id="89" name="Freeform 88">
              <a:extLst>
                <a:ext uri="{FF2B5EF4-FFF2-40B4-BE49-F238E27FC236}">
                  <a16:creationId xmlns:a16="http://schemas.microsoft.com/office/drawing/2014/main" id="{B2211F46-254A-7196-959C-63241D0C8DFC}"/>
                </a:ext>
              </a:extLst>
            </p:cNvPr>
            <p:cNvSpPr/>
            <p:nvPr/>
          </p:nvSpPr>
          <p:spPr>
            <a:xfrm>
              <a:off x="6074696" y="3371183"/>
              <a:ext cx="79819" cy="79914"/>
            </a:xfrm>
            <a:custGeom>
              <a:avLst/>
              <a:gdLst>
                <a:gd name="connsiteX0" fmla="*/ 72676 w 79819"/>
                <a:gd name="connsiteY0" fmla="*/ 79915 h 79914"/>
                <a:gd name="connsiteX1" fmla="*/ 65532 w 79819"/>
                <a:gd name="connsiteY1" fmla="*/ 72771 h 79914"/>
                <a:gd name="connsiteX2" fmla="*/ 7144 w 79819"/>
                <a:gd name="connsiteY2" fmla="*/ 14288 h 79914"/>
                <a:gd name="connsiteX3" fmla="*/ 0 w 79819"/>
                <a:gd name="connsiteY3" fmla="*/ 7144 h 79914"/>
                <a:gd name="connsiteX4" fmla="*/ 7144 w 79819"/>
                <a:gd name="connsiteY4" fmla="*/ 0 h 79914"/>
                <a:gd name="connsiteX5" fmla="*/ 79820 w 79819"/>
                <a:gd name="connsiteY5" fmla="*/ 72771 h 79914"/>
                <a:gd name="connsiteX6" fmla="*/ 72676 w 79819"/>
                <a:gd name="connsiteY6" fmla="*/ 79915 h 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819" h="79914">
                  <a:moveTo>
                    <a:pt x="72676" y="79915"/>
                  </a:moveTo>
                  <a:cubicBezTo>
                    <a:pt x="68771" y="79915"/>
                    <a:pt x="65532" y="76676"/>
                    <a:pt x="65532" y="72771"/>
                  </a:cubicBezTo>
                  <a:cubicBezTo>
                    <a:pt x="65532" y="40576"/>
                    <a:pt x="39338" y="14288"/>
                    <a:pt x="7144" y="14288"/>
                  </a:cubicBezTo>
                  <a:cubicBezTo>
                    <a:pt x="3239" y="14288"/>
                    <a:pt x="0" y="11049"/>
                    <a:pt x="0" y="7144"/>
                  </a:cubicBezTo>
                  <a:cubicBezTo>
                    <a:pt x="0" y="3239"/>
                    <a:pt x="3239" y="0"/>
                    <a:pt x="7144" y="0"/>
                  </a:cubicBezTo>
                  <a:cubicBezTo>
                    <a:pt x="47244" y="0"/>
                    <a:pt x="79820" y="32671"/>
                    <a:pt x="79820" y="72771"/>
                  </a:cubicBezTo>
                  <a:cubicBezTo>
                    <a:pt x="79820" y="76676"/>
                    <a:pt x="76581" y="79915"/>
                    <a:pt x="72676" y="79915"/>
                  </a:cubicBezTo>
                  <a:close/>
                </a:path>
              </a:pathLst>
            </a:custGeom>
            <a:solidFill>
              <a:srgbClr val="FFFFFF"/>
            </a:solidFill>
            <a:ln w="9525" cap="flat">
              <a:noFill/>
              <a:prstDash val="solid"/>
              <a:miter/>
            </a:ln>
          </p:spPr>
          <p:txBody>
            <a:bodyPr rtlCol="0" anchor="ctr"/>
            <a:lstStyle/>
            <a:p>
              <a:endParaRPr lang="en-DK"/>
            </a:p>
          </p:txBody>
        </p:sp>
        <p:sp>
          <p:nvSpPr>
            <p:cNvPr id="90" name="Freeform 89">
              <a:extLst>
                <a:ext uri="{FF2B5EF4-FFF2-40B4-BE49-F238E27FC236}">
                  <a16:creationId xmlns:a16="http://schemas.microsoft.com/office/drawing/2014/main" id="{B9FD1588-06B5-8364-8B38-D470316D5B15}"/>
                </a:ext>
              </a:extLst>
            </p:cNvPr>
            <p:cNvSpPr/>
            <p:nvPr/>
          </p:nvSpPr>
          <p:spPr>
            <a:xfrm rot="-2330401">
              <a:off x="6259514" y="3137126"/>
              <a:ext cx="14287" cy="79438"/>
            </a:xfrm>
            <a:custGeom>
              <a:avLst/>
              <a:gdLst>
                <a:gd name="connsiteX0" fmla="*/ 0 w 14287"/>
                <a:gd name="connsiteY0" fmla="*/ 0 h 79438"/>
                <a:gd name="connsiteX1" fmla="*/ 14287 w 14287"/>
                <a:gd name="connsiteY1" fmla="*/ 0 h 79438"/>
                <a:gd name="connsiteX2" fmla="*/ 14287 w 14287"/>
                <a:gd name="connsiteY2" fmla="*/ 79438 h 79438"/>
                <a:gd name="connsiteX3" fmla="*/ 0 w 14287"/>
                <a:gd name="connsiteY3" fmla="*/ 79438 h 79438"/>
              </a:gdLst>
              <a:ahLst/>
              <a:cxnLst>
                <a:cxn ang="0">
                  <a:pos x="connsiteX0" y="connsiteY0"/>
                </a:cxn>
                <a:cxn ang="0">
                  <a:pos x="connsiteX1" y="connsiteY1"/>
                </a:cxn>
                <a:cxn ang="0">
                  <a:pos x="connsiteX2" y="connsiteY2"/>
                </a:cxn>
                <a:cxn ang="0">
                  <a:pos x="connsiteX3" y="connsiteY3"/>
                </a:cxn>
              </a:cxnLst>
              <a:rect l="l" t="t" r="r" b="b"/>
              <a:pathLst>
                <a:path w="14287" h="79438">
                  <a:moveTo>
                    <a:pt x="0" y="0"/>
                  </a:moveTo>
                  <a:lnTo>
                    <a:pt x="14287" y="0"/>
                  </a:lnTo>
                  <a:lnTo>
                    <a:pt x="14287" y="79438"/>
                  </a:lnTo>
                  <a:lnTo>
                    <a:pt x="0" y="79438"/>
                  </a:lnTo>
                  <a:close/>
                </a:path>
              </a:pathLst>
            </a:custGeom>
            <a:solidFill>
              <a:srgbClr val="FFFFFF"/>
            </a:solidFill>
            <a:ln w="9525" cap="flat">
              <a:noFill/>
              <a:prstDash val="solid"/>
              <a:miter/>
            </a:ln>
          </p:spPr>
          <p:txBody>
            <a:bodyPr rtlCol="0" anchor="ctr"/>
            <a:lstStyle/>
            <a:p>
              <a:endParaRPr lang="en-DK"/>
            </a:p>
          </p:txBody>
        </p:sp>
      </p:grpSp>
      <p:sp>
        <p:nvSpPr>
          <p:cNvPr id="2" name="TextBox 1">
            <a:extLst>
              <a:ext uri="{FF2B5EF4-FFF2-40B4-BE49-F238E27FC236}">
                <a16:creationId xmlns:a16="http://schemas.microsoft.com/office/drawing/2014/main" id="{85F3759F-5563-CB8F-F3B1-71285FAD08E4}"/>
              </a:ext>
            </a:extLst>
          </p:cNvPr>
          <p:cNvSpPr txBox="1"/>
          <p:nvPr/>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3</a:t>
            </a:fld>
            <a:endParaRPr lang="en-US" sz="1000" b="0" i="0" spc="40" baseline="0">
              <a:solidFill>
                <a:schemeClr val="tx2"/>
              </a:solidFill>
              <a:latin typeface="Avenir Next LT Pro" panose="020B0504020202020204" pitchFamily="34" charset="77"/>
            </a:endParaRPr>
          </a:p>
        </p:txBody>
      </p:sp>
    </p:spTree>
    <p:extLst>
      <p:ext uri="{BB962C8B-B14F-4D97-AF65-F5344CB8AC3E}">
        <p14:creationId xmlns:p14="http://schemas.microsoft.com/office/powerpoint/2010/main" val="4005249513"/>
      </p:ext>
    </p:ext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B8DE34-CB26-8E13-2FC2-ADB9519A0C62}"/>
            </a:ext>
          </a:extLst>
        </p:cNvPr>
        <p:cNvGrpSpPr/>
        <p:nvPr/>
      </p:nvGrpSpPr>
      <p:grpSpPr>
        <a:xfrm>
          <a:off x="0" y="0"/>
          <a:ext cx="0" cy="0"/>
          <a:chOff x="0" y="0"/>
          <a:chExt cx="0" cy="0"/>
        </a:xfrm>
      </p:grpSpPr>
      <p:grpSp>
        <p:nvGrpSpPr>
          <p:cNvPr id="187" name="Group 186">
            <a:extLst>
              <a:ext uri="{FF2B5EF4-FFF2-40B4-BE49-F238E27FC236}">
                <a16:creationId xmlns:a16="http://schemas.microsoft.com/office/drawing/2014/main" id="{63037B58-88D4-0537-1BE0-2605EA0A1802}"/>
              </a:ext>
            </a:extLst>
          </p:cNvPr>
          <p:cNvGrpSpPr/>
          <p:nvPr/>
        </p:nvGrpSpPr>
        <p:grpSpPr>
          <a:xfrm>
            <a:off x="5344619" y="3213619"/>
            <a:ext cx="1590151" cy="1584662"/>
            <a:chOff x="-1258434" y="4207124"/>
            <a:chExt cx="738635" cy="736085"/>
          </a:xfrm>
        </p:grpSpPr>
        <p:sp>
          <p:nvSpPr>
            <p:cNvPr id="189" name="Freeform 188">
              <a:extLst>
                <a:ext uri="{FF2B5EF4-FFF2-40B4-BE49-F238E27FC236}">
                  <a16:creationId xmlns:a16="http://schemas.microsoft.com/office/drawing/2014/main" id="{54BC4EDC-AC8F-126F-C302-B08C4363F8A8}"/>
                </a:ext>
              </a:extLst>
            </p:cNvPr>
            <p:cNvSpPr/>
            <p:nvPr/>
          </p:nvSpPr>
          <p:spPr>
            <a:xfrm>
              <a:off x="-1247861" y="4217659"/>
              <a:ext cx="717489" cy="715118"/>
            </a:xfrm>
            <a:custGeom>
              <a:avLst/>
              <a:gdLst>
                <a:gd name="connsiteX0" fmla="*/ 358745 w 717489"/>
                <a:gd name="connsiteY0" fmla="*/ 715118 h 715118"/>
                <a:gd name="connsiteX1" fmla="*/ 717490 w 717489"/>
                <a:gd name="connsiteY1" fmla="*/ 357612 h 715118"/>
                <a:gd name="connsiteX2" fmla="*/ 358745 w 717489"/>
                <a:gd name="connsiteY2" fmla="*/ 0 h 715118"/>
                <a:gd name="connsiteX3" fmla="*/ 0 w 717489"/>
                <a:gd name="connsiteY3" fmla="*/ 357506 h 715118"/>
                <a:gd name="connsiteX4" fmla="*/ 358745 w 717489"/>
                <a:gd name="connsiteY4" fmla="*/ 715013 h 715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489" h="715118">
                  <a:moveTo>
                    <a:pt x="358745" y="715118"/>
                  </a:moveTo>
                  <a:cubicBezTo>
                    <a:pt x="556884" y="715118"/>
                    <a:pt x="717490" y="555067"/>
                    <a:pt x="717490" y="357612"/>
                  </a:cubicBezTo>
                  <a:cubicBezTo>
                    <a:pt x="717490" y="160156"/>
                    <a:pt x="556884" y="0"/>
                    <a:pt x="358745" y="0"/>
                  </a:cubicBezTo>
                  <a:cubicBezTo>
                    <a:pt x="160605" y="0"/>
                    <a:pt x="0" y="160051"/>
                    <a:pt x="0" y="357506"/>
                  </a:cubicBezTo>
                  <a:cubicBezTo>
                    <a:pt x="0" y="554962"/>
                    <a:pt x="160605" y="715013"/>
                    <a:pt x="358745" y="715013"/>
                  </a:cubicBezTo>
                </a:path>
              </a:pathLst>
            </a:custGeom>
            <a:solidFill>
              <a:schemeClr val="accent4">
                <a:alpha val="50120"/>
              </a:schemeClr>
            </a:solidFill>
            <a:ln w="10464" cap="flat">
              <a:noFill/>
              <a:prstDash val="solid"/>
              <a:miter/>
            </a:ln>
          </p:spPr>
          <p:txBody>
            <a:bodyPr rtlCol="0" anchor="ctr"/>
            <a:lstStyle/>
            <a:p>
              <a:endParaRPr lang="en-DK"/>
            </a:p>
          </p:txBody>
        </p:sp>
        <p:sp>
          <p:nvSpPr>
            <p:cNvPr id="190" name="Freeform 189">
              <a:extLst>
                <a:ext uri="{FF2B5EF4-FFF2-40B4-BE49-F238E27FC236}">
                  <a16:creationId xmlns:a16="http://schemas.microsoft.com/office/drawing/2014/main" id="{642F7FCC-5670-F8EF-CA7E-81F60D937844}"/>
                </a:ext>
              </a:extLst>
            </p:cNvPr>
            <p:cNvSpPr/>
            <p:nvPr/>
          </p:nvSpPr>
          <p:spPr>
            <a:xfrm>
              <a:off x="-1258434" y="4207124"/>
              <a:ext cx="738635" cy="736085"/>
            </a:xfrm>
            <a:custGeom>
              <a:avLst/>
              <a:gdLst>
                <a:gd name="connsiteX0" fmla="*/ 369318 w 738635"/>
                <a:gd name="connsiteY0" fmla="*/ 725655 h 736085"/>
                <a:gd name="connsiteX1" fmla="*/ 369318 w 738635"/>
                <a:gd name="connsiteY1" fmla="*/ 715118 h 736085"/>
                <a:gd name="connsiteX2" fmla="*/ 717490 w 738635"/>
                <a:gd name="connsiteY2" fmla="*/ 368148 h 736085"/>
                <a:gd name="connsiteX3" fmla="*/ 369318 w 738635"/>
                <a:gd name="connsiteY3" fmla="*/ 21179 h 736085"/>
                <a:gd name="connsiteX4" fmla="*/ 21146 w 738635"/>
                <a:gd name="connsiteY4" fmla="*/ 368043 h 736085"/>
                <a:gd name="connsiteX5" fmla="*/ 369318 w 738635"/>
                <a:gd name="connsiteY5" fmla="*/ 715013 h 736085"/>
                <a:gd name="connsiteX6" fmla="*/ 369318 w 738635"/>
                <a:gd name="connsiteY6" fmla="*/ 725549 h 736085"/>
                <a:gd name="connsiteX7" fmla="*/ 369318 w 738635"/>
                <a:gd name="connsiteY7" fmla="*/ 736086 h 736085"/>
                <a:gd name="connsiteX8" fmla="*/ 0 w 738635"/>
                <a:gd name="connsiteY8" fmla="*/ 368043 h 736085"/>
                <a:gd name="connsiteX9" fmla="*/ 369318 w 738635"/>
                <a:gd name="connsiteY9" fmla="*/ 0 h 736085"/>
                <a:gd name="connsiteX10" fmla="*/ 738636 w 738635"/>
                <a:gd name="connsiteY10" fmla="*/ 368043 h 736085"/>
                <a:gd name="connsiteX11" fmla="*/ 369318 w 738635"/>
                <a:gd name="connsiteY11" fmla="*/ 736086 h 736085"/>
                <a:gd name="connsiteX12" fmla="*/ 369318 w 738635"/>
                <a:gd name="connsiteY12" fmla="*/ 725549 h 73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8635" h="736085">
                  <a:moveTo>
                    <a:pt x="369318" y="725655"/>
                  </a:moveTo>
                  <a:lnTo>
                    <a:pt x="369318" y="715118"/>
                  </a:lnTo>
                  <a:cubicBezTo>
                    <a:pt x="561642" y="714802"/>
                    <a:pt x="717172" y="559809"/>
                    <a:pt x="717490" y="368148"/>
                  </a:cubicBezTo>
                  <a:cubicBezTo>
                    <a:pt x="717172" y="176488"/>
                    <a:pt x="561642" y="21495"/>
                    <a:pt x="369318" y="21179"/>
                  </a:cubicBezTo>
                  <a:cubicBezTo>
                    <a:pt x="176993" y="21389"/>
                    <a:pt x="21463" y="176382"/>
                    <a:pt x="21146" y="368043"/>
                  </a:cubicBezTo>
                  <a:cubicBezTo>
                    <a:pt x="21463" y="559703"/>
                    <a:pt x="176993" y="714697"/>
                    <a:pt x="369318" y="715013"/>
                  </a:cubicBezTo>
                  <a:lnTo>
                    <a:pt x="369318" y="725549"/>
                  </a:lnTo>
                  <a:cubicBezTo>
                    <a:pt x="369318" y="725549"/>
                    <a:pt x="369318" y="736086"/>
                    <a:pt x="369318" y="736086"/>
                  </a:cubicBezTo>
                  <a:cubicBezTo>
                    <a:pt x="165363" y="736086"/>
                    <a:pt x="0" y="571294"/>
                    <a:pt x="0" y="368043"/>
                  </a:cubicBezTo>
                  <a:cubicBezTo>
                    <a:pt x="0" y="164792"/>
                    <a:pt x="165363" y="0"/>
                    <a:pt x="369318" y="0"/>
                  </a:cubicBezTo>
                  <a:cubicBezTo>
                    <a:pt x="573273" y="0"/>
                    <a:pt x="738636" y="164792"/>
                    <a:pt x="738636" y="368043"/>
                  </a:cubicBezTo>
                  <a:cubicBezTo>
                    <a:pt x="738636" y="571294"/>
                    <a:pt x="573273" y="736086"/>
                    <a:pt x="369318" y="736086"/>
                  </a:cubicBezTo>
                  <a:lnTo>
                    <a:pt x="369318" y="725549"/>
                  </a:lnTo>
                  <a:close/>
                </a:path>
              </a:pathLst>
            </a:custGeom>
            <a:solidFill>
              <a:schemeClr val="accent4"/>
            </a:solidFill>
            <a:ln w="10464" cap="flat">
              <a:noFill/>
              <a:prstDash val="solid"/>
              <a:miter/>
            </a:ln>
          </p:spPr>
          <p:txBody>
            <a:bodyPr rtlCol="0" anchor="ctr"/>
            <a:lstStyle/>
            <a:p>
              <a:endParaRPr lang="en-DK"/>
            </a:p>
          </p:txBody>
        </p:sp>
      </p:grpSp>
      <p:grpSp>
        <p:nvGrpSpPr>
          <p:cNvPr id="164" name="Group 163">
            <a:extLst>
              <a:ext uri="{FF2B5EF4-FFF2-40B4-BE49-F238E27FC236}">
                <a16:creationId xmlns:a16="http://schemas.microsoft.com/office/drawing/2014/main" id="{6AAC6B68-8C25-8C3F-56F9-032F2A6869A1}"/>
              </a:ext>
            </a:extLst>
          </p:cNvPr>
          <p:cNvGrpSpPr>
            <a:grpSpLocks noChangeAspect="1"/>
          </p:cNvGrpSpPr>
          <p:nvPr/>
        </p:nvGrpSpPr>
        <p:grpSpPr>
          <a:xfrm rot="5400000">
            <a:off x="7161494" y="3087950"/>
            <a:ext cx="1585455" cy="1836001"/>
            <a:chOff x="-1258434" y="4207123"/>
            <a:chExt cx="738635" cy="855360"/>
          </a:xfrm>
        </p:grpSpPr>
        <p:sp>
          <p:nvSpPr>
            <p:cNvPr id="165" name="Freeform 164">
              <a:extLst>
                <a:ext uri="{FF2B5EF4-FFF2-40B4-BE49-F238E27FC236}">
                  <a16:creationId xmlns:a16="http://schemas.microsoft.com/office/drawing/2014/main" id="{3509EA86-2800-B902-9C50-598D4E6E9AA6}"/>
                </a:ext>
              </a:extLst>
            </p:cNvPr>
            <p:cNvSpPr/>
            <p:nvPr/>
          </p:nvSpPr>
          <p:spPr>
            <a:xfrm>
              <a:off x="-979833" y="4922908"/>
              <a:ext cx="181434" cy="139575"/>
            </a:xfrm>
            <a:custGeom>
              <a:avLst/>
              <a:gdLst>
                <a:gd name="connsiteX0" fmla="*/ 0 w 181434"/>
                <a:gd name="connsiteY0" fmla="*/ 90509 h 218950"/>
                <a:gd name="connsiteX1" fmla="*/ 90929 w 181434"/>
                <a:gd name="connsiteY1" fmla="*/ 0 h 218950"/>
                <a:gd name="connsiteX2" fmla="*/ 181434 w 181434"/>
                <a:gd name="connsiteY2" fmla="*/ 90299 h 218950"/>
                <a:gd name="connsiteX3" fmla="*/ 90611 w 181434"/>
                <a:gd name="connsiteY3" fmla="*/ 218950 h 218950"/>
                <a:gd name="connsiteX4" fmla="*/ 0 w 181434"/>
                <a:gd name="connsiteY4" fmla="*/ 90509 h 218950"/>
                <a:gd name="connsiteX0" fmla="*/ 0 w 181434"/>
                <a:gd name="connsiteY0" fmla="*/ 11134 h 139575"/>
                <a:gd name="connsiteX1" fmla="*/ 90929 w 181434"/>
                <a:gd name="connsiteY1" fmla="*/ 0 h 139575"/>
                <a:gd name="connsiteX2" fmla="*/ 181434 w 181434"/>
                <a:gd name="connsiteY2" fmla="*/ 10924 h 139575"/>
                <a:gd name="connsiteX3" fmla="*/ 90611 w 181434"/>
                <a:gd name="connsiteY3" fmla="*/ 139575 h 139575"/>
                <a:gd name="connsiteX4" fmla="*/ 0 w 181434"/>
                <a:gd name="connsiteY4" fmla="*/ 11134 h 139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434" h="139575">
                  <a:moveTo>
                    <a:pt x="0" y="11134"/>
                  </a:moveTo>
                  <a:lnTo>
                    <a:pt x="90929" y="0"/>
                  </a:lnTo>
                  <a:lnTo>
                    <a:pt x="181434" y="10924"/>
                  </a:lnTo>
                  <a:lnTo>
                    <a:pt x="90611" y="139575"/>
                  </a:lnTo>
                  <a:lnTo>
                    <a:pt x="0" y="11134"/>
                  </a:lnTo>
                  <a:close/>
                </a:path>
              </a:pathLst>
            </a:custGeom>
            <a:solidFill>
              <a:schemeClr val="tx2">
                <a:alpha val="50100"/>
              </a:schemeClr>
            </a:solidFill>
            <a:ln w="10464" cap="flat">
              <a:noFill/>
              <a:prstDash val="solid"/>
              <a:miter/>
            </a:ln>
          </p:spPr>
          <p:txBody>
            <a:bodyPr rtlCol="0" anchor="ctr"/>
            <a:lstStyle/>
            <a:p>
              <a:endParaRPr lang="en-DK"/>
            </a:p>
          </p:txBody>
        </p:sp>
        <p:sp>
          <p:nvSpPr>
            <p:cNvPr id="166" name="Freeform 165">
              <a:extLst>
                <a:ext uri="{FF2B5EF4-FFF2-40B4-BE49-F238E27FC236}">
                  <a16:creationId xmlns:a16="http://schemas.microsoft.com/office/drawing/2014/main" id="{FF76693E-D12B-EFC5-1905-63ADC00F9005}"/>
                </a:ext>
              </a:extLst>
            </p:cNvPr>
            <p:cNvSpPr/>
            <p:nvPr/>
          </p:nvSpPr>
          <p:spPr>
            <a:xfrm>
              <a:off x="-1247861" y="4217659"/>
              <a:ext cx="717489" cy="715118"/>
            </a:xfrm>
            <a:custGeom>
              <a:avLst/>
              <a:gdLst>
                <a:gd name="connsiteX0" fmla="*/ 358745 w 717489"/>
                <a:gd name="connsiteY0" fmla="*/ 715118 h 715118"/>
                <a:gd name="connsiteX1" fmla="*/ 717490 w 717489"/>
                <a:gd name="connsiteY1" fmla="*/ 357612 h 715118"/>
                <a:gd name="connsiteX2" fmla="*/ 358745 w 717489"/>
                <a:gd name="connsiteY2" fmla="*/ 0 h 715118"/>
                <a:gd name="connsiteX3" fmla="*/ 0 w 717489"/>
                <a:gd name="connsiteY3" fmla="*/ 357506 h 715118"/>
                <a:gd name="connsiteX4" fmla="*/ 358745 w 717489"/>
                <a:gd name="connsiteY4" fmla="*/ 715013 h 715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489" h="715118">
                  <a:moveTo>
                    <a:pt x="358745" y="715118"/>
                  </a:moveTo>
                  <a:cubicBezTo>
                    <a:pt x="556884" y="715118"/>
                    <a:pt x="717490" y="555067"/>
                    <a:pt x="717490" y="357612"/>
                  </a:cubicBezTo>
                  <a:cubicBezTo>
                    <a:pt x="717490" y="160156"/>
                    <a:pt x="556884" y="0"/>
                    <a:pt x="358745" y="0"/>
                  </a:cubicBezTo>
                  <a:cubicBezTo>
                    <a:pt x="160605" y="0"/>
                    <a:pt x="0" y="160051"/>
                    <a:pt x="0" y="357506"/>
                  </a:cubicBezTo>
                  <a:cubicBezTo>
                    <a:pt x="0" y="554962"/>
                    <a:pt x="160605" y="715013"/>
                    <a:pt x="358745" y="715013"/>
                  </a:cubicBezTo>
                </a:path>
              </a:pathLst>
            </a:custGeom>
            <a:solidFill>
              <a:schemeClr val="accent2">
                <a:alpha val="50120"/>
              </a:schemeClr>
            </a:solidFill>
            <a:ln w="10464" cap="flat">
              <a:noFill/>
              <a:prstDash val="solid"/>
              <a:miter/>
            </a:ln>
          </p:spPr>
          <p:txBody>
            <a:bodyPr rtlCol="0" anchor="ctr"/>
            <a:lstStyle/>
            <a:p>
              <a:endParaRPr lang="en-DK"/>
            </a:p>
          </p:txBody>
        </p:sp>
        <p:sp>
          <p:nvSpPr>
            <p:cNvPr id="167" name="Freeform 166">
              <a:extLst>
                <a:ext uri="{FF2B5EF4-FFF2-40B4-BE49-F238E27FC236}">
                  <a16:creationId xmlns:a16="http://schemas.microsoft.com/office/drawing/2014/main" id="{23E8A7EF-831D-9386-464C-187F3C059C39}"/>
                </a:ext>
              </a:extLst>
            </p:cNvPr>
            <p:cNvSpPr/>
            <p:nvPr/>
          </p:nvSpPr>
          <p:spPr>
            <a:xfrm>
              <a:off x="-1258434" y="4207123"/>
              <a:ext cx="738635" cy="736085"/>
            </a:xfrm>
            <a:custGeom>
              <a:avLst/>
              <a:gdLst>
                <a:gd name="connsiteX0" fmla="*/ 369318 w 738635"/>
                <a:gd name="connsiteY0" fmla="*/ 725655 h 736085"/>
                <a:gd name="connsiteX1" fmla="*/ 369318 w 738635"/>
                <a:gd name="connsiteY1" fmla="*/ 715118 h 736085"/>
                <a:gd name="connsiteX2" fmla="*/ 717490 w 738635"/>
                <a:gd name="connsiteY2" fmla="*/ 368148 h 736085"/>
                <a:gd name="connsiteX3" fmla="*/ 369318 w 738635"/>
                <a:gd name="connsiteY3" fmla="*/ 21179 h 736085"/>
                <a:gd name="connsiteX4" fmla="*/ 21146 w 738635"/>
                <a:gd name="connsiteY4" fmla="*/ 368043 h 736085"/>
                <a:gd name="connsiteX5" fmla="*/ 369318 w 738635"/>
                <a:gd name="connsiteY5" fmla="*/ 715013 h 736085"/>
                <a:gd name="connsiteX6" fmla="*/ 369318 w 738635"/>
                <a:gd name="connsiteY6" fmla="*/ 725549 h 736085"/>
                <a:gd name="connsiteX7" fmla="*/ 369318 w 738635"/>
                <a:gd name="connsiteY7" fmla="*/ 736086 h 736085"/>
                <a:gd name="connsiteX8" fmla="*/ 0 w 738635"/>
                <a:gd name="connsiteY8" fmla="*/ 368043 h 736085"/>
                <a:gd name="connsiteX9" fmla="*/ 369318 w 738635"/>
                <a:gd name="connsiteY9" fmla="*/ 0 h 736085"/>
                <a:gd name="connsiteX10" fmla="*/ 738636 w 738635"/>
                <a:gd name="connsiteY10" fmla="*/ 368043 h 736085"/>
                <a:gd name="connsiteX11" fmla="*/ 369318 w 738635"/>
                <a:gd name="connsiteY11" fmla="*/ 736086 h 736085"/>
                <a:gd name="connsiteX12" fmla="*/ 369318 w 738635"/>
                <a:gd name="connsiteY12" fmla="*/ 725549 h 73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8635" h="736085">
                  <a:moveTo>
                    <a:pt x="369318" y="725655"/>
                  </a:moveTo>
                  <a:lnTo>
                    <a:pt x="369318" y="715118"/>
                  </a:lnTo>
                  <a:cubicBezTo>
                    <a:pt x="561642" y="714802"/>
                    <a:pt x="717172" y="559809"/>
                    <a:pt x="717490" y="368148"/>
                  </a:cubicBezTo>
                  <a:cubicBezTo>
                    <a:pt x="717172" y="176488"/>
                    <a:pt x="561642" y="21495"/>
                    <a:pt x="369318" y="21179"/>
                  </a:cubicBezTo>
                  <a:cubicBezTo>
                    <a:pt x="176993" y="21389"/>
                    <a:pt x="21463" y="176382"/>
                    <a:pt x="21146" y="368043"/>
                  </a:cubicBezTo>
                  <a:cubicBezTo>
                    <a:pt x="21463" y="559703"/>
                    <a:pt x="176993" y="714697"/>
                    <a:pt x="369318" y="715013"/>
                  </a:cubicBezTo>
                  <a:lnTo>
                    <a:pt x="369318" y="725549"/>
                  </a:lnTo>
                  <a:cubicBezTo>
                    <a:pt x="369318" y="725549"/>
                    <a:pt x="369318" y="736086"/>
                    <a:pt x="369318" y="736086"/>
                  </a:cubicBezTo>
                  <a:cubicBezTo>
                    <a:pt x="165363" y="736086"/>
                    <a:pt x="0" y="571294"/>
                    <a:pt x="0" y="368043"/>
                  </a:cubicBezTo>
                  <a:cubicBezTo>
                    <a:pt x="0" y="164792"/>
                    <a:pt x="165363" y="0"/>
                    <a:pt x="369318" y="0"/>
                  </a:cubicBezTo>
                  <a:cubicBezTo>
                    <a:pt x="573273" y="0"/>
                    <a:pt x="738636" y="164792"/>
                    <a:pt x="738636" y="368043"/>
                  </a:cubicBezTo>
                  <a:cubicBezTo>
                    <a:pt x="738636" y="571294"/>
                    <a:pt x="573273" y="736086"/>
                    <a:pt x="369318" y="736086"/>
                  </a:cubicBezTo>
                  <a:lnTo>
                    <a:pt x="369318" y="725549"/>
                  </a:lnTo>
                  <a:close/>
                </a:path>
              </a:pathLst>
            </a:custGeom>
            <a:solidFill>
              <a:schemeClr val="accent2"/>
            </a:solidFill>
            <a:ln w="10464" cap="flat">
              <a:noFill/>
              <a:prstDash val="solid"/>
              <a:miter/>
            </a:ln>
          </p:spPr>
          <p:txBody>
            <a:bodyPr rtlCol="0" anchor="ctr"/>
            <a:lstStyle/>
            <a:p>
              <a:endParaRPr lang="en-DK"/>
            </a:p>
          </p:txBody>
        </p:sp>
      </p:grpSp>
      <p:graphicFrame>
        <p:nvGraphicFramePr>
          <p:cNvPr id="7" name="think-cell data - do not delete" hidden="1">
            <a:extLst>
              <a:ext uri="{FF2B5EF4-FFF2-40B4-BE49-F238E27FC236}">
                <a16:creationId xmlns:a16="http://schemas.microsoft.com/office/drawing/2014/main" id="{32A806B9-2A98-FF39-7B50-6E1F2533164B}"/>
              </a:ext>
            </a:extLst>
          </p:cNvPr>
          <p:cNvGraphicFramePr>
            <a:graphicFrameLocks/>
          </p:cNvGraphicFramePr>
          <p:nvPr>
            <p:custDataLst>
              <p:tags r:id="rId1"/>
            </p:custData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7" name="think-cell data - do not delete" hidden="1">
                        <a:extLst>
                          <a:ext uri="{FF2B5EF4-FFF2-40B4-BE49-F238E27FC236}">
                            <a16:creationId xmlns:a16="http://schemas.microsoft.com/office/drawing/2014/main" id="{32A806B9-2A98-FF39-7B50-6E1F2533164B}"/>
                          </a:ext>
                        </a:extLst>
                      </p:cNvPr>
                      <p:cNvPicPr/>
                      <p:nvPr/>
                    </p:nvPicPr>
                    <p:blipFill>
                      <a:blip r:embed="rId5"/>
                      <a:stretch>
                        <a:fillRect/>
                      </a:stretch>
                    </p:blipFill>
                    <p:spPr>
                      <a:xfrm>
                        <a:off x="2382"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F91B5D1-4835-BF40-5651-92E82649BBAD}"/>
              </a:ext>
            </a:extLst>
          </p:cNvPr>
          <p:cNvSpPr>
            <a:spLocks noGrp="1"/>
          </p:cNvSpPr>
          <p:nvPr>
            <p:ph type="ctrTitle"/>
          </p:nvPr>
        </p:nvSpPr>
        <p:spPr>
          <a:xfrm>
            <a:off x="516006" y="514350"/>
            <a:ext cx="9667546" cy="792900"/>
          </a:xfrm>
        </p:spPr>
        <p:txBody>
          <a:bodyPr vert="horz"/>
          <a:lstStyle/>
          <a:p>
            <a:r>
              <a:rPr lang="en-GB"/>
              <a:t>W</a:t>
            </a:r>
            <a:r>
              <a:rPr lang="en-DK"/>
              <a:t>e will source external assets and create ventures that are lean and asset-centric by leveraging Gubra shared resources</a:t>
            </a:r>
            <a:endParaRPr lang="de-DE"/>
          </a:p>
        </p:txBody>
      </p:sp>
      <p:cxnSp>
        <p:nvCxnSpPr>
          <p:cNvPr id="39" name="Connector: Curved 38">
            <a:extLst>
              <a:ext uri="{FF2B5EF4-FFF2-40B4-BE49-F238E27FC236}">
                <a16:creationId xmlns:a16="http://schemas.microsoft.com/office/drawing/2014/main" id="{EF208966-21B3-8072-7968-1565B3EA6BB8}"/>
              </a:ext>
            </a:extLst>
          </p:cNvPr>
          <p:cNvCxnSpPr>
            <a:cxnSpLocks/>
          </p:cNvCxnSpPr>
          <p:nvPr/>
        </p:nvCxnSpPr>
        <p:spPr>
          <a:xfrm>
            <a:off x="7139123" y="1862003"/>
            <a:ext cx="1126115" cy="1182364"/>
          </a:xfrm>
          <a:prstGeom prst="curvedConnector2">
            <a:avLst/>
          </a:prstGeom>
          <a:ln w="12700" cap="flat" cmpd="sng" algn="ctr">
            <a:solidFill>
              <a:schemeClr val="bg1"/>
            </a:solidFill>
            <a:prstDash val="solid"/>
            <a:miter lim="800000"/>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Connector: Curved 43">
            <a:extLst>
              <a:ext uri="{FF2B5EF4-FFF2-40B4-BE49-F238E27FC236}">
                <a16:creationId xmlns:a16="http://schemas.microsoft.com/office/drawing/2014/main" id="{B1C53B0E-D19F-C002-A461-E94E0DD87B34}"/>
              </a:ext>
            </a:extLst>
          </p:cNvPr>
          <p:cNvCxnSpPr>
            <a:cxnSpLocks/>
          </p:cNvCxnSpPr>
          <p:nvPr/>
        </p:nvCxnSpPr>
        <p:spPr>
          <a:xfrm rot="5400000">
            <a:off x="7110998" y="5033123"/>
            <a:ext cx="1126115" cy="1182364"/>
          </a:xfrm>
          <a:prstGeom prst="curvedConnector2">
            <a:avLst/>
          </a:prstGeom>
          <a:ln w="12700" cap="flat" cmpd="sng" algn="ctr">
            <a:solidFill>
              <a:schemeClr val="bg1"/>
            </a:solidFill>
            <a:prstDash val="solid"/>
            <a:miter lim="800000"/>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1E12CB4E-FFD5-36A4-4F70-C850E48B1E82}"/>
              </a:ext>
            </a:extLst>
          </p:cNvPr>
          <p:cNvSpPr>
            <a:spLocks/>
          </p:cNvSpPr>
          <p:nvPr/>
        </p:nvSpPr>
        <p:spPr>
          <a:xfrm>
            <a:off x="516732" y="1694959"/>
            <a:ext cx="3598068" cy="249717"/>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1">
                    <a:lumMod val="100000"/>
                  </a:schemeClr>
                </a:solidFill>
              </a14:hiddenFill>
            </a:ext>
            <a:ext uri="{91240B29-F687-4F45-9708-019B960494DF}">
              <a14:hiddenLine xmlns:a14="http://schemas.microsoft.com/office/drawing/2010/main" w="9525" cap="flat" cmpd="sng" algn="ctr">
                <a:solidFill>
                  <a:schemeClr val="accent1">
                    <a:lumMod val="100000"/>
                    <a:alpha val="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914400">
              <a:defRPr/>
            </a:pPr>
            <a:r>
              <a:rPr lang="de-DE" sz="1400" b="1" err="1">
                <a:solidFill>
                  <a:schemeClr val="bg1"/>
                </a:solidFill>
                <a:latin typeface="Avenir Next LT Pro Demi" panose="020B0504020202020204" pitchFamily="34" charset="77"/>
              </a:rPr>
              <a:t>Collaboration</a:t>
            </a:r>
            <a:r>
              <a:rPr lang="de-DE" sz="1400" b="1">
                <a:solidFill>
                  <a:schemeClr val="bg1"/>
                </a:solidFill>
                <a:latin typeface="Avenir Next LT Pro Demi" panose="020B0504020202020204" pitchFamily="34" charset="77"/>
              </a:rPr>
              <a:t> </a:t>
            </a:r>
            <a:r>
              <a:rPr lang="de-DE" sz="1400" b="1" err="1">
                <a:solidFill>
                  <a:schemeClr val="bg1"/>
                </a:solidFill>
                <a:latin typeface="Avenir Next LT Pro Demi" panose="020B0504020202020204" pitchFamily="34" charset="77"/>
              </a:rPr>
              <a:t>model</a:t>
            </a:r>
            <a:r>
              <a:rPr lang="de-DE" sz="1400" b="1">
                <a:solidFill>
                  <a:schemeClr val="bg1"/>
                </a:solidFill>
                <a:latin typeface="Avenir Next LT Pro Demi" panose="020B0504020202020204" pitchFamily="34" charset="77"/>
              </a:rPr>
              <a:t> </a:t>
            </a:r>
            <a:r>
              <a:rPr lang="de-DE" sz="1400" b="1" err="1">
                <a:solidFill>
                  <a:schemeClr val="bg1"/>
                </a:solidFill>
                <a:latin typeface="Avenir Next LT Pro Demi" panose="020B0504020202020204" pitchFamily="34" charset="77"/>
              </a:rPr>
              <a:t>between</a:t>
            </a:r>
            <a:r>
              <a:rPr lang="de-DE" sz="1400" b="1">
                <a:solidFill>
                  <a:schemeClr val="bg1"/>
                </a:solidFill>
                <a:latin typeface="Avenir Next LT Pro Demi" panose="020B0504020202020204" pitchFamily="34" charset="77"/>
              </a:rPr>
              <a:t> </a:t>
            </a:r>
            <a:br>
              <a:rPr lang="de-DE" sz="1400" b="1">
                <a:solidFill>
                  <a:schemeClr val="bg1"/>
                </a:solidFill>
                <a:latin typeface="Avenir Next LT Pro Demi" panose="020B0504020202020204" pitchFamily="34" charset="77"/>
              </a:rPr>
            </a:br>
            <a:r>
              <a:rPr lang="de-DE" sz="1400" b="1" err="1">
                <a:solidFill>
                  <a:schemeClr val="bg1"/>
                </a:solidFill>
                <a:latin typeface="Avenir Next LT Pro Demi" panose="020B0504020202020204" pitchFamily="34" charset="77"/>
              </a:rPr>
              <a:t>Gubra</a:t>
            </a:r>
            <a:r>
              <a:rPr lang="de-DE" sz="1400" b="1">
                <a:solidFill>
                  <a:schemeClr val="bg1"/>
                </a:solidFill>
                <a:latin typeface="Avenir Next LT Pro Demi" panose="020B0504020202020204" pitchFamily="34" charset="77"/>
              </a:rPr>
              <a:t> Ventures, </a:t>
            </a:r>
            <a:r>
              <a:rPr lang="de-DE" sz="1400" b="1" err="1">
                <a:solidFill>
                  <a:schemeClr val="bg1"/>
                </a:solidFill>
                <a:latin typeface="Avenir Next LT Pro Demi" panose="020B0504020202020204" pitchFamily="34" charset="77"/>
              </a:rPr>
              <a:t>Biotech</a:t>
            </a:r>
            <a:r>
              <a:rPr lang="de-DE" sz="1400" b="1">
                <a:solidFill>
                  <a:schemeClr val="bg1"/>
                </a:solidFill>
                <a:latin typeface="Avenir Next LT Pro Demi" panose="020B0504020202020204" pitchFamily="34" charset="77"/>
              </a:rPr>
              <a:t> and CRO</a:t>
            </a:r>
          </a:p>
        </p:txBody>
      </p:sp>
      <p:pic>
        <p:nvPicPr>
          <p:cNvPr id="144" name="Picture 143">
            <a:extLst>
              <a:ext uri="{FF2B5EF4-FFF2-40B4-BE49-F238E27FC236}">
                <a16:creationId xmlns:a16="http://schemas.microsoft.com/office/drawing/2014/main" id="{CD02B432-21E3-9437-BAB9-DB9D94BDD349}"/>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rcRect l="7263" t="16149" r="7263" b="14815"/>
          <a:stretch>
            <a:fillRect/>
          </a:stretch>
        </p:blipFill>
        <p:spPr>
          <a:xfrm>
            <a:off x="5742739" y="3673441"/>
            <a:ext cx="793911" cy="395575"/>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chemeClr val="accent2">
                    <a:lumMod val="40000"/>
                    <a:lumOff val="60000"/>
                  </a:schemeClr>
                </a:solidFill>
              </a14:hiddenFill>
            </a:ext>
          </a:extLst>
        </p:spPr>
      </p:pic>
      <p:sp>
        <p:nvSpPr>
          <p:cNvPr id="154" name="Speech Bubble: Rectangle 45">
            <a:extLst>
              <a:ext uri="{FF2B5EF4-FFF2-40B4-BE49-F238E27FC236}">
                <a16:creationId xmlns:a16="http://schemas.microsoft.com/office/drawing/2014/main" id="{BDACBF56-6F56-91C0-9601-2285FBB60126}"/>
              </a:ext>
            </a:extLst>
          </p:cNvPr>
          <p:cNvSpPr>
            <a:spLocks/>
          </p:cNvSpPr>
          <p:nvPr/>
        </p:nvSpPr>
        <p:spPr>
          <a:xfrm>
            <a:off x="2671012" y="4690141"/>
            <a:ext cx="2480686" cy="1413084"/>
          </a:xfrm>
          <a:prstGeom prst="wedgeRectCallout">
            <a:avLst>
              <a:gd name="adj1" fmla="val 22768"/>
              <a:gd name="adj2" fmla="val -60747"/>
            </a:avLst>
          </a:prstGeom>
          <a:noFill/>
          <a:ln w="9525"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6400" indent="-176400" defTabSz="914400">
              <a:spcAft>
                <a:spcPts val="400"/>
              </a:spcAft>
              <a:buClr>
                <a:schemeClr val="bg1"/>
              </a:buClr>
              <a:buFont typeface="System Font Regular"/>
              <a:buChar char="+"/>
              <a:defRPr/>
            </a:pPr>
            <a:r>
              <a:rPr lang="en-DK" sz="1200">
                <a:solidFill>
                  <a:schemeClr val="bg1"/>
                </a:solidFill>
                <a:latin typeface="Avenir Next LT Pro"/>
              </a:rPr>
              <a:t>Perceived</a:t>
            </a:r>
            <a:r>
              <a:rPr lang="en-GB" sz="1200">
                <a:solidFill>
                  <a:schemeClr val="bg1"/>
                </a:solidFill>
                <a:latin typeface="Avenir Next LT Pro"/>
              </a:rPr>
              <a:t> </a:t>
            </a:r>
            <a:r>
              <a:rPr lang="en-DK" sz="1200">
                <a:solidFill>
                  <a:schemeClr val="bg1"/>
                </a:solidFill>
                <a:latin typeface="Avenir Next LT Pro"/>
              </a:rPr>
              <a:t>by partners </a:t>
            </a:r>
            <a:r>
              <a:rPr lang="en-GB" sz="1200">
                <a:solidFill>
                  <a:schemeClr val="bg1"/>
                </a:solidFill>
                <a:latin typeface="Avenir Next LT Pro"/>
              </a:rPr>
              <a:t>as key value </a:t>
            </a:r>
            <a:r>
              <a:rPr lang="en-DK" sz="1200">
                <a:solidFill>
                  <a:schemeClr val="bg1"/>
                </a:solidFill>
                <a:latin typeface="Avenir Next LT Pro"/>
              </a:rPr>
              <a:t>enabler</a:t>
            </a:r>
            <a:r>
              <a:rPr lang="en-GB" sz="1200">
                <a:solidFill>
                  <a:schemeClr val="bg1"/>
                </a:solidFill>
                <a:latin typeface="Avenir Next LT Pro"/>
              </a:rPr>
              <a:t> for Ventures</a:t>
            </a:r>
          </a:p>
          <a:p>
            <a:pPr marL="176400" indent="-176400" defTabSz="914400">
              <a:spcAft>
                <a:spcPts val="400"/>
              </a:spcAft>
              <a:buClr>
                <a:schemeClr val="bg1"/>
              </a:buClr>
              <a:buFont typeface="System Font Regular"/>
              <a:buChar char="+"/>
              <a:defRPr/>
            </a:pPr>
            <a:r>
              <a:rPr lang="en-DK" sz="1200">
                <a:solidFill>
                  <a:schemeClr val="bg1"/>
                </a:solidFill>
                <a:latin typeface="Avenir Next LT Pro"/>
              </a:rPr>
              <a:t>Staying</a:t>
            </a:r>
            <a:r>
              <a:rPr lang="en-GB" sz="1200">
                <a:solidFill>
                  <a:schemeClr val="bg1"/>
                </a:solidFill>
                <a:latin typeface="Avenir Next LT Pro"/>
              </a:rPr>
              <a:t> close to core </a:t>
            </a:r>
            <a:r>
              <a:rPr lang="en-DK" sz="1200">
                <a:solidFill>
                  <a:schemeClr val="bg1"/>
                </a:solidFill>
                <a:latin typeface="Avenir Next LT Pro"/>
              </a:rPr>
              <a:t>therapeutic areas</a:t>
            </a:r>
            <a:r>
              <a:rPr lang="en-GB" sz="1200">
                <a:solidFill>
                  <a:schemeClr val="bg1"/>
                </a:solidFill>
                <a:latin typeface="Avenir Next LT Pro"/>
              </a:rPr>
              <a:t> </a:t>
            </a:r>
            <a:r>
              <a:rPr lang="en-DK" sz="1200">
                <a:solidFill>
                  <a:schemeClr val="bg1"/>
                </a:solidFill>
                <a:latin typeface="Avenir Next LT Pro"/>
              </a:rPr>
              <a:t>will enable</a:t>
            </a:r>
            <a:r>
              <a:rPr lang="en-GB" sz="1200">
                <a:solidFill>
                  <a:schemeClr val="bg1"/>
                </a:solidFill>
                <a:latin typeface="Avenir Next LT Pro"/>
              </a:rPr>
              <a:t> Ventures to leverage </a:t>
            </a:r>
            <a:r>
              <a:rPr lang="en-DK" sz="1200">
                <a:solidFill>
                  <a:schemeClr val="bg1"/>
                </a:solidFill>
                <a:latin typeface="Avenir Next LT Pro"/>
              </a:rPr>
              <a:t>our</a:t>
            </a:r>
            <a:r>
              <a:rPr lang="en-GB" sz="1200">
                <a:solidFill>
                  <a:schemeClr val="bg1"/>
                </a:solidFill>
                <a:latin typeface="Avenir Next LT Pro"/>
              </a:rPr>
              <a:t> CRO</a:t>
            </a:r>
          </a:p>
        </p:txBody>
      </p:sp>
      <p:grpSp>
        <p:nvGrpSpPr>
          <p:cNvPr id="162" name="Group 161">
            <a:extLst>
              <a:ext uri="{FF2B5EF4-FFF2-40B4-BE49-F238E27FC236}">
                <a16:creationId xmlns:a16="http://schemas.microsoft.com/office/drawing/2014/main" id="{B5F38C65-41EB-660A-FF35-F881D20D00F8}"/>
              </a:ext>
            </a:extLst>
          </p:cNvPr>
          <p:cNvGrpSpPr>
            <a:grpSpLocks noChangeAspect="1"/>
          </p:cNvGrpSpPr>
          <p:nvPr/>
        </p:nvGrpSpPr>
        <p:grpSpPr>
          <a:xfrm rot="16200000">
            <a:off x="3513048" y="3087951"/>
            <a:ext cx="1585454" cy="1836000"/>
            <a:chOff x="-1258434" y="4207123"/>
            <a:chExt cx="738635" cy="855360"/>
          </a:xfrm>
        </p:grpSpPr>
        <p:sp>
          <p:nvSpPr>
            <p:cNvPr id="157" name="Freeform 156">
              <a:extLst>
                <a:ext uri="{FF2B5EF4-FFF2-40B4-BE49-F238E27FC236}">
                  <a16:creationId xmlns:a16="http://schemas.microsoft.com/office/drawing/2014/main" id="{6BBFE345-6DBE-5678-D9BD-D1BC0EAEA229}"/>
                </a:ext>
              </a:extLst>
            </p:cNvPr>
            <p:cNvSpPr/>
            <p:nvPr/>
          </p:nvSpPr>
          <p:spPr>
            <a:xfrm>
              <a:off x="-979833" y="4922908"/>
              <a:ext cx="181434" cy="139575"/>
            </a:xfrm>
            <a:custGeom>
              <a:avLst/>
              <a:gdLst>
                <a:gd name="connsiteX0" fmla="*/ 0 w 181434"/>
                <a:gd name="connsiteY0" fmla="*/ 90509 h 218950"/>
                <a:gd name="connsiteX1" fmla="*/ 90929 w 181434"/>
                <a:gd name="connsiteY1" fmla="*/ 0 h 218950"/>
                <a:gd name="connsiteX2" fmla="*/ 181434 w 181434"/>
                <a:gd name="connsiteY2" fmla="*/ 90299 h 218950"/>
                <a:gd name="connsiteX3" fmla="*/ 90611 w 181434"/>
                <a:gd name="connsiteY3" fmla="*/ 218950 h 218950"/>
                <a:gd name="connsiteX4" fmla="*/ 0 w 181434"/>
                <a:gd name="connsiteY4" fmla="*/ 90509 h 218950"/>
                <a:gd name="connsiteX0" fmla="*/ 0 w 181434"/>
                <a:gd name="connsiteY0" fmla="*/ 11134 h 139575"/>
                <a:gd name="connsiteX1" fmla="*/ 90929 w 181434"/>
                <a:gd name="connsiteY1" fmla="*/ 0 h 139575"/>
                <a:gd name="connsiteX2" fmla="*/ 181434 w 181434"/>
                <a:gd name="connsiteY2" fmla="*/ 10924 h 139575"/>
                <a:gd name="connsiteX3" fmla="*/ 90611 w 181434"/>
                <a:gd name="connsiteY3" fmla="*/ 139575 h 139575"/>
                <a:gd name="connsiteX4" fmla="*/ 0 w 181434"/>
                <a:gd name="connsiteY4" fmla="*/ 11134 h 139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434" h="139575">
                  <a:moveTo>
                    <a:pt x="0" y="11134"/>
                  </a:moveTo>
                  <a:lnTo>
                    <a:pt x="90929" y="0"/>
                  </a:lnTo>
                  <a:lnTo>
                    <a:pt x="181434" y="10924"/>
                  </a:lnTo>
                  <a:lnTo>
                    <a:pt x="90611" y="139575"/>
                  </a:lnTo>
                  <a:lnTo>
                    <a:pt x="0" y="11134"/>
                  </a:lnTo>
                  <a:close/>
                </a:path>
              </a:pathLst>
            </a:custGeom>
            <a:solidFill>
              <a:schemeClr val="accent5">
                <a:alpha val="50100"/>
              </a:schemeClr>
            </a:solidFill>
            <a:ln w="10464" cap="flat">
              <a:noFill/>
              <a:prstDash val="solid"/>
              <a:miter/>
            </a:ln>
          </p:spPr>
          <p:txBody>
            <a:bodyPr rtlCol="0" anchor="ctr"/>
            <a:lstStyle/>
            <a:p>
              <a:endParaRPr lang="en-DK"/>
            </a:p>
          </p:txBody>
        </p:sp>
        <p:sp>
          <p:nvSpPr>
            <p:cNvPr id="158" name="Freeform 157">
              <a:extLst>
                <a:ext uri="{FF2B5EF4-FFF2-40B4-BE49-F238E27FC236}">
                  <a16:creationId xmlns:a16="http://schemas.microsoft.com/office/drawing/2014/main" id="{49ABE111-2762-8798-BB1B-3146364E985B}"/>
                </a:ext>
              </a:extLst>
            </p:cNvPr>
            <p:cNvSpPr/>
            <p:nvPr/>
          </p:nvSpPr>
          <p:spPr>
            <a:xfrm>
              <a:off x="-1247861" y="4217659"/>
              <a:ext cx="717489" cy="715118"/>
            </a:xfrm>
            <a:custGeom>
              <a:avLst/>
              <a:gdLst>
                <a:gd name="connsiteX0" fmla="*/ 358745 w 717489"/>
                <a:gd name="connsiteY0" fmla="*/ 715118 h 715118"/>
                <a:gd name="connsiteX1" fmla="*/ 717490 w 717489"/>
                <a:gd name="connsiteY1" fmla="*/ 357612 h 715118"/>
                <a:gd name="connsiteX2" fmla="*/ 358745 w 717489"/>
                <a:gd name="connsiteY2" fmla="*/ 0 h 715118"/>
                <a:gd name="connsiteX3" fmla="*/ 0 w 717489"/>
                <a:gd name="connsiteY3" fmla="*/ 357506 h 715118"/>
                <a:gd name="connsiteX4" fmla="*/ 358745 w 717489"/>
                <a:gd name="connsiteY4" fmla="*/ 715013 h 715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489" h="715118">
                  <a:moveTo>
                    <a:pt x="358745" y="715118"/>
                  </a:moveTo>
                  <a:cubicBezTo>
                    <a:pt x="556884" y="715118"/>
                    <a:pt x="717490" y="555067"/>
                    <a:pt x="717490" y="357612"/>
                  </a:cubicBezTo>
                  <a:cubicBezTo>
                    <a:pt x="717490" y="160156"/>
                    <a:pt x="556884" y="0"/>
                    <a:pt x="358745" y="0"/>
                  </a:cubicBezTo>
                  <a:cubicBezTo>
                    <a:pt x="160605" y="0"/>
                    <a:pt x="0" y="160051"/>
                    <a:pt x="0" y="357506"/>
                  </a:cubicBezTo>
                  <a:cubicBezTo>
                    <a:pt x="0" y="554962"/>
                    <a:pt x="160605" y="715013"/>
                    <a:pt x="358745" y="715013"/>
                  </a:cubicBezTo>
                </a:path>
              </a:pathLst>
            </a:custGeom>
            <a:solidFill>
              <a:schemeClr val="accent5">
                <a:alpha val="50120"/>
              </a:schemeClr>
            </a:solidFill>
            <a:ln w="10464" cap="flat">
              <a:noFill/>
              <a:prstDash val="solid"/>
              <a:miter/>
            </a:ln>
          </p:spPr>
          <p:txBody>
            <a:bodyPr rtlCol="0" anchor="ctr"/>
            <a:lstStyle/>
            <a:p>
              <a:endParaRPr lang="en-DK"/>
            </a:p>
          </p:txBody>
        </p:sp>
        <p:sp>
          <p:nvSpPr>
            <p:cNvPr id="159" name="Freeform 158">
              <a:extLst>
                <a:ext uri="{FF2B5EF4-FFF2-40B4-BE49-F238E27FC236}">
                  <a16:creationId xmlns:a16="http://schemas.microsoft.com/office/drawing/2014/main" id="{7D0C3EA4-501E-16DA-6604-9C6881079767}"/>
                </a:ext>
              </a:extLst>
            </p:cNvPr>
            <p:cNvSpPr/>
            <p:nvPr/>
          </p:nvSpPr>
          <p:spPr>
            <a:xfrm>
              <a:off x="-1258434" y="4207123"/>
              <a:ext cx="738635" cy="736085"/>
            </a:xfrm>
            <a:custGeom>
              <a:avLst/>
              <a:gdLst>
                <a:gd name="connsiteX0" fmla="*/ 369318 w 738635"/>
                <a:gd name="connsiteY0" fmla="*/ 725655 h 736085"/>
                <a:gd name="connsiteX1" fmla="*/ 369318 w 738635"/>
                <a:gd name="connsiteY1" fmla="*/ 715118 h 736085"/>
                <a:gd name="connsiteX2" fmla="*/ 717490 w 738635"/>
                <a:gd name="connsiteY2" fmla="*/ 368148 h 736085"/>
                <a:gd name="connsiteX3" fmla="*/ 369318 w 738635"/>
                <a:gd name="connsiteY3" fmla="*/ 21179 h 736085"/>
                <a:gd name="connsiteX4" fmla="*/ 21146 w 738635"/>
                <a:gd name="connsiteY4" fmla="*/ 368043 h 736085"/>
                <a:gd name="connsiteX5" fmla="*/ 369318 w 738635"/>
                <a:gd name="connsiteY5" fmla="*/ 715013 h 736085"/>
                <a:gd name="connsiteX6" fmla="*/ 369318 w 738635"/>
                <a:gd name="connsiteY6" fmla="*/ 725549 h 736085"/>
                <a:gd name="connsiteX7" fmla="*/ 369318 w 738635"/>
                <a:gd name="connsiteY7" fmla="*/ 736086 h 736085"/>
                <a:gd name="connsiteX8" fmla="*/ 0 w 738635"/>
                <a:gd name="connsiteY8" fmla="*/ 368043 h 736085"/>
                <a:gd name="connsiteX9" fmla="*/ 369318 w 738635"/>
                <a:gd name="connsiteY9" fmla="*/ 0 h 736085"/>
                <a:gd name="connsiteX10" fmla="*/ 738636 w 738635"/>
                <a:gd name="connsiteY10" fmla="*/ 368043 h 736085"/>
                <a:gd name="connsiteX11" fmla="*/ 369318 w 738635"/>
                <a:gd name="connsiteY11" fmla="*/ 736086 h 736085"/>
                <a:gd name="connsiteX12" fmla="*/ 369318 w 738635"/>
                <a:gd name="connsiteY12" fmla="*/ 725549 h 73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8635" h="736085">
                  <a:moveTo>
                    <a:pt x="369318" y="725655"/>
                  </a:moveTo>
                  <a:lnTo>
                    <a:pt x="369318" y="715118"/>
                  </a:lnTo>
                  <a:cubicBezTo>
                    <a:pt x="561642" y="714802"/>
                    <a:pt x="717172" y="559809"/>
                    <a:pt x="717490" y="368148"/>
                  </a:cubicBezTo>
                  <a:cubicBezTo>
                    <a:pt x="717172" y="176488"/>
                    <a:pt x="561642" y="21495"/>
                    <a:pt x="369318" y="21179"/>
                  </a:cubicBezTo>
                  <a:cubicBezTo>
                    <a:pt x="176993" y="21389"/>
                    <a:pt x="21463" y="176382"/>
                    <a:pt x="21146" y="368043"/>
                  </a:cubicBezTo>
                  <a:cubicBezTo>
                    <a:pt x="21463" y="559703"/>
                    <a:pt x="176993" y="714697"/>
                    <a:pt x="369318" y="715013"/>
                  </a:cubicBezTo>
                  <a:lnTo>
                    <a:pt x="369318" y="725549"/>
                  </a:lnTo>
                  <a:cubicBezTo>
                    <a:pt x="369318" y="725549"/>
                    <a:pt x="369318" y="736086"/>
                    <a:pt x="369318" y="736086"/>
                  </a:cubicBezTo>
                  <a:cubicBezTo>
                    <a:pt x="165363" y="736086"/>
                    <a:pt x="0" y="571294"/>
                    <a:pt x="0" y="368043"/>
                  </a:cubicBezTo>
                  <a:cubicBezTo>
                    <a:pt x="0" y="164792"/>
                    <a:pt x="165363" y="0"/>
                    <a:pt x="369318" y="0"/>
                  </a:cubicBezTo>
                  <a:cubicBezTo>
                    <a:pt x="573273" y="0"/>
                    <a:pt x="738636" y="164792"/>
                    <a:pt x="738636" y="368043"/>
                  </a:cubicBezTo>
                  <a:cubicBezTo>
                    <a:pt x="738636" y="571294"/>
                    <a:pt x="573273" y="736086"/>
                    <a:pt x="369318" y="736086"/>
                  </a:cubicBezTo>
                  <a:lnTo>
                    <a:pt x="369318" y="725549"/>
                  </a:lnTo>
                  <a:close/>
                </a:path>
              </a:pathLst>
            </a:custGeom>
            <a:solidFill>
              <a:schemeClr val="accent5"/>
            </a:solidFill>
            <a:ln w="10464" cap="flat">
              <a:noFill/>
              <a:prstDash val="solid"/>
              <a:miter/>
            </a:ln>
          </p:spPr>
          <p:txBody>
            <a:bodyPr rtlCol="0" anchor="ctr"/>
            <a:lstStyle/>
            <a:p>
              <a:endParaRPr lang="en-DK"/>
            </a:p>
          </p:txBody>
        </p:sp>
      </p:grpSp>
      <p:sp>
        <p:nvSpPr>
          <p:cNvPr id="163" name="TextBox 162">
            <a:extLst>
              <a:ext uri="{FF2B5EF4-FFF2-40B4-BE49-F238E27FC236}">
                <a16:creationId xmlns:a16="http://schemas.microsoft.com/office/drawing/2014/main" id="{E1330084-E589-D22A-46A9-8D35D0CA2EF2}"/>
              </a:ext>
            </a:extLst>
          </p:cNvPr>
          <p:cNvSpPr txBox="1"/>
          <p:nvPr/>
        </p:nvSpPr>
        <p:spPr>
          <a:xfrm>
            <a:off x="3615027" y="3743154"/>
            <a:ext cx="1112329" cy="523220"/>
          </a:xfrm>
          <a:prstGeom prst="rect">
            <a:avLst/>
          </a:prstGeom>
          <a:noFill/>
        </p:spPr>
        <p:txBody>
          <a:bodyPr wrap="square" rtlCol="0">
            <a:spAutoFit/>
          </a:bodyPr>
          <a:lstStyle/>
          <a:p>
            <a:pPr algn="ctr" defTabSz="914400">
              <a:defRPr/>
            </a:pPr>
            <a:r>
              <a:rPr lang="en-GB" sz="1400" b="1">
                <a:solidFill>
                  <a:schemeClr val="bg1"/>
                </a:solidFill>
                <a:latin typeface="Avenir Next LT Pro Demi" panose="020B0504020202020204" pitchFamily="34" charset="77"/>
              </a:rPr>
              <a:t>CRO</a:t>
            </a:r>
          </a:p>
          <a:p>
            <a:pPr algn="ctr" defTabSz="914400">
              <a:defRPr/>
            </a:pPr>
            <a:r>
              <a:rPr kumimoji="0" lang="en-GB" sz="1400" b="1" u="none" strike="noStrike" kern="0" cap="none" spc="0" normalizeH="0" baseline="0" noProof="0">
                <a:ln>
                  <a:noFill/>
                </a:ln>
                <a:solidFill>
                  <a:schemeClr val="bg1"/>
                </a:solidFill>
                <a:effectLst/>
                <a:uLnTx/>
                <a:uFillTx/>
                <a:latin typeface="Avenir Next LT Pro Demi" panose="020B0504020202020204" pitchFamily="34" charset="77"/>
              </a:rPr>
              <a:t>models</a:t>
            </a:r>
            <a:endParaRPr kumimoji="0" lang="en-DK" sz="1400" b="1" u="none" strike="noStrike" kern="0" cap="none" spc="0" normalizeH="0" baseline="0" noProof="0">
              <a:ln>
                <a:noFill/>
              </a:ln>
              <a:solidFill>
                <a:schemeClr val="bg1"/>
              </a:solidFill>
              <a:effectLst/>
              <a:uLnTx/>
              <a:uFillTx/>
              <a:latin typeface="Avenir Next LT Pro Demi" panose="020B0504020202020204" pitchFamily="34" charset="77"/>
            </a:endParaRPr>
          </a:p>
        </p:txBody>
      </p:sp>
      <p:sp>
        <p:nvSpPr>
          <p:cNvPr id="168" name="TextBox 167">
            <a:extLst>
              <a:ext uri="{FF2B5EF4-FFF2-40B4-BE49-F238E27FC236}">
                <a16:creationId xmlns:a16="http://schemas.microsoft.com/office/drawing/2014/main" id="{9C9F03F2-D261-5EB6-3A1E-71F499909797}"/>
              </a:ext>
            </a:extLst>
          </p:cNvPr>
          <p:cNvSpPr txBox="1"/>
          <p:nvPr/>
        </p:nvSpPr>
        <p:spPr>
          <a:xfrm>
            <a:off x="7525959" y="3702783"/>
            <a:ext cx="1112329" cy="523220"/>
          </a:xfrm>
          <a:prstGeom prst="rect">
            <a:avLst/>
          </a:prstGeom>
          <a:noFill/>
        </p:spPr>
        <p:txBody>
          <a:bodyPr wrap="square" rtlCol="0">
            <a:spAutoFit/>
          </a:bodyPr>
          <a:lstStyle/>
          <a:p>
            <a:pPr algn="ctr" defTabSz="914400">
              <a:defRPr/>
            </a:pPr>
            <a:r>
              <a:rPr lang="en-GB" sz="1400" b="1">
                <a:solidFill>
                  <a:schemeClr val="bg1"/>
                </a:solidFill>
                <a:latin typeface="Avenir Next LT Pro Demi" panose="020B0504020202020204" pitchFamily="34" charset="77"/>
              </a:rPr>
              <a:t>Biotech</a:t>
            </a:r>
          </a:p>
          <a:p>
            <a:pPr algn="ctr" defTabSz="914400">
              <a:defRPr/>
            </a:pPr>
            <a:r>
              <a:rPr lang="en-GB" sz="1400" b="1" err="1">
                <a:solidFill>
                  <a:schemeClr val="bg1"/>
                </a:solidFill>
                <a:latin typeface="Avenir Next LT Pro Demi" panose="020B0504020202020204" pitchFamily="34" charset="77"/>
              </a:rPr>
              <a:t>StreaMLine</a:t>
            </a:r>
            <a:endParaRPr kumimoji="0" lang="en-DK" sz="1400" b="1" u="none" strike="noStrike" kern="0" cap="none" spc="0" normalizeH="0" baseline="0" noProof="0">
              <a:ln>
                <a:noFill/>
              </a:ln>
              <a:solidFill>
                <a:schemeClr val="bg1"/>
              </a:solidFill>
              <a:effectLst/>
              <a:uLnTx/>
              <a:uFillTx/>
              <a:latin typeface="Avenir Next LT Pro Demi" panose="020B0504020202020204" pitchFamily="34" charset="77"/>
            </a:endParaRPr>
          </a:p>
        </p:txBody>
      </p:sp>
      <p:grpSp>
        <p:nvGrpSpPr>
          <p:cNvPr id="170" name="Group 169">
            <a:extLst>
              <a:ext uri="{FF2B5EF4-FFF2-40B4-BE49-F238E27FC236}">
                <a16:creationId xmlns:a16="http://schemas.microsoft.com/office/drawing/2014/main" id="{388116E4-FB3A-5B9D-5F45-306FAFD97903}"/>
              </a:ext>
            </a:extLst>
          </p:cNvPr>
          <p:cNvGrpSpPr/>
          <p:nvPr/>
        </p:nvGrpSpPr>
        <p:grpSpPr>
          <a:xfrm>
            <a:off x="5346663" y="1324075"/>
            <a:ext cx="1586066" cy="1836710"/>
            <a:chOff x="-1258434" y="4207124"/>
            <a:chExt cx="738635" cy="855359"/>
          </a:xfrm>
        </p:grpSpPr>
        <p:sp>
          <p:nvSpPr>
            <p:cNvPr id="171" name="Freeform 170">
              <a:extLst>
                <a:ext uri="{FF2B5EF4-FFF2-40B4-BE49-F238E27FC236}">
                  <a16:creationId xmlns:a16="http://schemas.microsoft.com/office/drawing/2014/main" id="{579EFB34-8C0E-550B-6723-17A3D507338C}"/>
                </a:ext>
              </a:extLst>
            </p:cNvPr>
            <p:cNvSpPr/>
            <p:nvPr/>
          </p:nvSpPr>
          <p:spPr>
            <a:xfrm>
              <a:off x="-979833" y="4922908"/>
              <a:ext cx="181434" cy="139575"/>
            </a:xfrm>
            <a:custGeom>
              <a:avLst/>
              <a:gdLst>
                <a:gd name="connsiteX0" fmla="*/ 0 w 181434"/>
                <a:gd name="connsiteY0" fmla="*/ 90509 h 218950"/>
                <a:gd name="connsiteX1" fmla="*/ 90929 w 181434"/>
                <a:gd name="connsiteY1" fmla="*/ 0 h 218950"/>
                <a:gd name="connsiteX2" fmla="*/ 181434 w 181434"/>
                <a:gd name="connsiteY2" fmla="*/ 90299 h 218950"/>
                <a:gd name="connsiteX3" fmla="*/ 90611 w 181434"/>
                <a:gd name="connsiteY3" fmla="*/ 218950 h 218950"/>
                <a:gd name="connsiteX4" fmla="*/ 0 w 181434"/>
                <a:gd name="connsiteY4" fmla="*/ 90509 h 218950"/>
                <a:gd name="connsiteX0" fmla="*/ 0 w 181434"/>
                <a:gd name="connsiteY0" fmla="*/ 11134 h 139575"/>
                <a:gd name="connsiteX1" fmla="*/ 90929 w 181434"/>
                <a:gd name="connsiteY1" fmla="*/ 0 h 139575"/>
                <a:gd name="connsiteX2" fmla="*/ 181434 w 181434"/>
                <a:gd name="connsiteY2" fmla="*/ 10924 h 139575"/>
                <a:gd name="connsiteX3" fmla="*/ 90611 w 181434"/>
                <a:gd name="connsiteY3" fmla="*/ 139575 h 139575"/>
                <a:gd name="connsiteX4" fmla="*/ 0 w 181434"/>
                <a:gd name="connsiteY4" fmla="*/ 11134 h 139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434" h="139575">
                  <a:moveTo>
                    <a:pt x="0" y="11134"/>
                  </a:moveTo>
                  <a:lnTo>
                    <a:pt x="90929" y="0"/>
                  </a:lnTo>
                  <a:lnTo>
                    <a:pt x="181434" y="10924"/>
                  </a:lnTo>
                  <a:lnTo>
                    <a:pt x="90611" y="139575"/>
                  </a:lnTo>
                  <a:lnTo>
                    <a:pt x="0" y="11134"/>
                  </a:lnTo>
                  <a:close/>
                </a:path>
              </a:pathLst>
            </a:custGeom>
            <a:solidFill>
              <a:schemeClr val="bg2">
                <a:alpha val="50100"/>
              </a:schemeClr>
            </a:solidFill>
            <a:ln w="10464" cap="flat">
              <a:noFill/>
              <a:prstDash val="solid"/>
              <a:miter/>
            </a:ln>
          </p:spPr>
          <p:txBody>
            <a:bodyPr rtlCol="0" anchor="ctr"/>
            <a:lstStyle/>
            <a:p>
              <a:endParaRPr lang="en-DK"/>
            </a:p>
          </p:txBody>
        </p:sp>
        <p:sp>
          <p:nvSpPr>
            <p:cNvPr id="172" name="Freeform 171">
              <a:extLst>
                <a:ext uri="{FF2B5EF4-FFF2-40B4-BE49-F238E27FC236}">
                  <a16:creationId xmlns:a16="http://schemas.microsoft.com/office/drawing/2014/main" id="{646CB9CA-7F88-4866-6333-B12F80381DC2}"/>
                </a:ext>
              </a:extLst>
            </p:cNvPr>
            <p:cNvSpPr/>
            <p:nvPr/>
          </p:nvSpPr>
          <p:spPr>
            <a:xfrm>
              <a:off x="-1247861" y="4217659"/>
              <a:ext cx="717489" cy="715118"/>
            </a:xfrm>
            <a:custGeom>
              <a:avLst/>
              <a:gdLst>
                <a:gd name="connsiteX0" fmla="*/ 358745 w 717489"/>
                <a:gd name="connsiteY0" fmla="*/ 715118 h 715118"/>
                <a:gd name="connsiteX1" fmla="*/ 717490 w 717489"/>
                <a:gd name="connsiteY1" fmla="*/ 357612 h 715118"/>
                <a:gd name="connsiteX2" fmla="*/ 358745 w 717489"/>
                <a:gd name="connsiteY2" fmla="*/ 0 h 715118"/>
                <a:gd name="connsiteX3" fmla="*/ 0 w 717489"/>
                <a:gd name="connsiteY3" fmla="*/ 357506 h 715118"/>
                <a:gd name="connsiteX4" fmla="*/ 358745 w 717489"/>
                <a:gd name="connsiteY4" fmla="*/ 715013 h 715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489" h="715118">
                  <a:moveTo>
                    <a:pt x="358745" y="715118"/>
                  </a:moveTo>
                  <a:cubicBezTo>
                    <a:pt x="556884" y="715118"/>
                    <a:pt x="717490" y="555067"/>
                    <a:pt x="717490" y="357612"/>
                  </a:cubicBezTo>
                  <a:cubicBezTo>
                    <a:pt x="717490" y="160156"/>
                    <a:pt x="556884" y="0"/>
                    <a:pt x="358745" y="0"/>
                  </a:cubicBezTo>
                  <a:cubicBezTo>
                    <a:pt x="160605" y="0"/>
                    <a:pt x="0" y="160051"/>
                    <a:pt x="0" y="357506"/>
                  </a:cubicBezTo>
                  <a:cubicBezTo>
                    <a:pt x="0" y="554962"/>
                    <a:pt x="160605" y="715013"/>
                    <a:pt x="358745" y="715013"/>
                  </a:cubicBezTo>
                </a:path>
              </a:pathLst>
            </a:custGeom>
            <a:solidFill>
              <a:schemeClr val="bg2">
                <a:alpha val="50120"/>
              </a:schemeClr>
            </a:solidFill>
            <a:ln w="10464" cap="flat">
              <a:noFill/>
              <a:prstDash val="solid"/>
              <a:miter/>
            </a:ln>
          </p:spPr>
          <p:txBody>
            <a:bodyPr rtlCol="0" anchor="ctr"/>
            <a:lstStyle/>
            <a:p>
              <a:endParaRPr lang="en-DK"/>
            </a:p>
          </p:txBody>
        </p:sp>
        <p:sp>
          <p:nvSpPr>
            <p:cNvPr id="173" name="Freeform 172">
              <a:extLst>
                <a:ext uri="{FF2B5EF4-FFF2-40B4-BE49-F238E27FC236}">
                  <a16:creationId xmlns:a16="http://schemas.microsoft.com/office/drawing/2014/main" id="{049EE5C1-F904-FF95-5F65-26D203AC1872}"/>
                </a:ext>
              </a:extLst>
            </p:cNvPr>
            <p:cNvSpPr/>
            <p:nvPr/>
          </p:nvSpPr>
          <p:spPr>
            <a:xfrm>
              <a:off x="-1258434" y="4207124"/>
              <a:ext cx="738635" cy="736085"/>
            </a:xfrm>
            <a:custGeom>
              <a:avLst/>
              <a:gdLst>
                <a:gd name="connsiteX0" fmla="*/ 369318 w 738635"/>
                <a:gd name="connsiteY0" fmla="*/ 725655 h 736085"/>
                <a:gd name="connsiteX1" fmla="*/ 369318 w 738635"/>
                <a:gd name="connsiteY1" fmla="*/ 715118 h 736085"/>
                <a:gd name="connsiteX2" fmla="*/ 717490 w 738635"/>
                <a:gd name="connsiteY2" fmla="*/ 368148 h 736085"/>
                <a:gd name="connsiteX3" fmla="*/ 369318 w 738635"/>
                <a:gd name="connsiteY3" fmla="*/ 21179 h 736085"/>
                <a:gd name="connsiteX4" fmla="*/ 21146 w 738635"/>
                <a:gd name="connsiteY4" fmla="*/ 368043 h 736085"/>
                <a:gd name="connsiteX5" fmla="*/ 369318 w 738635"/>
                <a:gd name="connsiteY5" fmla="*/ 715013 h 736085"/>
                <a:gd name="connsiteX6" fmla="*/ 369318 w 738635"/>
                <a:gd name="connsiteY6" fmla="*/ 725549 h 736085"/>
                <a:gd name="connsiteX7" fmla="*/ 369318 w 738635"/>
                <a:gd name="connsiteY7" fmla="*/ 736086 h 736085"/>
                <a:gd name="connsiteX8" fmla="*/ 0 w 738635"/>
                <a:gd name="connsiteY8" fmla="*/ 368043 h 736085"/>
                <a:gd name="connsiteX9" fmla="*/ 369318 w 738635"/>
                <a:gd name="connsiteY9" fmla="*/ 0 h 736085"/>
                <a:gd name="connsiteX10" fmla="*/ 738636 w 738635"/>
                <a:gd name="connsiteY10" fmla="*/ 368043 h 736085"/>
                <a:gd name="connsiteX11" fmla="*/ 369318 w 738635"/>
                <a:gd name="connsiteY11" fmla="*/ 736086 h 736085"/>
                <a:gd name="connsiteX12" fmla="*/ 369318 w 738635"/>
                <a:gd name="connsiteY12" fmla="*/ 725549 h 73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8635" h="736085">
                  <a:moveTo>
                    <a:pt x="369318" y="725655"/>
                  </a:moveTo>
                  <a:lnTo>
                    <a:pt x="369318" y="715118"/>
                  </a:lnTo>
                  <a:cubicBezTo>
                    <a:pt x="561642" y="714802"/>
                    <a:pt x="717172" y="559809"/>
                    <a:pt x="717490" y="368148"/>
                  </a:cubicBezTo>
                  <a:cubicBezTo>
                    <a:pt x="717172" y="176488"/>
                    <a:pt x="561642" y="21495"/>
                    <a:pt x="369318" y="21179"/>
                  </a:cubicBezTo>
                  <a:cubicBezTo>
                    <a:pt x="176993" y="21389"/>
                    <a:pt x="21463" y="176382"/>
                    <a:pt x="21146" y="368043"/>
                  </a:cubicBezTo>
                  <a:cubicBezTo>
                    <a:pt x="21463" y="559703"/>
                    <a:pt x="176993" y="714697"/>
                    <a:pt x="369318" y="715013"/>
                  </a:cubicBezTo>
                  <a:lnTo>
                    <a:pt x="369318" y="725549"/>
                  </a:lnTo>
                  <a:cubicBezTo>
                    <a:pt x="369318" y="725549"/>
                    <a:pt x="369318" y="736086"/>
                    <a:pt x="369318" y="736086"/>
                  </a:cubicBezTo>
                  <a:cubicBezTo>
                    <a:pt x="165363" y="736086"/>
                    <a:pt x="0" y="571294"/>
                    <a:pt x="0" y="368043"/>
                  </a:cubicBezTo>
                  <a:cubicBezTo>
                    <a:pt x="0" y="164792"/>
                    <a:pt x="165363" y="0"/>
                    <a:pt x="369318" y="0"/>
                  </a:cubicBezTo>
                  <a:cubicBezTo>
                    <a:pt x="573273" y="0"/>
                    <a:pt x="738636" y="164792"/>
                    <a:pt x="738636" y="368043"/>
                  </a:cubicBezTo>
                  <a:cubicBezTo>
                    <a:pt x="738636" y="571294"/>
                    <a:pt x="573273" y="736086"/>
                    <a:pt x="369318" y="736086"/>
                  </a:cubicBezTo>
                  <a:lnTo>
                    <a:pt x="369318" y="725549"/>
                  </a:lnTo>
                  <a:close/>
                </a:path>
              </a:pathLst>
            </a:custGeom>
            <a:solidFill>
              <a:schemeClr val="bg2"/>
            </a:solidFill>
            <a:ln w="10464" cap="flat">
              <a:noFill/>
              <a:prstDash val="solid"/>
              <a:miter/>
            </a:ln>
          </p:spPr>
          <p:txBody>
            <a:bodyPr rtlCol="0" anchor="ctr"/>
            <a:lstStyle/>
            <a:p>
              <a:endParaRPr lang="en-DK"/>
            </a:p>
          </p:txBody>
        </p:sp>
      </p:grpSp>
      <p:sp>
        <p:nvSpPr>
          <p:cNvPr id="174" name="Rectangle: Rounded Corners 37">
            <a:extLst>
              <a:ext uri="{FF2B5EF4-FFF2-40B4-BE49-F238E27FC236}">
                <a16:creationId xmlns:a16="http://schemas.microsoft.com/office/drawing/2014/main" id="{5411CBAD-44D5-2D5E-CE04-BBE353727163}"/>
              </a:ext>
            </a:extLst>
          </p:cNvPr>
          <p:cNvSpPr>
            <a:spLocks/>
          </p:cNvSpPr>
          <p:nvPr/>
        </p:nvSpPr>
        <p:spPr>
          <a:xfrm>
            <a:off x="5396250" y="1736989"/>
            <a:ext cx="1486889" cy="825580"/>
          </a:xfrm>
          <a:prstGeom prst="roundRect">
            <a:avLst>
              <a:gd name="adj" fmla="val 6145"/>
            </a:avLst>
          </a:prstGeom>
          <a:noFill/>
          <a:ln w="9525" cap="flat" cmpd="sng" algn="ctr">
            <a:no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914400">
              <a:defRPr/>
            </a:pPr>
            <a:r>
              <a:rPr lang="en-GB" sz="1400" b="1">
                <a:solidFill>
                  <a:schemeClr val="bg1"/>
                </a:solidFill>
                <a:latin typeface="Avenir Next LT Pro Demi" panose="020B0504020202020204" pitchFamily="34" charset="77"/>
              </a:rPr>
              <a:t>Development functions</a:t>
            </a:r>
          </a:p>
          <a:p>
            <a:pPr algn="ctr" defTabSz="914400">
              <a:defRPr/>
            </a:pPr>
            <a:r>
              <a:rPr lang="en-GB" sz="1100">
                <a:solidFill>
                  <a:schemeClr val="bg1"/>
                </a:solidFill>
                <a:latin typeface="Avenir Next LT Pro"/>
              </a:rPr>
              <a:t>Clinical </a:t>
            </a:r>
            <a:r>
              <a:rPr lang="en-DK" sz="1100">
                <a:solidFill>
                  <a:schemeClr val="bg1"/>
                </a:solidFill>
                <a:latin typeface="Avenir Next LT Pro"/>
              </a:rPr>
              <a:t>D</a:t>
            </a:r>
            <a:r>
              <a:rPr lang="en-GB" sz="1100" err="1">
                <a:solidFill>
                  <a:schemeClr val="bg1"/>
                </a:solidFill>
                <a:latin typeface="Avenir Next LT Pro"/>
              </a:rPr>
              <a:t>evelopment</a:t>
            </a:r>
            <a:r>
              <a:rPr lang="en-GB" sz="1100">
                <a:solidFill>
                  <a:schemeClr val="bg1"/>
                </a:solidFill>
                <a:latin typeface="Avenir Next LT Pro"/>
              </a:rPr>
              <a:t>, CMC, </a:t>
            </a:r>
            <a:r>
              <a:rPr lang="en-DK" sz="1100">
                <a:solidFill>
                  <a:schemeClr val="bg1"/>
                </a:solidFill>
                <a:latin typeface="Avenir Next LT Pro"/>
              </a:rPr>
              <a:t>T</a:t>
            </a:r>
            <a:r>
              <a:rPr lang="en-GB" sz="1100" err="1">
                <a:solidFill>
                  <a:schemeClr val="bg1"/>
                </a:solidFill>
                <a:latin typeface="Avenir Next LT Pro"/>
              </a:rPr>
              <a:t>oxicolog</a:t>
            </a:r>
            <a:r>
              <a:rPr lang="en-DK" sz="1100">
                <a:solidFill>
                  <a:schemeClr val="bg1"/>
                </a:solidFill>
                <a:latin typeface="Avenir Next LT Pro"/>
              </a:rPr>
              <a:t>y</a:t>
            </a:r>
            <a:endParaRPr lang="en-GB" sz="1100">
              <a:solidFill>
                <a:schemeClr val="bg1"/>
              </a:solidFill>
              <a:latin typeface="Avenir Next LT Pro"/>
            </a:endParaRPr>
          </a:p>
        </p:txBody>
      </p:sp>
      <p:grpSp>
        <p:nvGrpSpPr>
          <p:cNvPr id="175" name="Group 174">
            <a:extLst>
              <a:ext uri="{FF2B5EF4-FFF2-40B4-BE49-F238E27FC236}">
                <a16:creationId xmlns:a16="http://schemas.microsoft.com/office/drawing/2014/main" id="{67179B79-81EA-7C43-F721-CD1D7734F20D}"/>
              </a:ext>
            </a:extLst>
          </p:cNvPr>
          <p:cNvGrpSpPr>
            <a:grpSpLocks noChangeAspect="1"/>
          </p:cNvGrpSpPr>
          <p:nvPr/>
        </p:nvGrpSpPr>
        <p:grpSpPr>
          <a:xfrm rot="10800000">
            <a:off x="5346966" y="4856040"/>
            <a:ext cx="1585455" cy="1835999"/>
            <a:chOff x="-1258434" y="4207124"/>
            <a:chExt cx="738635" cy="855359"/>
          </a:xfrm>
        </p:grpSpPr>
        <p:sp>
          <p:nvSpPr>
            <p:cNvPr id="176" name="Freeform 175">
              <a:extLst>
                <a:ext uri="{FF2B5EF4-FFF2-40B4-BE49-F238E27FC236}">
                  <a16:creationId xmlns:a16="http://schemas.microsoft.com/office/drawing/2014/main" id="{4B515DCD-179B-B94F-DF5B-E662B19C8D62}"/>
                </a:ext>
              </a:extLst>
            </p:cNvPr>
            <p:cNvSpPr/>
            <p:nvPr/>
          </p:nvSpPr>
          <p:spPr>
            <a:xfrm>
              <a:off x="-979833" y="4922908"/>
              <a:ext cx="181434" cy="139575"/>
            </a:xfrm>
            <a:custGeom>
              <a:avLst/>
              <a:gdLst>
                <a:gd name="connsiteX0" fmla="*/ 0 w 181434"/>
                <a:gd name="connsiteY0" fmla="*/ 90509 h 218950"/>
                <a:gd name="connsiteX1" fmla="*/ 90929 w 181434"/>
                <a:gd name="connsiteY1" fmla="*/ 0 h 218950"/>
                <a:gd name="connsiteX2" fmla="*/ 181434 w 181434"/>
                <a:gd name="connsiteY2" fmla="*/ 90299 h 218950"/>
                <a:gd name="connsiteX3" fmla="*/ 90611 w 181434"/>
                <a:gd name="connsiteY3" fmla="*/ 218950 h 218950"/>
                <a:gd name="connsiteX4" fmla="*/ 0 w 181434"/>
                <a:gd name="connsiteY4" fmla="*/ 90509 h 218950"/>
                <a:gd name="connsiteX0" fmla="*/ 0 w 181434"/>
                <a:gd name="connsiteY0" fmla="*/ 11134 h 139575"/>
                <a:gd name="connsiteX1" fmla="*/ 90929 w 181434"/>
                <a:gd name="connsiteY1" fmla="*/ 0 h 139575"/>
                <a:gd name="connsiteX2" fmla="*/ 181434 w 181434"/>
                <a:gd name="connsiteY2" fmla="*/ 10924 h 139575"/>
                <a:gd name="connsiteX3" fmla="*/ 90611 w 181434"/>
                <a:gd name="connsiteY3" fmla="*/ 139575 h 139575"/>
                <a:gd name="connsiteX4" fmla="*/ 0 w 181434"/>
                <a:gd name="connsiteY4" fmla="*/ 11134 h 139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434" h="139575">
                  <a:moveTo>
                    <a:pt x="0" y="11134"/>
                  </a:moveTo>
                  <a:lnTo>
                    <a:pt x="90929" y="0"/>
                  </a:lnTo>
                  <a:lnTo>
                    <a:pt x="181434" y="10924"/>
                  </a:lnTo>
                  <a:lnTo>
                    <a:pt x="90611" y="139575"/>
                  </a:lnTo>
                  <a:lnTo>
                    <a:pt x="0" y="11134"/>
                  </a:lnTo>
                  <a:close/>
                </a:path>
              </a:pathLst>
            </a:custGeom>
            <a:solidFill>
              <a:schemeClr val="bg2">
                <a:alpha val="50100"/>
              </a:schemeClr>
            </a:solidFill>
            <a:ln w="10464" cap="flat">
              <a:noFill/>
              <a:prstDash val="solid"/>
              <a:miter/>
            </a:ln>
          </p:spPr>
          <p:txBody>
            <a:bodyPr rtlCol="0" anchor="ctr"/>
            <a:lstStyle/>
            <a:p>
              <a:endParaRPr lang="en-DK"/>
            </a:p>
          </p:txBody>
        </p:sp>
        <p:sp>
          <p:nvSpPr>
            <p:cNvPr id="177" name="Freeform 176">
              <a:extLst>
                <a:ext uri="{FF2B5EF4-FFF2-40B4-BE49-F238E27FC236}">
                  <a16:creationId xmlns:a16="http://schemas.microsoft.com/office/drawing/2014/main" id="{BD3A9039-73EC-3777-21A0-2661283BEC1A}"/>
                </a:ext>
              </a:extLst>
            </p:cNvPr>
            <p:cNvSpPr/>
            <p:nvPr/>
          </p:nvSpPr>
          <p:spPr>
            <a:xfrm>
              <a:off x="-1247861" y="4217659"/>
              <a:ext cx="717489" cy="715118"/>
            </a:xfrm>
            <a:custGeom>
              <a:avLst/>
              <a:gdLst>
                <a:gd name="connsiteX0" fmla="*/ 358745 w 717489"/>
                <a:gd name="connsiteY0" fmla="*/ 715118 h 715118"/>
                <a:gd name="connsiteX1" fmla="*/ 717490 w 717489"/>
                <a:gd name="connsiteY1" fmla="*/ 357612 h 715118"/>
                <a:gd name="connsiteX2" fmla="*/ 358745 w 717489"/>
                <a:gd name="connsiteY2" fmla="*/ 0 h 715118"/>
                <a:gd name="connsiteX3" fmla="*/ 0 w 717489"/>
                <a:gd name="connsiteY3" fmla="*/ 357506 h 715118"/>
                <a:gd name="connsiteX4" fmla="*/ 358745 w 717489"/>
                <a:gd name="connsiteY4" fmla="*/ 715013 h 715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489" h="715118">
                  <a:moveTo>
                    <a:pt x="358745" y="715118"/>
                  </a:moveTo>
                  <a:cubicBezTo>
                    <a:pt x="556884" y="715118"/>
                    <a:pt x="717490" y="555067"/>
                    <a:pt x="717490" y="357612"/>
                  </a:cubicBezTo>
                  <a:cubicBezTo>
                    <a:pt x="717490" y="160156"/>
                    <a:pt x="556884" y="0"/>
                    <a:pt x="358745" y="0"/>
                  </a:cubicBezTo>
                  <a:cubicBezTo>
                    <a:pt x="160605" y="0"/>
                    <a:pt x="0" y="160051"/>
                    <a:pt x="0" y="357506"/>
                  </a:cubicBezTo>
                  <a:cubicBezTo>
                    <a:pt x="0" y="554962"/>
                    <a:pt x="160605" y="715013"/>
                    <a:pt x="358745" y="715013"/>
                  </a:cubicBezTo>
                </a:path>
              </a:pathLst>
            </a:custGeom>
            <a:solidFill>
              <a:schemeClr val="bg2">
                <a:alpha val="50120"/>
              </a:schemeClr>
            </a:solidFill>
            <a:ln w="10464" cap="flat">
              <a:noFill/>
              <a:prstDash val="solid"/>
              <a:miter/>
            </a:ln>
          </p:spPr>
          <p:txBody>
            <a:bodyPr rtlCol="0" anchor="ctr"/>
            <a:lstStyle/>
            <a:p>
              <a:endParaRPr lang="en-DK"/>
            </a:p>
          </p:txBody>
        </p:sp>
        <p:sp>
          <p:nvSpPr>
            <p:cNvPr id="178" name="Freeform 177">
              <a:extLst>
                <a:ext uri="{FF2B5EF4-FFF2-40B4-BE49-F238E27FC236}">
                  <a16:creationId xmlns:a16="http://schemas.microsoft.com/office/drawing/2014/main" id="{BBA5805D-0350-D026-C967-B520A66B6D07}"/>
                </a:ext>
              </a:extLst>
            </p:cNvPr>
            <p:cNvSpPr/>
            <p:nvPr/>
          </p:nvSpPr>
          <p:spPr>
            <a:xfrm>
              <a:off x="-1258434" y="4207124"/>
              <a:ext cx="738635" cy="736085"/>
            </a:xfrm>
            <a:custGeom>
              <a:avLst/>
              <a:gdLst>
                <a:gd name="connsiteX0" fmla="*/ 369318 w 738635"/>
                <a:gd name="connsiteY0" fmla="*/ 725655 h 736085"/>
                <a:gd name="connsiteX1" fmla="*/ 369318 w 738635"/>
                <a:gd name="connsiteY1" fmla="*/ 715118 h 736085"/>
                <a:gd name="connsiteX2" fmla="*/ 717490 w 738635"/>
                <a:gd name="connsiteY2" fmla="*/ 368148 h 736085"/>
                <a:gd name="connsiteX3" fmla="*/ 369318 w 738635"/>
                <a:gd name="connsiteY3" fmla="*/ 21179 h 736085"/>
                <a:gd name="connsiteX4" fmla="*/ 21146 w 738635"/>
                <a:gd name="connsiteY4" fmla="*/ 368043 h 736085"/>
                <a:gd name="connsiteX5" fmla="*/ 369318 w 738635"/>
                <a:gd name="connsiteY5" fmla="*/ 715013 h 736085"/>
                <a:gd name="connsiteX6" fmla="*/ 369318 w 738635"/>
                <a:gd name="connsiteY6" fmla="*/ 725549 h 736085"/>
                <a:gd name="connsiteX7" fmla="*/ 369318 w 738635"/>
                <a:gd name="connsiteY7" fmla="*/ 736086 h 736085"/>
                <a:gd name="connsiteX8" fmla="*/ 0 w 738635"/>
                <a:gd name="connsiteY8" fmla="*/ 368043 h 736085"/>
                <a:gd name="connsiteX9" fmla="*/ 369318 w 738635"/>
                <a:gd name="connsiteY9" fmla="*/ 0 h 736085"/>
                <a:gd name="connsiteX10" fmla="*/ 738636 w 738635"/>
                <a:gd name="connsiteY10" fmla="*/ 368043 h 736085"/>
                <a:gd name="connsiteX11" fmla="*/ 369318 w 738635"/>
                <a:gd name="connsiteY11" fmla="*/ 736086 h 736085"/>
                <a:gd name="connsiteX12" fmla="*/ 369318 w 738635"/>
                <a:gd name="connsiteY12" fmla="*/ 725549 h 73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8635" h="736085">
                  <a:moveTo>
                    <a:pt x="369318" y="725655"/>
                  </a:moveTo>
                  <a:lnTo>
                    <a:pt x="369318" y="715118"/>
                  </a:lnTo>
                  <a:cubicBezTo>
                    <a:pt x="561642" y="714802"/>
                    <a:pt x="717172" y="559809"/>
                    <a:pt x="717490" y="368148"/>
                  </a:cubicBezTo>
                  <a:cubicBezTo>
                    <a:pt x="717172" y="176488"/>
                    <a:pt x="561642" y="21495"/>
                    <a:pt x="369318" y="21179"/>
                  </a:cubicBezTo>
                  <a:cubicBezTo>
                    <a:pt x="176993" y="21389"/>
                    <a:pt x="21463" y="176382"/>
                    <a:pt x="21146" y="368043"/>
                  </a:cubicBezTo>
                  <a:cubicBezTo>
                    <a:pt x="21463" y="559703"/>
                    <a:pt x="176993" y="714697"/>
                    <a:pt x="369318" y="715013"/>
                  </a:cubicBezTo>
                  <a:lnTo>
                    <a:pt x="369318" y="725549"/>
                  </a:lnTo>
                  <a:cubicBezTo>
                    <a:pt x="369318" y="725549"/>
                    <a:pt x="369318" y="736086"/>
                    <a:pt x="369318" y="736086"/>
                  </a:cubicBezTo>
                  <a:cubicBezTo>
                    <a:pt x="165363" y="736086"/>
                    <a:pt x="0" y="571294"/>
                    <a:pt x="0" y="368043"/>
                  </a:cubicBezTo>
                  <a:cubicBezTo>
                    <a:pt x="0" y="164792"/>
                    <a:pt x="165363" y="0"/>
                    <a:pt x="369318" y="0"/>
                  </a:cubicBezTo>
                  <a:cubicBezTo>
                    <a:pt x="573273" y="0"/>
                    <a:pt x="738636" y="164792"/>
                    <a:pt x="738636" y="368043"/>
                  </a:cubicBezTo>
                  <a:cubicBezTo>
                    <a:pt x="738636" y="571294"/>
                    <a:pt x="573273" y="736086"/>
                    <a:pt x="369318" y="736086"/>
                  </a:cubicBezTo>
                  <a:lnTo>
                    <a:pt x="369318" y="725549"/>
                  </a:lnTo>
                  <a:close/>
                </a:path>
              </a:pathLst>
            </a:custGeom>
            <a:solidFill>
              <a:schemeClr val="bg2"/>
            </a:solidFill>
            <a:ln w="10464" cap="flat">
              <a:noFill/>
              <a:prstDash val="solid"/>
              <a:miter/>
            </a:ln>
          </p:spPr>
          <p:txBody>
            <a:bodyPr rtlCol="0" anchor="ctr"/>
            <a:lstStyle/>
            <a:p>
              <a:endParaRPr lang="en-DK"/>
            </a:p>
          </p:txBody>
        </p:sp>
      </p:grpSp>
      <p:sp>
        <p:nvSpPr>
          <p:cNvPr id="181" name="Rectangle: Rounded Corners 36">
            <a:extLst>
              <a:ext uri="{FF2B5EF4-FFF2-40B4-BE49-F238E27FC236}">
                <a16:creationId xmlns:a16="http://schemas.microsoft.com/office/drawing/2014/main" id="{786A66B4-1E74-93C1-386E-1C33B699228E}"/>
              </a:ext>
            </a:extLst>
          </p:cNvPr>
          <p:cNvSpPr>
            <a:spLocks/>
          </p:cNvSpPr>
          <p:nvPr/>
        </p:nvSpPr>
        <p:spPr>
          <a:xfrm>
            <a:off x="5390559" y="5499434"/>
            <a:ext cx="1498271" cy="825580"/>
          </a:xfrm>
          <a:prstGeom prst="roundRect">
            <a:avLst>
              <a:gd name="adj" fmla="val 6145"/>
            </a:avLst>
          </a:prstGeom>
          <a:noFill/>
          <a:ln w="9525" cap="flat" cmpd="sng" algn="ctr">
            <a:no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914400">
              <a:defRPr/>
            </a:pPr>
            <a:r>
              <a:rPr lang="en-GB" sz="1400" b="1">
                <a:solidFill>
                  <a:schemeClr val="bg1"/>
                </a:solidFill>
                <a:latin typeface="Avenir Next LT Pro Demi" panose="020B0504020202020204" pitchFamily="34" charset="77"/>
              </a:rPr>
              <a:t>Group </a:t>
            </a:r>
            <a:br>
              <a:rPr lang="en-GB" sz="1400" b="1">
                <a:solidFill>
                  <a:schemeClr val="bg1"/>
                </a:solidFill>
                <a:latin typeface="Avenir Next LT Pro Demi" panose="020B0504020202020204" pitchFamily="34" charset="77"/>
              </a:rPr>
            </a:br>
            <a:r>
              <a:rPr lang="en-GB" sz="1400" b="1">
                <a:solidFill>
                  <a:schemeClr val="bg1"/>
                </a:solidFill>
                <a:latin typeface="Avenir Next LT Pro Demi" panose="020B0504020202020204" pitchFamily="34" charset="77"/>
              </a:rPr>
              <a:t>functions</a:t>
            </a:r>
          </a:p>
          <a:p>
            <a:pPr algn="ctr" defTabSz="914400">
              <a:defRPr/>
            </a:pPr>
            <a:r>
              <a:rPr lang="en-GB" sz="1100">
                <a:solidFill>
                  <a:schemeClr val="bg1"/>
                </a:solidFill>
                <a:latin typeface="Avenir Next LT Pro"/>
              </a:rPr>
              <a:t>HR, </a:t>
            </a:r>
            <a:r>
              <a:rPr lang="en-DK" sz="1100">
                <a:solidFill>
                  <a:schemeClr val="bg1"/>
                </a:solidFill>
                <a:latin typeface="Avenir Next LT Pro"/>
              </a:rPr>
              <a:t>Digital</a:t>
            </a:r>
            <a:r>
              <a:rPr lang="en-GB" sz="1100">
                <a:solidFill>
                  <a:schemeClr val="bg1"/>
                </a:solidFill>
                <a:latin typeface="Avenir Next LT Pro"/>
              </a:rPr>
              <a:t>, Finance</a:t>
            </a:r>
          </a:p>
        </p:txBody>
      </p:sp>
      <p:sp>
        <p:nvSpPr>
          <p:cNvPr id="182" name="TextBox 181">
            <a:extLst>
              <a:ext uri="{FF2B5EF4-FFF2-40B4-BE49-F238E27FC236}">
                <a16:creationId xmlns:a16="http://schemas.microsoft.com/office/drawing/2014/main" id="{A1380DBD-A2DF-2E26-0FC6-261A262ACD5C}"/>
              </a:ext>
            </a:extLst>
          </p:cNvPr>
          <p:cNvSpPr txBox="1"/>
          <p:nvPr/>
        </p:nvSpPr>
        <p:spPr>
          <a:xfrm>
            <a:off x="5471074" y="4004764"/>
            <a:ext cx="1337241" cy="338554"/>
          </a:xfrm>
          <a:prstGeom prst="rect">
            <a:avLst/>
          </a:prstGeom>
          <a:noFill/>
        </p:spPr>
        <p:txBody>
          <a:bodyPr wrap="square" rtlCol="0">
            <a:spAutoFit/>
          </a:bodyPr>
          <a:lstStyle/>
          <a:p>
            <a:pPr algn="ctr"/>
            <a:r>
              <a:rPr lang="en-DK" sz="1600" b="1">
                <a:solidFill>
                  <a:schemeClr val="bg1"/>
                </a:solidFill>
                <a:latin typeface="Avenir Next LT Pro Demi" panose="020B0504020202020204" pitchFamily="34" charset="77"/>
              </a:rPr>
              <a:t>Ventures</a:t>
            </a:r>
          </a:p>
        </p:txBody>
      </p:sp>
      <p:sp>
        <p:nvSpPr>
          <p:cNvPr id="4" name="Speech Bubble: Rectangle 45">
            <a:extLst>
              <a:ext uri="{FF2B5EF4-FFF2-40B4-BE49-F238E27FC236}">
                <a16:creationId xmlns:a16="http://schemas.microsoft.com/office/drawing/2014/main" id="{964027E7-A062-7358-D89F-D8A2BE7A776F}"/>
              </a:ext>
            </a:extLst>
          </p:cNvPr>
          <p:cNvSpPr>
            <a:spLocks/>
          </p:cNvSpPr>
          <p:nvPr/>
        </p:nvSpPr>
        <p:spPr>
          <a:xfrm>
            <a:off x="8872002" y="3369563"/>
            <a:ext cx="2480686" cy="1413084"/>
          </a:xfrm>
          <a:prstGeom prst="wedgeRectCallout">
            <a:avLst>
              <a:gd name="adj1" fmla="val -56127"/>
              <a:gd name="adj2" fmla="val -17607"/>
            </a:avLst>
          </a:prstGeom>
          <a:noFill/>
          <a:ln w="9525"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6400" indent="-176400" defTabSz="914400">
              <a:spcAft>
                <a:spcPts val="400"/>
              </a:spcAft>
              <a:buClr>
                <a:schemeClr val="bg1"/>
              </a:buClr>
              <a:buFont typeface="System Font Regular"/>
              <a:buChar char="+"/>
              <a:defRPr/>
            </a:pPr>
            <a:r>
              <a:rPr lang="en-DK" sz="1200">
                <a:solidFill>
                  <a:schemeClr val="bg1"/>
                </a:solidFill>
                <a:latin typeface="Avenir Next LT Pro"/>
              </a:rPr>
              <a:t>Provides d</a:t>
            </a:r>
            <a:r>
              <a:rPr lang="en-US" sz="1200" err="1">
                <a:solidFill>
                  <a:schemeClr val="bg1"/>
                </a:solidFill>
                <a:latin typeface="Avenir Next LT Pro"/>
              </a:rPr>
              <a:t>eep</a:t>
            </a:r>
            <a:r>
              <a:rPr lang="en-US" sz="1200">
                <a:solidFill>
                  <a:schemeClr val="bg1"/>
                </a:solidFill>
                <a:latin typeface="Avenir Next LT Pro"/>
              </a:rPr>
              <a:t> peptide </a:t>
            </a:r>
            <a:r>
              <a:rPr lang="en-DK" sz="1200">
                <a:solidFill>
                  <a:schemeClr val="bg1"/>
                </a:solidFill>
                <a:latin typeface="Avenir Next LT Pro"/>
              </a:rPr>
              <a:t>expertise</a:t>
            </a:r>
            <a:r>
              <a:rPr lang="en-US" sz="1200">
                <a:solidFill>
                  <a:schemeClr val="bg1"/>
                </a:solidFill>
                <a:latin typeface="Avenir Next LT Pro"/>
              </a:rPr>
              <a:t> and AI-</a:t>
            </a:r>
            <a:r>
              <a:rPr lang="en-DK" sz="1200">
                <a:solidFill>
                  <a:schemeClr val="bg1"/>
                </a:solidFill>
                <a:latin typeface="Avenir Next LT Pro"/>
              </a:rPr>
              <a:t>driven </a:t>
            </a:r>
            <a:r>
              <a:rPr lang="en-US" sz="1200">
                <a:solidFill>
                  <a:schemeClr val="bg1"/>
                </a:solidFill>
                <a:latin typeface="Avenir Next LT Pro"/>
              </a:rPr>
              <a:t>discovery platforms</a:t>
            </a:r>
          </a:p>
          <a:p>
            <a:pPr marL="176400" indent="-176400" defTabSz="914400">
              <a:spcAft>
                <a:spcPts val="400"/>
              </a:spcAft>
              <a:buClr>
                <a:schemeClr val="bg1"/>
              </a:buClr>
              <a:buFont typeface="System Font Regular"/>
              <a:buChar char="+"/>
              <a:defRPr/>
            </a:pPr>
            <a:r>
              <a:rPr lang="en-DK" sz="1200">
                <a:solidFill>
                  <a:schemeClr val="bg1"/>
                </a:solidFill>
                <a:latin typeface="Avenir Next LT Pro"/>
              </a:rPr>
              <a:t>Shapes core </a:t>
            </a:r>
            <a:r>
              <a:rPr lang="en-US" sz="1200">
                <a:solidFill>
                  <a:schemeClr val="bg1"/>
                </a:solidFill>
                <a:latin typeface="Avenir Next LT Pro"/>
              </a:rPr>
              <a:t>scientific</a:t>
            </a:r>
            <a:r>
              <a:rPr lang="en-DK" sz="1200">
                <a:solidFill>
                  <a:schemeClr val="bg1"/>
                </a:solidFill>
                <a:latin typeface="Avenir Next LT Pro"/>
              </a:rPr>
              <a:t> strategy and</a:t>
            </a:r>
            <a:r>
              <a:rPr lang="en-US" sz="1200">
                <a:solidFill>
                  <a:schemeClr val="bg1"/>
                </a:solidFill>
                <a:latin typeface="Avenir Next LT Pro"/>
              </a:rPr>
              <a:t> direction</a:t>
            </a:r>
          </a:p>
        </p:txBody>
      </p:sp>
      <p:sp>
        <p:nvSpPr>
          <p:cNvPr id="5" name="TextBox 4">
            <a:extLst>
              <a:ext uri="{FF2B5EF4-FFF2-40B4-BE49-F238E27FC236}">
                <a16:creationId xmlns:a16="http://schemas.microsoft.com/office/drawing/2014/main" id="{2BAFBA9C-AA5F-B5B5-B4B7-A36C35EB5859}"/>
              </a:ext>
            </a:extLst>
          </p:cNvPr>
          <p:cNvSpPr txBox="1"/>
          <p:nvPr/>
        </p:nvSpPr>
        <p:spPr>
          <a:xfrm>
            <a:off x="11594381" y="6399575"/>
            <a:ext cx="27602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92F5A-FC14-4E83-B4CC-18F6C2D780A4}" type="slidenum">
              <a:rPr kumimoji="0" lang="en-US" sz="1000" b="0" i="0" u="none" strike="noStrike" kern="0" cap="none" spc="40" normalizeH="0" baseline="0" noProof="0" smtClean="0">
                <a:ln>
                  <a:noFill/>
                </a:ln>
                <a:solidFill>
                  <a:srgbClr val="2878FF"/>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000" b="0" i="0" u="none" strike="noStrike" kern="0" cap="none" spc="40" normalizeH="0" baseline="0" noProof="0">
              <a:ln>
                <a:noFill/>
              </a:ln>
              <a:solidFill>
                <a:srgbClr val="2878FF"/>
              </a:solidFill>
              <a:effectLst/>
              <a:uLnTx/>
              <a:uFillTx/>
              <a:latin typeface="Avenir Next LT Pro"/>
              <a:ea typeface="+mn-ea"/>
              <a:cs typeface="+mn-cs"/>
            </a:endParaRPr>
          </a:p>
        </p:txBody>
      </p:sp>
    </p:spTree>
    <p:extLst>
      <p:ext uri="{BB962C8B-B14F-4D97-AF65-F5344CB8AC3E}">
        <p14:creationId xmlns:p14="http://schemas.microsoft.com/office/powerpoint/2010/main" val="19542238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8F44B8-7E78-C474-371F-FD5E4C04701B}"/>
            </a:ext>
          </a:extLst>
        </p:cNvPr>
        <p:cNvGrpSpPr/>
        <p:nvPr/>
      </p:nvGrpSpPr>
      <p:grpSpPr>
        <a:xfrm>
          <a:off x="0" y="0"/>
          <a:ext cx="0" cy="0"/>
          <a:chOff x="0" y="0"/>
          <a:chExt cx="0" cy="0"/>
        </a:xfrm>
      </p:grpSpPr>
      <p:pic>
        <p:nvPicPr>
          <p:cNvPr id="6" name="Picture 5" descr="A person looking through a microscope&#10;&#10;AI-generated content may be incorrect.">
            <a:extLst>
              <a:ext uri="{FF2B5EF4-FFF2-40B4-BE49-F238E27FC236}">
                <a16:creationId xmlns:a16="http://schemas.microsoft.com/office/drawing/2014/main" id="{3B95E562-BEF9-7397-10AE-3AB63A59BD1A}"/>
              </a:ext>
            </a:extLst>
          </p:cNvPr>
          <p:cNvPicPr>
            <a:picLocks noChangeAspect="1"/>
          </p:cNvPicPr>
          <p:nvPr/>
        </p:nvPicPr>
        <p:blipFill>
          <a:blip r:embed="rId3" cstate="print">
            <a:extLst>
              <a:ext uri="{28A0092B-C50C-407E-A947-70E740481C1C}">
                <a14:useLocalDpi xmlns:a14="http://schemas.microsoft.com/office/drawing/2010/main" val="0"/>
              </a:ext>
            </a:extLst>
          </a:blip>
          <a:srcRect l="6158" t="12397" b="8341"/>
          <a:stretch>
            <a:fillRect/>
          </a:stretch>
        </p:blipFill>
        <p:spPr>
          <a:xfrm>
            <a:off x="-1" y="0"/>
            <a:ext cx="12193589" cy="6858000"/>
          </a:xfrm>
          <a:prstGeom prst="rect">
            <a:avLst/>
          </a:prstGeom>
        </p:spPr>
      </p:pic>
      <p:sp>
        <p:nvSpPr>
          <p:cNvPr id="7" name="Rectangle 6">
            <a:extLst>
              <a:ext uri="{FF2B5EF4-FFF2-40B4-BE49-F238E27FC236}">
                <a16:creationId xmlns:a16="http://schemas.microsoft.com/office/drawing/2014/main" id="{593DEFEB-57E9-62FD-4F07-06B9DD3C648B}"/>
              </a:ext>
            </a:extLst>
          </p:cNvPr>
          <p:cNvSpPr/>
          <p:nvPr/>
        </p:nvSpPr>
        <p:spPr>
          <a:xfrm>
            <a:off x="-14326" y="0"/>
            <a:ext cx="12207913" cy="6858000"/>
          </a:xfrm>
          <a:prstGeom prst="rect">
            <a:avLst/>
          </a:prstGeom>
          <a:solidFill>
            <a:schemeClr val="tx1">
              <a:alpha val="1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E442147D-E72B-9C34-9D36-CFAB28F47B39}"/>
              </a:ext>
            </a:extLst>
          </p:cNvPr>
          <p:cNvSpPr/>
          <p:nvPr/>
        </p:nvSpPr>
        <p:spPr>
          <a:xfrm>
            <a:off x="-266025" y="0"/>
            <a:ext cx="12445287" cy="6858000"/>
          </a:xfrm>
          <a:prstGeom prst="rect">
            <a:avLst/>
          </a:prstGeom>
          <a:gradFill flip="none" rotWithShape="1">
            <a:gsLst>
              <a:gs pos="2000">
                <a:schemeClr val="tx1">
                  <a:alpha val="49887"/>
                </a:schemeClr>
              </a:gs>
              <a:gs pos="78000">
                <a:schemeClr val="accent4">
                  <a:alpha val="0"/>
                  <a:lumMod val="0"/>
                  <a:lumOff val="100000"/>
                </a:scheme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4" name="Object 3" hidden="1">
            <a:extLst>
              <a:ext uri="{FF2B5EF4-FFF2-40B4-BE49-F238E27FC236}">
                <a16:creationId xmlns:a16="http://schemas.microsoft.com/office/drawing/2014/main" id="{E70088CE-177F-D91F-5113-D16FBDB2BBE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E70088CE-177F-D91F-5113-D16FBDB2BB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80B0552E-7D82-4558-D6B2-F44E10FE9F65}"/>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
        <p:nvSpPr>
          <p:cNvPr id="12" name="Title 1">
            <a:extLst>
              <a:ext uri="{FF2B5EF4-FFF2-40B4-BE49-F238E27FC236}">
                <a16:creationId xmlns:a16="http://schemas.microsoft.com/office/drawing/2014/main" id="{3F8C9B41-AD59-E794-3A5E-FAEC13D33E63}"/>
              </a:ext>
            </a:extLst>
          </p:cNvPr>
          <p:cNvSpPr txBox="1">
            <a:spLocks/>
          </p:cNvSpPr>
          <p:nvPr/>
        </p:nvSpPr>
        <p:spPr>
          <a:xfrm>
            <a:off x="-11657" y="2546193"/>
            <a:ext cx="12190919" cy="1002023"/>
          </a:xfrm>
          <a:prstGeom prst="rect">
            <a:avLst/>
          </a:prstGeom>
        </p:spPr>
        <p:txBody>
          <a:bodyPr vert="horz" lIns="0" tIns="0" rIns="0" bIns="0"/>
          <a:lstStyle>
            <a:lvl1pPr algn="l" defTabSz="914400" rtl="0" eaLnBrk="1" latinLnBrk="0" hangingPunct="1">
              <a:lnSpc>
                <a:spcPct val="90000"/>
              </a:lnSpc>
              <a:spcBef>
                <a:spcPct val="0"/>
              </a:spcBef>
              <a:buNone/>
              <a:defRPr sz="4000" b="1" i="0" kern="1200">
                <a:solidFill>
                  <a:schemeClr val="bg1"/>
                </a:solidFill>
                <a:latin typeface="Avenir Next LT Pro" panose="020B0504020202020204" pitchFamily="34" charset="77"/>
                <a:ea typeface="+mj-ea"/>
                <a:cs typeface="+mj-cs"/>
              </a:defRPr>
            </a:lvl1pPr>
          </a:lstStyle>
          <a:p>
            <a:pPr lvl="0" algn="ctr">
              <a:spcAft>
                <a:spcPts val="600"/>
              </a:spcAft>
              <a:defRPr/>
            </a:pPr>
            <a:r>
              <a:rPr lang="en-US" sz="7600" spc="80" err="1"/>
              <a:t>Gubra</a:t>
            </a:r>
            <a:r>
              <a:rPr lang="en-US" sz="7600" spc="80"/>
              <a:t> CRO</a:t>
            </a:r>
          </a:p>
        </p:txBody>
      </p:sp>
      <p:sp>
        <p:nvSpPr>
          <p:cNvPr id="13" name="TextBox 12">
            <a:extLst>
              <a:ext uri="{FF2B5EF4-FFF2-40B4-BE49-F238E27FC236}">
                <a16:creationId xmlns:a16="http://schemas.microsoft.com/office/drawing/2014/main" id="{939C1610-5785-5155-0D3E-8E4EA6C9A6BC}"/>
              </a:ext>
            </a:extLst>
          </p:cNvPr>
          <p:cNvSpPr txBox="1"/>
          <p:nvPr/>
        </p:nvSpPr>
        <p:spPr>
          <a:xfrm>
            <a:off x="3419107" y="3487612"/>
            <a:ext cx="6247051" cy="584775"/>
          </a:xfrm>
          <a:prstGeom prst="rect">
            <a:avLst/>
          </a:prstGeom>
          <a:noFill/>
        </p:spPr>
        <p:txBody>
          <a:bodyPr wrap="square" rtlCol="0">
            <a:spAutoFit/>
          </a:bodyPr>
          <a:lstStyle/>
          <a:p>
            <a:r>
              <a:rPr lang="da-DK" sz="3200" b="1" err="1">
                <a:solidFill>
                  <a:srgbClr val="FFFFFF"/>
                </a:solidFill>
                <a:latin typeface="Avenir Next LT Pro Demi" panose="020B0504020202020204" pitchFamily="34" charset="77"/>
              </a:rPr>
              <a:t>Our</a:t>
            </a:r>
            <a:r>
              <a:rPr lang="da-DK" sz="3200" b="1">
                <a:solidFill>
                  <a:srgbClr val="FFFFFF"/>
                </a:solidFill>
                <a:latin typeface="Avenir Next LT Pro Demi" panose="020B0504020202020204" pitchFamily="34" charset="77"/>
              </a:rPr>
              <a:t> </a:t>
            </a:r>
            <a:r>
              <a:rPr lang="da-DK" sz="3200" b="1" err="1">
                <a:solidFill>
                  <a:srgbClr val="FFFFFF"/>
                </a:solidFill>
                <a:latin typeface="Avenir Next LT Pro Demi" panose="020B0504020202020204" pitchFamily="34" charset="77"/>
              </a:rPr>
              <a:t>value</a:t>
            </a:r>
            <a:r>
              <a:rPr lang="da-DK" sz="3200" b="1">
                <a:solidFill>
                  <a:srgbClr val="FFFFFF"/>
                </a:solidFill>
                <a:latin typeface="Avenir Next LT Pro Demi" panose="020B0504020202020204" pitchFamily="34" charset="77"/>
              </a:rPr>
              <a:t> </a:t>
            </a:r>
            <a:r>
              <a:rPr lang="da-DK" sz="3200" b="1" err="1">
                <a:solidFill>
                  <a:srgbClr val="FFFFFF"/>
                </a:solidFill>
                <a:latin typeface="Avenir Next LT Pro Demi" panose="020B0504020202020204" pitchFamily="34" charset="77"/>
              </a:rPr>
              <a:t>enabler</a:t>
            </a:r>
            <a:endParaRPr lang="en-DK" sz="3200" b="1">
              <a:latin typeface="Avenir Next LT Pro Demi" panose="020B0504020202020204" pitchFamily="34" charset="77"/>
            </a:endParaRPr>
          </a:p>
        </p:txBody>
      </p:sp>
    </p:spTree>
    <p:extLst>
      <p:ext uri="{BB962C8B-B14F-4D97-AF65-F5344CB8AC3E}">
        <p14:creationId xmlns:p14="http://schemas.microsoft.com/office/powerpoint/2010/main" val="912637488"/>
      </p:ext>
    </p:extLst>
  </p:cSld>
  <p:clrMapOvr>
    <a:masterClrMapping/>
  </p:clrMapOvr>
  <p:transition spd="slow">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02BD35-4343-CEA8-E24D-89DDE452BDAF}"/>
            </a:ext>
          </a:extLst>
        </p:cNvPr>
        <p:cNvGrpSpPr/>
        <p:nvPr/>
      </p:nvGrpSpPr>
      <p:grpSpPr>
        <a:xfrm>
          <a:off x="0" y="0"/>
          <a:ext cx="0" cy="0"/>
          <a:chOff x="0" y="0"/>
          <a:chExt cx="0" cy="0"/>
        </a:xfrm>
      </p:grpSpPr>
      <p:sp>
        <p:nvSpPr>
          <p:cNvPr id="53" name="Rectangle 52">
            <a:extLst>
              <a:ext uri="{FF2B5EF4-FFF2-40B4-BE49-F238E27FC236}">
                <a16:creationId xmlns:a16="http://schemas.microsoft.com/office/drawing/2014/main" id="{4BC975D5-7855-3A7A-17AC-E694663ACCA8}"/>
              </a:ext>
            </a:extLst>
          </p:cNvPr>
          <p:cNvSpPr/>
          <p:nvPr/>
        </p:nvSpPr>
        <p:spPr>
          <a:xfrm>
            <a:off x="6070613" y="1412876"/>
            <a:ext cx="6122974" cy="5445124"/>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5" name="Triangle 30">
            <a:extLst>
              <a:ext uri="{FF2B5EF4-FFF2-40B4-BE49-F238E27FC236}">
                <a16:creationId xmlns:a16="http://schemas.microsoft.com/office/drawing/2014/main" id="{1E6D608A-4369-A650-3C9A-FD46727E32FE}"/>
              </a:ext>
            </a:extLst>
          </p:cNvPr>
          <p:cNvSpPr/>
          <p:nvPr/>
        </p:nvSpPr>
        <p:spPr>
          <a:xfrm rot="5400000">
            <a:off x="5600680" y="3848040"/>
            <a:ext cx="1189885" cy="458769"/>
          </a:xfrm>
          <a:prstGeom prst="triangle">
            <a:avLst>
              <a:gd name="adj" fmla="val 47522"/>
            </a:avLst>
          </a:prstGeom>
          <a:solidFill>
            <a:schemeClr val="tx1"/>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 name="Arrow: Pentagon 200">
            <a:extLst>
              <a:ext uri="{FF2B5EF4-FFF2-40B4-BE49-F238E27FC236}">
                <a16:creationId xmlns:a16="http://schemas.microsoft.com/office/drawing/2014/main" id="{7AFB0A9B-C10E-8880-132B-593D4D9BD944}"/>
              </a:ext>
            </a:extLst>
          </p:cNvPr>
          <p:cNvSpPr/>
          <p:nvPr/>
        </p:nvSpPr>
        <p:spPr>
          <a:xfrm>
            <a:off x="-2" y="1412876"/>
            <a:ext cx="6096795" cy="5462562"/>
          </a:xfrm>
          <a:prstGeom prst="homePlate">
            <a:avLst>
              <a:gd name="adj" fmla="val 0"/>
            </a:avLst>
          </a:prstGeom>
          <a:solidFill>
            <a:schemeClr val="tx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48" name="Graphic 47">
            <a:extLst>
              <a:ext uri="{FF2B5EF4-FFF2-40B4-BE49-F238E27FC236}">
                <a16:creationId xmlns:a16="http://schemas.microsoft.com/office/drawing/2014/main" id="{0C937B1E-919D-6E84-8B1A-EF85FB5C323E}"/>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521978" y="2165460"/>
            <a:ext cx="589091" cy="589091"/>
          </a:xfrm>
          <a:prstGeom prst="rect">
            <a:avLst/>
          </a:prstGeom>
        </p:spPr>
      </p:pic>
      <p:pic>
        <p:nvPicPr>
          <p:cNvPr id="49" name="Graphic 48">
            <a:extLst>
              <a:ext uri="{FF2B5EF4-FFF2-40B4-BE49-F238E27FC236}">
                <a16:creationId xmlns:a16="http://schemas.microsoft.com/office/drawing/2014/main" id="{73F6561F-3778-3B2D-7168-6D693AD1E96E}"/>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521978" y="3270123"/>
            <a:ext cx="589091" cy="589091"/>
          </a:xfrm>
          <a:prstGeom prst="rect">
            <a:avLst/>
          </a:prstGeom>
        </p:spPr>
      </p:pic>
      <p:pic>
        <p:nvPicPr>
          <p:cNvPr id="51" name="Graphic 50">
            <a:extLst>
              <a:ext uri="{FF2B5EF4-FFF2-40B4-BE49-F238E27FC236}">
                <a16:creationId xmlns:a16="http://schemas.microsoft.com/office/drawing/2014/main" id="{040FE5B4-5676-910C-C654-7385873AD263}"/>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521978" y="4374786"/>
            <a:ext cx="589091" cy="589091"/>
          </a:xfrm>
          <a:prstGeom prst="rect">
            <a:avLst/>
          </a:prstGeom>
        </p:spPr>
      </p:pic>
      <p:pic>
        <p:nvPicPr>
          <p:cNvPr id="52" name="Graphic 51">
            <a:extLst>
              <a:ext uri="{FF2B5EF4-FFF2-40B4-BE49-F238E27FC236}">
                <a16:creationId xmlns:a16="http://schemas.microsoft.com/office/drawing/2014/main" id="{D0370590-1C8E-8C63-1F13-3EB5A0421432}"/>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521978" y="5479449"/>
            <a:ext cx="589091" cy="589091"/>
          </a:xfrm>
          <a:prstGeom prst="rect">
            <a:avLst/>
          </a:prstGeom>
        </p:spPr>
      </p:pic>
      <p:graphicFrame>
        <p:nvGraphicFramePr>
          <p:cNvPr id="7" name="think-cell data - do not delete" hidden="1">
            <a:extLst>
              <a:ext uri="{FF2B5EF4-FFF2-40B4-BE49-F238E27FC236}">
                <a16:creationId xmlns:a16="http://schemas.microsoft.com/office/drawing/2014/main" id="{57AC608C-32D8-7B9D-D135-2073D7A8D52B}"/>
              </a:ext>
            </a:extLst>
          </p:cNvPr>
          <p:cNvGraphicFramePr>
            <a:graphicFrameLocks/>
          </p:cNvGraphicFramePr>
          <p:nvPr>
            <p:custDataLst>
              <p:tags r:id="rId1"/>
            </p:custDataLst>
            <p:extLst>
              <p:ext uri="{D42A27DB-BD31-4B8C-83A1-F6EECF244321}">
                <p14:modId xmlns:p14="http://schemas.microsoft.com/office/powerpoint/2010/main" val="1904715812"/>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Slide" r:id="rId11" imgW="306" imgH="306" progId="TCLayout.ActiveDocument.1">
                  <p:embed/>
                </p:oleObj>
              </mc:Choice>
              <mc:Fallback>
                <p:oleObj name="think-cell Slide" r:id="rId11" imgW="306" imgH="306" progId="TCLayout.ActiveDocument.1">
                  <p:embed/>
                  <p:pic>
                    <p:nvPicPr>
                      <p:cNvPr id="7" name="think-cell data - do not delete" hidden="1">
                        <a:extLst>
                          <a:ext uri="{FF2B5EF4-FFF2-40B4-BE49-F238E27FC236}">
                            <a16:creationId xmlns:a16="http://schemas.microsoft.com/office/drawing/2014/main" id="{57AC608C-32D8-7B9D-D135-2073D7A8D52B}"/>
                          </a:ext>
                        </a:extLst>
                      </p:cNvPr>
                      <p:cNvPicPr/>
                      <p:nvPr/>
                    </p:nvPicPr>
                    <p:blipFill>
                      <a:blip r:embed="rId12"/>
                      <a:stretch>
                        <a:fillRect/>
                      </a:stretch>
                    </p:blipFill>
                    <p:spPr>
                      <a:xfrm>
                        <a:off x="2382"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417F89-E31B-0CBE-0330-C328F4764029}"/>
              </a:ext>
            </a:extLst>
          </p:cNvPr>
          <p:cNvSpPr>
            <a:spLocks noGrp="1"/>
          </p:cNvSpPr>
          <p:nvPr>
            <p:ph type="ctrTitle"/>
          </p:nvPr>
        </p:nvSpPr>
        <p:spPr>
          <a:xfrm>
            <a:off x="516006" y="514350"/>
            <a:ext cx="9667546" cy="792900"/>
          </a:xfrm>
        </p:spPr>
        <p:txBody>
          <a:bodyPr vert="horz" wrap="square" lIns="0" tIns="0" rIns="0" bIns="72000" rtlCol="0" anchor="t" anchorCtr="0">
            <a:spAutoFit/>
          </a:bodyPr>
          <a:lstStyle/>
          <a:p>
            <a:pPr>
              <a:tabLst>
                <a:tab pos="6283325" algn="l"/>
              </a:tabLst>
            </a:pPr>
            <a:r>
              <a:rPr lang="en-DK"/>
              <a:t>Signs of improving market conditions and key future trends support our CRO growth ambition</a:t>
            </a:r>
            <a:endParaRPr lang="en-GB"/>
          </a:p>
        </p:txBody>
      </p:sp>
      <p:sp>
        <p:nvSpPr>
          <p:cNvPr id="12" name="TextBox 11">
            <a:extLst>
              <a:ext uri="{FF2B5EF4-FFF2-40B4-BE49-F238E27FC236}">
                <a16:creationId xmlns:a16="http://schemas.microsoft.com/office/drawing/2014/main" id="{3D8A4094-6486-7B88-F079-04B87AD33835}"/>
              </a:ext>
            </a:extLst>
          </p:cNvPr>
          <p:cNvSpPr txBox="1">
            <a:spLocks/>
          </p:cNvSpPr>
          <p:nvPr/>
        </p:nvSpPr>
        <p:spPr>
          <a:xfrm>
            <a:off x="516733" y="1730923"/>
            <a:ext cx="1807354" cy="184666"/>
          </a:xfrm>
          <a:prstGeom prst="rect">
            <a:avLst/>
          </a:prstGeom>
          <a:noFill/>
        </p:spPr>
        <p:txBody>
          <a:bodyPr wrap="none" lIns="0" tIns="0" rIns="0" bIns="0" rtlCol="0">
            <a:spAutoFit/>
          </a:bodyPr>
          <a:lstStyle/>
          <a:p>
            <a:pPr lvl="0">
              <a:defRPr/>
            </a:pPr>
            <a:r>
              <a:rPr lang="en-DK" sz="1200" b="1">
                <a:solidFill>
                  <a:schemeClr val="bg1"/>
                </a:solidFill>
                <a:latin typeface="Avenir Next LT Pro Demi" panose="020B0504020202020204" pitchFamily="34" charset="77"/>
              </a:rPr>
              <a:t>CRO MARKET OUTLOOK</a:t>
            </a:r>
            <a:endParaRPr lang="en-GB" sz="1200" b="1">
              <a:solidFill>
                <a:schemeClr val="bg1"/>
              </a:solidFill>
              <a:latin typeface="Avenir Next LT Pro Demi" panose="020B0504020202020204" pitchFamily="34" charset="77"/>
            </a:endParaRPr>
          </a:p>
        </p:txBody>
      </p:sp>
      <p:sp>
        <p:nvSpPr>
          <p:cNvPr id="9" name="Footer Placeholder 438">
            <a:extLst>
              <a:ext uri="{FF2B5EF4-FFF2-40B4-BE49-F238E27FC236}">
                <a16:creationId xmlns:a16="http://schemas.microsoft.com/office/drawing/2014/main" id="{218FF9AE-FC39-E20C-A08F-FC436DA99022}"/>
              </a:ext>
            </a:extLst>
          </p:cNvPr>
          <p:cNvSpPr txBox="1">
            <a:spLocks/>
          </p:cNvSpPr>
          <p:nvPr/>
        </p:nvSpPr>
        <p:spPr>
          <a:xfrm>
            <a:off x="516732" y="6347549"/>
            <a:ext cx="10933112" cy="276999"/>
          </a:xfrm>
          <a:prstGeom prst="rect">
            <a:avLst/>
          </a:prstGeom>
        </p:spPr>
        <p:txBody>
          <a:bodyPr vert="horz" lIns="0" tIns="0" rIns="0" bIns="0" rtlCol="0" anchor="t">
            <a:spAutoFit/>
          </a:bodyPr>
          <a:lstStyle>
            <a:defPPr>
              <a:defRPr lang="sv-SE"/>
            </a:defPPr>
            <a:lvl1pPr marL="0" algn="l" defTabSz="914400" rtl="0" eaLnBrk="1" latinLnBrk="0" hangingPunct="1">
              <a:defRPr sz="1000" kern="1200">
                <a:solidFill>
                  <a:schemeClr val="tx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sv-SE" sz="900" err="1">
                <a:solidFill>
                  <a:srgbClr val="2878FF">
                    <a:lumMod val="60000"/>
                    <a:lumOff val="40000"/>
                  </a:srgbClr>
                </a:solidFill>
                <a:latin typeface="Avenir Next LT Pro"/>
              </a:rPr>
              <a:t>Sources</a:t>
            </a:r>
            <a:r>
              <a:rPr lang="sv-SE" sz="900">
                <a:solidFill>
                  <a:srgbClr val="2878FF">
                    <a:lumMod val="60000"/>
                    <a:lumOff val="40000"/>
                  </a:srgbClr>
                </a:solidFill>
                <a:latin typeface="Avenir Next LT Pro"/>
              </a:rPr>
              <a:t>: CRO Expert Survey (n=92), </a:t>
            </a:r>
            <a:r>
              <a:rPr lang="sv-SE" sz="900" err="1">
                <a:solidFill>
                  <a:srgbClr val="2878FF">
                    <a:lumMod val="60000"/>
                    <a:lumOff val="40000"/>
                  </a:srgbClr>
                </a:solidFill>
                <a:latin typeface="Avenir Next LT Pro"/>
              </a:rPr>
              <a:t>January</a:t>
            </a:r>
            <a:r>
              <a:rPr lang="sv-SE" sz="900">
                <a:solidFill>
                  <a:srgbClr val="2878FF">
                    <a:lumMod val="60000"/>
                    <a:lumOff val="40000"/>
                  </a:srgbClr>
                </a:solidFill>
                <a:latin typeface="Avenir Next LT Pro"/>
              </a:rPr>
              <a:t> 2026; </a:t>
            </a:r>
            <a:r>
              <a:rPr lang="en-GB" sz="900">
                <a:solidFill>
                  <a:srgbClr val="2878FF">
                    <a:lumMod val="60000"/>
                    <a:lumOff val="40000"/>
                  </a:srgbClr>
                </a:solidFill>
                <a:latin typeface="Avenir Next LT Pro"/>
              </a:rPr>
              <a:t>Investor presentations, earnings calls, </a:t>
            </a:r>
            <a:br>
              <a:rPr lang="en-DK" sz="900">
                <a:solidFill>
                  <a:srgbClr val="2878FF">
                    <a:lumMod val="60000"/>
                    <a:lumOff val="40000"/>
                  </a:srgbClr>
                </a:solidFill>
                <a:latin typeface="Avenir Next LT Pro"/>
              </a:rPr>
            </a:br>
            <a:r>
              <a:rPr lang="en-GB" sz="900">
                <a:solidFill>
                  <a:srgbClr val="2878FF">
                    <a:lumMod val="60000"/>
                    <a:lumOff val="40000"/>
                  </a:srgbClr>
                </a:solidFill>
                <a:latin typeface="Avenir Next LT Pro"/>
              </a:rPr>
              <a:t>broker reports, and financial reports of peers</a:t>
            </a:r>
            <a:r>
              <a:rPr lang="en-DK" sz="900">
                <a:solidFill>
                  <a:srgbClr val="2878FF">
                    <a:lumMod val="60000"/>
                    <a:lumOff val="40000"/>
                  </a:srgbClr>
                </a:solidFill>
                <a:latin typeface="Avenir Next LT Pro"/>
              </a:rPr>
              <a:t>.</a:t>
            </a:r>
            <a:endParaRPr lang="sv-SE" sz="900">
              <a:solidFill>
                <a:srgbClr val="2878FF">
                  <a:lumMod val="60000"/>
                  <a:lumOff val="40000"/>
                </a:srgbClr>
              </a:solidFill>
              <a:latin typeface="Avenir Next LT Pro"/>
            </a:endParaRPr>
          </a:p>
        </p:txBody>
      </p:sp>
      <p:cxnSp>
        <p:nvCxnSpPr>
          <p:cNvPr id="23" name="Straight Connector 22">
            <a:extLst>
              <a:ext uri="{FF2B5EF4-FFF2-40B4-BE49-F238E27FC236}">
                <a16:creationId xmlns:a16="http://schemas.microsoft.com/office/drawing/2014/main" id="{4F9B0172-3AFD-D45E-4D49-DCC41B751AA1}"/>
              </a:ext>
            </a:extLst>
          </p:cNvPr>
          <p:cNvCxnSpPr>
            <a:cxnSpLocks/>
          </p:cNvCxnSpPr>
          <p:nvPr/>
        </p:nvCxnSpPr>
        <p:spPr>
          <a:xfrm>
            <a:off x="557589" y="3011542"/>
            <a:ext cx="4712727" cy="1588"/>
          </a:xfrm>
          <a:prstGeom prst="line">
            <a:avLst/>
          </a:prstGeom>
          <a:ln w="635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1304F5A4-28B0-6293-05BA-B3308AD1DBF4}"/>
              </a:ext>
            </a:extLst>
          </p:cNvPr>
          <p:cNvCxnSpPr>
            <a:cxnSpLocks/>
          </p:cNvCxnSpPr>
          <p:nvPr/>
        </p:nvCxnSpPr>
        <p:spPr>
          <a:xfrm>
            <a:off x="557589" y="4116205"/>
            <a:ext cx="4712727" cy="1588"/>
          </a:xfrm>
          <a:prstGeom prst="line">
            <a:avLst/>
          </a:prstGeom>
          <a:ln w="6350">
            <a:solidFill>
              <a:schemeClr val="tx2"/>
            </a:solidFill>
          </a:ln>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F3456AFD-2FC9-79DB-8368-EA75871B1AC9}"/>
              </a:ext>
            </a:extLst>
          </p:cNvPr>
          <p:cNvSpPr txBox="1">
            <a:spLocks/>
          </p:cNvSpPr>
          <p:nvPr/>
        </p:nvSpPr>
        <p:spPr>
          <a:xfrm>
            <a:off x="1183069" y="2229173"/>
            <a:ext cx="4021109" cy="461665"/>
          </a:xfrm>
          <a:prstGeom prst="rect">
            <a:avLst/>
          </a:prstGeom>
          <a:noFill/>
        </p:spPr>
        <p:txBody>
          <a:bodyPr wrap="square" lIns="72000" rIns="0" rtlCol="0">
            <a:spAutoFit/>
          </a:bodyPr>
          <a:lstStyle/>
          <a:p>
            <a:pPr defTabSz="914400"/>
            <a:r>
              <a:rPr lang="en-US" sz="1200">
                <a:solidFill>
                  <a:schemeClr val="bg1"/>
                </a:solidFill>
                <a:latin typeface="Avenir Next LT Pro"/>
              </a:rPr>
              <a:t>Market recovering slower than expected </a:t>
            </a:r>
            <a:r>
              <a:rPr lang="en-DK" sz="1200" b="1">
                <a:solidFill>
                  <a:schemeClr val="bg1"/>
                </a:solidFill>
                <a:latin typeface="Avenir Next LT Pro Demi" panose="020B0504020202020204" pitchFamily="34" charset="77"/>
              </a:rPr>
              <a:t>but with signs of increasing</a:t>
            </a:r>
            <a:r>
              <a:rPr lang="en-US" sz="1200" b="1">
                <a:solidFill>
                  <a:schemeClr val="bg1"/>
                </a:solidFill>
                <a:latin typeface="Avenir Next LT Pro Demi" panose="020B0504020202020204" pitchFamily="34" charset="77"/>
              </a:rPr>
              <a:t> demand</a:t>
            </a:r>
          </a:p>
        </p:txBody>
      </p:sp>
      <p:sp>
        <p:nvSpPr>
          <p:cNvPr id="42" name="TextBox 41">
            <a:extLst>
              <a:ext uri="{FF2B5EF4-FFF2-40B4-BE49-F238E27FC236}">
                <a16:creationId xmlns:a16="http://schemas.microsoft.com/office/drawing/2014/main" id="{42B181B6-FA02-648E-2F2F-8B928724D2A7}"/>
              </a:ext>
            </a:extLst>
          </p:cNvPr>
          <p:cNvSpPr txBox="1">
            <a:spLocks/>
          </p:cNvSpPr>
          <p:nvPr/>
        </p:nvSpPr>
        <p:spPr>
          <a:xfrm>
            <a:off x="1183069" y="4438499"/>
            <a:ext cx="4087248" cy="461665"/>
          </a:xfrm>
          <a:prstGeom prst="rect">
            <a:avLst/>
          </a:prstGeom>
          <a:noFill/>
        </p:spPr>
        <p:txBody>
          <a:bodyPr wrap="square" lIns="72000" rIns="0" rtlCol="0">
            <a:spAutoFit/>
          </a:bodyPr>
          <a:lstStyle/>
          <a:p>
            <a:pPr defTabSz="914400"/>
            <a:r>
              <a:rPr lang="en-GB" sz="1200">
                <a:solidFill>
                  <a:schemeClr val="bg1"/>
                </a:solidFill>
                <a:latin typeface="Avenir Next LT Pro"/>
              </a:rPr>
              <a:t>Flat-to-low H1‘26 </a:t>
            </a:r>
            <a:r>
              <a:rPr lang="en-DK" sz="1200">
                <a:solidFill>
                  <a:schemeClr val="bg1"/>
                </a:solidFill>
                <a:latin typeface="Avenir Next LT Pro"/>
              </a:rPr>
              <a:t>for CRO market </a:t>
            </a:r>
            <a:r>
              <a:rPr lang="en-GB" sz="1200">
                <a:solidFill>
                  <a:schemeClr val="bg1"/>
                </a:solidFill>
                <a:latin typeface="Avenir Next LT Pro"/>
              </a:rPr>
              <a:t>with </a:t>
            </a:r>
            <a:r>
              <a:rPr lang="en-GB" sz="1200" b="1">
                <a:solidFill>
                  <a:schemeClr val="bg1"/>
                </a:solidFill>
                <a:latin typeface="Avenir Next LT Pro Demi" panose="020B0504020202020204" pitchFamily="34" charset="77"/>
              </a:rPr>
              <a:t>early signs of H2 recovery</a:t>
            </a:r>
          </a:p>
        </p:txBody>
      </p:sp>
      <p:cxnSp>
        <p:nvCxnSpPr>
          <p:cNvPr id="54" name="Straight Connector 53">
            <a:extLst>
              <a:ext uri="{FF2B5EF4-FFF2-40B4-BE49-F238E27FC236}">
                <a16:creationId xmlns:a16="http://schemas.microsoft.com/office/drawing/2014/main" id="{DD2FD0E3-B339-5FEA-9EEC-51553A419AFC}"/>
              </a:ext>
            </a:extLst>
          </p:cNvPr>
          <p:cNvCxnSpPr>
            <a:cxnSpLocks/>
          </p:cNvCxnSpPr>
          <p:nvPr/>
        </p:nvCxnSpPr>
        <p:spPr>
          <a:xfrm>
            <a:off x="557589" y="5220868"/>
            <a:ext cx="4712727" cy="1588"/>
          </a:xfrm>
          <a:prstGeom prst="line">
            <a:avLst/>
          </a:prstGeom>
          <a:ln w="6350">
            <a:solidFill>
              <a:schemeClr val="tx2"/>
            </a:solidFill>
          </a:ln>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595E3E87-3E96-0D30-DCBD-972B63153DBC}"/>
              </a:ext>
            </a:extLst>
          </p:cNvPr>
          <p:cNvSpPr txBox="1">
            <a:spLocks/>
          </p:cNvSpPr>
          <p:nvPr/>
        </p:nvSpPr>
        <p:spPr>
          <a:xfrm>
            <a:off x="1183069" y="5543162"/>
            <a:ext cx="4087248" cy="461665"/>
          </a:xfrm>
          <a:prstGeom prst="rect">
            <a:avLst/>
          </a:prstGeom>
          <a:noFill/>
        </p:spPr>
        <p:txBody>
          <a:bodyPr wrap="square" lIns="72000" rIns="0" rtlCol="0">
            <a:spAutoFit/>
          </a:bodyPr>
          <a:lstStyle/>
          <a:p>
            <a:pPr defTabSz="914400"/>
            <a:r>
              <a:rPr lang="en-DK" sz="1200">
                <a:solidFill>
                  <a:schemeClr val="bg1"/>
                </a:solidFill>
                <a:latin typeface="Avenir Next LT Pro"/>
              </a:rPr>
              <a:t>S</a:t>
            </a:r>
            <a:r>
              <a:rPr lang="en-US" sz="1200">
                <a:solidFill>
                  <a:schemeClr val="bg1"/>
                </a:solidFill>
                <a:latin typeface="Avenir Next LT Pro"/>
              </a:rPr>
              <a:t>elected large pharma are showing </a:t>
            </a:r>
            <a:r>
              <a:rPr lang="en-US" sz="1200" b="1">
                <a:solidFill>
                  <a:schemeClr val="bg1"/>
                </a:solidFill>
                <a:latin typeface="Avenir Next LT Pro Demi" panose="020B0504020202020204" pitchFamily="34" charset="77"/>
              </a:rPr>
              <a:t>more activity</a:t>
            </a:r>
            <a:r>
              <a:rPr lang="en-DK" sz="1200" b="1">
                <a:solidFill>
                  <a:schemeClr val="bg1"/>
                </a:solidFill>
                <a:latin typeface="Avenir Next LT Pro Demi" panose="020B0504020202020204" pitchFamily="34" charset="77"/>
              </a:rPr>
              <a:t> and engagement</a:t>
            </a:r>
            <a:endParaRPr lang="en-GB" sz="1200" b="1">
              <a:solidFill>
                <a:schemeClr val="bg1"/>
              </a:solidFill>
              <a:latin typeface="Avenir Next LT Pro Demi" panose="020B0504020202020204" pitchFamily="34" charset="77"/>
            </a:endParaRPr>
          </a:p>
        </p:txBody>
      </p:sp>
      <p:sp>
        <p:nvSpPr>
          <p:cNvPr id="19" name="TextBox 18">
            <a:extLst>
              <a:ext uri="{FF2B5EF4-FFF2-40B4-BE49-F238E27FC236}">
                <a16:creationId xmlns:a16="http://schemas.microsoft.com/office/drawing/2014/main" id="{FF9C2BC3-EB99-2D77-253D-7AEC7BF77E03}"/>
              </a:ext>
            </a:extLst>
          </p:cNvPr>
          <p:cNvSpPr txBox="1">
            <a:spLocks/>
          </p:cNvSpPr>
          <p:nvPr/>
        </p:nvSpPr>
        <p:spPr>
          <a:xfrm>
            <a:off x="6481249" y="1730923"/>
            <a:ext cx="4268912" cy="184666"/>
          </a:xfrm>
          <a:prstGeom prst="rect">
            <a:avLst/>
          </a:prstGeom>
          <a:noFill/>
        </p:spPr>
        <p:txBody>
          <a:bodyPr wrap="square" lIns="0" tIns="0" rIns="0" bIns="0" rtlCol="0">
            <a:spAutoFit/>
          </a:bodyPr>
          <a:lstStyle/>
          <a:p>
            <a:pPr defTabSz="914400"/>
            <a:r>
              <a:rPr lang="en-DK" sz="1200" b="1">
                <a:latin typeface="Avenir Next LT Pro Demi" panose="020B0504020202020204" pitchFamily="34" charset="77"/>
              </a:rPr>
              <a:t>CRO EXPERT VIEW ON MARKET TRENDS</a:t>
            </a:r>
            <a:endParaRPr lang="en-GB" sz="1200" b="1">
              <a:latin typeface="Avenir Next LT Pro Demi" panose="020B0504020202020204" pitchFamily="34" charset="77"/>
            </a:endParaRPr>
          </a:p>
        </p:txBody>
      </p:sp>
      <p:graphicFrame>
        <p:nvGraphicFramePr>
          <p:cNvPr id="107" name="Chart 106">
            <a:extLst>
              <a:ext uri="{FF2B5EF4-FFF2-40B4-BE49-F238E27FC236}">
                <a16:creationId xmlns:a16="http://schemas.microsoft.com/office/drawing/2014/main" id="{2F1A244C-E668-BB80-5035-AE56210EF29E}"/>
              </a:ext>
            </a:extLst>
          </p:cNvPr>
          <p:cNvGraphicFramePr/>
          <p:nvPr>
            <p:custDataLst>
              <p:tags r:id="rId2"/>
            </p:custDataLst>
            <p:extLst>
              <p:ext uri="{D42A27DB-BD31-4B8C-83A1-F6EECF244321}">
                <p14:modId xmlns:p14="http://schemas.microsoft.com/office/powerpoint/2010/main" val="2614054737"/>
              </p:ext>
            </p:extLst>
          </p:nvPr>
        </p:nvGraphicFramePr>
        <p:xfrm>
          <a:off x="9746936" y="2156046"/>
          <a:ext cx="1849438" cy="4222750"/>
        </p:xfrm>
        <a:graphic>
          <a:graphicData uri="http://schemas.openxmlformats.org/drawingml/2006/chart">
            <c:chart xmlns:c="http://schemas.openxmlformats.org/drawingml/2006/chart" xmlns:r="http://schemas.openxmlformats.org/officeDocument/2006/relationships" r:id="rId13"/>
          </a:graphicData>
        </a:graphic>
      </p:graphicFrame>
      <p:sp>
        <p:nvSpPr>
          <p:cNvPr id="22" name="Text Placeholder 2">
            <a:extLst>
              <a:ext uri="{FF2B5EF4-FFF2-40B4-BE49-F238E27FC236}">
                <a16:creationId xmlns:a16="http://schemas.microsoft.com/office/drawing/2014/main" id="{7BC64D40-F1E5-3576-0F31-76D3835DC6C3}"/>
              </a:ext>
            </a:extLst>
          </p:cNvPr>
          <p:cNvSpPr>
            <a:spLocks/>
          </p:cNvSpPr>
          <p:nvPr>
            <p:custDataLst>
              <p:tags r:id="rId3"/>
            </p:custDataLst>
          </p:nvPr>
        </p:nvSpPr>
        <p:spPr bwMode="auto">
          <a:xfrm>
            <a:off x="7232999" y="2708496"/>
            <a:ext cx="24574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66700" indent="-266700" algn="l" defTabSz="914400"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75" indent="-180975" algn="l" defTabSz="914400" rtl="0" eaLnBrk="1" latinLnBrk="0" hangingPunct="1">
              <a:lnSpc>
                <a:spcPct val="90000"/>
              </a:lnSpc>
              <a:spcBef>
                <a:spcPts val="700"/>
              </a:spcBef>
              <a:buClr>
                <a:schemeClr val="tx2"/>
              </a:buClr>
              <a:buFont typeface="Arial" panose="020B0604020202020204" pitchFamily="34" charset="0"/>
              <a:buChar char="•"/>
              <a:defRPr sz="1800" kern="1200">
                <a:solidFill>
                  <a:schemeClr val="tx1"/>
                </a:solidFill>
                <a:latin typeface="+mn-lt"/>
                <a:ea typeface="+mn-ea"/>
                <a:cs typeface="+mn-cs"/>
              </a:defRPr>
            </a:lvl2pPr>
            <a:lvl3pPr marL="628650" indent="-180975" algn="l" defTabSz="914400" rtl="0" eaLnBrk="1" latinLnBrk="0" hangingPunct="1">
              <a:lnSpc>
                <a:spcPct val="90000"/>
              </a:lnSpc>
              <a:spcBef>
                <a:spcPts val="700"/>
              </a:spcBef>
              <a:buClr>
                <a:schemeClr val="tx2"/>
              </a:buClr>
              <a:buFont typeface="Arial" panose="020B0604020202020204" pitchFamily="34" charset="0"/>
              <a:buChar char="•"/>
              <a:defRPr sz="1600" kern="1200">
                <a:solidFill>
                  <a:schemeClr val="tx1"/>
                </a:solidFill>
                <a:latin typeface="+mn-lt"/>
                <a:ea typeface="+mn-ea"/>
                <a:cs typeface="+mn-cs"/>
              </a:defRPr>
            </a:lvl3pPr>
            <a:lvl4pPr marL="809625" indent="-180975" algn="l" defTabSz="914400" rtl="0" eaLnBrk="1" latinLnBrk="0" hangingPunct="1">
              <a:lnSpc>
                <a:spcPct val="90000"/>
              </a:lnSpc>
              <a:spcBef>
                <a:spcPts val="700"/>
              </a:spcBef>
              <a:buClr>
                <a:schemeClr val="tx2"/>
              </a:buClr>
              <a:buFont typeface="Arial" panose="020B0604020202020204" pitchFamily="34" charset="0"/>
              <a:buChar char="•"/>
              <a:defRPr sz="1400" kern="1200">
                <a:solidFill>
                  <a:schemeClr val="tx1"/>
                </a:solidFill>
                <a:latin typeface="+mn-lt"/>
                <a:ea typeface="+mn-ea"/>
                <a:cs typeface="+mn-cs"/>
              </a:defRPr>
            </a:lvl4pPr>
            <a:lvl5pPr marL="990600" indent="-180975" algn="l" defTabSz="914400" rtl="0" eaLnBrk="1" latinLnBrk="0" hangingPunct="1">
              <a:lnSpc>
                <a:spcPct val="90000"/>
              </a:lnSpc>
              <a:spcBef>
                <a:spcPts val="7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Clr>
                <a:srgbClr val="2878FF"/>
              </a:buClr>
              <a:buNone/>
            </a:pPr>
            <a:r>
              <a:rPr lang="en-GB" altLang="en-US" sz="1200" err="1">
                <a:solidFill>
                  <a:srgbClr val="001965"/>
                </a:solidFill>
                <a:latin typeface="Avenir Next LT Pro"/>
              </a:rPr>
              <a:t>Increas</a:t>
            </a:r>
            <a:r>
              <a:rPr lang="en-DK" altLang="en-US" sz="1200">
                <a:solidFill>
                  <a:srgbClr val="001965"/>
                </a:solidFill>
                <a:latin typeface="Avenir Next LT Pro"/>
              </a:rPr>
              <a:t>ing</a:t>
            </a:r>
            <a:r>
              <a:rPr lang="en-GB" altLang="en-US" sz="1200">
                <a:solidFill>
                  <a:srgbClr val="001965"/>
                </a:solidFill>
                <a:latin typeface="Avenir Next LT Pro"/>
              </a:rPr>
              <a:t> use of </a:t>
            </a:r>
            <a:r>
              <a:rPr lang="en-GB" altLang="en-US" sz="1200" b="1">
                <a:solidFill>
                  <a:srgbClr val="001965"/>
                </a:solidFill>
                <a:latin typeface="Avenir Next LT Pro Demi" panose="020B0504020202020204" pitchFamily="34" charset="77"/>
              </a:rPr>
              <a:t>digital and AI/ML</a:t>
            </a:r>
            <a:endParaRPr lang="en-GB" sz="1200" b="1">
              <a:solidFill>
                <a:srgbClr val="001965"/>
              </a:solidFill>
              <a:latin typeface="Avenir Next LT Pro Demi" panose="020B0504020202020204" pitchFamily="34" charset="77"/>
            </a:endParaRPr>
          </a:p>
        </p:txBody>
      </p:sp>
      <p:sp>
        <p:nvSpPr>
          <p:cNvPr id="36" name="Text Placeholder 2">
            <a:extLst>
              <a:ext uri="{FF2B5EF4-FFF2-40B4-BE49-F238E27FC236}">
                <a16:creationId xmlns:a16="http://schemas.microsoft.com/office/drawing/2014/main" id="{81E740A6-82EA-89B7-F15F-7A75BA7C237E}"/>
              </a:ext>
            </a:extLst>
          </p:cNvPr>
          <p:cNvSpPr>
            <a:spLocks/>
          </p:cNvSpPr>
          <p:nvPr>
            <p:custDataLst>
              <p:tags r:id="rId4"/>
            </p:custDataLst>
          </p:nvPr>
        </p:nvSpPr>
        <p:spPr bwMode="auto">
          <a:xfrm>
            <a:off x="7083775" y="3446684"/>
            <a:ext cx="26066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66700" indent="-266700" algn="l" defTabSz="914400"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75" indent="-180975" algn="l" defTabSz="914400" rtl="0" eaLnBrk="1" latinLnBrk="0" hangingPunct="1">
              <a:lnSpc>
                <a:spcPct val="90000"/>
              </a:lnSpc>
              <a:spcBef>
                <a:spcPts val="700"/>
              </a:spcBef>
              <a:buClr>
                <a:schemeClr val="tx2"/>
              </a:buClr>
              <a:buFont typeface="Arial" panose="020B0604020202020204" pitchFamily="34" charset="0"/>
              <a:buChar char="•"/>
              <a:defRPr sz="1800" kern="1200">
                <a:solidFill>
                  <a:schemeClr val="tx1"/>
                </a:solidFill>
                <a:latin typeface="+mn-lt"/>
                <a:ea typeface="+mn-ea"/>
                <a:cs typeface="+mn-cs"/>
              </a:defRPr>
            </a:lvl2pPr>
            <a:lvl3pPr marL="628650" indent="-180975" algn="l" defTabSz="914400" rtl="0" eaLnBrk="1" latinLnBrk="0" hangingPunct="1">
              <a:lnSpc>
                <a:spcPct val="90000"/>
              </a:lnSpc>
              <a:spcBef>
                <a:spcPts val="700"/>
              </a:spcBef>
              <a:buClr>
                <a:schemeClr val="tx2"/>
              </a:buClr>
              <a:buFont typeface="Arial" panose="020B0604020202020204" pitchFamily="34" charset="0"/>
              <a:buChar char="•"/>
              <a:defRPr sz="1600" kern="1200">
                <a:solidFill>
                  <a:schemeClr val="tx1"/>
                </a:solidFill>
                <a:latin typeface="+mn-lt"/>
                <a:ea typeface="+mn-ea"/>
                <a:cs typeface="+mn-cs"/>
              </a:defRPr>
            </a:lvl3pPr>
            <a:lvl4pPr marL="809625" indent="-180975" algn="l" defTabSz="914400" rtl="0" eaLnBrk="1" latinLnBrk="0" hangingPunct="1">
              <a:lnSpc>
                <a:spcPct val="90000"/>
              </a:lnSpc>
              <a:spcBef>
                <a:spcPts val="700"/>
              </a:spcBef>
              <a:buClr>
                <a:schemeClr val="tx2"/>
              </a:buClr>
              <a:buFont typeface="Arial" panose="020B0604020202020204" pitchFamily="34" charset="0"/>
              <a:buChar char="•"/>
              <a:defRPr sz="1400" kern="1200">
                <a:solidFill>
                  <a:schemeClr val="tx1"/>
                </a:solidFill>
                <a:latin typeface="+mn-lt"/>
                <a:ea typeface="+mn-ea"/>
                <a:cs typeface="+mn-cs"/>
              </a:defRPr>
            </a:lvl4pPr>
            <a:lvl5pPr marL="990600" indent="-180975" algn="l" defTabSz="914400" rtl="0" eaLnBrk="1" latinLnBrk="0" hangingPunct="1">
              <a:lnSpc>
                <a:spcPct val="90000"/>
              </a:lnSpc>
              <a:spcBef>
                <a:spcPts val="7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Clr>
                <a:srgbClr val="2878FF"/>
              </a:buClr>
              <a:buNone/>
            </a:pPr>
            <a:r>
              <a:rPr lang="en-GB" altLang="en-US" sz="1200" b="1" err="1">
                <a:solidFill>
                  <a:srgbClr val="001965"/>
                </a:solidFill>
                <a:latin typeface="Avenir Next LT Pro Demi" panose="020B0504020202020204" pitchFamily="34" charset="77"/>
              </a:rPr>
              <a:t>Increas</a:t>
            </a:r>
            <a:r>
              <a:rPr lang="en-DK" altLang="en-US" sz="1200" b="1">
                <a:solidFill>
                  <a:srgbClr val="001965"/>
                </a:solidFill>
                <a:latin typeface="Avenir Next LT Pro Demi" panose="020B0504020202020204" pitchFamily="34" charset="77"/>
              </a:rPr>
              <a:t>ing</a:t>
            </a:r>
            <a:r>
              <a:rPr lang="en-GB" altLang="en-US" sz="1200" b="1">
                <a:solidFill>
                  <a:srgbClr val="001965"/>
                </a:solidFill>
                <a:latin typeface="Avenir Next LT Pro Demi" panose="020B0504020202020204" pitchFamily="34" charset="77"/>
              </a:rPr>
              <a:t> growth </a:t>
            </a:r>
            <a:r>
              <a:rPr lang="en-GB" altLang="en-US" sz="1200">
                <a:solidFill>
                  <a:srgbClr val="001965"/>
                </a:solidFill>
                <a:latin typeface="Avenir Next LT Pro"/>
              </a:rPr>
              <a:t>in the CRO market</a:t>
            </a:r>
            <a:endParaRPr lang="en-GB" sz="1200">
              <a:solidFill>
                <a:srgbClr val="001965"/>
              </a:solidFill>
              <a:latin typeface="Avenir Next LT Pro"/>
            </a:endParaRPr>
          </a:p>
        </p:txBody>
      </p:sp>
      <p:sp>
        <p:nvSpPr>
          <p:cNvPr id="41" name="Text Placeholder 2">
            <a:extLst>
              <a:ext uri="{FF2B5EF4-FFF2-40B4-BE49-F238E27FC236}">
                <a16:creationId xmlns:a16="http://schemas.microsoft.com/office/drawing/2014/main" id="{1F7462D1-A711-EC2C-EA6D-BF7D2395F8BD}"/>
              </a:ext>
            </a:extLst>
          </p:cNvPr>
          <p:cNvSpPr>
            <a:spLocks/>
          </p:cNvSpPr>
          <p:nvPr>
            <p:custDataLst>
              <p:tags r:id="rId5"/>
            </p:custDataLst>
          </p:nvPr>
        </p:nvSpPr>
        <p:spPr bwMode="auto">
          <a:xfrm>
            <a:off x="8056912" y="4195504"/>
            <a:ext cx="16335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66700" indent="-266700" algn="l" defTabSz="914400"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75" indent="-180975" algn="l" defTabSz="914400" rtl="0" eaLnBrk="1" latinLnBrk="0" hangingPunct="1">
              <a:lnSpc>
                <a:spcPct val="90000"/>
              </a:lnSpc>
              <a:spcBef>
                <a:spcPts val="700"/>
              </a:spcBef>
              <a:buClr>
                <a:schemeClr val="tx2"/>
              </a:buClr>
              <a:buFont typeface="Arial" panose="020B0604020202020204" pitchFamily="34" charset="0"/>
              <a:buChar char="•"/>
              <a:defRPr sz="1800" kern="1200">
                <a:solidFill>
                  <a:schemeClr val="tx1"/>
                </a:solidFill>
                <a:latin typeface="+mn-lt"/>
                <a:ea typeface="+mn-ea"/>
                <a:cs typeface="+mn-cs"/>
              </a:defRPr>
            </a:lvl2pPr>
            <a:lvl3pPr marL="628650" indent="-180975" algn="l" defTabSz="914400" rtl="0" eaLnBrk="1" latinLnBrk="0" hangingPunct="1">
              <a:lnSpc>
                <a:spcPct val="90000"/>
              </a:lnSpc>
              <a:spcBef>
                <a:spcPts val="700"/>
              </a:spcBef>
              <a:buClr>
                <a:schemeClr val="tx2"/>
              </a:buClr>
              <a:buFont typeface="Arial" panose="020B0604020202020204" pitchFamily="34" charset="0"/>
              <a:buChar char="•"/>
              <a:defRPr sz="1600" kern="1200">
                <a:solidFill>
                  <a:schemeClr val="tx1"/>
                </a:solidFill>
                <a:latin typeface="+mn-lt"/>
                <a:ea typeface="+mn-ea"/>
                <a:cs typeface="+mn-cs"/>
              </a:defRPr>
            </a:lvl3pPr>
            <a:lvl4pPr marL="809625" indent="-180975" algn="l" defTabSz="914400" rtl="0" eaLnBrk="1" latinLnBrk="0" hangingPunct="1">
              <a:lnSpc>
                <a:spcPct val="90000"/>
              </a:lnSpc>
              <a:spcBef>
                <a:spcPts val="700"/>
              </a:spcBef>
              <a:buClr>
                <a:schemeClr val="tx2"/>
              </a:buClr>
              <a:buFont typeface="Arial" panose="020B0604020202020204" pitchFamily="34" charset="0"/>
              <a:buChar char="•"/>
              <a:defRPr sz="1400" kern="1200">
                <a:solidFill>
                  <a:schemeClr val="tx1"/>
                </a:solidFill>
                <a:latin typeface="+mn-lt"/>
                <a:ea typeface="+mn-ea"/>
                <a:cs typeface="+mn-cs"/>
              </a:defRPr>
            </a:lvl4pPr>
            <a:lvl5pPr marL="990600" indent="-180975" algn="l" defTabSz="914400" rtl="0" eaLnBrk="1" latinLnBrk="0" hangingPunct="1">
              <a:lnSpc>
                <a:spcPct val="90000"/>
              </a:lnSpc>
              <a:spcBef>
                <a:spcPts val="7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Clr>
                <a:srgbClr val="2878FF"/>
              </a:buClr>
              <a:buNone/>
            </a:pPr>
            <a:r>
              <a:rPr lang="en-DK" sz="1200" b="1">
                <a:solidFill>
                  <a:srgbClr val="001965"/>
                </a:solidFill>
                <a:latin typeface="Avenir Next LT Pro Demi" panose="020B0504020202020204" pitchFamily="34" charset="77"/>
              </a:rPr>
              <a:t>Increasing outsourcing </a:t>
            </a:r>
            <a:r>
              <a:rPr lang="en-DK" sz="1200">
                <a:solidFill>
                  <a:srgbClr val="001965"/>
                </a:solidFill>
                <a:latin typeface="Avenir Next LT Pro"/>
              </a:rPr>
              <a:t>by Pharma</a:t>
            </a:r>
            <a:endParaRPr lang="en-GB" sz="1200">
              <a:solidFill>
                <a:srgbClr val="001965"/>
              </a:solidFill>
              <a:latin typeface="Avenir Next LT Pro"/>
            </a:endParaRPr>
          </a:p>
        </p:txBody>
      </p:sp>
      <p:sp>
        <p:nvSpPr>
          <p:cNvPr id="46" name="Text Placeholder 2">
            <a:extLst>
              <a:ext uri="{FF2B5EF4-FFF2-40B4-BE49-F238E27FC236}">
                <a16:creationId xmlns:a16="http://schemas.microsoft.com/office/drawing/2014/main" id="{CF447E0F-55E2-3A75-81D7-8853671E172C}"/>
              </a:ext>
            </a:extLst>
          </p:cNvPr>
          <p:cNvSpPr>
            <a:spLocks/>
          </p:cNvSpPr>
          <p:nvPr>
            <p:custDataLst>
              <p:tags r:id="rId6"/>
            </p:custDataLst>
          </p:nvPr>
        </p:nvSpPr>
        <p:spPr bwMode="auto">
          <a:xfrm>
            <a:off x="6280499" y="4921471"/>
            <a:ext cx="34099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66700" indent="-266700" algn="l" defTabSz="914400"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75" indent="-180975" algn="l" defTabSz="914400" rtl="0" eaLnBrk="1" latinLnBrk="0" hangingPunct="1">
              <a:lnSpc>
                <a:spcPct val="90000"/>
              </a:lnSpc>
              <a:spcBef>
                <a:spcPts val="700"/>
              </a:spcBef>
              <a:buClr>
                <a:schemeClr val="tx2"/>
              </a:buClr>
              <a:buFont typeface="Arial" panose="020B0604020202020204" pitchFamily="34" charset="0"/>
              <a:buChar char="•"/>
              <a:defRPr sz="1800" kern="1200">
                <a:solidFill>
                  <a:schemeClr val="tx1"/>
                </a:solidFill>
                <a:latin typeface="+mn-lt"/>
                <a:ea typeface="+mn-ea"/>
                <a:cs typeface="+mn-cs"/>
              </a:defRPr>
            </a:lvl2pPr>
            <a:lvl3pPr marL="628650" indent="-180975" algn="l" defTabSz="914400" rtl="0" eaLnBrk="1" latinLnBrk="0" hangingPunct="1">
              <a:lnSpc>
                <a:spcPct val="90000"/>
              </a:lnSpc>
              <a:spcBef>
                <a:spcPts val="700"/>
              </a:spcBef>
              <a:buClr>
                <a:schemeClr val="tx2"/>
              </a:buClr>
              <a:buFont typeface="Arial" panose="020B0604020202020204" pitchFamily="34" charset="0"/>
              <a:buChar char="•"/>
              <a:defRPr sz="1600" kern="1200">
                <a:solidFill>
                  <a:schemeClr val="tx1"/>
                </a:solidFill>
                <a:latin typeface="+mn-lt"/>
                <a:ea typeface="+mn-ea"/>
                <a:cs typeface="+mn-cs"/>
              </a:defRPr>
            </a:lvl3pPr>
            <a:lvl4pPr marL="809625" indent="-180975" algn="l" defTabSz="914400" rtl="0" eaLnBrk="1" latinLnBrk="0" hangingPunct="1">
              <a:lnSpc>
                <a:spcPct val="90000"/>
              </a:lnSpc>
              <a:spcBef>
                <a:spcPts val="700"/>
              </a:spcBef>
              <a:buClr>
                <a:schemeClr val="tx2"/>
              </a:buClr>
              <a:buFont typeface="Arial" panose="020B0604020202020204" pitchFamily="34" charset="0"/>
              <a:buChar char="•"/>
              <a:defRPr sz="1400" kern="1200">
                <a:solidFill>
                  <a:schemeClr val="tx1"/>
                </a:solidFill>
                <a:latin typeface="+mn-lt"/>
                <a:ea typeface="+mn-ea"/>
                <a:cs typeface="+mn-cs"/>
              </a:defRPr>
            </a:lvl4pPr>
            <a:lvl5pPr marL="990600" indent="-180975" algn="l" defTabSz="914400" rtl="0" eaLnBrk="1" latinLnBrk="0" hangingPunct="1">
              <a:lnSpc>
                <a:spcPct val="90000"/>
              </a:lnSpc>
              <a:spcBef>
                <a:spcPts val="7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Clr>
                <a:srgbClr val="2878FF"/>
              </a:buClr>
              <a:buNone/>
            </a:pPr>
            <a:r>
              <a:rPr lang="en-GB" altLang="en-US" sz="1200" b="1">
                <a:solidFill>
                  <a:srgbClr val="001965"/>
                </a:solidFill>
                <a:latin typeface="Avenir Next LT Pro Demi" panose="020B0504020202020204" pitchFamily="34" charset="77"/>
              </a:rPr>
              <a:t>Consolidation and </a:t>
            </a:r>
            <a:r>
              <a:rPr lang="en-GB" altLang="en-US" sz="1200" b="1" err="1">
                <a:solidFill>
                  <a:srgbClr val="001965"/>
                </a:solidFill>
                <a:latin typeface="Avenir Next LT Pro Demi" panose="020B0504020202020204" pitchFamily="34" charset="77"/>
              </a:rPr>
              <a:t>speciali</a:t>
            </a:r>
            <a:r>
              <a:rPr lang="en-DK" altLang="en-US" sz="1200" b="1">
                <a:solidFill>
                  <a:srgbClr val="001965"/>
                </a:solidFill>
                <a:latin typeface="Avenir Next LT Pro Demi" panose="020B0504020202020204" pitchFamily="34" charset="77"/>
              </a:rPr>
              <a:t>z</a:t>
            </a:r>
            <a:r>
              <a:rPr lang="en-GB" altLang="en-US" sz="1200" b="1" err="1">
                <a:solidFill>
                  <a:srgbClr val="001965"/>
                </a:solidFill>
                <a:latin typeface="Avenir Next LT Pro Demi" panose="020B0504020202020204" pitchFamily="34" charset="77"/>
              </a:rPr>
              <a:t>ation</a:t>
            </a:r>
            <a:r>
              <a:rPr lang="en-GB" altLang="en-US" sz="1200" b="1">
                <a:solidFill>
                  <a:srgbClr val="001965"/>
                </a:solidFill>
                <a:latin typeface="Avenir Next LT Pro Demi" panose="020B0504020202020204" pitchFamily="34" charset="77"/>
              </a:rPr>
              <a:t> </a:t>
            </a:r>
            <a:r>
              <a:rPr lang="en-GB" altLang="en-US" sz="1200">
                <a:solidFill>
                  <a:srgbClr val="001965"/>
                </a:solidFill>
                <a:latin typeface="Avenir Next LT Pro"/>
              </a:rPr>
              <a:t>across players</a:t>
            </a:r>
            <a:endParaRPr lang="en-GB" sz="1200">
              <a:solidFill>
                <a:srgbClr val="001965"/>
              </a:solidFill>
              <a:latin typeface="Avenir Next LT Pro"/>
            </a:endParaRPr>
          </a:p>
        </p:txBody>
      </p:sp>
      <p:sp>
        <p:nvSpPr>
          <p:cNvPr id="47" name="Text Placeholder 2">
            <a:extLst>
              <a:ext uri="{FF2B5EF4-FFF2-40B4-BE49-F238E27FC236}">
                <a16:creationId xmlns:a16="http://schemas.microsoft.com/office/drawing/2014/main" id="{A31EFBB1-C43E-4EB4-0E78-82A4CF5B8123}"/>
              </a:ext>
            </a:extLst>
          </p:cNvPr>
          <p:cNvSpPr>
            <a:spLocks/>
          </p:cNvSpPr>
          <p:nvPr>
            <p:custDataLst>
              <p:tags r:id="rId7"/>
            </p:custDataLst>
          </p:nvPr>
        </p:nvSpPr>
        <p:spPr bwMode="auto">
          <a:xfrm>
            <a:off x="7083775" y="5659659"/>
            <a:ext cx="26066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66700" indent="-266700" algn="l" defTabSz="914400"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75" indent="-180975" algn="l" defTabSz="914400" rtl="0" eaLnBrk="1" latinLnBrk="0" hangingPunct="1">
              <a:lnSpc>
                <a:spcPct val="90000"/>
              </a:lnSpc>
              <a:spcBef>
                <a:spcPts val="700"/>
              </a:spcBef>
              <a:buClr>
                <a:schemeClr val="tx2"/>
              </a:buClr>
              <a:buFont typeface="Arial" panose="020B0604020202020204" pitchFamily="34" charset="0"/>
              <a:buChar char="•"/>
              <a:defRPr sz="1800" kern="1200">
                <a:solidFill>
                  <a:schemeClr val="tx1"/>
                </a:solidFill>
                <a:latin typeface="+mn-lt"/>
                <a:ea typeface="+mn-ea"/>
                <a:cs typeface="+mn-cs"/>
              </a:defRPr>
            </a:lvl2pPr>
            <a:lvl3pPr marL="628650" indent="-180975" algn="l" defTabSz="914400" rtl="0" eaLnBrk="1" latinLnBrk="0" hangingPunct="1">
              <a:lnSpc>
                <a:spcPct val="90000"/>
              </a:lnSpc>
              <a:spcBef>
                <a:spcPts val="700"/>
              </a:spcBef>
              <a:buClr>
                <a:schemeClr val="tx2"/>
              </a:buClr>
              <a:buFont typeface="Arial" panose="020B0604020202020204" pitchFamily="34" charset="0"/>
              <a:buChar char="•"/>
              <a:defRPr sz="1600" kern="1200">
                <a:solidFill>
                  <a:schemeClr val="tx1"/>
                </a:solidFill>
                <a:latin typeface="+mn-lt"/>
                <a:ea typeface="+mn-ea"/>
                <a:cs typeface="+mn-cs"/>
              </a:defRPr>
            </a:lvl3pPr>
            <a:lvl4pPr marL="809625" indent="-180975" algn="l" defTabSz="914400" rtl="0" eaLnBrk="1" latinLnBrk="0" hangingPunct="1">
              <a:lnSpc>
                <a:spcPct val="90000"/>
              </a:lnSpc>
              <a:spcBef>
                <a:spcPts val="700"/>
              </a:spcBef>
              <a:buClr>
                <a:schemeClr val="tx2"/>
              </a:buClr>
              <a:buFont typeface="Arial" panose="020B0604020202020204" pitchFamily="34" charset="0"/>
              <a:buChar char="•"/>
              <a:defRPr sz="1400" kern="1200">
                <a:solidFill>
                  <a:schemeClr val="tx1"/>
                </a:solidFill>
                <a:latin typeface="+mn-lt"/>
                <a:ea typeface="+mn-ea"/>
                <a:cs typeface="+mn-cs"/>
              </a:defRPr>
            </a:lvl4pPr>
            <a:lvl5pPr marL="990600" indent="-180975" algn="l" defTabSz="914400" rtl="0" eaLnBrk="1" latinLnBrk="0" hangingPunct="1">
              <a:lnSpc>
                <a:spcPct val="90000"/>
              </a:lnSpc>
              <a:spcBef>
                <a:spcPts val="7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Clr>
                <a:srgbClr val="2878FF"/>
              </a:buClr>
              <a:buNone/>
            </a:pPr>
            <a:r>
              <a:rPr lang="en-GB" altLang="en-US" sz="1200">
                <a:solidFill>
                  <a:srgbClr val="001965"/>
                </a:solidFill>
                <a:latin typeface="Avenir Next LT Pro"/>
              </a:rPr>
              <a:t>Shifting global </a:t>
            </a:r>
            <a:r>
              <a:rPr lang="en-GB" altLang="en-US" sz="1200" b="1">
                <a:solidFill>
                  <a:srgbClr val="001965"/>
                </a:solidFill>
                <a:latin typeface="Avenir Next LT Pro Demi" panose="020B0504020202020204" pitchFamily="34" charset="77"/>
              </a:rPr>
              <a:t>regulatory landscape</a:t>
            </a:r>
            <a:endParaRPr lang="en-GB" sz="1200" b="1">
              <a:solidFill>
                <a:srgbClr val="001965"/>
              </a:solidFill>
              <a:latin typeface="Avenir Next LT Pro Demi" panose="020B0504020202020204" pitchFamily="34" charset="77"/>
            </a:endParaRPr>
          </a:p>
        </p:txBody>
      </p:sp>
      <p:sp>
        <p:nvSpPr>
          <p:cNvPr id="59" name="TextBox 58">
            <a:extLst>
              <a:ext uri="{FF2B5EF4-FFF2-40B4-BE49-F238E27FC236}">
                <a16:creationId xmlns:a16="http://schemas.microsoft.com/office/drawing/2014/main" id="{F6C90337-6E6F-4C1D-991B-6EC23C7921C7}"/>
              </a:ext>
            </a:extLst>
          </p:cNvPr>
          <p:cNvSpPr txBox="1">
            <a:spLocks/>
          </p:cNvSpPr>
          <p:nvPr/>
        </p:nvSpPr>
        <p:spPr>
          <a:xfrm>
            <a:off x="6481249" y="2027580"/>
            <a:ext cx="4527458" cy="184666"/>
          </a:xfrm>
          <a:prstGeom prst="rect">
            <a:avLst/>
          </a:prstGeom>
          <a:noFill/>
        </p:spPr>
        <p:txBody>
          <a:bodyPr wrap="none" lIns="0" tIns="0" rIns="0" bIns="0" rtlCol="0">
            <a:spAutoFit/>
          </a:bodyPr>
          <a:lstStyle/>
          <a:p>
            <a:pPr defTabSz="914400"/>
            <a:r>
              <a:rPr lang="en-GB" sz="1200" i="1">
                <a:solidFill>
                  <a:srgbClr val="001965">
                    <a:lumMod val="100000"/>
                  </a:srgbClr>
                </a:solidFill>
                <a:latin typeface="Avenir Next LT Pro"/>
              </a:rPr>
              <a:t>“What trends will define the CRO market over the next 3-5 years?”</a:t>
            </a:r>
            <a:endParaRPr lang="en-GB" sz="1200" baseline="30000">
              <a:solidFill>
                <a:srgbClr val="001965">
                  <a:lumMod val="100000"/>
                </a:srgbClr>
              </a:solidFill>
              <a:latin typeface="Avenir Next LT Pro"/>
            </a:endParaRPr>
          </a:p>
        </p:txBody>
      </p:sp>
      <p:sp>
        <p:nvSpPr>
          <p:cNvPr id="30" name="TextBox 29">
            <a:extLst>
              <a:ext uri="{FF2B5EF4-FFF2-40B4-BE49-F238E27FC236}">
                <a16:creationId xmlns:a16="http://schemas.microsoft.com/office/drawing/2014/main" id="{D3BCBCFA-78B7-E687-2A6A-985F6F26EF17}"/>
              </a:ext>
            </a:extLst>
          </p:cNvPr>
          <p:cNvSpPr txBox="1">
            <a:spLocks/>
          </p:cNvSpPr>
          <p:nvPr/>
        </p:nvSpPr>
        <p:spPr>
          <a:xfrm>
            <a:off x="1183069" y="3333836"/>
            <a:ext cx="4087248" cy="461665"/>
          </a:xfrm>
          <a:prstGeom prst="rect">
            <a:avLst/>
          </a:prstGeom>
          <a:noFill/>
        </p:spPr>
        <p:txBody>
          <a:bodyPr wrap="square" lIns="72000" rIns="0" rtlCol="0">
            <a:spAutoFit/>
          </a:bodyPr>
          <a:lstStyle/>
          <a:p>
            <a:r>
              <a:rPr lang="en-GB" sz="1200" b="1">
                <a:solidFill>
                  <a:schemeClr val="bg1"/>
                </a:solidFill>
                <a:latin typeface="Avenir Next LT Pro Demi" panose="020B0504020202020204" pitchFamily="34" charset="77"/>
              </a:rPr>
              <a:t>Biotech funding </a:t>
            </a:r>
            <a:r>
              <a:rPr lang="en-GB" sz="1200" b="1" err="1">
                <a:solidFill>
                  <a:schemeClr val="bg1"/>
                </a:solidFill>
                <a:latin typeface="Avenir Next LT Pro Demi" panose="020B0504020202020204" pitchFamily="34" charset="77"/>
              </a:rPr>
              <a:t>stabili</a:t>
            </a:r>
            <a:r>
              <a:rPr lang="en-DK" sz="1200" b="1">
                <a:solidFill>
                  <a:schemeClr val="bg1"/>
                </a:solidFill>
                <a:latin typeface="Avenir Next LT Pro Demi" panose="020B0504020202020204" pitchFamily="34" charset="77"/>
              </a:rPr>
              <a:t>z</a:t>
            </a:r>
            <a:r>
              <a:rPr lang="en-GB" sz="1200" b="1" err="1">
                <a:solidFill>
                  <a:schemeClr val="bg1"/>
                </a:solidFill>
                <a:latin typeface="Avenir Next LT Pro Demi" panose="020B0504020202020204" pitchFamily="34" charset="77"/>
              </a:rPr>
              <a:t>ation</a:t>
            </a:r>
            <a:r>
              <a:rPr lang="en-GB" sz="1200" b="1">
                <a:solidFill>
                  <a:schemeClr val="bg1"/>
                </a:solidFill>
                <a:latin typeface="Avenir Next LT Pro Demi" panose="020B0504020202020204" pitchFamily="34" charset="77"/>
              </a:rPr>
              <a:t> </a:t>
            </a:r>
            <a:r>
              <a:rPr lang="en-GB" sz="1200">
                <a:solidFill>
                  <a:schemeClr val="bg1"/>
                </a:solidFill>
              </a:rPr>
              <a:t>supports activity, </a:t>
            </a:r>
            <a:r>
              <a:rPr lang="en-DK" sz="1200">
                <a:solidFill>
                  <a:schemeClr val="bg1"/>
                </a:solidFill>
              </a:rPr>
              <a:t>although</a:t>
            </a:r>
            <a:r>
              <a:rPr lang="en-GB" sz="1200">
                <a:solidFill>
                  <a:schemeClr val="bg1"/>
                </a:solidFill>
              </a:rPr>
              <a:t> </a:t>
            </a:r>
            <a:r>
              <a:rPr lang="en-GB" sz="1200" b="1">
                <a:solidFill>
                  <a:schemeClr val="bg1"/>
                </a:solidFill>
                <a:latin typeface="Avenir Next LT Pro Demi" panose="020B0504020202020204" pitchFamily="34" charset="77"/>
              </a:rPr>
              <a:t>long</a:t>
            </a:r>
            <a:r>
              <a:rPr lang="en-DK" sz="1200" b="1">
                <a:solidFill>
                  <a:schemeClr val="bg1"/>
                </a:solidFill>
                <a:latin typeface="Avenir Next LT Pro Demi" panose="020B0504020202020204" pitchFamily="34" charset="77"/>
              </a:rPr>
              <a:t>er</a:t>
            </a:r>
            <a:r>
              <a:rPr lang="en-GB" sz="1200" b="1">
                <a:solidFill>
                  <a:schemeClr val="bg1"/>
                </a:solidFill>
                <a:latin typeface="Avenir Next LT Pro Demi" panose="020B0504020202020204" pitchFamily="34" charset="77"/>
              </a:rPr>
              <a:t> decision cycles persist</a:t>
            </a:r>
          </a:p>
        </p:txBody>
      </p:sp>
      <p:sp>
        <p:nvSpPr>
          <p:cNvPr id="15" name="TextBox 14">
            <a:extLst>
              <a:ext uri="{FF2B5EF4-FFF2-40B4-BE49-F238E27FC236}">
                <a16:creationId xmlns:a16="http://schemas.microsoft.com/office/drawing/2014/main" id="{E0CCA05E-737D-6C6E-A7F5-8AF3A2569966}"/>
              </a:ext>
            </a:extLst>
          </p:cNvPr>
          <p:cNvSpPr txBox="1"/>
          <p:nvPr/>
        </p:nvSpPr>
        <p:spPr>
          <a:xfrm>
            <a:off x="11480626" y="2652546"/>
            <a:ext cx="336080" cy="276999"/>
          </a:xfrm>
          <a:prstGeom prst="rect">
            <a:avLst/>
          </a:prstGeom>
          <a:noFill/>
        </p:spPr>
        <p:txBody>
          <a:bodyPr wrap="square" rtlCol="0">
            <a:spAutoFit/>
          </a:bodyPr>
          <a:lstStyle/>
          <a:p>
            <a:r>
              <a:rPr lang="en-DK" sz="1200"/>
              <a:t>%</a:t>
            </a:r>
            <a:endParaRPr lang="en-GB" sz="1200"/>
          </a:p>
        </p:txBody>
      </p:sp>
      <p:sp>
        <p:nvSpPr>
          <p:cNvPr id="16" name="TextBox 15">
            <a:extLst>
              <a:ext uri="{FF2B5EF4-FFF2-40B4-BE49-F238E27FC236}">
                <a16:creationId xmlns:a16="http://schemas.microsoft.com/office/drawing/2014/main" id="{66348E98-94EC-778F-8E97-A0AC2B19F3D8}"/>
              </a:ext>
            </a:extLst>
          </p:cNvPr>
          <p:cNvSpPr txBox="1"/>
          <p:nvPr/>
        </p:nvSpPr>
        <p:spPr>
          <a:xfrm>
            <a:off x="10987045" y="3390734"/>
            <a:ext cx="336080" cy="276999"/>
          </a:xfrm>
          <a:prstGeom prst="rect">
            <a:avLst/>
          </a:prstGeom>
          <a:noFill/>
        </p:spPr>
        <p:txBody>
          <a:bodyPr wrap="square" rtlCol="0">
            <a:spAutoFit/>
          </a:bodyPr>
          <a:lstStyle/>
          <a:p>
            <a:r>
              <a:rPr lang="en-DK" sz="1200"/>
              <a:t>%</a:t>
            </a:r>
            <a:endParaRPr lang="en-GB" sz="1200"/>
          </a:p>
        </p:txBody>
      </p:sp>
      <p:sp>
        <p:nvSpPr>
          <p:cNvPr id="21" name="TextBox 20">
            <a:extLst>
              <a:ext uri="{FF2B5EF4-FFF2-40B4-BE49-F238E27FC236}">
                <a16:creationId xmlns:a16="http://schemas.microsoft.com/office/drawing/2014/main" id="{0B7F161F-D533-AC67-31D0-3DA314BE4851}"/>
              </a:ext>
            </a:extLst>
          </p:cNvPr>
          <p:cNvSpPr txBox="1"/>
          <p:nvPr/>
        </p:nvSpPr>
        <p:spPr>
          <a:xfrm>
            <a:off x="10615025" y="4120817"/>
            <a:ext cx="336080" cy="276999"/>
          </a:xfrm>
          <a:prstGeom prst="rect">
            <a:avLst/>
          </a:prstGeom>
          <a:noFill/>
        </p:spPr>
        <p:txBody>
          <a:bodyPr wrap="square" rtlCol="0">
            <a:spAutoFit/>
          </a:bodyPr>
          <a:lstStyle/>
          <a:p>
            <a:r>
              <a:rPr lang="en-DK" sz="1200"/>
              <a:t>%</a:t>
            </a:r>
            <a:endParaRPr lang="en-GB" sz="1200"/>
          </a:p>
        </p:txBody>
      </p:sp>
      <p:sp>
        <p:nvSpPr>
          <p:cNvPr id="24" name="TextBox 23">
            <a:extLst>
              <a:ext uri="{FF2B5EF4-FFF2-40B4-BE49-F238E27FC236}">
                <a16:creationId xmlns:a16="http://schemas.microsoft.com/office/drawing/2014/main" id="{FCFA8F7F-9C41-58DE-5CB8-6D2EAE8E4860}"/>
              </a:ext>
            </a:extLst>
          </p:cNvPr>
          <p:cNvSpPr txBox="1"/>
          <p:nvPr/>
        </p:nvSpPr>
        <p:spPr>
          <a:xfrm>
            <a:off x="10559449" y="4857570"/>
            <a:ext cx="336080" cy="276999"/>
          </a:xfrm>
          <a:prstGeom prst="rect">
            <a:avLst/>
          </a:prstGeom>
          <a:noFill/>
        </p:spPr>
        <p:txBody>
          <a:bodyPr wrap="square" rtlCol="0">
            <a:spAutoFit/>
          </a:bodyPr>
          <a:lstStyle/>
          <a:p>
            <a:r>
              <a:rPr lang="en-DK" sz="1200"/>
              <a:t>%</a:t>
            </a:r>
            <a:endParaRPr lang="en-GB" sz="1200"/>
          </a:p>
        </p:txBody>
      </p:sp>
      <p:sp>
        <p:nvSpPr>
          <p:cNvPr id="25" name="TextBox 24">
            <a:extLst>
              <a:ext uri="{FF2B5EF4-FFF2-40B4-BE49-F238E27FC236}">
                <a16:creationId xmlns:a16="http://schemas.microsoft.com/office/drawing/2014/main" id="{F6CA2C35-EB9A-85F7-E9FA-47AF09EB5024}"/>
              </a:ext>
            </a:extLst>
          </p:cNvPr>
          <p:cNvSpPr txBox="1"/>
          <p:nvPr/>
        </p:nvSpPr>
        <p:spPr>
          <a:xfrm>
            <a:off x="10190425" y="5601961"/>
            <a:ext cx="336080" cy="276999"/>
          </a:xfrm>
          <a:prstGeom prst="rect">
            <a:avLst/>
          </a:prstGeom>
          <a:noFill/>
        </p:spPr>
        <p:txBody>
          <a:bodyPr wrap="square" rtlCol="0">
            <a:spAutoFit/>
          </a:bodyPr>
          <a:lstStyle/>
          <a:p>
            <a:r>
              <a:rPr lang="en-DK" sz="1200"/>
              <a:t>%</a:t>
            </a:r>
            <a:endParaRPr lang="en-GB" sz="1200"/>
          </a:p>
        </p:txBody>
      </p:sp>
      <p:sp>
        <p:nvSpPr>
          <p:cNvPr id="26" name="TextBox 25">
            <a:extLst>
              <a:ext uri="{FF2B5EF4-FFF2-40B4-BE49-F238E27FC236}">
                <a16:creationId xmlns:a16="http://schemas.microsoft.com/office/drawing/2014/main" id="{62658089-1A7E-C03B-C32E-CE2E8C2B5E7A}"/>
              </a:ext>
            </a:extLst>
          </p:cNvPr>
          <p:cNvSpPr txBox="1"/>
          <p:nvPr/>
        </p:nvSpPr>
        <p:spPr>
          <a:xfrm>
            <a:off x="11594381" y="6399575"/>
            <a:ext cx="27602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92F5A-FC14-4E83-B4CC-18F6C2D780A4}" type="slidenum">
              <a:rPr kumimoji="0" lang="en-US" sz="1000" b="0" i="0" u="none" strike="noStrike" kern="0" cap="none" spc="40" normalizeH="0" baseline="0" noProof="0" smtClean="0">
                <a:ln>
                  <a:noFill/>
                </a:ln>
                <a:solidFill>
                  <a:srgbClr val="2878FF"/>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000" b="0" i="0" u="none" strike="noStrike" kern="0" cap="none" spc="40" normalizeH="0" baseline="0" noProof="0">
              <a:ln>
                <a:noFill/>
              </a:ln>
              <a:solidFill>
                <a:srgbClr val="2878FF"/>
              </a:solidFill>
              <a:effectLst/>
              <a:uLnTx/>
              <a:uFillTx/>
              <a:latin typeface="Avenir Next LT Pro"/>
              <a:ea typeface="+mn-ea"/>
              <a:cs typeface="+mn-cs"/>
            </a:endParaRPr>
          </a:p>
        </p:txBody>
      </p:sp>
      <p:pic>
        <p:nvPicPr>
          <p:cNvPr id="35" name="Graphic 34" descr="Upward trend outline">
            <a:extLst>
              <a:ext uri="{FF2B5EF4-FFF2-40B4-BE49-F238E27FC236}">
                <a16:creationId xmlns:a16="http://schemas.microsoft.com/office/drawing/2014/main" id="{C7B53A8C-39FB-B8A1-6F83-B0B8F74FC955}"/>
              </a:ext>
            </a:extLst>
          </p:cNvPr>
          <p:cNvPicPr>
            <a:picLocks noChangeAspect="1"/>
          </p:cNvPicPr>
          <p:nvPr/>
        </p:nvPicPr>
        <p:blipFill>
          <a:blip>
            <a:extLst>
              <a:ext uri="{96DAC541-7B7A-43D3-8B79-37D633B846F1}">
                <asvg:svgBlip xmlns:asvg="http://schemas.microsoft.com/office/drawing/2016/SVG/main" r:embed="rId14"/>
              </a:ext>
            </a:extLst>
          </a:blip>
          <a:srcRect l="21441" t="21048" r="9028" b="25173"/>
          <a:stretch>
            <a:fillRect/>
          </a:stretch>
        </p:blipFill>
        <p:spPr>
          <a:xfrm>
            <a:off x="621107" y="4518190"/>
            <a:ext cx="390831" cy="302282"/>
          </a:xfrm>
          <a:prstGeom prst="rect">
            <a:avLst/>
          </a:prstGeom>
        </p:spPr>
      </p:pic>
      <p:grpSp>
        <p:nvGrpSpPr>
          <p:cNvPr id="32" name="Group 31">
            <a:extLst>
              <a:ext uri="{FF2B5EF4-FFF2-40B4-BE49-F238E27FC236}">
                <a16:creationId xmlns:a16="http://schemas.microsoft.com/office/drawing/2014/main" id="{D1FA9142-985B-30FE-9D21-B711B160B3A9}"/>
              </a:ext>
            </a:extLst>
          </p:cNvPr>
          <p:cNvGrpSpPr/>
          <p:nvPr/>
        </p:nvGrpSpPr>
        <p:grpSpPr>
          <a:xfrm>
            <a:off x="621107" y="3394970"/>
            <a:ext cx="402649" cy="335655"/>
            <a:chOff x="-888577" y="2487392"/>
            <a:chExt cx="358899" cy="299184"/>
          </a:xfrm>
        </p:grpSpPr>
        <p:grpSp>
          <p:nvGrpSpPr>
            <p:cNvPr id="5" name="Graphic 7">
              <a:extLst>
                <a:ext uri="{FF2B5EF4-FFF2-40B4-BE49-F238E27FC236}">
                  <a16:creationId xmlns:a16="http://schemas.microsoft.com/office/drawing/2014/main" id="{B413432B-8BA6-295E-7127-BAB78B3DCD2A}"/>
                </a:ext>
              </a:extLst>
            </p:cNvPr>
            <p:cNvGrpSpPr/>
            <p:nvPr/>
          </p:nvGrpSpPr>
          <p:grpSpPr>
            <a:xfrm>
              <a:off x="-888577" y="2487392"/>
              <a:ext cx="353176" cy="278124"/>
              <a:chOff x="2794388" y="3466688"/>
              <a:chExt cx="774387" cy="609825"/>
            </a:xfrm>
            <a:solidFill>
              <a:srgbClr val="FFFFFF"/>
            </a:solidFill>
          </p:grpSpPr>
          <p:sp>
            <p:nvSpPr>
              <p:cNvPr id="20" name="Freeform 19">
                <a:extLst>
                  <a:ext uri="{FF2B5EF4-FFF2-40B4-BE49-F238E27FC236}">
                    <a16:creationId xmlns:a16="http://schemas.microsoft.com/office/drawing/2014/main" id="{A15490B4-EA61-B748-961D-1961702CE00C}"/>
                  </a:ext>
                </a:extLst>
              </p:cNvPr>
              <p:cNvSpPr/>
              <p:nvPr/>
            </p:nvSpPr>
            <p:spPr>
              <a:xfrm>
                <a:off x="2845333" y="3484761"/>
                <a:ext cx="723442" cy="591752"/>
              </a:xfrm>
              <a:custGeom>
                <a:avLst/>
                <a:gdLst>
                  <a:gd name="connsiteX0" fmla="*/ 716317 w 723442"/>
                  <a:gd name="connsiteY0" fmla="*/ 591752 h 591752"/>
                  <a:gd name="connsiteX1" fmla="*/ 7126 w 723442"/>
                  <a:gd name="connsiteY1" fmla="*/ 591752 h 591752"/>
                  <a:gd name="connsiteX2" fmla="*/ 0 w 723442"/>
                  <a:gd name="connsiteY2" fmla="*/ 584626 h 591752"/>
                  <a:gd name="connsiteX3" fmla="*/ 0 w 723442"/>
                  <a:gd name="connsiteY3" fmla="*/ 7126 h 591752"/>
                  <a:gd name="connsiteX4" fmla="*/ 7126 w 723442"/>
                  <a:gd name="connsiteY4" fmla="*/ 0 h 591752"/>
                  <a:gd name="connsiteX5" fmla="*/ 14252 w 723442"/>
                  <a:gd name="connsiteY5" fmla="*/ 7126 h 591752"/>
                  <a:gd name="connsiteX6" fmla="*/ 14252 w 723442"/>
                  <a:gd name="connsiteY6" fmla="*/ 577500 h 591752"/>
                  <a:gd name="connsiteX7" fmla="*/ 716317 w 723442"/>
                  <a:gd name="connsiteY7" fmla="*/ 577500 h 591752"/>
                  <a:gd name="connsiteX8" fmla="*/ 723443 w 723442"/>
                  <a:gd name="connsiteY8" fmla="*/ 584626 h 591752"/>
                  <a:gd name="connsiteX9" fmla="*/ 716317 w 723442"/>
                  <a:gd name="connsiteY9" fmla="*/ 591752 h 591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442" h="591752">
                    <a:moveTo>
                      <a:pt x="716317" y="591752"/>
                    </a:moveTo>
                    <a:lnTo>
                      <a:pt x="7126" y="591752"/>
                    </a:lnTo>
                    <a:cubicBezTo>
                      <a:pt x="3231" y="591752"/>
                      <a:pt x="0" y="588522"/>
                      <a:pt x="0" y="584626"/>
                    </a:cubicBezTo>
                    <a:lnTo>
                      <a:pt x="0" y="7126"/>
                    </a:lnTo>
                    <a:cubicBezTo>
                      <a:pt x="0" y="3230"/>
                      <a:pt x="3231" y="0"/>
                      <a:pt x="7126" y="0"/>
                    </a:cubicBezTo>
                    <a:cubicBezTo>
                      <a:pt x="11022" y="0"/>
                      <a:pt x="14252" y="3230"/>
                      <a:pt x="14252" y="7126"/>
                    </a:cubicBezTo>
                    <a:lnTo>
                      <a:pt x="14252" y="577500"/>
                    </a:lnTo>
                    <a:lnTo>
                      <a:pt x="716317" y="577500"/>
                    </a:lnTo>
                    <a:cubicBezTo>
                      <a:pt x="720212" y="577500"/>
                      <a:pt x="723443" y="580731"/>
                      <a:pt x="723443" y="584626"/>
                    </a:cubicBezTo>
                    <a:cubicBezTo>
                      <a:pt x="723443" y="588522"/>
                      <a:pt x="720212" y="591752"/>
                      <a:pt x="716317" y="591752"/>
                    </a:cubicBezTo>
                    <a:close/>
                  </a:path>
                </a:pathLst>
              </a:custGeom>
              <a:solidFill>
                <a:srgbClr val="FFFFFF"/>
              </a:solidFill>
              <a:ln w="9454" cap="flat">
                <a:noFill/>
                <a:prstDash val="solid"/>
                <a:miter/>
              </a:ln>
            </p:spPr>
            <p:txBody>
              <a:bodyPr rtlCol="0" anchor="ctr"/>
              <a:lstStyle/>
              <a:p>
                <a:endParaRPr lang="en-DK"/>
              </a:p>
            </p:txBody>
          </p:sp>
          <p:sp>
            <p:nvSpPr>
              <p:cNvPr id="31" name="Freeform 30">
                <a:extLst>
                  <a:ext uri="{FF2B5EF4-FFF2-40B4-BE49-F238E27FC236}">
                    <a16:creationId xmlns:a16="http://schemas.microsoft.com/office/drawing/2014/main" id="{08F46999-7FC3-2ACA-608A-B9A4319FD3F2}"/>
                  </a:ext>
                </a:extLst>
              </p:cNvPr>
              <p:cNvSpPr/>
              <p:nvPr/>
            </p:nvSpPr>
            <p:spPr>
              <a:xfrm>
                <a:off x="2794388" y="3466688"/>
                <a:ext cx="110549" cy="86579"/>
              </a:xfrm>
              <a:custGeom>
                <a:avLst/>
                <a:gdLst>
                  <a:gd name="connsiteX0" fmla="*/ 103393 w 110549"/>
                  <a:gd name="connsiteY0" fmla="*/ 86579 h 86579"/>
                  <a:gd name="connsiteX1" fmla="*/ 97312 w 110549"/>
                  <a:gd name="connsiteY1" fmla="*/ 83159 h 86579"/>
                  <a:gd name="connsiteX2" fmla="*/ 58356 w 110549"/>
                  <a:gd name="connsiteY2" fmla="*/ 19974 h 86579"/>
                  <a:gd name="connsiteX3" fmla="*/ 12939 w 110549"/>
                  <a:gd name="connsiteY3" fmla="*/ 83539 h 86579"/>
                  <a:gd name="connsiteX4" fmla="*/ 2962 w 110549"/>
                  <a:gd name="connsiteY4" fmla="*/ 85154 h 86579"/>
                  <a:gd name="connsiteX5" fmla="*/ 1347 w 110549"/>
                  <a:gd name="connsiteY5" fmla="*/ 75177 h 86579"/>
                  <a:gd name="connsiteX6" fmla="*/ 53035 w 110549"/>
                  <a:gd name="connsiteY6" fmla="*/ 2966 h 86579"/>
                  <a:gd name="connsiteX7" fmla="*/ 59116 w 110549"/>
                  <a:gd name="connsiteY7" fmla="*/ 21 h 86579"/>
                  <a:gd name="connsiteX8" fmla="*/ 64912 w 110549"/>
                  <a:gd name="connsiteY8" fmla="*/ 3441 h 86579"/>
                  <a:gd name="connsiteX9" fmla="*/ 109474 w 110549"/>
                  <a:gd name="connsiteY9" fmla="*/ 75747 h 86579"/>
                  <a:gd name="connsiteX10" fmla="*/ 107098 w 110549"/>
                  <a:gd name="connsiteY10" fmla="*/ 85534 h 86579"/>
                  <a:gd name="connsiteX11" fmla="*/ 103393 w 110549"/>
                  <a:gd name="connsiteY11" fmla="*/ 86579 h 8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549" h="86579">
                    <a:moveTo>
                      <a:pt x="103393" y="86579"/>
                    </a:moveTo>
                    <a:cubicBezTo>
                      <a:pt x="101018" y="86579"/>
                      <a:pt x="98642" y="85344"/>
                      <a:pt x="97312" y="83159"/>
                    </a:cubicBezTo>
                    <a:lnTo>
                      <a:pt x="58356" y="19974"/>
                    </a:lnTo>
                    <a:lnTo>
                      <a:pt x="12939" y="83539"/>
                    </a:lnTo>
                    <a:cubicBezTo>
                      <a:pt x="10658" y="86769"/>
                      <a:pt x="6193" y="87529"/>
                      <a:pt x="2962" y="85154"/>
                    </a:cubicBezTo>
                    <a:cubicBezTo>
                      <a:pt x="-268" y="82873"/>
                      <a:pt x="-933" y="78408"/>
                      <a:pt x="1347" y="75177"/>
                    </a:cubicBezTo>
                    <a:lnTo>
                      <a:pt x="53035" y="2966"/>
                    </a:lnTo>
                    <a:cubicBezTo>
                      <a:pt x="54460" y="971"/>
                      <a:pt x="56741" y="-169"/>
                      <a:pt x="59116" y="21"/>
                    </a:cubicBezTo>
                    <a:cubicBezTo>
                      <a:pt x="61491" y="21"/>
                      <a:pt x="63677" y="1351"/>
                      <a:pt x="64912" y="3441"/>
                    </a:cubicBezTo>
                    <a:lnTo>
                      <a:pt x="109474" y="75747"/>
                    </a:lnTo>
                    <a:cubicBezTo>
                      <a:pt x="111564" y="79073"/>
                      <a:pt x="110519" y="83444"/>
                      <a:pt x="107098" y="85534"/>
                    </a:cubicBezTo>
                    <a:cubicBezTo>
                      <a:pt x="105958" y="86294"/>
                      <a:pt x="104628" y="86579"/>
                      <a:pt x="103393" y="86579"/>
                    </a:cubicBezTo>
                    <a:close/>
                  </a:path>
                </a:pathLst>
              </a:custGeom>
              <a:solidFill>
                <a:srgbClr val="FFFFFF"/>
              </a:solidFill>
              <a:ln w="9454" cap="flat">
                <a:noFill/>
                <a:prstDash val="solid"/>
                <a:miter/>
              </a:ln>
            </p:spPr>
            <p:txBody>
              <a:bodyPr rtlCol="0" anchor="ctr"/>
              <a:lstStyle/>
              <a:p>
                <a:endParaRPr lang="en-DK"/>
              </a:p>
            </p:txBody>
          </p:sp>
        </p:grpSp>
        <p:grpSp>
          <p:nvGrpSpPr>
            <p:cNvPr id="6" name="Graphic 7">
              <a:extLst>
                <a:ext uri="{FF2B5EF4-FFF2-40B4-BE49-F238E27FC236}">
                  <a16:creationId xmlns:a16="http://schemas.microsoft.com/office/drawing/2014/main" id="{E342EAE3-CAED-5E30-0D28-037A2B6238BD}"/>
                </a:ext>
              </a:extLst>
            </p:cNvPr>
            <p:cNvGrpSpPr/>
            <p:nvPr/>
          </p:nvGrpSpPr>
          <p:grpSpPr>
            <a:xfrm>
              <a:off x="-844207" y="2510942"/>
              <a:ext cx="204173" cy="234207"/>
              <a:chOff x="2891676" y="3518325"/>
              <a:chExt cx="447678" cy="513531"/>
            </a:xfrm>
          </p:grpSpPr>
          <p:sp>
            <p:nvSpPr>
              <p:cNvPr id="17" name="Freeform 16">
                <a:extLst>
                  <a:ext uri="{FF2B5EF4-FFF2-40B4-BE49-F238E27FC236}">
                    <a16:creationId xmlns:a16="http://schemas.microsoft.com/office/drawing/2014/main" id="{B75D9980-D9C8-B6C5-E5FD-B9AD08E1A806}"/>
                  </a:ext>
                </a:extLst>
              </p:cNvPr>
              <p:cNvSpPr/>
              <p:nvPr/>
            </p:nvSpPr>
            <p:spPr>
              <a:xfrm>
                <a:off x="2898803" y="3525414"/>
                <a:ext cx="433397" cy="499315"/>
              </a:xfrm>
              <a:custGeom>
                <a:avLst/>
                <a:gdLst>
                  <a:gd name="connsiteX0" fmla="*/ 23777 w 433397"/>
                  <a:gd name="connsiteY0" fmla="*/ 499316 h 499315"/>
                  <a:gd name="connsiteX1" fmla="*/ 23 w 433397"/>
                  <a:gd name="connsiteY1" fmla="*/ 476512 h 499315"/>
                  <a:gd name="connsiteX2" fmla="*/ 22731 w 433397"/>
                  <a:gd name="connsiteY2" fmla="*/ 451808 h 499315"/>
                  <a:gd name="connsiteX3" fmla="*/ 385973 w 433397"/>
                  <a:gd name="connsiteY3" fmla="*/ 21486 h 499315"/>
                  <a:gd name="connsiteX4" fmla="*/ 411912 w 433397"/>
                  <a:gd name="connsiteY4" fmla="*/ 108 h 499315"/>
                  <a:gd name="connsiteX5" fmla="*/ 433290 w 433397"/>
                  <a:gd name="connsiteY5" fmla="*/ 26047 h 499315"/>
                  <a:gd name="connsiteX6" fmla="*/ 24727 w 433397"/>
                  <a:gd name="connsiteY6" fmla="*/ 499316 h 499315"/>
                  <a:gd name="connsiteX7" fmla="*/ 23777 w 433397"/>
                  <a:gd name="connsiteY7" fmla="*/ 499316 h 499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3397" h="499315">
                    <a:moveTo>
                      <a:pt x="23777" y="499316"/>
                    </a:moveTo>
                    <a:cubicBezTo>
                      <a:pt x="11140" y="499316"/>
                      <a:pt x="593" y="489339"/>
                      <a:pt x="23" y="476512"/>
                    </a:cubicBezTo>
                    <a:cubicBezTo>
                      <a:pt x="-547" y="463400"/>
                      <a:pt x="9619" y="452378"/>
                      <a:pt x="22731" y="451808"/>
                    </a:cubicBezTo>
                    <a:cubicBezTo>
                      <a:pt x="36033" y="451238"/>
                      <a:pt x="346257" y="432235"/>
                      <a:pt x="385973" y="21486"/>
                    </a:cubicBezTo>
                    <a:cubicBezTo>
                      <a:pt x="387208" y="8374"/>
                      <a:pt x="398800" y="-1127"/>
                      <a:pt x="411912" y="108"/>
                    </a:cubicBezTo>
                    <a:cubicBezTo>
                      <a:pt x="424929" y="1343"/>
                      <a:pt x="434526" y="12935"/>
                      <a:pt x="433290" y="26047"/>
                    </a:cubicBezTo>
                    <a:cubicBezTo>
                      <a:pt x="389489" y="479078"/>
                      <a:pt x="28337" y="499126"/>
                      <a:pt x="24727" y="499316"/>
                    </a:cubicBezTo>
                    <a:cubicBezTo>
                      <a:pt x="24347" y="499316"/>
                      <a:pt x="24062" y="499316"/>
                      <a:pt x="23777" y="499316"/>
                    </a:cubicBezTo>
                    <a:close/>
                  </a:path>
                </a:pathLst>
              </a:custGeom>
              <a:solidFill>
                <a:srgbClr val="2878FF">
                  <a:alpha val="49924"/>
                </a:srgbClr>
              </a:solidFill>
              <a:ln w="9454" cap="flat">
                <a:noFill/>
                <a:prstDash val="solid"/>
                <a:miter/>
              </a:ln>
            </p:spPr>
            <p:txBody>
              <a:bodyPr rtlCol="0" anchor="ctr"/>
              <a:lstStyle/>
              <a:p>
                <a:endParaRPr lang="en-DK"/>
              </a:p>
            </p:txBody>
          </p:sp>
          <p:sp>
            <p:nvSpPr>
              <p:cNvPr id="18" name="Freeform 17">
                <a:extLst>
                  <a:ext uri="{FF2B5EF4-FFF2-40B4-BE49-F238E27FC236}">
                    <a16:creationId xmlns:a16="http://schemas.microsoft.com/office/drawing/2014/main" id="{6AEFEF5D-79C1-67CF-FC90-0A1765BCE3B5}"/>
                  </a:ext>
                </a:extLst>
              </p:cNvPr>
              <p:cNvSpPr/>
              <p:nvPr/>
            </p:nvSpPr>
            <p:spPr>
              <a:xfrm>
                <a:off x="2891676" y="3518325"/>
                <a:ext cx="447678" cy="513531"/>
              </a:xfrm>
              <a:custGeom>
                <a:avLst/>
                <a:gdLst>
                  <a:gd name="connsiteX0" fmla="*/ 30904 w 447678"/>
                  <a:gd name="connsiteY0" fmla="*/ 513531 h 513531"/>
                  <a:gd name="connsiteX1" fmla="*/ 24 w 447678"/>
                  <a:gd name="connsiteY1" fmla="*/ 483887 h 513531"/>
                  <a:gd name="connsiteX2" fmla="*/ 29574 w 447678"/>
                  <a:gd name="connsiteY2" fmla="*/ 451772 h 513531"/>
                  <a:gd name="connsiteX3" fmla="*/ 386069 w 447678"/>
                  <a:gd name="connsiteY3" fmla="*/ 27910 h 513531"/>
                  <a:gd name="connsiteX4" fmla="*/ 397186 w 447678"/>
                  <a:gd name="connsiteY4" fmla="*/ 7007 h 513531"/>
                  <a:gd name="connsiteX5" fmla="*/ 419799 w 447678"/>
                  <a:gd name="connsiteY5" fmla="*/ 166 h 513531"/>
                  <a:gd name="connsiteX6" fmla="*/ 440608 w 447678"/>
                  <a:gd name="connsiteY6" fmla="*/ 11283 h 513531"/>
                  <a:gd name="connsiteX7" fmla="*/ 447544 w 447678"/>
                  <a:gd name="connsiteY7" fmla="*/ 33896 h 513531"/>
                  <a:gd name="connsiteX8" fmla="*/ 32234 w 447678"/>
                  <a:gd name="connsiteY8" fmla="*/ 513531 h 513531"/>
                  <a:gd name="connsiteX9" fmla="*/ 30904 w 447678"/>
                  <a:gd name="connsiteY9" fmla="*/ 513531 h 513531"/>
                  <a:gd name="connsiteX10" fmla="*/ 416759 w 447678"/>
                  <a:gd name="connsiteY10" fmla="*/ 14228 h 513531"/>
                  <a:gd name="connsiteX11" fmla="*/ 406307 w 447678"/>
                  <a:gd name="connsiteY11" fmla="*/ 18029 h 513531"/>
                  <a:gd name="connsiteX12" fmla="*/ 400321 w 447678"/>
                  <a:gd name="connsiteY12" fmla="*/ 29336 h 513531"/>
                  <a:gd name="connsiteX13" fmla="*/ 30334 w 447678"/>
                  <a:gd name="connsiteY13" fmla="*/ 466119 h 513531"/>
                  <a:gd name="connsiteX14" fmla="*/ 14371 w 447678"/>
                  <a:gd name="connsiteY14" fmla="*/ 483411 h 513531"/>
                  <a:gd name="connsiteX15" fmla="*/ 30999 w 447678"/>
                  <a:gd name="connsiteY15" fmla="*/ 499374 h 513531"/>
                  <a:gd name="connsiteX16" fmla="*/ 31664 w 447678"/>
                  <a:gd name="connsiteY16" fmla="*/ 499374 h 513531"/>
                  <a:gd name="connsiteX17" fmla="*/ 433387 w 447678"/>
                  <a:gd name="connsiteY17" fmla="*/ 32566 h 513531"/>
                  <a:gd name="connsiteX18" fmla="*/ 429681 w 447678"/>
                  <a:gd name="connsiteY18" fmla="*/ 20404 h 513531"/>
                  <a:gd name="connsiteX19" fmla="*/ 418469 w 447678"/>
                  <a:gd name="connsiteY19" fmla="*/ 14418 h 513531"/>
                  <a:gd name="connsiteX20" fmla="*/ 416759 w 447678"/>
                  <a:gd name="connsiteY20" fmla="*/ 14418 h 51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7678" h="513531">
                    <a:moveTo>
                      <a:pt x="30904" y="513531"/>
                    </a:moveTo>
                    <a:cubicBezTo>
                      <a:pt x="14276" y="513531"/>
                      <a:pt x="784" y="500514"/>
                      <a:pt x="24" y="483887"/>
                    </a:cubicBezTo>
                    <a:cubicBezTo>
                      <a:pt x="-641" y="466879"/>
                      <a:pt x="12566" y="452532"/>
                      <a:pt x="29574" y="451772"/>
                    </a:cubicBezTo>
                    <a:cubicBezTo>
                      <a:pt x="42496" y="451201"/>
                      <a:pt x="346923" y="432484"/>
                      <a:pt x="386069" y="27910"/>
                    </a:cubicBezTo>
                    <a:cubicBezTo>
                      <a:pt x="386829" y="19644"/>
                      <a:pt x="390820" y="12233"/>
                      <a:pt x="397186" y="7007"/>
                    </a:cubicBezTo>
                    <a:cubicBezTo>
                      <a:pt x="403552" y="1781"/>
                      <a:pt x="411533" y="-689"/>
                      <a:pt x="419799" y="166"/>
                    </a:cubicBezTo>
                    <a:cubicBezTo>
                      <a:pt x="427971" y="926"/>
                      <a:pt x="435382" y="4917"/>
                      <a:pt x="440608" y="11283"/>
                    </a:cubicBezTo>
                    <a:cubicBezTo>
                      <a:pt x="445834" y="17649"/>
                      <a:pt x="448304" y="25630"/>
                      <a:pt x="447544" y="33896"/>
                    </a:cubicBezTo>
                    <a:cubicBezTo>
                      <a:pt x="403172" y="492723"/>
                      <a:pt x="35940" y="513436"/>
                      <a:pt x="32234" y="513531"/>
                    </a:cubicBezTo>
                    <a:lnTo>
                      <a:pt x="30904" y="513531"/>
                    </a:lnTo>
                    <a:close/>
                    <a:moveTo>
                      <a:pt x="416759" y="14228"/>
                    </a:moveTo>
                    <a:cubicBezTo>
                      <a:pt x="412958" y="14228"/>
                      <a:pt x="409253" y="15559"/>
                      <a:pt x="406307" y="18029"/>
                    </a:cubicBezTo>
                    <a:cubicBezTo>
                      <a:pt x="402887" y="20879"/>
                      <a:pt x="400797" y="24870"/>
                      <a:pt x="400321" y="29336"/>
                    </a:cubicBezTo>
                    <a:cubicBezTo>
                      <a:pt x="360035" y="446071"/>
                      <a:pt x="43731" y="465454"/>
                      <a:pt x="30334" y="466119"/>
                    </a:cubicBezTo>
                    <a:cubicBezTo>
                      <a:pt x="21212" y="466499"/>
                      <a:pt x="14086" y="474290"/>
                      <a:pt x="14371" y="483411"/>
                    </a:cubicBezTo>
                    <a:cubicBezTo>
                      <a:pt x="14751" y="492343"/>
                      <a:pt x="22067" y="499374"/>
                      <a:pt x="30999" y="499374"/>
                    </a:cubicBezTo>
                    <a:lnTo>
                      <a:pt x="31664" y="499374"/>
                    </a:lnTo>
                    <a:cubicBezTo>
                      <a:pt x="35275" y="499184"/>
                      <a:pt x="390345" y="478091"/>
                      <a:pt x="433387" y="32566"/>
                    </a:cubicBezTo>
                    <a:cubicBezTo>
                      <a:pt x="433767" y="28100"/>
                      <a:pt x="432532" y="23825"/>
                      <a:pt x="429681" y="20404"/>
                    </a:cubicBezTo>
                    <a:cubicBezTo>
                      <a:pt x="426831" y="16984"/>
                      <a:pt x="422840" y="14893"/>
                      <a:pt x="418469" y="14418"/>
                    </a:cubicBezTo>
                    <a:cubicBezTo>
                      <a:pt x="417899" y="14418"/>
                      <a:pt x="417329" y="14418"/>
                      <a:pt x="416759" y="14418"/>
                    </a:cubicBezTo>
                    <a:close/>
                  </a:path>
                </a:pathLst>
              </a:custGeom>
              <a:solidFill>
                <a:srgbClr val="FFFFFF"/>
              </a:solidFill>
              <a:ln w="9454" cap="flat">
                <a:noFill/>
                <a:prstDash val="solid"/>
                <a:miter/>
              </a:ln>
            </p:spPr>
            <p:txBody>
              <a:bodyPr rtlCol="0" anchor="ctr"/>
              <a:lstStyle/>
              <a:p>
                <a:endParaRPr lang="en-DK"/>
              </a:p>
            </p:txBody>
          </p:sp>
        </p:grpSp>
        <p:grpSp>
          <p:nvGrpSpPr>
            <p:cNvPr id="8" name="Graphic 7">
              <a:extLst>
                <a:ext uri="{FF2B5EF4-FFF2-40B4-BE49-F238E27FC236}">
                  <a16:creationId xmlns:a16="http://schemas.microsoft.com/office/drawing/2014/main" id="{C9239716-7D71-F7F1-ADA6-57A7146678C6}"/>
                </a:ext>
              </a:extLst>
            </p:cNvPr>
            <p:cNvGrpSpPr/>
            <p:nvPr/>
          </p:nvGrpSpPr>
          <p:grpSpPr>
            <a:xfrm>
              <a:off x="-820555" y="2510960"/>
              <a:ext cx="204178" cy="234188"/>
              <a:chOff x="2943535" y="3518365"/>
              <a:chExt cx="447689" cy="513490"/>
            </a:xfrm>
          </p:grpSpPr>
          <p:sp>
            <p:nvSpPr>
              <p:cNvPr id="13" name="Freeform 12">
                <a:extLst>
                  <a:ext uri="{FF2B5EF4-FFF2-40B4-BE49-F238E27FC236}">
                    <a16:creationId xmlns:a16="http://schemas.microsoft.com/office/drawing/2014/main" id="{131EC13F-7EF0-9351-5FEC-4836A6C4CE98}"/>
                  </a:ext>
                </a:extLst>
              </p:cNvPr>
              <p:cNvSpPr/>
              <p:nvPr/>
            </p:nvSpPr>
            <p:spPr>
              <a:xfrm>
                <a:off x="2950691" y="3525414"/>
                <a:ext cx="433398" cy="499315"/>
              </a:xfrm>
              <a:custGeom>
                <a:avLst/>
                <a:gdLst>
                  <a:gd name="connsiteX0" fmla="*/ 409622 w 433398"/>
                  <a:gd name="connsiteY0" fmla="*/ 499316 h 499315"/>
                  <a:gd name="connsiteX1" fmla="*/ 408672 w 433398"/>
                  <a:gd name="connsiteY1" fmla="*/ 499316 h 499315"/>
                  <a:gd name="connsiteX2" fmla="*/ 108 w 433398"/>
                  <a:gd name="connsiteY2" fmla="*/ 26047 h 499315"/>
                  <a:gd name="connsiteX3" fmla="*/ 21486 w 433398"/>
                  <a:gd name="connsiteY3" fmla="*/ 108 h 499315"/>
                  <a:gd name="connsiteX4" fmla="*/ 47425 w 433398"/>
                  <a:gd name="connsiteY4" fmla="*/ 21486 h 499315"/>
                  <a:gd name="connsiteX5" fmla="*/ 410667 w 433398"/>
                  <a:gd name="connsiteY5" fmla="*/ 451808 h 499315"/>
                  <a:gd name="connsiteX6" fmla="*/ 433376 w 433398"/>
                  <a:gd name="connsiteY6" fmla="*/ 476607 h 499315"/>
                  <a:gd name="connsiteX7" fmla="*/ 409717 w 433398"/>
                  <a:gd name="connsiteY7" fmla="*/ 499316 h 499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3398" h="499315">
                    <a:moveTo>
                      <a:pt x="409622" y="499316"/>
                    </a:moveTo>
                    <a:cubicBezTo>
                      <a:pt x="409622" y="499316"/>
                      <a:pt x="408957" y="499316"/>
                      <a:pt x="408672" y="499316"/>
                    </a:cubicBezTo>
                    <a:cubicBezTo>
                      <a:pt x="405061" y="499126"/>
                      <a:pt x="43910" y="479078"/>
                      <a:pt x="108" y="26047"/>
                    </a:cubicBezTo>
                    <a:cubicBezTo>
                      <a:pt x="-1127" y="13030"/>
                      <a:pt x="8374" y="1343"/>
                      <a:pt x="21486" y="108"/>
                    </a:cubicBezTo>
                    <a:cubicBezTo>
                      <a:pt x="34693" y="-1127"/>
                      <a:pt x="46190" y="8374"/>
                      <a:pt x="47425" y="21486"/>
                    </a:cubicBezTo>
                    <a:cubicBezTo>
                      <a:pt x="87142" y="432235"/>
                      <a:pt x="397555" y="451238"/>
                      <a:pt x="410667" y="451808"/>
                    </a:cubicBezTo>
                    <a:cubicBezTo>
                      <a:pt x="423779" y="452378"/>
                      <a:pt x="433946" y="463495"/>
                      <a:pt x="433376" y="476607"/>
                    </a:cubicBezTo>
                    <a:cubicBezTo>
                      <a:pt x="432805" y="489339"/>
                      <a:pt x="422354" y="499316"/>
                      <a:pt x="409717" y="499316"/>
                    </a:cubicBezTo>
                    <a:close/>
                  </a:path>
                </a:pathLst>
              </a:custGeom>
              <a:solidFill>
                <a:srgbClr val="2878FF">
                  <a:alpha val="50000"/>
                </a:srgbClr>
              </a:solidFill>
              <a:ln w="9454" cap="flat">
                <a:noFill/>
                <a:prstDash val="solid"/>
                <a:miter/>
              </a:ln>
            </p:spPr>
            <p:txBody>
              <a:bodyPr rtlCol="0" anchor="ctr"/>
              <a:lstStyle/>
              <a:p>
                <a:endParaRPr lang="en-DK"/>
              </a:p>
            </p:txBody>
          </p:sp>
          <p:sp>
            <p:nvSpPr>
              <p:cNvPr id="14" name="Freeform 13">
                <a:extLst>
                  <a:ext uri="{FF2B5EF4-FFF2-40B4-BE49-F238E27FC236}">
                    <a16:creationId xmlns:a16="http://schemas.microsoft.com/office/drawing/2014/main" id="{117CBF33-4AEB-7251-453F-9905AF248F45}"/>
                  </a:ext>
                </a:extLst>
              </p:cNvPr>
              <p:cNvSpPr/>
              <p:nvPr/>
            </p:nvSpPr>
            <p:spPr>
              <a:xfrm>
                <a:off x="2943535" y="3518365"/>
                <a:ext cx="447689" cy="513490"/>
              </a:xfrm>
              <a:custGeom>
                <a:avLst/>
                <a:gdLst>
                  <a:gd name="connsiteX0" fmla="*/ 416779 w 447689"/>
                  <a:gd name="connsiteY0" fmla="*/ 513491 h 513490"/>
                  <a:gd name="connsiteX1" fmla="*/ 415448 w 447689"/>
                  <a:gd name="connsiteY1" fmla="*/ 513491 h 513490"/>
                  <a:gd name="connsiteX2" fmla="*/ 139 w 447689"/>
                  <a:gd name="connsiteY2" fmla="*/ 33856 h 513490"/>
                  <a:gd name="connsiteX3" fmla="*/ 7075 w 447689"/>
                  <a:gd name="connsiteY3" fmla="*/ 11242 h 513490"/>
                  <a:gd name="connsiteX4" fmla="*/ 27978 w 447689"/>
                  <a:gd name="connsiteY4" fmla="*/ 126 h 513490"/>
                  <a:gd name="connsiteX5" fmla="*/ 61708 w 447689"/>
                  <a:gd name="connsiteY5" fmla="*/ 27870 h 513490"/>
                  <a:gd name="connsiteX6" fmla="*/ 418204 w 447689"/>
                  <a:gd name="connsiteY6" fmla="*/ 451731 h 513490"/>
                  <a:gd name="connsiteX7" fmla="*/ 447658 w 447689"/>
                  <a:gd name="connsiteY7" fmla="*/ 483941 h 513490"/>
                  <a:gd name="connsiteX8" fmla="*/ 416874 w 447689"/>
                  <a:gd name="connsiteY8" fmla="*/ 513491 h 513490"/>
                  <a:gd name="connsiteX9" fmla="*/ 30828 w 447689"/>
                  <a:gd name="connsiteY9" fmla="*/ 14188 h 513490"/>
                  <a:gd name="connsiteX10" fmla="*/ 29213 w 447689"/>
                  <a:gd name="connsiteY10" fmla="*/ 14188 h 513490"/>
                  <a:gd name="connsiteX11" fmla="*/ 18001 w 447689"/>
                  <a:gd name="connsiteY11" fmla="*/ 20174 h 513490"/>
                  <a:gd name="connsiteX12" fmla="*/ 14296 w 447689"/>
                  <a:gd name="connsiteY12" fmla="*/ 32336 h 513490"/>
                  <a:gd name="connsiteX13" fmla="*/ 416113 w 447689"/>
                  <a:gd name="connsiteY13" fmla="*/ 499144 h 513490"/>
                  <a:gd name="connsiteX14" fmla="*/ 416779 w 447689"/>
                  <a:gd name="connsiteY14" fmla="*/ 499144 h 513490"/>
                  <a:gd name="connsiteX15" fmla="*/ 433311 w 447689"/>
                  <a:gd name="connsiteY15" fmla="*/ 483276 h 513490"/>
                  <a:gd name="connsiteX16" fmla="*/ 417444 w 447689"/>
                  <a:gd name="connsiteY16" fmla="*/ 465983 h 513490"/>
                  <a:gd name="connsiteX17" fmla="*/ 47361 w 447689"/>
                  <a:gd name="connsiteY17" fmla="*/ 29200 h 513490"/>
                  <a:gd name="connsiteX18" fmla="*/ 30828 w 447689"/>
                  <a:gd name="connsiteY18" fmla="*/ 14188 h 51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7689" h="513490">
                    <a:moveTo>
                      <a:pt x="416779" y="513491"/>
                    </a:moveTo>
                    <a:lnTo>
                      <a:pt x="415448" y="513491"/>
                    </a:lnTo>
                    <a:cubicBezTo>
                      <a:pt x="411743" y="513301"/>
                      <a:pt x="44510" y="492587"/>
                      <a:pt x="139" y="33856"/>
                    </a:cubicBezTo>
                    <a:cubicBezTo>
                      <a:pt x="-622" y="25685"/>
                      <a:pt x="1754" y="17608"/>
                      <a:pt x="7075" y="11242"/>
                    </a:cubicBezTo>
                    <a:cubicBezTo>
                      <a:pt x="12300" y="4876"/>
                      <a:pt x="19712" y="886"/>
                      <a:pt x="27978" y="126"/>
                    </a:cubicBezTo>
                    <a:cubicBezTo>
                      <a:pt x="45081" y="-1395"/>
                      <a:pt x="60093" y="11052"/>
                      <a:pt x="61708" y="27870"/>
                    </a:cubicBezTo>
                    <a:cubicBezTo>
                      <a:pt x="100854" y="432538"/>
                      <a:pt x="405282" y="451161"/>
                      <a:pt x="418204" y="451731"/>
                    </a:cubicBezTo>
                    <a:cubicBezTo>
                      <a:pt x="435211" y="452491"/>
                      <a:pt x="448418" y="466934"/>
                      <a:pt x="447658" y="483941"/>
                    </a:cubicBezTo>
                    <a:cubicBezTo>
                      <a:pt x="446898" y="500474"/>
                      <a:pt x="433406" y="513491"/>
                      <a:pt x="416874" y="513491"/>
                    </a:cubicBezTo>
                    <a:close/>
                    <a:moveTo>
                      <a:pt x="30828" y="14188"/>
                    </a:moveTo>
                    <a:cubicBezTo>
                      <a:pt x="30258" y="14188"/>
                      <a:pt x="29783" y="14188"/>
                      <a:pt x="29213" y="14188"/>
                    </a:cubicBezTo>
                    <a:cubicBezTo>
                      <a:pt x="24842" y="14568"/>
                      <a:pt x="20852" y="16753"/>
                      <a:pt x="18001" y="20174"/>
                    </a:cubicBezTo>
                    <a:cubicBezTo>
                      <a:pt x="15151" y="23594"/>
                      <a:pt x="13821" y="27965"/>
                      <a:pt x="14296" y="32336"/>
                    </a:cubicBezTo>
                    <a:cubicBezTo>
                      <a:pt x="57432" y="477860"/>
                      <a:pt x="412503" y="498953"/>
                      <a:pt x="416113" y="499144"/>
                    </a:cubicBezTo>
                    <a:lnTo>
                      <a:pt x="416779" y="499144"/>
                    </a:lnTo>
                    <a:cubicBezTo>
                      <a:pt x="425710" y="499144"/>
                      <a:pt x="432931" y="492207"/>
                      <a:pt x="433311" y="483276"/>
                    </a:cubicBezTo>
                    <a:cubicBezTo>
                      <a:pt x="433691" y="474155"/>
                      <a:pt x="426565" y="466363"/>
                      <a:pt x="417444" y="465983"/>
                    </a:cubicBezTo>
                    <a:cubicBezTo>
                      <a:pt x="403951" y="465413"/>
                      <a:pt x="87742" y="446030"/>
                      <a:pt x="47361" y="29200"/>
                    </a:cubicBezTo>
                    <a:cubicBezTo>
                      <a:pt x="46506" y="20459"/>
                      <a:pt x="39380" y="14188"/>
                      <a:pt x="30828" y="14188"/>
                    </a:cubicBezTo>
                    <a:close/>
                  </a:path>
                </a:pathLst>
              </a:custGeom>
              <a:solidFill>
                <a:srgbClr val="FFFFFF"/>
              </a:solidFill>
              <a:ln w="9454" cap="flat">
                <a:noFill/>
                <a:prstDash val="solid"/>
                <a:miter/>
              </a:ln>
            </p:spPr>
            <p:txBody>
              <a:bodyPr rtlCol="0" anchor="ctr"/>
              <a:lstStyle/>
              <a:p>
                <a:endParaRPr lang="en-DK"/>
              </a:p>
            </p:txBody>
          </p:sp>
        </p:grpSp>
        <p:sp>
          <p:nvSpPr>
            <p:cNvPr id="11" name="Freeform 10">
              <a:extLst>
                <a:ext uri="{FF2B5EF4-FFF2-40B4-BE49-F238E27FC236}">
                  <a16:creationId xmlns:a16="http://schemas.microsoft.com/office/drawing/2014/main" id="{C9A8AE4F-DF82-6A4E-6B54-43FB94589BF2}"/>
                </a:ext>
              </a:extLst>
            </p:cNvPr>
            <p:cNvSpPr/>
            <p:nvPr/>
          </p:nvSpPr>
          <p:spPr>
            <a:xfrm>
              <a:off x="-569171" y="2736153"/>
              <a:ext cx="39493" cy="50423"/>
            </a:xfrm>
            <a:custGeom>
              <a:avLst/>
              <a:gdLst>
                <a:gd name="connsiteX0" fmla="*/ 7156 w 86594"/>
                <a:gd name="connsiteY0" fmla="*/ 110560 h 110560"/>
                <a:gd name="connsiteX1" fmla="*/ 1075 w 86594"/>
                <a:gd name="connsiteY1" fmla="*/ 107140 h 110560"/>
                <a:gd name="connsiteX2" fmla="*/ 3451 w 86594"/>
                <a:gd name="connsiteY2" fmla="*/ 97353 h 110560"/>
                <a:gd name="connsiteX3" fmla="*/ 66635 w 86594"/>
                <a:gd name="connsiteY3" fmla="*/ 58397 h 110560"/>
                <a:gd name="connsiteX4" fmla="*/ 3070 w 86594"/>
                <a:gd name="connsiteY4" fmla="*/ 12980 h 110560"/>
                <a:gd name="connsiteX5" fmla="*/ 1455 w 86594"/>
                <a:gd name="connsiteY5" fmla="*/ 3003 h 110560"/>
                <a:gd name="connsiteX6" fmla="*/ 11432 w 86594"/>
                <a:gd name="connsiteY6" fmla="*/ 1388 h 110560"/>
                <a:gd name="connsiteX7" fmla="*/ 83643 w 86594"/>
                <a:gd name="connsiteY7" fmla="*/ 53076 h 110560"/>
                <a:gd name="connsiteX8" fmla="*/ 86589 w 86594"/>
                <a:gd name="connsiteY8" fmla="*/ 59157 h 110560"/>
                <a:gd name="connsiteX9" fmla="*/ 83168 w 86594"/>
                <a:gd name="connsiteY9" fmla="*/ 64953 h 110560"/>
                <a:gd name="connsiteX10" fmla="*/ 10862 w 86594"/>
                <a:gd name="connsiteY10" fmla="*/ 109515 h 110560"/>
                <a:gd name="connsiteX11" fmla="*/ 7156 w 86594"/>
                <a:gd name="connsiteY11" fmla="*/ 110560 h 11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594" h="110560">
                  <a:moveTo>
                    <a:pt x="7156" y="110560"/>
                  </a:moveTo>
                  <a:cubicBezTo>
                    <a:pt x="4781" y="110560"/>
                    <a:pt x="2405" y="109325"/>
                    <a:pt x="1075" y="107140"/>
                  </a:cubicBezTo>
                  <a:cubicBezTo>
                    <a:pt x="-1015" y="103814"/>
                    <a:pt x="30" y="99443"/>
                    <a:pt x="3451" y="97353"/>
                  </a:cubicBezTo>
                  <a:lnTo>
                    <a:pt x="66635" y="58397"/>
                  </a:lnTo>
                  <a:lnTo>
                    <a:pt x="3070" y="12980"/>
                  </a:lnTo>
                  <a:cubicBezTo>
                    <a:pt x="-160" y="10700"/>
                    <a:pt x="-825" y="6234"/>
                    <a:pt x="1455" y="3003"/>
                  </a:cubicBezTo>
                  <a:cubicBezTo>
                    <a:pt x="3736" y="-227"/>
                    <a:pt x="8201" y="-987"/>
                    <a:pt x="11432" y="1388"/>
                  </a:cubicBezTo>
                  <a:lnTo>
                    <a:pt x="83643" y="53076"/>
                  </a:lnTo>
                  <a:cubicBezTo>
                    <a:pt x="85543" y="54501"/>
                    <a:pt x="86684" y="56687"/>
                    <a:pt x="86589" y="59157"/>
                  </a:cubicBezTo>
                  <a:cubicBezTo>
                    <a:pt x="86589" y="61533"/>
                    <a:pt x="85258" y="63718"/>
                    <a:pt x="83168" y="64953"/>
                  </a:cubicBezTo>
                  <a:lnTo>
                    <a:pt x="10862" y="109515"/>
                  </a:lnTo>
                  <a:cubicBezTo>
                    <a:pt x="9722" y="110275"/>
                    <a:pt x="8391" y="110560"/>
                    <a:pt x="7156" y="110560"/>
                  </a:cubicBezTo>
                  <a:close/>
                </a:path>
              </a:pathLst>
            </a:custGeom>
            <a:solidFill>
              <a:srgbClr val="FFFFFF"/>
            </a:solidFill>
            <a:ln w="9454" cap="flat">
              <a:noFill/>
              <a:prstDash val="solid"/>
              <a:miter/>
            </a:ln>
          </p:spPr>
          <p:txBody>
            <a:bodyPr rtlCol="0" anchor="ctr"/>
            <a:lstStyle/>
            <a:p>
              <a:endParaRPr lang="en-DK"/>
            </a:p>
          </p:txBody>
        </p:sp>
      </p:grpSp>
      <p:sp>
        <p:nvSpPr>
          <p:cNvPr id="33" name="Rectangle 32">
            <a:extLst>
              <a:ext uri="{FF2B5EF4-FFF2-40B4-BE49-F238E27FC236}">
                <a16:creationId xmlns:a16="http://schemas.microsoft.com/office/drawing/2014/main" id="{B7158454-F26E-A7B8-90E1-5ADED07B0CA7}"/>
              </a:ext>
            </a:extLst>
          </p:cNvPr>
          <p:cNvSpPr/>
          <p:nvPr/>
        </p:nvSpPr>
        <p:spPr>
          <a:xfrm>
            <a:off x="716850" y="5609416"/>
            <a:ext cx="199638" cy="336149"/>
          </a:xfrm>
          <a:prstGeom prst="rect">
            <a:avLst/>
          </a:prstGeom>
          <a:solidFill>
            <a:schemeClr val="tx2">
              <a:alpha val="500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40" name="Graphic 39" descr="Building outline">
            <a:extLst>
              <a:ext uri="{FF2B5EF4-FFF2-40B4-BE49-F238E27FC236}">
                <a16:creationId xmlns:a16="http://schemas.microsoft.com/office/drawing/2014/main" id="{13E14469-D91E-18B9-0DF9-7D4492405626}"/>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581907" y="5528090"/>
            <a:ext cx="469232" cy="469232"/>
          </a:xfrm>
          <a:prstGeom prst="rect">
            <a:avLst/>
          </a:prstGeom>
        </p:spPr>
      </p:pic>
      <p:sp>
        <p:nvSpPr>
          <p:cNvPr id="34" name="Oval 33">
            <a:extLst>
              <a:ext uri="{FF2B5EF4-FFF2-40B4-BE49-F238E27FC236}">
                <a16:creationId xmlns:a16="http://schemas.microsoft.com/office/drawing/2014/main" id="{1AED2348-CA0E-6AA0-1798-136ECA7D019B}"/>
              </a:ext>
            </a:extLst>
          </p:cNvPr>
          <p:cNvSpPr/>
          <p:nvPr/>
        </p:nvSpPr>
        <p:spPr>
          <a:xfrm>
            <a:off x="636078" y="2279548"/>
            <a:ext cx="358342" cy="358342"/>
          </a:xfrm>
          <a:prstGeom prst="ellipse">
            <a:avLst/>
          </a:prstGeom>
          <a:solidFill>
            <a:schemeClr val="accent2">
              <a:alpha val="5029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50" name="Graphic 49" descr="Earth globe: Americas with solid fill">
            <a:extLst>
              <a:ext uri="{FF2B5EF4-FFF2-40B4-BE49-F238E27FC236}">
                <a16:creationId xmlns:a16="http://schemas.microsoft.com/office/drawing/2014/main" id="{371B1274-2BFC-D977-F56B-73769C1C2E10}"/>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581907" y="2225390"/>
            <a:ext cx="469232" cy="469232"/>
          </a:xfrm>
          <a:prstGeom prst="rect">
            <a:avLst/>
          </a:prstGeom>
        </p:spPr>
      </p:pic>
    </p:spTree>
    <p:extLst>
      <p:ext uri="{BB962C8B-B14F-4D97-AF65-F5344CB8AC3E}">
        <p14:creationId xmlns:p14="http://schemas.microsoft.com/office/powerpoint/2010/main" val="36193683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919EFB-B61B-7455-5ECD-6EB306B53829}"/>
            </a:ext>
          </a:extLst>
        </p:cNvPr>
        <p:cNvGrpSpPr/>
        <p:nvPr/>
      </p:nvGrpSpPr>
      <p:grpSpPr>
        <a:xfrm>
          <a:off x="0" y="0"/>
          <a:ext cx="0" cy="0"/>
          <a:chOff x="0" y="0"/>
          <a:chExt cx="0" cy="0"/>
        </a:xfrm>
      </p:grpSpPr>
      <p:pic>
        <p:nvPicPr>
          <p:cNvPr id="7" name="Picture 6" descr="A map of the world&#10;&#10;AI-generated content may be incorrect.">
            <a:extLst>
              <a:ext uri="{FF2B5EF4-FFF2-40B4-BE49-F238E27FC236}">
                <a16:creationId xmlns:a16="http://schemas.microsoft.com/office/drawing/2014/main" id="{85E6EB31-E884-EF0F-D4F5-9D58D27A9C0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54" y="-47730"/>
            <a:ext cx="12196642" cy="6953459"/>
          </a:xfrm>
          <a:prstGeom prst="rect">
            <a:avLst/>
          </a:prstGeom>
        </p:spPr>
      </p:pic>
      <p:grpSp>
        <p:nvGrpSpPr>
          <p:cNvPr id="9" name="Graphic 3">
            <a:extLst>
              <a:ext uri="{FF2B5EF4-FFF2-40B4-BE49-F238E27FC236}">
                <a16:creationId xmlns:a16="http://schemas.microsoft.com/office/drawing/2014/main" id="{49F3925C-2E6E-7071-E16C-BD9CF89D558F}"/>
              </a:ext>
            </a:extLst>
          </p:cNvPr>
          <p:cNvGrpSpPr/>
          <p:nvPr/>
        </p:nvGrpSpPr>
        <p:grpSpPr>
          <a:xfrm>
            <a:off x="569998" y="1608254"/>
            <a:ext cx="6662204" cy="4428117"/>
            <a:chOff x="565459" y="1977129"/>
            <a:chExt cx="6662204" cy="4428117"/>
          </a:xfrm>
        </p:grpSpPr>
        <p:grpSp>
          <p:nvGrpSpPr>
            <p:cNvPr id="36" name="Graphic 3">
              <a:extLst>
                <a:ext uri="{FF2B5EF4-FFF2-40B4-BE49-F238E27FC236}">
                  <a16:creationId xmlns:a16="http://schemas.microsoft.com/office/drawing/2014/main" id="{4306A134-00E3-BEDA-F9E3-EDBA6AA571D1}"/>
                </a:ext>
              </a:extLst>
            </p:cNvPr>
            <p:cNvGrpSpPr/>
            <p:nvPr/>
          </p:nvGrpSpPr>
          <p:grpSpPr>
            <a:xfrm>
              <a:off x="565459" y="2091108"/>
              <a:ext cx="110418" cy="2456190"/>
              <a:chOff x="565459" y="2091108"/>
              <a:chExt cx="110418" cy="2456190"/>
            </a:xfrm>
            <a:solidFill>
              <a:srgbClr val="2878FF"/>
            </a:solidFill>
          </p:grpSpPr>
          <p:sp>
            <p:nvSpPr>
              <p:cNvPr id="246" name="Freeform 245">
                <a:extLst>
                  <a:ext uri="{FF2B5EF4-FFF2-40B4-BE49-F238E27FC236}">
                    <a16:creationId xmlns:a16="http://schemas.microsoft.com/office/drawing/2014/main" id="{C9326903-1ADF-87ED-21DD-77CD42F97903}"/>
                  </a:ext>
                </a:extLst>
              </p:cNvPr>
              <p:cNvSpPr/>
              <p:nvPr/>
            </p:nvSpPr>
            <p:spPr>
              <a:xfrm>
                <a:off x="565459" y="2091108"/>
                <a:ext cx="110418" cy="110417"/>
              </a:xfrm>
              <a:custGeom>
                <a:avLst/>
                <a:gdLst>
                  <a:gd name="connsiteX0" fmla="*/ 55209 w 110418"/>
                  <a:gd name="connsiteY0" fmla="*/ 110269 h 110417"/>
                  <a:gd name="connsiteX1" fmla="*/ 0 w 110418"/>
                  <a:gd name="connsiteY1" fmla="*/ 55209 h 110417"/>
                  <a:gd name="connsiteX2" fmla="*/ 55209 w 110418"/>
                  <a:gd name="connsiteY2" fmla="*/ 0 h 110417"/>
                  <a:gd name="connsiteX3" fmla="*/ 110418 w 110418"/>
                  <a:gd name="connsiteY3" fmla="*/ 55209 h 110417"/>
                  <a:gd name="connsiteX4" fmla="*/ 55209 w 110418"/>
                  <a:gd name="connsiteY4" fmla="*/ 110417 h 110417"/>
                  <a:gd name="connsiteX5" fmla="*/ 55209 w 110418"/>
                  <a:gd name="connsiteY5" fmla="*/ 5194 h 110417"/>
                  <a:gd name="connsiteX6" fmla="*/ 5194 w 110418"/>
                  <a:gd name="connsiteY6" fmla="*/ 55209 h 110417"/>
                  <a:gd name="connsiteX7" fmla="*/ 55209 w 110418"/>
                  <a:gd name="connsiteY7" fmla="*/ 105223 h 110417"/>
                  <a:gd name="connsiteX8" fmla="*/ 105224 w 110418"/>
                  <a:gd name="connsiteY8" fmla="*/ 55209 h 110417"/>
                  <a:gd name="connsiteX9" fmla="*/ 55209 w 110418"/>
                  <a:gd name="connsiteY9" fmla="*/ 5194 h 110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418" h="110417">
                    <a:moveTo>
                      <a:pt x="55209" y="110269"/>
                    </a:moveTo>
                    <a:cubicBezTo>
                      <a:pt x="24785" y="110269"/>
                      <a:pt x="0" y="85633"/>
                      <a:pt x="0" y="55209"/>
                    </a:cubicBezTo>
                    <a:cubicBezTo>
                      <a:pt x="0" y="24785"/>
                      <a:pt x="24785" y="0"/>
                      <a:pt x="55209" y="0"/>
                    </a:cubicBezTo>
                    <a:cubicBezTo>
                      <a:pt x="85634" y="0"/>
                      <a:pt x="110418" y="24785"/>
                      <a:pt x="110418" y="55209"/>
                    </a:cubicBezTo>
                    <a:cubicBezTo>
                      <a:pt x="110418" y="85633"/>
                      <a:pt x="85634" y="110417"/>
                      <a:pt x="55209" y="110417"/>
                    </a:cubicBezTo>
                    <a:close/>
                    <a:moveTo>
                      <a:pt x="55209" y="5194"/>
                    </a:moveTo>
                    <a:cubicBezTo>
                      <a:pt x="27605" y="5194"/>
                      <a:pt x="5194" y="27604"/>
                      <a:pt x="5194" y="55209"/>
                    </a:cubicBezTo>
                    <a:cubicBezTo>
                      <a:pt x="5194" y="82813"/>
                      <a:pt x="27605" y="105223"/>
                      <a:pt x="55209" y="105223"/>
                    </a:cubicBezTo>
                    <a:cubicBezTo>
                      <a:pt x="82814" y="105223"/>
                      <a:pt x="105224" y="82813"/>
                      <a:pt x="105224" y="55209"/>
                    </a:cubicBezTo>
                    <a:cubicBezTo>
                      <a:pt x="105224" y="27604"/>
                      <a:pt x="82814" y="5194"/>
                      <a:pt x="55209" y="5194"/>
                    </a:cubicBezTo>
                    <a:close/>
                  </a:path>
                </a:pathLst>
              </a:custGeom>
              <a:solidFill>
                <a:srgbClr val="2878FF"/>
              </a:solidFill>
              <a:ln w="14828" cap="flat">
                <a:noFill/>
                <a:prstDash val="solid"/>
                <a:miter/>
              </a:ln>
            </p:spPr>
            <p:txBody>
              <a:bodyPr rtlCol="0" anchor="ctr"/>
              <a:lstStyle/>
              <a:p>
                <a:endParaRPr lang="en-DK"/>
              </a:p>
            </p:txBody>
          </p:sp>
          <p:sp>
            <p:nvSpPr>
              <p:cNvPr id="247" name="Freeform 246">
                <a:extLst>
                  <a:ext uri="{FF2B5EF4-FFF2-40B4-BE49-F238E27FC236}">
                    <a16:creationId xmlns:a16="http://schemas.microsoft.com/office/drawing/2014/main" id="{B5F24877-0F83-C269-3E2A-B36DD28C227C}"/>
                  </a:ext>
                </a:extLst>
              </p:cNvPr>
              <p:cNvSpPr/>
              <p:nvPr/>
            </p:nvSpPr>
            <p:spPr>
              <a:xfrm>
                <a:off x="565459" y="4436881"/>
                <a:ext cx="110418" cy="110417"/>
              </a:xfrm>
              <a:custGeom>
                <a:avLst/>
                <a:gdLst>
                  <a:gd name="connsiteX0" fmla="*/ 55209 w 110418"/>
                  <a:gd name="connsiteY0" fmla="*/ 110417 h 110417"/>
                  <a:gd name="connsiteX1" fmla="*/ 0 w 110418"/>
                  <a:gd name="connsiteY1" fmla="*/ 55209 h 110417"/>
                  <a:gd name="connsiteX2" fmla="*/ 55209 w 110418"/>
                  <a:gd name="connsiteY2" fmla="*/ 0 h 110417"/>
                  <a:gd name="connsiteX3" fmla="*/ 110418 w 110418"/>
                  <a:gd name="connsiteY3" fmla="*/ 55209 h 110417"/>
                  <a:gd name="connsiteX4" fmla="*/ 55209 w 110418"/>
                  <a:gd name="connsiteY4" fmla="*/ 110417 h 110417"/>
                  <a:gd name="connsiteX5" fmla="*/ 55209 w 110418"/>
                  <a:gd name="connsiteY5" fmla="*/ 5343 h 110417"/>
                  <a:gd name="connsiteX6" fmla="*/ 5194 w 110418"/>
                  <a:gd name="connsiteY6" fmla="*/ 55357 h 110417"/>
                  <a:gd name="connsiteX7" fmla="*/ 55209 w 110418"/>
                  <a:gd name="connsiteY7" fmla="*/ 105371 h 110417"/>
                  <a:gd name="connsiteX8" fmla="*/ 105224 w 110418"/>
                  <a:gd name="connsiteY8" fmla="*/ 55357 h 110417"/>
                  <a:gd name="connsiteX9" fmla="*/ 55209 w 110418"/>
                  <a:gd name="connsiteY9" fmla="*/ 5343 h 110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418" h="110417">
                    <a:moveTo>
                      <a:pt x="55209" y="110417"/>
                    </a:moveTo>
                    <a:cubicBezTo>
                      <a:pt x="24785" y="110417"/>
                      <a:pt x="0" y="85633"/>
                      <a:pt x="0" y="55209"/>
                    </a:cubicBezTo>
                    <a:cubicBezTo>
                      <a:pt x="0" y="24784"/>
                      <a:pt x="24785" y="0"/>
                      <a:pt x="55209" y="0"/>
                    </a:cubicBezTo>
                    <a:cubicBezTo>
                      <a:pt x="85634" y="0"/>
                      <a:pt x="110418" y="24784"/>
                      <a:pt x="110418" y="55209"/>
                    </a:cubicBezTo>
                    <a:cubicBezTo>
                      <a:pt x="110418" y="85633"/>
                      <a:pt x="85634" y="110417"/>
                      <a:pt x="55209" y="110417"/>
                    </a:cubicBezTo>
                    <a:close/>
                    <a:moveTo>
                      <a:pt x="55209" y="5343"/>
                    </a:moveTo>
                    <a:cubicBezTo>
                      <a:pt x="27605" y="5343"/>
                      <a:pt x="5194" y="27753"/>
                      <a:pt x="5194" y="55357"/>
                    </a:cubicBezTo>
                    <a:cubicBezTo>
                      <a:pt x="5194" y="82961"/>
                      <a:pt x="27605" y="105371"/>
                      <a:pt x="55209" y="105371"/>
                    </a:cubicBezTo>
                    <a:cubicBezTo>
                      <a:pt x="82814" y="105371"/>
                      <a:pt x="105224" y="82961"/>
                      <a:pt x="105224" y="55357"/>
                    </a:cubicBezTo>
                    <a:cubicBezTo>
                      <a:pt x="105224" y="27753"/>
                      <a:pt x="82814" y="5343"/>
                      <a:pt x="55209" y="5343"/>
                    </a:cubicBezTo>
                    <a:close/>
                  </a:path>
                </a:pathLst>
              </a:custGeom>
              <a:solidFill>
                <a:srgbClr val="2878FF"/>
              </a:solidFill>
              <a:ln w="14828" cap="flat">
                <a:noFill/>
                <a:prstDash val="solid"/>
                <a:miter/>
              </a:ln>
            </p:spPr>
            <p:txBody>
              <a:bodyPr rtlCol="0" anchor="ctr"/>
              <a:lstStyle/>
              <a:p>
                <a:endParaRPr lang="en-DK"/>
              </a:p>
            </p:txBody>
          </p:sp>
        </p:grpSp>
        <p:sp>
          <p:nvSpPr>
            <p:cNvPr id="37" name="Freeform 36">
              <a:extLst>
                <a:ext uri="{FF2B5EF4-FFF2-40B4-BE49-F238E27FC236}">
                  <a16:creationId xmlns:a16="http://schemas.microsoft.com/office/drawing/2014/main" id="{CFD44909-00B3-D143-B009-92328E728F97}"/>
                </a:ext>
              </a:extLst>
            </p:cNvPr>
            <p:cNvSpPr/>
            <p:nvPr/>
          </p:nvSpPr>
          <p:spPr>
            <a:xfrm>
              <a:off x="617996" y="3827063"/>
              <a:ext cx="5194" cy="609966"/>
            </a:xfrm>
            <a:custGeom>
              <a:avLst/>
              <a:gdLst>
                <a:gd name="connsiteX0" fmla="*/ 0 w 5194"/>
                <a:gd name="connsiteY0" fmla="*/ 0 h 609966"/>
                <a:gd name="connsiteX1" fmla="*/ 5194 w 5194"/>
                <a:gd name="connsiteY1" fmla="*/ 0 h 609966"/>
                <a:gd name="connsiteX2" fmla="*/ 5194 w 5194"/>
                <a:gd name="connsiteY2" fmla="*/ 609966 h 609966"/>
                <a:gd name="connsiteX3" fmla="*/ 0 w 5194"/>
                <a:gd name="connsiteY3" fmla="*/ 609966 h 609966"/>
              </a:gdLst>
              <a:ahLst/>
              <a:cxnLst>
                <a:cxn ang="0">
                  <a:pos x="connsiteX0" y="connsiteY0"/>
                </a:cxn>
                <a:cxn ang="0">
                  <a:pos x="connsiteX1" y="connsiteY1"/>
                </a:cxn>
                <a:cxn ang="0">
                  <a:pos x="connsiteX2" y="connsiteY2"/>
                </a:cxn>
                <a:cxn ang="0">
                  <a:pos x="connsiteX3" y="connsiteY3"/>
                </a:cxn>
              </a:cxnLst>
              <a:rect l="l" t="t" r="r" b="b"/>
              <a:pathLst>
                <a:path w="5194" h="609966">
                  <a:moveTo>
                    <a:pt x="0" y="0"/>
                  </a:moveTo>
                  <a:lnTo>
                    <a:pt x="5194" y="0"/>
                  </a:lnTo>
                  <a:lnTo>
                    <a:pt x="5194" y="609966"/>
                  </a:lnTo>
                  <a:lnTo>
                    <a:pt x="0" y="609966"/>
                  </a:lnTo>
                  <a:close/>
                </a:path>
              </a:pathLst>
            </a:custGeom>
            <a:solidFill>
              <a:srgbClr val="2878FF"/>
            </a:solidFill>
            <a:ln w="14828" cap="flat">
              <a:noFill/>
              <a:prstDash val="solid"/>
              <a:miter/>
            </a:ln>
          </p:spPr>
          <p:txBody>
            <a:bodyPr rtlCol="0" anchor="ctr"/>
            <a:lstStyle/>
            <a:p>
              <a:endParaRPr lang="en-DK"/>
            </a:p>
          </p:txBody>
        </p:sp>
        <p:sp>
          <p:nvSpPr>
            <p:cNvPr id="41" name="Freeform 40">
              <a:extLst>
                <a:ext uri="{FF2B5EF4-FFF2-40B4-BE49-F238E27FC236}">
                  <a16:creationId xmlns:a16="http://schemas.microsoft.com/office/drawing/2014/main" id="{1633A165-082D-F03D-2E4E-0E9658D85679}"/>
                </a:ext>
              </a:extLst>
            </p:cNvPr>
            <p:cNvSpPr/>
            <p:nvPr/>
          </p:nvSpPr>
          <p:spPr>
            <a:xfrm>
              <a:off x="617996" y="2201525"/>
              <a:ext cx="5194" cy="758376"/>
            </a:xfrm>
            <a:custGeom>
              <a:avLst/>
              <a:gdLst>
                <a:gd name="connsiteX0" fmla="*/ 0 w 5194"/>
                <a:gd name="connsiteY0" fmla="*/ 0 h 758376"/>
                <a:gd name="connsiteX1" fmla="*/ 5194 w 5194"/>
                <a:gd name="connsiteY1" fmla="*/ 0 h 758376"/>
                <a:gd name="connsiteX2" fmla="*/ 5194 w 5194"/>
                <a:gd name="connsiteY2" fmla="*/ 758377 h 758376"/>
                <a:gd name="connsiteX3" fmla="*/ 0 w 5194"/>
                <a:gd name="connsiteY3" fmla="*/ 758377 h 758376"/>
              </a:gdLst>
              <a:ahLst/>
              <a:cxnLst>
                <a:cxn ang="0">
                  <a:pos x="connsiteX0" y="connsiteY0"/>
                </a:cxn>
                <a:cxn ang="0">
                  <a:pos x="connsiteX1" y="connsiteY1"/>
                </a:cxn>
                <a:cxn ang="0">
                  <a:pos x="connsiteX2" y="connsiteY2"/>
                </a:cxn>
                <a:cxn ang="0">
                  <a:pos x="connsiteX3" y="connsiteY3"/>
                </a:cxn>
              </a:cxnLst>
              <a:rect l="l" t="t" r="r" b="b"/>
              <a:pathLst>
                <a:path w="5194" h="758376">
                  <a:moveTo>
                    <a:pt x="0" y="0"/>
                  </a:moveTo>
                  <a:lnTo>
                    <a:pt x="5194" y="0"/>
                  </a:lnTo>
                  <a:lnTo>
                    <a:pt x="5194" y="758377"/>
                  </a:lnTo>
                  <a:lnTo>
                    <a:pt x="0" y="758377"/>
                  </a:lnTo>
                  <a:close/>
                </a:path>
              </a:pathLst>
            </a:custGeom>
            <a:solidFill>
              <a:srgbClr val="2878FF"/>
            </a:solidFill>
            <a:ln w="14828" cap="flat">
              <a:noFill/>
              <a:prstDash val="solid"/>
              <a:miter/>
            </a:ln>
          </p:spPr>
          <p:txBody>
            <a:bodyPr rtlCol="0" anchor="ctr"/>
            <a:lstStyle/>
            <a:p>
              <a:endParaRPr lang="en-DK"/>
            </a:p>
          </p:txBody>
        </p:sp>
        <p:sp>
          <p:nvSpPr>
            <p:cNvPr id="245" name="Freeform 244">
              <a:extLst>
                <a:ext uri="{FF2B5EF4-FFF2-40B4-BE49-F238E27FC236}">
                  <a16:creationId xmlns:a16="http://schemas.microsoft.com/office/drawing/2014/main" id="{E83A4CB5-4CCB-16EC-7414-3AC947495D4D}"/>
                </a:ext>
              </a:extLst>
            </p:cNvPr>
            <p:cNvSpPr/>
            <p:nvPr/>
          </p:nvSpPr>
          <p:spPr>
            <a:xfrm>
              <a:off x="565459" y="4815476"/>
              <a:ext cx="110418" cy="110417"/>
            </a:xfrm>
            <a:custGeom>
              <a:avLst/>
              <a:gdLst>
                <a:gd name="connsiteX0" fmla="*/ 55209 w 110418"/>
                <a:gd name="connsiteY0" fmla="*/ 110417 h 110417"/>
                <a:gd name="connsiteX1" fmla="*/ 0 w 110418"/>
                <a:gd name="connsiteY1" fmla="*/ 55209 h 110417"/>
                <a:gd name="connsiteX2" fmla="*/ 55209 w 110418"/>
                <a:gd name="connsiteY2" fmla="*/ 0 h 110417"/>
                <a:gd name="connsiteX3" fmla="*/ 110418 w 110418"/>
                <a:gd name="connsiteY3" fmla="*/ 55209 h 110417"/>
                <a:gd name="connsiteX4" fmla="*/ 55209 w 110418"/>
                <a:gd name="connsiteY4" fmla="*/ 110417 h 110417"/>
                <a:gd name="connsiteX5" fmla="*/ 55209 w 110418"/>
                <a:gd name="connsiteY5" fmla="*/ 5194 h 110417"/>
                <a:gd name="connsiteX6" fmla="*/ 5194 w 110418"/>
                <a:gd name="connsiteY6" fmla="*/ 55209 h 110417"/>
                <a:gd name="connsiteX7" fmla="*/ 55209 w 110418"/>
                <a:gd name="connsiteY7" fmla="*/ 105223 h 110417"/>
                <a:gd name="connsiteX8" fmla="*/ 105224 w 110418"/>
                <a:gd name="connsiteY8" fmla="*/ 55209 h 110417"/>
                <a:gd name="connsiteX9" fmla="*/ 55209 w 110418"/>
                <a:gd name="connsiteY9" fmla="*/ 5194 h 110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418" h="110417">
                  <a:moveTo>
                    <a:pt x="55209" y="110417"/>
                  </a:moveTo>
                  <a:cubicBezTo>
                    <a:pt x="24785" y="110417"/>
                    <a:pt x="0" y="85633"/>
                    <a:pt x="0" y="55209"/>
                  </a:cubicBezTo>
                  <a:cubicBezTo>
                    <a:pt x="0" y="24784"/>
                    <a:pt x="24785" y="0"/>
                    <a:pt x="55209" y="0"/>
                  </a:cubicBezTo>
                  <a:cubicBezTo>
                    <a:pt x="85634" y="0"/>
                    <a:pt x="110418" y="24784"/>
                    <a:pt x="110418" y="55209"/>
                  </a:cubicBezTo>
                  <a:cubicBezTo>
                    <a:pt x="110418" y="85633"/>
                    <a:pt x="85634" y="110417"/>
                    <a:pt x="55209" y="110417"/>
                  </a:cubicBezTo>
                  <a:close/>
                  <a:moveTo>
                    <a:pt x="55209" y="5194"/>
                  </a:moveTo>
                  <a:cubicBezTo>
                    <a:pt x="27605" y="5194"/>
                    <a:pt x="5194" y="27604"/>
                    <a:pt x="5194" y="55209"/>
                  </a:cubicBezTo>
                  <a:cubicBezTo>
                    <a:pt x="5194" y="82813"/>
                    <a:pt x="27605" y="105223"/>
                    <a:pt x="55209" y="105223"/>
                  </a:cubicBezTo>
                  <a:cubicBezTo>
                    <a:pt x="82814" y="105223"/>
                    <a:pt x="105224" y="82813"/>
                    <a:pt x="105224" y="55209"/>
                  </a:cubicBezTo>
                  <a:cubicBezTo>
                    <a:pt x="105224" y="27604"/>
                    <a:pt x="82814" y="5194"/>
                    <a:pt x="55209" y="5194"/>
                  </a:cubicBezTo>
                  <a:close/>
                </a:path>
              </a:pathLst>
            </a:custGeom>
            <a:solidFill>
              <a:srgbClr val="2878FF"/>
            </a:solidFill>
            <a:ln w="14828" cap="flat">
              <a:noFill/>
              <a:prstDash val="solid"/>
              <a:miter/>
            </a:ln>
          </p:spPr>
          <p:txBody>
            <a:bodyPr rtlCol="0" anchor="ctr"/>
            <a:lstStyle/>
            <a:p>
              <a:endParaRPr lang="en-DK"/>
            </a:p>
          </p:txBody>
        </p:sp>
        <p:sp>
          <p:nvSpPr>
            <p:cNvPr id="44" name="Freeform 43">
              <a:extLst>
                <a:ext uri="{FF2B5EF4-FFF2-40B4-BE49-F238E27FC236}">
                  <a16:creationId xmlns:a16="http://schemas.microsoft.com/office/drawing/2014/main" id="{E1E2117C-54FD-E9FB-8AAF-26DD6EA86167}"/>
                </a:ext>
              </a:extLst>
            </p:cNvPr>
            <p:cNvSpPr/>
            <p:nvPr/>
          </p:nvSpPr>
          <p:spPr>
            <a:xfrm>
              <a:off x="617996" y="4927674"/>
              <a:ext cx="5194" cy="441372"/>
            </a:xfrm>
            <a:custGeom>
              <a:avLst/>
              <a:gdLst>
                <a:gd name="connsiteX0" fmla="*/ 0 w 5194"/>
                <a:gd name="connsiteY0" fmla="*/ 0 h 441372"/>
                <a:gd name="connsiteX1" fmla="*/ 5194 w 5194"/>
                <a:gd name="connsiteY1" fmla="*/ 0 h 441372"/>
                <a:gd name="connsiteX2" fmla="*/ 5194 w 5194"/>
                <a:gd name="connsiteY2" fmla="*/ 441372 h 441372"/>
                <a:gd name="connsiteX3" fmla="*/ 0 w 5194"/>
                <a:gd name="connsiteY3" fmla="*/ 441372 h 441372"/>
              </a:gdLst>
              <a:ahLst/>
              <a:cxnLst>
                <a:cxn ang="0">
                  <a:pos x="connsiteX0" y="connsiteY0"/>
                </a:cxn>
                <a:cxn ang="0">
                  <a:pos x="connsiteX1" y="connsiteY1"/>
                </a:cxn>
                <a:cxn ang="0">
                  <a:pos x="connsiteX2" y="connsiteY2"/>
                </a:cxn>
                <a:cxn ang="0">
                  <a:pos x="connsiteX3" y="connsiteY3"/>
                </a:cxn>
              </a:cxnLst>
              <a:rect l="l" t="t" r="r" b="b"/>
              <a:pathLst>
                <a:path w="5194" h="441372">
                  <a:moveTo>
                    <a:pt x="0" y="0"/>
                  </a:moveTo>
                  <a:lnTo>
                    <a:pt x="5194" y="0"/>
                  </a:lnTo>
                  <a:lnTo>
                    <a:pt x="5194" y="441372"/>
                  </a:lnTo>
                  <a:lnTo>
                    <a:pt x="0" y="441372"/>
                  </a:lnTo>
                  <a:close/>
                </a:path>
              </a:pathLst>
            </a:custGeom>
            <a:solidFill>
              <a:srgbClr val="2878FF"/>
            </a:solidFill>
            <a:ln w="14828" cap="flat">
              <a:noFill/>
              <a:prstDash val="solid"/>
              <a:miter/>
            </a:ln>
          </p:spPr>
          <p:txBody>
            <a:bodyPr rtlCol="0" anchor="ctr"/>
            <a:lstStyle/>
            <a:p>
              <a:endParaRPr lang="en-DK"/>
            </a:p>
          </p:txBody>
        </p:sp>
        <p:sp>
          <p:nvSpPr>
            <p:cNvPr id="45" name="Freeform 44">
              <a:extLst>
                <a:ext uri="{FF2B5EF4-FFF2-40B4-BE49-F238E27FC236}">
                  <a16:creationId xmlns:a16="http://schemas.microsoft.com/office/drawing/2014/main" id="{1C196A1E-AB03-F480-F5D8-1878F9A6DA71}"/>
                </a:ext>
              </a:extLst>
            </p:cNvPr>
            <p:cNvSpPr/>
            <p:nvPr/>
          </p:nvSpPr>
          <p:spPr>
            <a:xfrm>
              <a:off x="565459" y="6199995"/>
              <a:ext cx="110418" cy="110417"/>
            </a:xfrm>
            <a:custGeom>
              <a:avLst/>
              <a:gdLst>
                <a:gd name="connsiteX0" fmla="*/ 55209 w 110418"/>
                <a:gd name="connsiteY0" fmla="*/ 110417 h 110417"/>
                <a:gd name="connsiteX1" fmla="*/ 0 w 110418"/>
                <a:gd name="connsiteY1" fmla="*/ 55209 h 110417"/>
                <a:gd name="connsiteX2" fmla="*/ 55209 w 110418"/>
                <a:gd name="connsiteY2" fmla="*/ 0 h 110417"/>
                <a:gd name="connsiteX3" fmla="*/ 110418 w 110418"/>
                <a:gd name="connsiteY3" fmla="*/ 55209 h 110417"/>
                <a:gd name="connsiteX4" fmla="*/ 55209 w 110418"/>
                <a:gd name="connsiteY4" fmla="*/ 110417 h 110417"/>
                <a:gd name="connsiteX5" fmla="*/ 55209 w 110418"/>
                <a:gd name="connsiteY5" fmla="*/ 5194 h 110417"/>
                <a:gd name="connsiteX6" fmla="*/ 5194 w 110418"/>
                <a:gd name="connsiteY6" fmla="*/ 55209 h 110417"/>
                <a:gd name="connsiteX7" fmla="*/ 55209 w 110418"/>
                <a:gd name="connsiteY7" fmla="*/ 105223 h 110417"/>
                <a:gd name="connsiteX8" fmla="*/ 105224 w 110418"/>
                <a:gd name="connsiteY8" fmla="*/ 55209 h 110417"/>
                <a:gd name="connsiteX9" fmla="*/ 55209 w 110418"/>
                <a:gd name="connsiteY9" fmla="*/ 5194 h 110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418" h="110417">
                  <a:moveTo>
                    <a:pt x="55209" y="110417"/>
                  </a:moveTo>
                  <a:cubicBezTo>
                    <a:pt x="24785" y="110417"/>
                    <a:pt x="0" y="85633"/>
                    <a:pt x="0" y="55209"/>
                  </a:cubicBezTo>
                  <a:cubicBezTo>
                    <a:pt x="0" y="24784"/>
                    <a:pt x="24785" y="0"/>
                    <a:pt x="55209" y="0"/>
                  </a:cubicBezTo>
                  <a:cubicBezTo>
                    <a:pt x="85634" y="0"/>
                    <a:pt x="110418" y="24784"/>
                    <a:pt x="110418" y="55209"/>
                  </a:cubicBezTo>
                  <a:cubicBezTo>
                    <a:pt x="110418" y="85633"/>
                    <a:pt x="85634" y="110417"/>
                    <a:pt x="55209" y="110417"/>
                  </a:cubicBezTo>
                  <a:close/>
                  <a:moveTo>
                    <a:pt x="55209" y="5194"/>
                  </a:moveTo>
                  <a:cubicBezTo>
                    <a:pt x="27605" y="5194"/>
                    <a:pt x="5194" y="27604"/>
                    <a:pt x="5194" y="55209"/>
                  </a:cubicBezTo>
                  <a:cubicBezTo>
                    <a:pt x="5194" y="82813"/>
                    <a:pt x="27605" y="105223"/>
                    <a:pt x="55209" y="105223"/>
                  </a:cubicBezTo>
                  <a:cubicBezTo>
                    <a:pt x="82814" y="105223"/>
                    <a:pt x="105224" y="82813"/>
                    <a:pt x="105224" y="55209"/>
                  </a:cubicBezTo>
                  <a:cubicBezTo>
                    <a:pt x="105224" y="27604"/>
                    <a:pt x="82814" y="5194"/>
                    <a:pt x="55209" y="5194"/>
                  </a:cubicBezTo>
                  <a:close/>
                </a:path>
              </a:pathLst>
            </a:custGeom>
            <a:solidFill>
              <a:srgbClr val="2878FF"/>
            </a:solidFill>
            <a:ln w="14828" cap="flat">
              <a:noFill/>
              <a:prstDash val="solid"/>
              <a:miter/>
            </a:ln>
          </p:spPr>
          <p:txBody>
            <a:bodyPr rtlCol="0" anchor="ctr"/>
            <a:lstStyle/>
            <a:p>
              <a:endParaRPr lang="en-DK"/>
            </a:p>
          </p:txBody>
        </p:sp>
        <p:sp>
          <p:nvSpPr>
            <p:cNvPr id="46" name="Freeform 45">
              <a:extLst>
                <a:ext uri="{FF2B5EF4-FFF2-40B4-BE49-F238E27FC236}">
                  <a16:creationId xmlns:a16="http://schemas.microsoft.com/office/drawing/2014/main" id="{E77B867D-DAE0-5C1A-F08B-D7DFC4EFBE8C}"/>
                </a:ext>
              </a:extLst>
            </p:cNvPr>
            <p:cNvSpPr/>
            <p:nvPr/>
          </p:nvSpPr>
          <p:spPr>
            <a:xfrm>
              <a:off x="617996" y="5918758"/>
              <a:ext cx="5194" cy="281237"/>
            </a:xfrm>
            <a:custGeom>
              <a:avLst/>
              <a:gdLst>
                <a:gd name="connsiteX0" fmla="*/ 0 w 5194"/>
                <a:gd name="connsiteY0" fmla="*/ 0 h 281237"/>
                <a:gd name="connsiteX1" fmla="*/ 5194 w 5194"/>
                <a:gd name="connsiteY1" fmla="*/ 0 h 281237"/>
                <a:gd name="connsiteX2" fmla="*/ 5194 w 5194"/>
                <a:gd name="connsiteY2" fmla="*/ 281238 h 281237"/>
                <a:gd name="connsiteX3" fmla="*/ 0 w 5194"/>
                <a:gd name="connsiteY3" fmla="*/ 281238 h 281237"/>
              </a:gdLst>
              <a:ahLst/>
              <a:cxnLst>
                <a:cxn ang="0">
                  <a:pos x="connsiteX0" y="connsiteY0"/>
                </a:cxn>
                <a:cxn ang="0">
                  <a:pos x="connsiteX1" y="connsiteY1"/>
                </a:cxn>
                <a:cxn ang="0">
                  <a:pos x="connsiteX2" y="connsiteY2"/>
                </a:cxn>
                <a:cxn ang="0">
                  <a:pos x="connsiteX3" y="connsiteY3"/>
                </a:cxn>
              </a:cxnLst>
              <a:rect l="l" t="t" r="r" b="b"/>
              <a:pathLst>
                <a:path w="5194" h="281237">
                  <a:moveTo>
                    <a:pt x="0" y="0"/>
                  </a:moveTo>
                  <a:lnTo>
                    <a:pt x="5194" y="0"/>
                  </a:lnTo>
                  <a:lnTo>
                    <a:pt x="5194" y="281238"/>
                  </a:lnTo>
                  <a:lnTo>
                    <a:pt x="0" y="281238"/>
                  </a:lnTo>
                  <a:close/>
                </a:path>
              </a:pathLst>
            </a:custGeom>
            <a:solidFill>
              <a:srgbClr val="2878FF"/>
            </a:solidFill>
            <a:ln w="14828" cap="flat">
              <a:noFill/>
              <a:prstDash val="solid"/>
              <a:miter/>
            </a:ln>
          </p:spPr>
          <p:txBody>
            <a:bodyPr rtlCol="0" anchor="ctr"/>
            <a:lstStyle/>
            <a:p>
              <a:endParaRPr lang="en-DK"/>
            </a:p>
          </p:txBody>
        </p:sp>
        <p:grpSp>
          <p:nvGrpSpPr>
            <p:cNvPr id="47" name="Graphic 3">
              <a:extLst>
                <a:ext uri="{FF2B5EF4-FFF2-40B4-BE49-F238E27FC236}">
                  <a16:creationId xmlns:a16="http://schemas.microsoft.com/office/drawing/2014/main" id="{F69ACF51-8B08-5E33-EF53-4449DF289B9C}"/>
                </a:ext>
              </a:extLst>
            </p:cNvPr>
            <p:cNvGrpSpPr/>
            <p:nvPr/>
          </p:nvGrpSpPr>
          <p:grpSpPr>
            <a:xfrm>
              <a:off x="5901011" y="4979469"/>
              <a:ext cx="1036804" cy="1036794"/>
              <a:chOff x="5901011" y="4979469"/>
              <a:chExt cx="1036804" cy="1036794"/>
            </a:xfrm>
          </p:grpSpPr>
          <p:sp>
            <p:nvSpPr>
              <p:cNvPr id="239" name="Freeform 238">
                <a:extLst>
                  <a:ext uri="{FF2B5EF4-FFF2-40B4-BE49-F238E27FC236}">
                    <a16:creationId xmlns:a16="http://schemas.microsoft.com/office/drawing/2014/main" id="{AAC26BF7-0598-B21C-9E6E-BBFEC09CD9CA}"/>
                  </a:ext>
                </a:extLst>
              </p:cNvPr>
              <p:cNvSpPr/>
              <p:nvPr/>
            </p:nvSpPr>
            <p:spPr>
              <a:xfrm>
                <a:off x="5915852" y="4994310"/>
                <a:ext cx="1007122" cy="1007112"/>
              </a:xfrm>
              <a:custGeom>
                <a:avLst/>
                <a:gdLst>
                  <a:gd name="connsiteX0" fmla="*/ 503561 w 1007122"/>
                  <a:gd name="connsiteY0" fmla="*/ 1007112 h 1007112"/>
                  <a:gd name="connsiteX1" fmla="*/ 1007122 w 1007122"/>
                  <a:gd name="connsiteY1" fmla="*/ 503556 h 1007112"/>
                  <a:gd name="connsiteX2" fmla="*/ 503561 w 1007122"/>
                  <a:gd name="connsiteY2" fmla="*/ 0 h 1007112"/>
                  <a:gd name="connsiteX3" fmla="*/ 0 w 1007122"/>
                  <a:gd name="connsiteY3" fmla="*/ 503556 h 1007112"/>
                  <a:gd name="connsiteX4" fmla="*/ 503561 w 1007122"/>
                  <a:gd name="connsiteY4" fmla="*/ 1007112 h 100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122" h="1007112">
                    <a:moveTo>
                      <a:pt x="503561" y="1007112"/>
                    </a:moveTo>
                    <a:cubicBezTo>
                      <a:pt x="781685" y="1007112"/>
                      <a:pt x="1007122" y="781677"/>
                      <a:pt x="1007122" y="503556"/>
                    </a:cubicBezTo>
                    <a:cubicBezTo>
                      <a:pt x="1007122" y="225435"/>
                      <a:pt x="781685" y="0"/>
                      <a:pt x="503561" y="0"/>
                    </a:cubicBezTo>
                    <a:cubicBezTo>
                      <a:pt x="225438" y="0"/>
                      <a:pt x="0" y="225435"/>
                      <a:pt x="0" y="503556"/>
                    </a:cubicBezTo>
                    <a:cubicBezTo>
                      <a:pt x="0" y="781677"/>
                      <a:pt x="225438" y="1007112"/>
                      <a:pt x="503561" y="1007112"/>
                    </a:cubicBezTo>
                  </a:path>
                </a:pathLst>
              </a:custGeom>
              <a:solidFill>
                <a:srgbClr val="001965"/>
              </a:solidFill>
              <a:ln w="14828" cap="flat">
                <a:noFill/>
                <a:prstDash val="solid"/>
                <a:miter/>
              </a:ln>
            </p:spPr>
            <p:txBody>
              <a:bodyPr rtlCol="0" anchor="ctr"/>
              <a:lstStyle/>
              <a:p>
                <a:endParaRPr lang="en-DK"/>
              </a:p>
            </p:txBody>
          </p:sp>
          <p:sp>
            <p:nvSpPr>
              <p:cNvPr id="240" name="Freeform 239">
                <a:extLst>
                  <a:ext uri="{FF2B5EF4-FFF2-40B4-BE49-F238E27FC236}">
                    <a16:creationId xmlns:a16="http://schemas.microsoft.com/office/drawing/2014/main" id="{0BC6005A-7C4B-36AA-1666-478062D04DD3}"/>
                  </a:ext>
                </a:extLst>
              </p:cNvPr>
              <p:cNvSpPr/>
              <p:nvPr/>
            </p:nvSpPr>
            <p:spPr>
              <a:xfrm>
                <a:off x="5901011" y="4979469"/>
                <a:ext cx="1036804" cy="1036794"/>
              </a:xfrm>
              <a:custGeom>
                <a:avLst/>
                <a:gdLst>
                  <a:gd name="connsiteX0" fmla="*/ 518402 w 1036804"/>
                  <a:gd name="connsiteY0" fmla="*/ 1021953 h 1036794"/>
                  <a:gd name="connsiteX1" fmla="*/ 518402 w 1036804"/>
                  <a:gd name="connsiteY1" fmla="*/ 1007112 h 1036794"/>
                  <a:gd name="connsiteX2" fmla="*/ 1007122 w 1036804"/>
                  <a:gd name="connsiteY2" fmla="*/ 518397 h 1036794"/>
                  <a:gd name="connsiteX3" fmla="*/ 518402 w 1036804"/>
                  <a:gd name="connsiteY3" fmla="*/ 29682 h 1036794"/>
                  <a:gd name="connsiteX4" fmla="*/ 29682 w 1036804"/>
                  <a:gd name="connsiteY4" fmla="*/ 518397 h 1036794"/>
                  <a:gd name="connsiteX5" fmla="*/ 518402 w 1036804"/>
                  <a:gd name="connsiteY5" fmla="*/ 1007112 h 1036794"/>
                  <a:gd name="connsiteX6" fmla="*/ 518402 w 1036804"/>
                  <a:gd name="connsiteY6" fmla="*/ 1036794 h 1036794"/>
                  <a:gd name="connsiteX7" fmla="*/ 0 w 1036804"/>
                  <a:gd name="connsiteY7" fmla="*/ 518397 h 1036794"/>
                  <a:gd name="connsiteX8" fmla="*/ 518402 w 1036804"/>
                  <a:gd name="connsiteY8" fmla="*/ 0 h 1036794"/>
                  <a:gd name="connsiteX9" fmla="*/ 1036805 w 1036804"/>
                  <a:gd name="connsiteY9" fmla="*/ 518397 h 1036794"/>
                  <a:gd name="connsiteX10" fmla="*/ 518402 w 1036804"/>
                  <a:gd name="connsiteY10" fmla="*/ 1036794 h 1036794"/>
                  <a:gd name="connsiteX11" fmla="*/ 518402 w 1036804"/>
                  <a:gd name="connsiteY11" fmla="*/ 1021953 h 1036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6804" h="1036794">
                    <a:moveTo>
                      <a:pt x="518402" y="1021953"/>
                    </a:moveTo>
                    <a:lnTo>
                      <a:pt x="518402" y="1007112"/>
                    </a:lnTo>
                    <a:cubicBezTo>
                      <a:pt x="788363" y="1006667"/>
                      <a:pt x="1006677" y="788355"/>
                      <a:pt x="1007122" y="518397"/>
                    </a:cubicBezTo>
                    <a:cubicBezTo>
                      <a:pt x="1006677" y="248439"/>
                      <a:pt x="788363" y="30127"/>
                      <a:pt x="518402" y="29682"/>
                    </a:cubicBezTo>
                    <a:cubicBezTo>
                      <a:pt x="248441" y="30127"/>
                      <a:pt x="30128" y="248439"/>
                      <a:pt x="29682" y="518397"/>
                    </a:cubicBezTo>
                    <a:cubicBezTo>
                      <a:pt x="30128" y="788355"/>
                      <a:pt x="248441" y="1006667"/>
                      <a:pt x="518402" y="1007112"/>
                    </a:cubicBezTo>
                    <a:lnTo>
                      <a:pt x="518402" y="1036794"/>
                    </a:lnTo>
                    <a:cubicBezTo>
                      <a:pt x="232116" y="1036794"/>
                      <a:pt x="0" y="804680"/>
                      <a:pt x="0" y="518397"/>
                    </a:cubicBezTo>
                    <a:cubicBezTo>
                      <a:pt x="0" y="232114"/>
                      <a:pt x="232116" y="0"/>
                      <a:pt x="518402" y="0"/>
                    </a:cubicBezTo>
                    <a:cubicBezTo>
                      <a:pt x="804689" y="0"/>
                      <a:pt x="1036805" y="232114"/>
                      <a:pt x="1036805" y="518397"/>
                    </a:cubicBezTo>
                    <a:cubicBezTo>
                      <a:pt x="1036805" y="804680"/>
                      <a:pt x="804689" y="1036794"/>
                      <a:pt x="518402" y="1036794"/>
                    </a:cubicBezTo>
                    <a:lnTo>
                      <a:pt x="518402" y="1021953"/>
                    </a:lnTo>
                    <a:close/>
                  </a:path>
                </a:pathLst>
              </a:custGeom>
              <a:gradFill>
                <a:gsLst>
                  <a:gs pos="0">
                    <a:srgbClr val="F3E700"/>
                  </a:gs>
                  <a:gs pos="33000">
                    <a:srgbClr val="8CC3CA"/>
                  </a:gs>
                  <a:gs pos="67000">
                    <a:srgbClr val="2878FF"/>
                  </a:gs>
                  <a:gs pos="100000">
                    <a:srgbClr val="E229E2"/>
                  </a:gs>
                </a:gsLst>
                <a:lin ang="0" scaled="1"/>
              </a:gradFill>
              <a:ln w="14828" cap="flat">
                <a:noFill/>
                <a:prstDash val="solid"/>
                <a:miter/>
              </a:ln>
            </p:spPr>
            <p:txBody>
              <a:bodyPr rtlCol="0" anchor="ctr"/>
              <a:lstStyle/>
              <a:p>
                <a:endParaRPr lang="en-DK"/>
              </a:p>
            </p:txBody>
          </p:sp>
          <p:sp>
            <p:nvSpPr>
              <p:cNvPr id="241" name="Freeform 240">
                <a:extLst>
                  <a:ext uri="{FF2B5EF4-FFF2-40B4-BE49-F238E27FC236}">
                    <a16:creationId xmlns:a16="http://schemas.microsoft.com/office/drawing/2014/main" id="{E143F264-6981-1466-1B39-365F70384C5E}"/>
                  </a:ext>
                </a:extLst>
              </p:cNvPr>
              <p:cNvSpPr/>
              <p:nvPr/>
            </p:nvSpPr>
            <p:spPr>
              <a:xfrm>
                <a:off x="6124298" y="5177376"/>
                <a:ext cx="549564" cy="636752"/>
              </a:xfrm>
              <a:custGeom>
                <a:avLst/>
                <a:gdLst>
                  <a:gd name="connsiteX0" fmla="*/ 544298 w 549564"/>
                  <a:gd name="connsiteY0" fmla="*/ 42814 h 636752"/>
                  <a:gd name="connsiteX1" fmla="*/ 524114 w 549564"/>
                  <a:gd name="connsiteY1" fmla="*/ 44595 h 636752"/>
                  <a:gd name="connsiteX2" fmla="*/ 521888 w 549564"/>
                  <a:gd name="connsiteY2" fmla="*/ 47267 h 636752"/>
                  <a:gd name="connsiteX3" fmla="*/ 517732 w 549564"/>
                  <a:gd name="connsiteY3" fmla="*/ 52313 h 636752"/>
                  <a:gd name="connsiteX4" fmla="*/ 459407 w 549564"/>
                  <a:gd name="connsiteY4" fmla="*/ 3337 h 636752"/>
                  <a:gd name="connsiteX5" fmla="*/ 439223 w 549564"/>
                  <a:gd name="connsiteY5" fmla="*/ 5118 h 636752"/>
                  <a:gd name="connsiteX6" fmla="*/ 441003 w 549564"/>
                  <a:gd name="connsiteY6" fmla="*/ 25302 h 636752"/>
                  <a:gd name="connsiteX7" fmla="*/ 496806 w 549564"/>
                  <a:gd name="connsiteY7" fmla="*/ 72199 h 636752"/>
                  <a:gd name="connsiteX8" fmla="*/ 476177 w 549564"/>
                  <a:gd name="connsiteY8" fmla="*/ 82737 h 636752"/>
                  <a:gd name="connsiteX9" fmla="*/ 427350 w 549564"/>
                  <a:gd name="connsiteY9" fmla="*/ 41627 h 636752"/>
                  <a:gd name="connsiteX10" fmla="*/ 407166 w 549564"/>
                  <a:gd name="connsiteY10" fmla="*/ 43408 h 636752"/>
                  <a:gd name="connsiteX11" fmla="*/ 408946 w 549564"/>
                  <a:gd name="connsiteY11" fmla="*/ 63592 h 636752"/>
                  <a:gd name="connsiteX12" fmla="*/ 442042 w 549564"/>
                  <a:gd name="connsiteY12" fmla="*/ 91344 h 636752"/>
                  <a:gd name="connsiteX13" fmla="*/ 415922 w 549564"/>
                  <a:gd name="connsiteY13" fmla="*/ 94461 h 636752"/>
                  <a:gd name="connsiteX14" fmla="*/ 340084 w 549564"/>
                  <a:gd name="connsiteY14" fmla="*/ 95203 h 636752"/>
                  <a:gd name="connsiteX15" fmla="*/ 180689 w 549564"/>
                  <a:gd name="connsiteY15" fmla="*/ 106631 h 636752"/>
                  <a:gd name="connsiteX16" fmla="*/ 176534 w 549564"/>
                  <a:gd name="connsiteY16" fmla="*/ 107818 h 636752"/>
                  <a:gd name="connsiteX17" fmla="*/ 99805 w 549564"/>
                  <a:gd name="connsiteY17" fmla="*/ 154419 h 636752"/>
                  <a:gd name="connsiteX18" fmla="*/ 99805 w 549564"/>
                  <a:gd name="connsiteY18" fmla="*/ 154419 h 636752"/>
                  <a:gd name="connsiteX19" fmla="*/ 78285 w 549564"/>
                  <a:gd name="connsiteY19" fmla="*/ 422448 h 636752"/>
                  <a:gd name="connsiteX20" fmla="*/ 95353 w 549564"/>
                  <a:gd name="connsiteY20" fmla="*/ 477953 h 636752"/>
                  <a:gd name="connsiteX21" fmla="*/ 100992 w 549564"/>
                  <a:gd name="connsiteY21" fmla="*/ 520844 h 636752"/>
                  <a:gd name="connsiteX22" fmla="*/ 56320 w 549564"/>
                  <a:gd name="connsiteY22" fmla="*/ 483296 h 636752"/>
                  <a:gd name="connsiteX23" fmla="*/ 36136 w 549564"/>
                  <a:gd name="connsiteY23" fmla="*/ 485077 h 636752"/>
                  <a:gd name="connsiteX24" fmla="*/ 37917 w 549564"/>
                  <a:gd name="connsiteY24" fmla="*/ 505261 h 636752"/>
                  <a:gd name="connsiteX25" fmla="*/ 98469 w 549564"/>
                  <a:gd name="connsiteY25" fmla="*/ 556165 h 636752"/>
                  <a:gd name="connsiteX26" fmla="*/ 91494 w 549564"/>
                  <a:gd name="connsiteY26" fmla="*/ 579466 h 636752"/>
                  <a:gd name="connsiteX27" fmla="*/ 23521 w 549564"/>
                  <a:gd name="connsiteY27" fmla="*/ 522328 h 636752"/>
                  <a:gd name="connsiteX28" fmla="*/ 3337 w 549564"/>
                  <a:gd name="connsiteY28" fmla="*/ 524109 h 636752"/>
                  <a:gd name="connsiteX29" fmla="*/ 5118 w 549564"/>
                  <a:gd name="connsiteY29" fmla="*/ 544293 h 636752"/>
                  <a:gd name="connsiteX30" fmla="*/ 77246 w 549564"/>
                  <a:gd name="connsiteY30" fmla="*/ 604844 h 636752"/>
                  <a:gd name="connsiteX31" fmla="*/ 70716 w 549564"/>
                  <a:gd name="connsiteY31" fmla="*/ 613155 h 636752"/>
                  <a:gd name="connsiteX32" fmla="*/ 72497 w 549564"/>
                  <a:gd name="connsiteY32" fmla="*/ 633339 h 636752"/>
                  <a:gd name="connsiteX33" fmla="*/ 81699 w 549564"/>
                  <a:gd name="connsiteY33" fmla="*/ 636752 h 636752"/>
                  <a:gd name="connsiteX34" fmla="*/ 92681 w 549564"/>
                  <a:gd name="connsiteY34" fmla="*/ 631706 h 636752"/>
                  <a:gd name="connsiteX35" fmla="*/ 108264 w 549564"/>
                  <a:gd name="connsiteY35" fmla="*/ 610187 h 636752"/>
                  <a:gd name="connsiteX36" fmla="*/ 109006 w 549564"/>
                  <a:gd name="connsiteY36" fmla="*/ 609000 h 636752"/>
                  <a:gd name="connsiteX37" fmla="*/ 109006 w 549564"/>
                  <a:gd name="connsiteY37" fmla="*/ 609000 h 636752"/>
                  <a:gd name="connsiteX38" fmla="*/ 109006 w 549564"/>
                  <a:gd name="connsiteY38" fmla="*/ 609000 h 636752"/>
                  <a:gd name="connsiteX39" fmla="*/ 128003 w 549564"/>
                  <a:gd name="connsiteY39" fmla="*/ 554236 h 636752"/>
                  <a:gd name="connsiteX40" fmla="*/ 128448 w 549564"/>
                  <a:gd name="connsiteY40" fmla="*/ 551268 h 636752"/>
                  <a:gd name="connsiteX41" fmla="*/ 123551 w 549564"/>
                  <a:gd name="connsiteY41" fmla="*/ 472462 h 636752"/>
                  <a:gd name="connsiteX42" fmla="*/ 105593 w 549564"/>
                  <a:gd name="connsiteY42" fmla="*/ 413691 h 636752"/>
                  <a:gd name="connsiteX43" fmla="*/ 78582 w 549564"/>
                  <a:gd name="connsiteY43" fmla="*/ 272702 h 636752"/>
                  <a:gd name="connsiteX44" fmla="*/ 121770 w 549564"/>
                  <a:gd name="connsiteY44" fmla="*/ 309062 h 636752"/>
                  <a:gd name="connsiteX45" fmla="*/ 141954 w 549564"/>
                  <a:gd name="connsiteY45" fmla="*/ 307281 h 636752"/>
                  <a:gd name="connsiteX46" fmla="*/ 140173 w 549564"/>
                  <a:gd name="connsiteY46" fmla="*/ 287098 h 636752"/>
                  <a:gd name="connsiteX47" fmla="*/ 84667 w 549564"/>
                  <a:gd name="connsiteY47" fmla="*/ 240497 h 636752"/>
                  <a:gd name="connsiteX48" fmla="*/ 94907 w 549564"/>
                  <a:gd name="connsiteY48" fmla="*/ 214228 h 636752"/>
                  <a:gd name="connsiteX49" fmla="*/ 157240 w 549564"/>
                  <a:gd name="connsiteY49" fmla="*/ 266617 h 636752"/>
                  <a:gd name="connsiteX50" fmla="*/ 177424 w 549564"/>
                  <a:gd name="connsiteY50" fmla="*/ 264836 h 636752"/>
                  <a:gd name="connsiteX51" fmla="*/ 175643 w 549564"/>
                  <a:gd name="connsiteY51" fmla="*/ 244652 h 636752"/>
                  <a:gd name="connsiteX52" fmla="*/ 109600 w 549564"/>
                  <a:gd name="connsiteY52" fmla="*/ 189147 h 636752"/>
                  <a:gd name="connsiteX53" fmla="*/ 121918 w 549564"/>
                  <a:gd name="connsiteY53" fmla="*/ 173118 h 636752"/>
                  <a:gd name="connsiteX54" fmla="*/ 121918 w 549564"/>
                  <a:gd name="connsiteY54" fmla="*/ 173118 h 636752"/>
                  <a:gd name="connsiteX55" fmla="*/ 127261 w 549564"/>
                  <a:gd name="connsiteY55" fmla="*/ 167330 h 636752"/>
                  <a:gd name="connsiteX56" fmla="*/ 193749 w 549564"/>
                  <a:gd name="connsiteY56" fmla="*/ 223133 h 636752"/>
                  <a:gd name="connsiteX57" fmla="*/ 213934 w 549564"/>
                  <a:gd name="connsiteY57" fmla="*/ 221352 h 636752"/>
                  <a:gd name="connsiteX58" fmla="*/ 212153 w 549564"/>
                  <a:gd name="connsiteY58" fmla="*/ 201168 h 636752"/>
                  <a:gd name="connsiteX59" fmla="*/ 150562 w 549564"/>
                  <a:gd name="connsiteY59" fmla="*/ 149373 h 636752"/>
                  <a:gd name="connsiteX60" fmla="*/ 179354 w 549564"/>
                  <a:gd name="connsiteY60" fmla="*/ 136906 h 636752"/>
                  <a:gd name="connsiteX61" fmla="*/ 230110 w 549564"/>
                  <a:gd name="connsiteY61" fmla="*/ 179649 h 636752"/>
                  <a:gd name="connsiteX62" fmla="*/ 250295 w 549564"/>
                  <a:gd name="connsiteY62" fmla="*/ 177868 h 636752"/>
                  <a:gd name="connsiteX63" fmla="*/ 248513 w 549564"/>
                  <a:gd name="connsiteY63" fmla="*/ 157684 h 636752"/>
                  <a:gd name="connsiteX64" fmla="*/ 214082 w 549564"/>
                  <a:gd name="connsiteY64" fmla="*/ 128595 h 636752"/>
                  <a:gd name="connsiteX65" fmla="*/ 339935 w 549564"/>
                  <a:gd name="connsiteY65" fmla="*/ 123846 h 636752"/>
                  <a:gd name="connsiteX66" fmla="*/ 418594 w 549564"/>
                  <a:gd name="connsiteY66" fmla="*/ 122956 h 636752"/>
                  <a:gd name="connsiteX67" fmla="*/ 476771 w 549564"/>
                  <a:gd name="connsiteY67" fmla="*/ 112864 h 636752"/>
                  <a:gd name="connsiteX68" fmla="*/ 478403 w 549564"/>
                  <a:gd name="connsiteY68" fmla="*/ 112270 h 636752"/>
                  <a:gd name="connsiteX69" fmla="*/ 544001 w 549564"/>
                  <a:gd name="connsiteY69" fmla="*/ 65818 h 636752"/>
                  <a:gd name="connsiteX70" fmla="*/ 546227 w 549564"/>
                  <a:gd name="connsiteY70" fmla="*/ 63146 h 636752"/>
                  <a:gd name="connsiteX71" fmla="*/ 544446 w 549564"/>
                  <a:gd name="connsiteY71" fmla="*/ 42963 h 6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564" h="636752">
                    <a:moveTo>
                      <a:pt x="544298" y="42814"/>
                    </a:moveTo>
                    <a:cubicBezTo>
                      <a:pt x="538213" y="37768"/>
                      <a:pt x="529160" y="38510"/>
                      <a:pt x="524114" y="44595"/>
                    </a:cubicBezTo>
                    <a:lnTo>
                      <a:pt x="521888" y="47267"/>
                    </a:lnTo>
                    <a:cubicBezTo>
                      <a:pt x="520404" y="48899"/>
                      <a:pt x="519068" y="50680"/>
                      <a:pt x="517732" y="52313"/>
                    </a:cubicBezTo>
                    <a:lnTo>
                      <a:pt x="459407" y="3337"/>
                    </a:lnTo>
                    <a:cubicBezTo>
                      <a:pt x="453322" y="-1709"/>
                      <a:pt x="444417" y="-967"/>
                      <a:pt x="439223" y="5118"/>
                    </a:cubicBezTo>
                    <a:cubicBezTo>
                      <a:pt x="434177" y="11203"/>
                      <a:pt x="434918" y="20107"/>
                      <a:pt x="441003" y="25302"/>
                    </a:cubicBezTo>
                    <a:lnTo>
                      <a:pt x="496806" y="72199"/>
                    </a:lnTo>
                    <a:cubicBezTo>
                      <a:pt x="491167" y="76058"/>
                      <a:pt x="484488" y="79620"/>
                      <a:pt x="476177" y="82737"/>
                    </a:cubicBezTo>
                    <a:lnTo>
                      <a:pt x="427350" y="41627"/>
                    </a:lnTo>
                    <a:cubicBezTo>
                      <a:pt x="421265" y="36581"/>
                      <a:pt x="412211" y="37323"/>
                      <a:pt x="407166" y="43408"/>
                    </a:cubicBezTo>
                    <a:cubicBezTo>
                      <a:pt x="402120" y="49493"/>
                      <a:pt x="402862" y="58397"/>
                      <a:pt x="408946" y="63592"/>
                    </a:cubicBezTo>
                    <a:lnTo>
                      <a:pt x="442042" y="91344"/>
                    </a:lnTo>
                    <a:cubicBezTo>
                      <a:pt x="434325" y="92532"/>
                      <a:pt x="425717" y="93571"/>
                      <a:pt x="415922" y="94461"/>
                    </a:cubicBezTo>
                    <a:cubicBezTo>
                      <a:pt x="394254" y="96242"/>
                      <a:pt x="367985" y="95797"/>
                      <a:pt x="340084" y="95203"/>
                    </a:cubicBezTo>
                    <a:cubicBezTo>
                      <a:pt x="289178" y="94164"/>
                      <a:pt x="230556" y="93125"/>
                      <a:pt x="180689" y="106631"/>
                    </a:cubicBezTo>
                    <a:cubicBezTo>
                      <a:pt x="179205" y="106779"/>
                      <a:pt x="177870" y="107224"/>
                      <a:pt x="176534" y="107818"/>
                    </a:cubicBezTo>
                    <a:cubicBezTo>
                      <a:pt x="146258" y="116574"/>
                      <a:pt x="119395" y="130970"/>
                      <a:pt x="99805" y="154419"/>
                    </a:cubicBezTo>
                    <a:cubicBezTo>
                      <a:pt x="99805" y="154419"/>
                      <a:pt x="99805" y="154419"/>
                      <a:pt x="99805" y="154419"/>
                    </a:cubicBezTo>
                    <a:cubicBezTo>
                      <a:pt x="18920" y="250589"/>
                      <a:pt x="51868" y="345868"/>
                      <a:pt x="78285" y="422448"/>
                    </a:cubicBezTo>
                    <a:cubicBezTo>
                      <a:pt x="85260" y="442483"/>
                      <a:pt x="91642" y="461183"/>
                      <a:pt x="95353" y="477953"/>
                    </a:cubicBezTo>
                    <a:cubicBezTo>
                      <a:pt x="98766" y="493981"/>
                      <a:pt x="100547" y="508080"/>
                      <a:pt x="100992" y="520844"/>
                    </a:cubicBezTo>
                    <a:lnTo>
                      <a:pt x="56320" y="483296"/>
                    </a:lnTo>
                    <a:cubicBezTo>
                      <a:pt x="50235" y="478250"/>
                      <a:pt x="41331" y="478992"/>
                      <a:pt x="36136" y="485077"/>
                    </a:cubicBezTo>
                    <a:cubicBezTo>
                      <a:pt x="31090" y="491162"/>
                      <a:pt x="31832" y="500066"/>
                      <a:pt x="37917" y="505261"/>
                    </a:cubicBezTo>
                    <a:lnTo>
                      <a:pt x="98469" y="556165"/>
                    </a:lnTo>
                    <a:cubicBezTo>
                      <a:pt x="96836" y="564773"/>
                      <a:pt x="94462" y="572491"/>
                      <a:pt x="91494" y="579466"/>
                    </a:cubicBezTo>
                    <a:lnTo>
                      <a:pt x="23521" y="522328"/>
                    </a:lnTo>
                    <a:cubicBezTo>
                      <a:pt x="17436" y="517282"/>
                      <a:pt x="8532" y="518024"/>
                      <a:pt x="3337" y="524109"/>
                    </a:cubicBezTo>
                    <a:cubicBezTo>
                      <a:pt x="-1709" y="530194"/>
                      <a:pt x="-967" y="539098"/>
                      <a:pt x="5118" y="544293"/>
                    </a:cubicBezTo>
                    <a:lnTo>
                      <a:pt x="77246" y="604844"/>
                    </a:lnTo>
                    <a:cubicBezTo>
                      <a:pt x="75020" y="607812"/>
                      <a:pt x="72794" y="610632"/>
                      <a:pt x="70716" y="613155"/>
                    </a:cubicBezTo>
                    <a:cubicBezTo>
                      <a:pt x="65670" y="619240"/>
                      <a:pt x="66412" y="628144"/>
                      <a:pt x="72497" y="633339"/>
                    </a:cubicBezTo>
                    <a:cubicBezTo>
                      <a:pt x="75168" y="635565"/>
                      <a:pt x="78433" y="636752"/>
                      <a:pt x="81699" y="636752"/>
                    </a:cubicBezTo>
                    <a:cubicBezTo>
                      <a:pt x="85706" y="636752"/>
                      <a:pt x="89861" y="634972"/>
                      <a:pt x="92681" y="631706"/>
                    </a:cubicBezTo>
                    <a:cubicBezTo>
                      <a:pt x="97875" y="625622"/>
                      <a:pt x="103218" y="618498"/>
                      <a:pt x="108264" y="610187"/>
                    </a:cubicBezTo>
                    <a:cubicBezTo>
                      <a:pt x="108561" y="609742"/>
                      <a:pt x="108858" y="609296"/>
                      <a:pt x="109006" y="609000"/>
                    </a:cubicBezTo>
                    <a:lnTo>
                      <a:pt x="109006" y="609000"/>
                    </a:lnTo>
                    <a:lnTo>
                      <a:pt x="109006" y="609000"/>
                    </a:lnTo>
                    <a:cubicBezTo>
                      <a:pt x="117317" y="594752"/>
                      <a:pt x="124590" y="576943"/>
                      <a:pt x="128003" y="554236"/>
                    </a:cubicBezTo>
                    <a:cubicBezTo>
                      <a:pt x="128300" y="553197"/>
                      <a:pt x="128300" y="552307"/>
                      <a:pt x="128448" y="551268"/>
                    </a:cubicBezTo>
                    <a:cubicBezTo>
                      <a:pt x="131120" y="529600"/>
                      <a:pt x="130378" y="503777"/>
                      <a:pt x="123551" y="472462"/>
                    </a:cubicBezTo>
                    <a:cubicBezTo>
                      <a:pt x="119543" y="454059"/>
                      <a:pt x="112865" y="434469"/>
                      <a:pt x="105593" y="413691"/>
                    </a:cubicBezTo>
                    <a:cubicBezTo>
                      <a:pt x="90307" y="369614"/>
                      <a:pt x="73981" y="321974"/>
                      <a:pt x="78582" y="272702"/>
                    </a:cubicBezTo>
                    <a:lnTo>
                      <a:pt x="121770" y="309062"/>
                    </a:lnTo>
                    <a:cubicBezTo>
                      <a:pt x="127855" y="314108"/>
                      <a:pt x="136908" y="313366"/>
                      <a:pt x="141954" y="307281"/>
                    </a:cubicBezTo>
                    <a:cubicBezTo>
                      <a:pt x="147000" y="301196"/>
                      <a:pt x="146258" y="292292"/>
                      <a:pt x="140173" y="287098"/>
                    </a:cubicBezTo>
                    <a:lnTo>
                      <a:pt x="84667" y="240497"/>
                    </a:lnTo>
                    <a:cubicBezTo>
                      <a:pt x="87338" y="231741"/>
                      <a:pt x="90603" y="222984"/>
                      <a:pt x="94907" y="214228"/>
                    </a:cubicBezTo>
                    <a:lnTo>
                      <a:pt x="157240" y="266617"/>
                    </a:lnTo>
                    <a:cubicBezTo>
                      <a:pt x="163325" y="271663"/>
                      <a:pt x="172378" y="270921"/>
                      <a:pt x="177424" y="264836"/>
                    </a:cubicBezTo>
                    <a:cubicBezTo>
                      <a:pt x="182470" y="258751"/>
                      <a:pt x="181728" y="249698"/>
                      <a:pt x="175643" y="244652"/>
                    </a:cubicBezTo>
                    <a:lnTo>
                      <a:pt x="109600" y="189147"/>
                    </a:lnTo>
                    <a:cubicBezTo>
                      <a:pt x="113310" y="183804"/>
                      <a:pt x="117466" y="178461"/>
                      <a:pt x="121918" y="173118"/>
                    </a:cubicBezTo>
                    <a:lnTo>
                      <a:pt x="121918" y="173118"/>
                    </a:lnTo>
                    <a:cubicBezTo>
                      <a:pt x="123551" y="171041"/>
                      <a:pt x="125480" y="169111"/>
                      <a:pt x="127261" y="167330"/>
                    </a:cubicBezTo>
                    <a:lnTo>
                      <a:pt x="193749" y="223133"/>
                    </a:lnTo>
                    <a:cubicBezTo>
                      <a:pt x="199834" y="228179"/>
                      <a:pt x="208888" y="227437"/>
                      <a:pt x="213934" y="221352"/>
                    </a:cubicBezTo>
                    <a:cubicBezTo>
                      <a:pt x="218979" y="215267"/>
                      <a:pt x="218238" y="206362"/>
                      <a:pt x="212153" y="201168"/>
                    </a:cubicBezTo>
                    <a:lnTo>
                      <a:pt x="150562" y="149373"/>
                    </a:lnTo>
                    <a:cubicBezTo>
                      <a:pt x="159466" y="144327"/>
                      <a:pt x="168965" y="140171"/>
                      <a:pt x="179354" y="136906"/>
                    </a:cubicBezTo>
                    <a:lnTo>
                      <a:pt x="230110" y="179649"/>
                    </a:lnTo>
                    <a:cubicBezTo>
                      <a:pt x="236195" y="184694"/>
                      <a:pt x="245248" y="183952"/>
                      <a:pt x="250295" y="177868"/>
                    </a:cubicBezTo>
                    <a:cubicBezTo>
                      <a:pt x="255341" y="171783"/>
                      <a:pt x="254598" y="162878"/>
                      <a:pt x="248513" y="157684"/>
                    </a:cubicBezTo>
                    <a:lnTo>
                      <a:pt x="214082" y="128595"/>
                    </a:lnTo>
                    <a:cubicBezTo>
                      <a:pt x="253560" y="122214"/>
                      <a:pt x="298083" y="123104"/>
                      <a:pt x="339935" y="123846"/>
                    </a:cubicBezTo>
                    <a:cubicBezTo>
                      <a:pt x="368579" y="124440"/>
                      <a:pt x="395589" y="124885"/>
                      <a:pt x="418594" y="122956"/>
                    </a:cubicBezTo>
                    <a:cubicBezTo>
                      <a:pt x="442785" y="120878"/>
                      <a:pt x="461633" y="117465"/>
                      <a:pt x="476771" y="112864"/>
                    </a:cubicBezTo>
                    <a:cubicBezTo>
                      <a:pt x="477364" y="112864"/>
                      <a:pt x="477958" y="112567"/>
                      <a:pt x="478403" y="112270"/>
                    </a:cubicBezTo>
                    <a:cubicBezTo>
                      <a:pt x="514467" y="101139"/>
                      <a:pt x="529012" y="83775"/>
                      <a:pt x="544001" y="65818"/>
                    </a:cubicBezTo>
                    <a:lnTo>
                      <a:pt x="546227" y="63146"/>
                    </a:lnTo>
                    <a:cubicBezTo>
                      <a:pt x="551274" y="57062"/>
                      <a:pt x="550531" y="48157"/>
                      <a:pt x="544446" y="42963"/>
                    </a:cubicBezTo>
                  </a:path>
                </a:pathLst>
              </a:custGeom>
              <a:solidFill>
                <a:srgbClr val="2978FF">
                  <a:alpha val="50000"/>
                </a:srgbClr>
              </a:solidFill>
              <a:ln w="14828" cap="flat">
                <a:noFill/>
                <a:prstDash val="solid"/>
                <a:miter/>
              </a:ln>
            </p:spPr>
            <p:txBody>
              <a:bodyPr rtlCol="0" anchor="ctr"/>
              <a:lstStyle/>
              <a:p>
                <a:endParaRPr lang="en-DK"/>
              </a:p>
            </p:txBody>
          </p:sp>
          <p:sp>
            <p:nvSpPr>
              <p:cNvPr id="242" name="Freeform 241">
                <a:extLst>
                  <a:ext uri="{FF2B5EF4-FFF2-40B4-BE49-F238E27FC236}">
                    <a16:creationId xmlns:a16="http://schemas.microsoft.com/office/drawing/2014/main" id="{7B566302-29C3-2A68-EA4F-3F1170CF4420}"/>
                  </a:ext>
                </a:extLst>
              </p:cNvPr>
              <p:cNvSpPr/>
              <p:nvPr/>
            </p:nvSpPr>
            <p:spPr>
              <a:xfrm>
                <a:off x="6118654" y="5171583"/>
                <a:ext cx="561001" cy="647442"/>
              </a:xfrm>
              <a:custGeom>
                <a:avLst/>
                <a:gdLst>
                  <a:gd name="connsiteX0" fmla="*/ 19816 w 561001"/>
                  <a:gd name="connsiteY0" fmla="*/ 529753 h 647442"/>
                  <a:gd name="connsiteX1" fmla="*/ 19073 w 561001"/>
                  <a:gd name="connsiteY1" fmla="*/ 529753 h 647442"/>
                  <a:gd name="connsiteX2" fmla="*/ 13137 w 561001"/>
                  <a:gd name="connsiteY2" fmla="*/ 532870 h 647442"/>
                  <a:gd name="connsiteX3" fmla="*/ 14176 w 561001"/>
                  <a:gd name="connsiteY3" fmla="*/ 545188 h 647442"/>
                  <a:gd name="connsiteX4" fmla="*/ 90163 w 561001"/>
                  <a:gd name="connsiteY4" fmla="*/ 609153 h 647442"/>
                  <a:gd name="connsiteX5" fmla="*/ 87046 w 561001"/>
                  <a:gd name="connsiteY5" fmla="*/ 613308 h 647442"/>
                  <a:gd name="connsiteX6" fmla="*/ 80219 w 561001"/>
                  <a:gd name="connsiteY6" fmla="*/ 621916 h 647442"/>
                  <a:gd name="connsiteX7" fmla="*/ 78141 w 561001"/>
                  <a:gd name="connsiteY7" fmla="*/ 628297 h 647442"/>
                  <a:gd name="connsiteX8" fmla="*/ 81258 w 561001"/>
                  <a:gd name="connsiteY8" fmla="*/ 634234 h 647442"/>
                  <a:gd name="connsiteX9" fmla="*/ 93576 w 561001"/>
                  <a:gd name="connsiteY9" fmla="*/ 633195 h 647442"/>
                  <a:gd name="connsiteX10" fmla="*/ 108714 w 561001"/>
                  <a:gd name="connsiteY10" fmla="*/ 612418 h 647442"/>
                  <a:gd name="connsiteX11" fmla="*/ 114205 w 561001"/>
                  <a:gd name="connsiteY11" fmla="*/ 614050 h 647442"/>
                  <a:gd name="connsiteX12" fmla="*/ 109456 w 561001"/>
                  <a:gd name="connsiteY12" fmla="*/ 611230 h 647442"/>
                  <a:gd name="connsiteX13" fmla="*/ 127711 w 561001"/>
                  <a:gd name="connsiteY13" fmla="*/ 558396 h 647442"/>
                  <a:gd name="connsiteX14" fmla="*/ 128008 w 561001"/>
                  <a:gd name="connsiteY14" fmla="*/ 556022 h 647442"/>
                  <a:gd name="connsiteX15" fmla="*/ 123259 w 561001"/>
                  <a:gd name="connsiteY15" fmla="*/ 478552 h 647442"/>
                  <a:gd name="connsiteX16" fmla="*/ 105598 w 561001"/>
                  <a:gd name="connsiteY16" fmla="*/ 420523 h 647442"/>
                  <a:gd name="connsiteX17" fmla="*/ 78290 w 561001"/>
                  <a:gd name="connsiteY17" fmla="*/ 277159 h 647442"/>
                  <a:gd name="connsiteX18" fmla="*/ 79329 w 561001"/>
                  <a:gd name="connsiteY18" fmla="*/ 266622 h 647442"/>
                  <a:gd name="connsiteX19" fmla="*/ 130679 w 561001"/>
                  <a:gd name="connsiteY19" fmla="*/ 309809 h 647442"/>
                  <a:gd name="connsiteX20" fmla="*/ 137061 w 561001"/>
                  <a:gd name="connsiteY20" fmla="*/ 311887 h 647442"/>
                  <a:gd name="connsiteX21" fmla="*/ 142997 w 561001"/>
                  <a:gd name="connsiteY21" fmla="*/ 308770 h 647442"/>
                  <a:gd name="connsiteX22" fmla="*/ 141958 w 561001"/>
                  <a:gd name="connsiteY22" fmla="*/ 296452 h 647442"/>
                  <a:gd name="connsiteX23" fmla="*/ 83781 w 561001"/>
                  <a:gd name="connsiteY23" fmla="*/ 247477 h 647442"/>
                  <a:gd name="connsiteX24" fmla="*/ 84820 w 561001"/>
                  <a:gd name="connsiteY24" fmla="*/ 243915 h 647442"/>
                  <a:gd name="connsiteX25" fmla="*/ 95357 w 561001"/>
                  <a:gd name="connsiteY25" fmla="*/ 216756 h 647442"/>
                  <a:gd name="connsiteX26" fmla="*/ 98474 w 561001"/>
                  <a:gd name="connsiteY26" fmla="*/ 210374 h 647442"/>
                  <a:gd name="connsiteX27" fmla="*/ 166298 w 561001"/>
                  <a:gd name="connsiteY27" fmla="*/ 267364 h 647442"/>
                  <a:gd name="connsiteX28" fmla="*/ 172680 w 561001"/>
                  <a:gd name="connsiteY28" fmla="*/ 269441 h 647442"/>
                  <a:gd name="connsiteX29" fmla="*/ 178616 w 561001"/>
                  <a:gd name="connsiteY29" fmla="*/ 266325 h 647442"/>
                  <a:gd name="connsiteX30" fmla="*/ 177578 w 561001"/>
                  <a:gd name="connsiteY30" fmla="*/ 254007 h 647442"/>
                  <a:gd name="connsiteX31" fmla="*/ 107675 w 561001"/>
                  <a:gd name="connsiteY31" fmla="*/ 195236 h 647442"/>
                  <a:gd name="connsiteX32" fmla="*/ 110644 w 561001"/>
                  <a:gd name="connsiteY32" fmla="*/ 191081 h 647442"/>
                  <a:gd name="connsiteX33" fmla="*/ 123259 w 561001"/>
                  <a:gd name="connsiteY33" fmla="*/ 174607 h 647442"/>
                  <a:gd name="connsiteX34" fmla="*/ 128898 w 561001"/>
                  <a:gd name="connsiteY34" fmla="*/ 168374 h 647442"/>
                  <a:gd name="connsiteX35" fmla="*/ 132460 w 561001"/>
                  <a:gd name="connsiteY35" fmla="*/ 164664 h 647442"/>
                  <a:gd name="connsiteX36" fmla="*/ 202807 w 561001"/>
                  <a:gd name="connsiteY36" fmla="*/ 223880 h 647442"/>
                  <a:gd name="connsiteX37" fmla="*/ 209189 w 561001"/>
                  <a:gd name="connsiteY37" fmla="*/ 225957 h 647442"/>
                  <a:gd name="connsiteX38" fmla="*/ 215126 w 561001"/>
                  <a:gd name="connsiteY38" fmla="*/ 222841 h 647442"/>
                  <a:gd name="connsiteX39" fmla="*/ 217203 w 561001"/>
                  <a:gd name="connsiteY39" fmla="*/ 216459 h 647442"/>
                  <a:gd name="connsiteX40" fmla="*/ 214087 w 561001"/>
                  <a:gd name="connsiteY40" fmla="*/ 210523 h 647442"/>
                  <a:gd name="connsiteX41" fmla="*/ 146411 w 561001"/>
                  <a:gd name="connsiteY41" fmla="*/ 153682 h 647442"/>
                  <a:gd name="connsiteX42" fmla="*/ 153386 w 561001"/>
                  <a:gd name="connsiteY42" fmla="*/ 149674 h 647442"/>
                  <a:gd name="connsiteX43" fmla="*/ 183217 w 561001"/>
                  <a:gd name="connsiteY43" fmla="*/ 136763 h 647442"/>
                  <a:gd name="connsiteX44" fmla="*/ 186185 w 561001"/>
                  <a:gd name="connsiteY44" fmla="*/ 135872 h 647442"/>
                  <a:gd name="connsiteX45" fmla="*/ 239316 w 561001"/>
                  <a:gd name="connsiteY45" fmla="*/ 180544 h 647442"/>
                  <a:gd name="connsiteX46" fmla="*/ 245698 w 561001"/>
                  <a:gd name="connsiteY46" fmla="*/ 182622 h 647442"/>
                  <a:gd name="connsiteX47" fmla="*/ 251635 w 561001"/>
                  <a:gd name="connsiteY47" fmla="*/ 179505 h 647442"/>
                  <a:gd name="connsiteX48" fmla="*/ 253712 w 561001"/>
                  <a:gd name="connsiteY48" fmla="*/ 173123 h 647442"/>
                  <a:gd name="connsiteX49" fmla="*/ 250596 w 561001"/>
                  <a:gd name="connsiteY49" fmla="*/ 167187 h 647442"/>
                  <a:gd name="connsiteX50" fmla="*/ 206814 w 561001"/>
                  <a:gd name="connsiteY50" fmla="*/ 130381 h 647442"/>
                  <a:gd name="connsiteX51" fmla="*/ 218836 w 561001"/>
                  <a:gd name="connsiteY51" fmla="*/ 128452 h 647442"/>
                  <a:gd name="connsiteX52" fmla="*/ 345579 w 561001"/>
                  <a:gd name="connsiteY52" fmla="*/ 123703 h 647442"/>
                  <a:gd name="connsiteX53" fmla="*/ 423793 w 561001"/>
                  <a:gd name="connsiteY53" fmla="*/ 122812 h 647442"/>
                  <a:gd name="connsiteX54" fmla="*/ 480931 w 561001"/>
                  <a:gd name="connsiteY54" fmla="*/ 113017 h 647442"/>
                  <a:gd name="connsiteX55" fmla="*/ 482564 w 561001"/>
                  <a:gd name="connsiteY55" fmla="*/ 112572 h 647442"/>
                  <a:gd name="connsiteX56" fmla="*/ 545639 w 561001"/>
                  <a:gd name="connsiteY56" fmla="*/ 67752 h 647442"/>
                  <a:gd name="connsiteX57" fmla="*/ 547865 w 561001"/>
                  <a:gd name="connsiteY57" fmla="*/ 65081 h 647442"/>
                  <a:gd name="connsiteX58" fmla="*/ 546826 w 561001"/>
                  <a:gd name="connsiteY58" fmla="*/ 52763 h 647442"/>
                  <a:gd name="connsiteX59" fmla="*/ 534508 w 561001"/>
                  <a:gd name="connsiteY59" fmla="*/ 53801 h 647442"/>
                  <a:gd name="connsiteX60" fmla="*/ 524416 w 561001"/>
                  <a:gd name="connsiteY60" fmla="*/ 65674 h 647442"/>
                  <a:gd name="connsiteX61" fmla="*/ 461934 w 561001"/>
                  <a:gd name="connsiteY61" fmla="*/ 13137 h 647442"/>
                  <a:gd name="connsiteX62" fmla="*/ 449616 w 561001"/>
                  <a:gd name="connsiteY62" fmla="*/ 14176 h 647442"/>
                  <a:gd name="connsiteX63" fmla="*/ 450655 w 561001"/>
                  <a:gd name="connsiteY63" fmla="*/ 26494 h 647442"/>
                  <a:gd name="connsiteX64" fmla="*/ 511949 w 561001"/>
                  <a:gd name="connsiteY64" fmla="*/ 78141 h 647442"/>
                  <a:gd name="connsiteX65" fmla="*/ 506012 w 561001"/>
                  <a:gd name="connsiteY65" fmla="*/ 82296 h 647442"/>
                  <a:gd name="connsiteX66" fmla="*/ 484196 w 561001"/>
                  <a:gd name="connsiteY66" fmla="*/ 93427 h 647442"/>
                  <a:gd name="connsiteX67" fmla="*/ 481079 w 561001"/>
                  <a:gd name="connsiteY67" fmla="*/ 94614 h 647442"/>
                  <a:gd name="connsiteX68" fmla="*/ 429729 w 561001"/>
                  <a:gd name="connsiteY68" fmla="*/ 51427 h 647442"/>
                  <a:gd name="connsiteX69" fmla="*/ 417411 w 561001"/>
                  <a:gd name="connsiteY69" fmla="*/ 52466 h 647442"/>
                  <a:gd name="connsiteX70" fmla="*/ 415333 w 561001"/>
                  <a:gd name="connsiteY70" fmla="*/ 58847 h 647442"/>
                  <a:gd name="connsiteX71" fmla="*/ 418450 w 561001"/>
                  <a:gd name="connsiteY71" fmla="*/ 64784 h 647442"/>
                  <a:gd name="connsiteX72" fmla="*/ 460747 w 561001"/>
                  <a:gd name="connsiteY72" fmla="*/ 100402 h 647442"/>
                  <a:gd name="connsiteX73" fmla="*/ 448726 w 561001"/>
                  <a:gd name="connsiteY73" fmla="*/ 102332 h 647442"/>
                  <a:gd name="connsiteX74" fmla="*/ 422308 w 561001"/>
                  <a:gd name="connsiteY74" fmla="*/ 105448 h 647442"/>
                  <a:gd name="connsiteX75" fmla="*/ 346470 w 561001"/>
                  <a:gd name="connsiteY75" fmla="*/ 106339 h 647442"/>
                  <a:gd name="connsiteX76" fmla="*/ 188115 w 561001"/>
                  <a:gd name="connsiteY76" fmla="*/ 117469 h 647442"/>
                  <a:gd name="connsiteX77" fmla="*/ 184850 w 561001"/>
                  <a:gd name="connsiteY77" fmla="*/ 118360 h 647442"/>
                  <a:gd name="connsiteX78" fmla="*/ 110050 w 561001"/>
                  <a:gd name="connsiteY78" fmla="*/ 163476 h 647442"/>
                  <a:gd name="connsiteX79" fmla="*/ 109159 w 561001"/>
                  <a:gd name="connsiteY79" fmla="*/ 164515 h 647442"/>
                  <a:gd name="connsiteX80" fmla="*/ 89421 w 561001"/>
                  <a:gd name="connsiteY80" fmla="*/ 426014 h 647442"/>
                  <a:gd name="connsiteX81" fmla="*/ 106636 w 561001"/>
                  <a:gd name="connsiteY81" fmla="*/ 482113 h 647442"/>
                  <a:gd name="connsiteX82" fmla="*/ 112425 w 561001"/>
                  <a:gd name="connsiteY82" fmla="*/ 526043 h 647442"/>
                  <a:gd name="connsiteX83" fmla="*/ 112870 w 561001"/>
                  <a:gd name="connsiteY83" fmla="*/ 538509 h 647442"/>
                  <a:gd name="connsiteX84" fmla="*/ 58551 w 561001"/>
                  <a:gd name="connsiteY84" fmla="*/ 492799 h 647442"/>
                  <a:gd name="connsiteX85" fmla="*/ 52169 w 561001"/>
                  <a:gd name="connsiteY85" fmla="*/ 490721 h 647442"/>
                  <a:gd name="connsiteX86" fmla="*/ 46233 w 561001"/>
                  <a:gd name="connsiteY86" fmla="*/ 493838 h 647442"/>
                  <a:gd name="connsiteX87" fmla="*/ 47272 w 561001"/>
                  <a:gd name="connsiteY87" fmla="*/ 506156 h 647442"/>
                  <a:gd name="connsiteX88" fmla="*/ 110347 w 561001"/>
                  <a:gd name="connsiteY88" fmla="*/ 559287 h 647442"/>
                  <a:gd name="connsiteX89" fmla="*/ 109753 w 561001"/>
                  <a:gd name="connsiteY89" fmla="*/ 562552 h 647442"/>
                  <a:gd name="connsiteX90" fmla="*/ 102481 w 561001"/>
                  <a:gd name="connsiteY90" fmla="*/ 586891 h 647442"/>
                  <a:gd name="connsiteX91" fmla="*/ 99513 w 561001"/>
                  <a:gd name="connsiteY91" fmla="*/ 593866 h 647442"/>
                  <a:gd name="connsiteX92" fmla="*/ 25752 w 561001"/>
                  <a:gd name="connsiteY92" fmla="*/ 531831 h 647442"/>
                  <a:gd name="connsiteX93" fmla="*/ 20112 w 561001"/>
                  <a:gd name="connsiteY93" fmla="*/ 529753 h 647442"/>
                  <a:gd name="connsiteX94" fmla="*/ 87046 w 561001"/>
                  <a:gd name="connsiteY94" fmla="*/ 647443 h 647442"/>
                  <a:gd name="connsiteX95" fmla="*/ 74283 w 561001"/>
                  <a:gd name="connsiteY95" fmla="*/ 642842 h 647442"/>
                  <a:gd name="connsiteX96" fmla="*/ 67307 w 561001"/>
                  <a:gd name="connsiteY96" fmla="*/ 629336 h 647442"/>
                  <a:gd name="connsiteX97" fmla="*/ 71908 w 561001"/>
                  <a:gd name="connsiteY97" fmla="*/ 614793 h 647442"/>
                  <a:gd name="connsiteX98" fmla="*/ 75025 w 561001"/>
                  <a:gd name="connsiteY98" fmla="*/ 610785 h 647442"/>
                  <a:gd name="connsiteX99" fmla="*/ 7052 w 561001"/>
                  <a:gd name="connsiteY99" fmla="*/ 553647 h 647442"/>
                  <a:gd name="connsiteX100" fmla="*/ 4677 w 561001"/>
                  <a:gd name="connsiteY100" fmla="*/ 525598 h 647442"/>
                  <a:gd name="connsiteX101" fmla="*/ 32727 w 561001"/>
                  <a:gd name="connsiteY101" fmla="*/ 523223 h 647442"/>
                  <a:gd name="connsiteX102" fmla="*/ 94615 w 561001"/>
                  <a:gd name="connsiteY102" fmla="*/ 575315 h 647442"/>
                  <a:gd name="connsiteX103" fmla="*/ 97880 w 561001"/>
                  <a:gd name="connsiteY103" fmla="*/ 563442 h 647442"/>
                  <a:gd name="connsiteX104" fmla="*/ 39851 w 561001"/>
                  <a:gd name="connsiteY104" fmla="*/ 514615 h 647442"/>
                  <a:gd name="connsiteX105" fmla="*/ 37477 w 561001"/>
                  <a:gd name="connsiteY105" fmla="*/ 486566 h 647442"/>
                  <a:gd name="connsiteX106" fmla="*/ 50982 w 561001"/>
                  <a:gd name="connsiteY106" fmla="*/ 479590 h 647442"/>
                  <a:gd name="connsiteX107" fmla="*/ 65526 w 561001"/>
                  <a:gd name="connsiteY107" fmla="*/ 484191 h 647442"/>
                  <a:gd name="connsiteX108" fmla="*/ 100255 w 561001"/>
                  <a:gd name="connsiteY108" fmla="*/ 513428 h 647442"/>
                  <a:gd name="connsiteX109" fmla="*/ 95654 w 561001"/>
                  <a:gd name="connsiteY109" fmla="*/ 484340 h 647442"/>
                  <a:gd name="connsiteX110" fmla="*/ 78883 w 561001"/>
                  <a:gd name="connsiteY110" fmla="*/ 429428 h 647442"/>
                  <a:gd name="connsiteX111" fmla="*/ 100107 w 561001"/>
                  <a:gd name="connsiteY111" fmla="*/ 157688 h 647442"/>
                  <a:gd name="connsiteX112" fmla="*/ 100107 w 561001"/>
                  <a:gd name="connsiteY112" fmla="*/ 154127 h 647442"/>
                  <a:gd name="connsiteX113" fmla="*/ 103075 w 561001"/>
                  <a:gd name="connsiteY113" fmla="*/ 154127 h 647442"/>
                  <a:gd name="connsiteX114" fmla="*/ 180842 w 561001"/>
                  <a:gd name="connsiteY114" fmla="*/ 107823 h 647442"/>
                  <a:gd name="connsiteX115" fmla="*/ 185889 w 561001"/>
                  <a:gd name="connsiteY115" fmla="*/ 106487 h 647442"/>
                  <a:gd name="connsiteX116" fmla="*/ 345728 w 561001"/>
                  <a:gd name="connsiteY116" fmla="*/ 95059 h 647442"/>
                  <a:gd name="connsiteX117" fmla="*/ 421269 w 561001"/>
                  <a:gd name="connsiteY117" fmla="*/ 94317 h 647442"/>
                  <a:gd name="connsiteX118" fmla="*/ 434626 w 561001"/>
                  <a:gd name="connsiteY118" fmla="*/ 92982 h 647442"/>
                  <a:gd name="connsiteX119" fmla="*/ 411178 w 561001"/>
                  <a:gd name="connsiteY119" fmla="*/ 73243 h 647442"/>
                  <a:gd name="connsiteX120" fmla="*/ 404202 w 561001"/>
                  <a:gd name="connsiteY120" fmla="*/ 59738 h 647442"/>
                  <a:gd name="connsiteX121" fmla="*/ 408803 w 561001"/>
                  <a:gd name="connsiteY121" fmla="*/ 45193 h 647442"/>
                  <a:gd name="connsiteX122" fmla="*/ 422308 w 561001"/>
                  <a:gd name="connsiteY122" fmla="*/ 38218 h 647442"/>
                  <a:gd name="connsiteX123" fmla="*/ 436852 w 561001"/>
                  <a:gd name="connsiteY123" fmla="*/ 42819 h 647442"/>
                  <a:gd name="connsiteX124" fmla="*/ 483157 w 561001"/>
                  <a:gd name="connsiteY124" fmla="*/ 81851 h 647442"/>
                  <a:gd name="connsiteX125" fmla="*/ 493249 w 561001"/>
                  <a:gd name="connsiteY125" fmla="*/ 77102 h 647442"/>
                  <a:gd name="connsiteX126" fmla="*/ 443383 w 561001"/>
                  <a:gd name="connsiteY126" fmla="*/ 35102 h 647442"/>
                  <a:gd name="connsiteX127" fmla="*/ 441008 w 561001"/>
                  <a:gd name="connsiteY127" fmla="*/ 7052 h 647442"/>
                  <a:gd name="connsiteX128" fmla="*/ 469058 w 561001"/>
                  <a:gd name="connsiteY128" fmla="*/ 4677 h 647442"/>
                  <a:gd name="connsiteX129" fmla="*/ 523080 w 561001"/>
                  <a:gd name="connsiteY129" fmla="*/ 50091 h 647442"/>
                  <a:gd name="connsiteX130" fmla="*/ 525900 w 561001"/>
                  <a:gd name="connsiteY130" fmla="*/ 46678 h 647442"/>
                  <a:gd name="connsiteX131" fmla="*/ 553950 w 561001"/>
                  <a:gd name="connsiteY131" fmla="*/ 44303 h 647442"/>
                  <a:gd name="connsiteX132" fmla="*/ 556324 w 561001"/>
                  <a:gd name="connsiteY132" fmla="*/ 72353 h 647442"/>
                  <a:gd name="connsiteX133" fmla="*/ 554098 w 561001"/>
                  <a:gd name="connsiteY133" fmla="*/ 75024 h 647442"/>
                  <a:gd name="connsiteX134" fmla="*/ 485829 w 561001"/>
                  <a:gd name="connsiteY134" fmla="*/ 123257 h 647442"/>
                  <a:gd name="connsiteX135" fmla="*/ 483899 w 561001"/>
                  <a:gd name="connsiteY135" fmla="*/ 123851 h 647442"/>
                  <a:gd name="connsiteX136" fmla="*/ 424831 w 561001"/>
                  <a:gd name="connsiteY136" fmla="*/ 134091 h 647442"/>
                  <a:gd name="connsiteX137" fmla="*/ 345579 w 561001"/>
                  <a:gd name="connsiteY137" fmla="*/ 134982 h 647442"/>
                  <a:gd name="connsiteX138" fmla="*/ 233083 w 561001"/>
                  <a:gd name="connsiteY138" fmla="*/ 137950 h 647442"/>
                  <a:gd name="connsiteX139" fmla="*/ 258016 w 561001"/>
                  <a:gd name="connsiteY139" fmla="*/ 158876 h 647442"/>
                  <a:gd name="connsiteX140" fmla="*/ 264992 w 561001"/>
                  <a:gd name="connsiteY140" fmla="*/ 172381 h 647442"/>
                  <a:gd name="connsiteX141" fmla="*/ 260391 w 561001"/>
                  <a:gd name="connsiteY141" fmla="*/ 186925 h 647442"/>
                  <a:gd name="connsiteX142" fmla="*/ 232490 w 561001"/>
                  <a:gd name="connsiteY142" fmla="*/ 189300 h 647442"/>
                  <a:gd name="connsiteX143" fmla="*/ 183959 w 561001"/>
                  <a:gd name="connsiteY143" fmla="*/ 148487 h 647442"/>
                  <a:gd name="connsiteX144" fmla="*/ 166298 w 561001"/>
                  <a:gd name="connsiteY144" fmla="*/ 155759 h 647442"/>
                  <a:gd name="connsiteX145" fmla="*/ 221507 w 561001"/>
                  <a:gd name="connsiteY145" fmla="*/ 202212 h 647442"/>
                  <a:gd name="connsiteX146" fmla="*/ 228483 w 561001"/>
                  <a:gd name="connsiteY146" fmla="*/ 215717 h 647442"/>
                  <a:gd name="connsiteX147" fmla="*/ 223882 w 561001"/>
                  <a:gd name="connsiteY147" fmla="*/ 230261 h 647442"/>
                  <a:gd name="connsiteX148" fmla="*/ 210376 w 561001"/>
                  <a:gd name="connsiteY148" fmla="*/ 237236 h 647442"/>
                  <a:gd name="connsiteX149" fmla="*/ 195832 w 561001"/>
                  <a:gd name="connsiteY149" fmla="*/ 232636 h 647442"/>
                  <a:gd name="connsiteX150" fmla="*/ 133499 w 561001"/>
                  <a:gd name="connsiteY150" fmla="*/ 180099 h 647442"/>
                  <a:gd name="connsiteX151" fmla="*/ 132015 w 561001"/>
                  <a:gd name="connsiteY151" fmla="*/ 181879 h 647442"/>
                  <a:gd name="connsiteX152" fmla="*/ 122962 w 561001"/>
                  <a:gd name="connsiteY152" fmla="*/ 193307 h 647442"/>
                  <a:gd name="connsiteX153" fmla="*/ 184998 w 561001"/>
                  <a:gd name="connsiteY153" fmla="*/ 245547 h 647442"/>
                  <a:gd name="connsiteX154" fmla="*/ 187372 w 561001"/>
                  <a:gd name="connsiteY154" fmla="*/ 273597 h 647442"/>
                  <a:gd name="connsiteX155" fmla="*/ 173867 w 561001"/>
                  <a:gd name="connsiteY155" fmla="*/ 280572 h 647442"/>
                  <a:gd name="connsiteX156" fmla="*/ 159323 w 561001"/>
                  <a:gd name="connsiteY156" fmla="*/ 275972 h 647442"/>
                  <a:gd name="connsiteX157" fmla="*/ 102481 w 561001"/>
                  <a:gd name="connsiteY157" fmla="*/ 228183 h 647442"/>
                  <a:gd name="connsiteX158" fmla="*/ 96693 w 561001"/>
                  <a:gd name="connsiteY158" fmla="*/ 243618 h 647442"/>
                  <a:gd name="connsiteX159" fmla="*/ 149379 w 561001"/>
                  <a:gd name="connsiteY159" fmla="*/ 287844 h 647442"/>
                  <a:gd name="connsiteX160" fmla="*/ 151754 w 561001"/>
                  <a:gd name="connsiteY160" fmla="*/ 315746 h 647442"/>
                  <a:gd name="connsiteX161" fmla="*/ 138248 w 561001"/>
                  <a:gd name="connsiteY161" fmla="*/ 322721 h 647442"/>
                  <a:gd name="connsiteX162" fmla="*/ 123704 w 561001"/>
                  <a:gd name="connsiteY162" fmla="*/ 318120 h 647442"/>
                  <a:gd name="connsiteX163" fmla="*/ 88976 w 561001"/>
                  <a:gd name="connsiteY163" fmla="*/ 288883 h 647442"/>
                  <a:gd name="connsiteX164" fmla="*/ 116432 w 561001"/>
                  <a:gd name="connsiteY164" fmla="*/ 416665 h 647442"/>
                  <a:gd name="connsiteX165" fmla="*/ 134538 w 561001"/>
                  <a:gd name="connsiteY165" fmla="*/ 476177 h 647442"/>
                  <a:gd name="connsiteX166" fmla="*/ 139436 w 561001"/>
                  <a:gd name="connsiteY166" fmla="*/ 556912 h 647442"/>
                  <a:gd name="connsiteX167" fmla="*/ 138842 w 561001"/>
                  <a:gd name="connsiteY167" fmla="*/ 560623 h 647442"/>
                  <a:gd name="connsiteX168" fmla="*/ 119251 w 561001"/>
                  <a:gd name="connsiteY168" fmla="*/ 616870 h 647442"/>
                  <a:gd name="connsiteX169" fmla="*/ 118361 w 561001"/>
                  <a:gd name="connsiteY169" fmla="*/ 618354 h 647442"/>
                  <a:gd name="connsiteX170" fmla="*/ 102481 w 561001"/>
                  <a:gd name="connsiteY170" fmla="*/ 640319 h 647442"/>
                  <a:gd name="connsiteX171" fmla="*/ 87343 w 561001"/>
                  <a:gd name="connsiteY171" fmla="*/ 647443 h 64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561001" h="647442">
                    <a:moveTo>
                      <a:pt x="19816" y="529753"/>
                    </a:moveTo>
                    <a:cubicBezTo>
                      <a:pt x="19816" y="529753"/>
                      <a:pt x="19222" y="529753"/>
                      <a:pt x="19073" y="529753"/>
                    </a:cubicBezTo>
                    <a:cubicBezTo>
                      <a:pt x="16699" y="529902"/>
                      <a:pt x="14621" y="531089"/>
                      <a:pt x="13137" y="532870"/>
                    </a:cubicBezTo>
                    <a:cubicBezTo>
                      <a:pt x="10021" y="536580"/>
                      <a:pt x="10466" y="542071"/>
                      <a:pt x="14176" y="545188"/>
                    </a:cubicBezTo>
                    <a:lnTo>
                      <a:pt x="90163" y="609153"/>
                    </a:lnTo>
                    <a:lnTo>
                      <a:pt x="87046" y="613308"/>
                    </a:lnTo>
                    <a:cubicBezTo>
                      <a:pt x="84820" y="616425"/>
                      <a:pt x="82594" y="619245"/>
                      <a:pt x="80219" y="621916"/>
                    </a:cubicBezTo>
                    <a:cubicBezTo>
                      <a:pt x="78735" y="623697"/>
                      <a:pt x="77993" y="625923"/>
                      <a:pt x="78141" y="628297"/>
                    </a:cubicBezTo>
                    <a:cubicBezTo>
                      <a:pt x="78290" y="630672"/>
                      <a:pt x="79477" y="632750"/>
                      <a:pt x="81258" y="634234"/>
                    </a:cubicBezTo>
                    <a:cubicBezTo>
                      <a:pt x="84820" y="637202"/>
                      <a:pt x="90608" y="636757"/>
                      <a:pt x="93576" y="633195"/>
                    </a:cubicBezTo>
                    <a:cubicBezTo>
                      <a:pt x="99513" y="626071"/>
                      <a:pt x="104559" y="619245"/>
                      <a:pt x="108714" y="612418"/>
                    </a:cubicBezTo>
                    <a:lnTo>
                      <a:pt x="114205" y="614050"/>
                    </a:lnTo>
                    <a:lnTo>
                      <a:pt x="109456" y="611230"/>
                    </a:lnTo>
                    <a:cubicBezTo>
                      <a:pt x="118955" y="595202"/>
                      <a:pt x="124891" y="577987"/>
                      <a:pt x="127711" y="558396"/>
                    </a:cubicBezTo>
                    <a:cubicBezTo>
                      <a:pt x="128008" y="557209"/>
                      <a:pt x="128008" y="556615"/>
                      <a:pt x="128008" y="556022"/>
                    </a:cubicBezTo>
                    <a:cubicBezTo>
                      <a:pt x="130976" y="532573"/>
                      <a:pt x="129344" y="506601"/>
                      <a:pt x="123259" y="478552"/>
                    </a:cubicBezTo>
                    <a:cubicBezTo>
                      <a:pt x="119400" y="460446"/>
                      <a:pt x="112721" y="441004"/>
                      <a:pt x="105598" y="420523"/>
                    </a:cubicBezTo>
                    <a:cubicBezTo>
                      <a:pt x="90459" y="376891"/>
                      <a:pt x="73541" y="327618"/>
                      <a:pt x="78290" y="277159"/>
                    </a:cubicBezTo>
                    <a:lnTo>
                      <a:pt x="79329" y="266622"/>
                    </a:lnTo>
                    <a:lnTo>
                      <a:pt x="130679" y="309809"/>
                    </a:lnTo>
                    <a:cubicBezTo>
                      <a:pt x="132460" y="311293"/>
                      <a:pt x="134686" y="312035"/>
                      <a:pt x="137061" y="311887"/>
                    </a:cubicBezTo>
                    <a:cubicBezTo>
                      <a:pt x="139436" y="311738"/>
                      <a:pt x="141513" y="310551"/>
                      <a:pt x="142997" y="308770"/>
                    </a:cubicBezTo>
                    <a:cubicBezTo>
                      <a:pt x="146114" y="305060"/>
                      <a:pt x="145669" y="299569"/>
                      <a:pt x="141958" y="296452"/>
                    </a:cubicBezTo>
                    <a:lnTo>
                      <a:pt x="83781" y="247477"/>
                    </a:lnTo>
                    <a:lnTo>
                      <a:pt x="84820" y="243915"/>
                    </a:lnTo>
                    <a:cubicBezTo>
                      <a:pt x="87491" y="234713"/>
                      <a:pt x="91053" y="225660"/>
                      <a:pt x="95357" y="216756"/>
                    </a:cubicBezTo>
                    <a:lnTo>
                      <a:pt x="98474" y="210374"/>
                    </a:lnTo>
                    <a:lnTo>
                      <a:pt x="166298" y="267364"/>
                    </a:lnTo>
                    <a:cubicBezTo>
                      <a:pt x="168079" y="268848"/>
                      <a:pt x="170305" y="269738"/>
                      <a:pt x="172680" y="269441"/>
                    </a:cubicBezTo>
                    <a:cubicBezTo>
                      <a:pt x="174906" y="269293"/>
                      <a:pt x="177132" y="268106"/>
                      <a:pt x="178616" y="266325"/>
                    </a:cubicBezTo>
                    <a:cubicBezTo>
                      <a:pt x="181733" y="262615"/>
                      <a:pt x="181288" y="257124"/>
                      <a:pt x="177578" y="254007"/>
                    </a:cubicBezTo>
                    <a:lnTo>
                      <a:pt x="107675" y="195236"/>
                    </a:lnTo>
                    <a:lnTo>
                      <a:pt x="110644" y="191081"/>
                    </a:lnTo>
                    <a:cubicBezTo>
                      <a:pt x="114503" y="185590"/>
                      <a:pt x="118658" y="180099"/>
                      <a:pt x="123259" y="174607"/>
                    </a:cubicBezTo>
                    <a:cubicBezTo>
                      <a:pt x="125040" y="172530"/>
                      <a:pt x="126969" y="170452"/>
                      <a:pt x="128898" y="168374"/>
                    </a:cubicBezTo>
                    <a:lnTo>
                      <a:pt x="132460" y="164664"/>
                    </a:lnTo>
                    <a:lnTo>
                      <a:pt x="202807" y="223880"/>
                    </a:lnTo>
                    <a:cubicBezTo>
                      <a:pt x="204588" y="225364"/>
                      <a:pt x="206814" y="226106"/>
                      <a:pt x="209189" y="225957"/>
                    </a:cubicBezTo>
                    <a:cubicBezTo>
                      <a:pt x="211564" y="225809"/>
                      <a:pt x="213641" y="224622"/>
                      <a:pt x="215126" y="222841"/>
                    </a:cubicBezTo>
                    <a:cubicBezTo>
                      <a:pt x="216609" y="221060"/>
                      <a:pt x="217352" y="218834"/>
                      <a:pt x="217203" y="216459"/>
                    </a:cubicBezTo>
                    <a:cubicBezTo>
                      <a:pt x="217055" y="214084"/>
                      <a:pt x="215868" y="212007"/>
                      <a:pt x="214087" y="210523"/>
                    </a:cubicBezTo>
                    <a:lnTo>
                      <a:pt x="146411" y="153682"/>
                    </a:lnTo>
                    <a:lnTo>
                      <a:pt x="153386" y="149674"/>
                    </a:lnTo>
                    <a:cubicBezTo>
                      <a:pt x="162291" y="144629"/>
                      <a:pt x="172234" y="140176"/>
                      <a:pt x="183217" y="136763"/>
                    </a:cubicBezTo>
                    <a:lnTo>
                      <a:pt x="186185" y="135872"/>
                    </a:lnTo>
                    <a:lnTo>
                      <a:pt x="239316" y="180544"/>
                    </a:lnTo>
                    <a:cubicBezTo>
                      <a:pt x="241098" y="182028"/>
                      <a:pt x="243324" y="182622"/>
                      <a:pt x="245698" y="182622"/>
                    </a:cubicBezTo>
                    <a:cubicBezTo>
                      <a:pt x="248073" y="182473"/>
                      <a:pt x="250151" y="181286"/>
                      <a:pt x="251635" y="179505"/>
                    </a:cubicBezTo>
                    <a:cubicBezTo>
                      <a:pt x="253119" y="177724"/>
                      <a:pt x="253861" y="175498"/>
                      <a:pt x="253712" y="173123"/>
                    </a:cubicBezTo>
                    <a:cubicBezTo>
                      <a:pt x="253564" y="170749"/>
                      <a:pt x="252377" y="168671"/>
                      <a:pt x="250596" y="167187"/>
                    </a:cubicBezTo>
                    <a:lnTo>
                      <a:pt x="206814" y="130381"/>
                    </a:lnTo>
                    <a:lnTo>
                      <a:pt x="218836" y="128452"/>
                    </a:lnTo>
                    <a:cubicBezTo>
                      <a:pt x="258758" y="122070"/>
                      <a:pt x="302837" y="122812"/>
                      <a:pt x="345579" y="123703"/>
                    </a:cubicBezTo>
                    <a:cubicBezTo>
                      <a:pt x="372739" y="124296"/>
                      <a:pt x="400640" y="124741"/>
                      <a:pt x="423793" y="122812"/>
                    </a:cubicBezTo>
                    <a:cubicBezTo>
                      <a:pt x="446500" y="120883"/>
                      <a:pt x="465199" y="117766"/>
                      <a:pt x="480931" y="113017"/>
                    </a:cubicBezTo>
                    <a:lnTo>
                      <a:pt x="482564" y="112572"/>
                    </a:lnTo>
                    <a:cubicBezTo>
                      <a:pt x="516995" y="101886"/>
                      <a:pt x="530946" y="85413"/>
                      <a:pt x="545639" y="67752"/>
                    </a:cubicBezTo>
                    <a:lnTo>
                      <a:pt x="547865" y="65081"/>
                    </a:lnTo>
                    <a:cubicBezTo>
                      <a:pt x="550981" y="61370"/>
                      <a:pt x="550536" y="55879"/>
                      <a:pt x="546826" y="52763"/>
                    </a:cubicBezTo>
                    <a:cubicBezTo>
                      <a:pt x="543115" y="49646"/>
                      <a:pt x="537624" y="50091"/>
                      <a:pt x="534508" y="53801"/>
                    </a:cubicBezTo>
                    <a:lnTo>
                      <a:pt x="524416" y="65674"/>
                    </a:lnTo>
                    <a:lnTo>
                      <a:pt x="461934" y="13137"/>
                    </a:lnTo>
                    <a:cubicBezTo>
                      <a:pt x="458224" y="10020"/>
                      <a:pt x="452733" y="10465"/>
                      <a:pt x="449616" y="14176"/>
                    </a:cubicBezTo>
                    <a:cubicBezTo>
                      <a:pt x="446500" y="17886"/>
                      <a:pt x="447093" y="23377"/>
                      <a:pt x="450655" y="26494"/>
                    </a:cubicBezTo>
                    <a:lnTo>
                      <a:pt x="511949" y="78141"/>
                    </a:lnTo>
                    <a:lnTo>
                      <a:pt x="506012" y="82296"/>
                    </a:lnTo>
                    <a:cubicBezTo>
                      <a:pt x="499631" y="86748"/>
                      <a:pt x="492507" y="90310"/>
                      <a:pt x="484196" y="93427"/>
                    </a:cubicBezTo>
                    <a:lnTo>
                      <a:pt x="481079" y="94614"/>
                    </a:lnTo>
                    <a:lnTo>
                      <a:pt x="429729" y="51427"/>
                    </a:lnTo>
                    <a:cubicBezTo>
                      <a:pt x="426019" y="48310"/>
                      <a:pt x="420528" y="48755"/>
                      <a:pt x="417411" y="52466"/>
                    </a:cubicBezTo>
                    <a:cubicBezTo>
                      <a:pt x="415927" y="54246"/>
                      <a:pt x="415185" y="56473"/>
                      <a:pt x="415333" y="58847"/>
                    </a:cubicBezTo>
                    <a:cubicBezTo>
                      <a:pt x="415482" y="61222"/>
                      <a:pt x="416669" y="63300"/>
                      <a:pt x="418450" y="64784"/>
                    </a:cubicBezTo>
                    <a:lnTo>
                      <a:pt x="460747" y="100402"/>
                    </a:lnTo>
                    <a:lnTo>
                      <a:pt x="448726" y="102332"/>
                    </a:lnTo>
                    <a:cubicBezTo>
                      <a:pt x="440711" y="103667"/>
                      <a:pt x="432104" y="104706"/>
                      <a:pt x="422308" y="105448"/>
                    </a:cubicBezTo>
                    <a:cubicBezTo>
                      <a:pt x="400492" y="107229"/>
                      <a:pt x="374223" y="106784"/>
                      <a:pt x="346470" y="106339"/>
                    </a:cubicBezTo>
                    <a:cubicBezTo>
                      <a:pt x="294823" y="105300"/>
                      <a:pt x="237090" y="104261"/>
                      <a:pt x="188115" y="117469"/>
                    </a:cubicBezTo>
                    <a:cubicBezTo>
                      <a:pt x="186482" y="117766"/>
                      <a:pt x="185591" y="117915"/>
                      <a:pt x="184850" y="118360"/>
                    </a:cubicBezTo>
                    <a:cubicBezTo>
                      <a:pt x="151754" y="128006"/>
                      <a:pt x="127562" y="142699"/>
                      <a:pt x="110050" y="163476"/>
                    </a:cubicBezTo>
                    <a:lnTo>
                      <a:pt x="109159" y="164515"/>
                    </a:lnTo>
                    <a:cubicBezTo>
                      <a:pt x="31392" y="257865"/>
                      <a:pt x="63597" y="351067"/>
                      <a:pt x="89421" y="426014"/>
                    </a:cubicBezTo>
                    <a:cubicBezTo>
                      <a:pt x="96396" y="446050"/>
                      <a:pt x="102926" y="465046"/>
                      <a:pt x="106636" y="482113"/>
                    </a:cubicBezTo>
                    <a:cubicBezTo>
                      <a:pt x="109901" y="497697"/>
                      <a:pt x="111979" y="512389"/>
                      <a:pt x="112425" y="526043"/>
                    </a:cubicBezTo>
                    <a:lnTo>
                      <a:pt x="112870" y="538509"/>
                    </a:lnTo>
                    <a:lnTo>
                      <a:pt x="58551" y="492799"/>
                    </a:lnTo>
                    <a:cubicBezTo>
                      <a:pt x="56770" y="491315"/>
                      <a:pt x="54544" y="490573"/>
                      <a:pt x="52169" y="490721"/>
                    </a:cubicBezTo>
                    <a:cubicBezTo>
                      <a:pt x="49795" y="490870"/>
                      <a:pt x="47717" y="492057"/>
                      <a:pt x="46233" y="493838"/>
                    </a:cubicBezTo>
                    <a:cubicBezTo>
                      <a:pt x="43116" y="497548"/>
                      <a:pt x="43561" y="503039"/>
                      <a:pt x="47272" y="506156"/>
                    </a:cubicBezTo>
                    <a:lnTo>
                      <a:pt x="110347" y="559287"/>
                    </a:lnTo>
                    <a:lnTo>
                      <a:pt x="109753" y="562552"/>
                    </a:lnTo>
                    <a:cubicBezTo>
                      <a:pt x="108120" y="571011"/>
                      <a:pt x="105598" y="579174"/>
                      <a:pt x="102481" y="586891"/>
                    </a:cubicBezTo>
                    <a:lnTo>
                      <a:pt x="99513" y="593866"/>
                    </a:lnTo>
                    <a:lnTo>
                      <a:pt x="25752" y="531831"/>
                    </a:lnTo>
                    <a:cubicBezTo>
                      <a:pt x="24119" y="530495"/>
                      <a:pt x="22190" y="529753"/>
                      <a:pt x="20112" y="529753"/>
                    </a:cubicBezTo>
                    <a:moveTo>
                      <a:pt x="87046" y="647443"/>
                    </a:moveTo>
                    <a:cubicBezTo>
                      <a:pt x="82446" y="647443"/>
                      <a:pt x="77845" y="645810"/>
                      <a:pt x="74283" y="642842"/>
                    </a:cubicBezTo>
                    <a:cubicBezTo>
                      <a:pt x="70276" y="639428"/>
                      <a:pt x="67752" y="634679"/>
                      <a:pt x="67307" y="629336"/>
                    </a:cubicBezTo>
                    <a:cubicBezTo>
                      <a:pt x="66862" y="623994"/>
                      <a:pt x="68495" y="618948"/>
                      <a:pt x="71908" y="614793"/>
                    </a:cubicBezTo>
                    <a:cubicBezTo>
                      <a:pt x="72947" y="613456"/>
                      <a:pt x="73986" y="612269"/>
                      <a:pt x="75025" y="610785"/>
                    </a:cubicBezTo>
                    <a:lnTo>
                      <a:pt x="7052" y="553647"/>
                    </a:lnTo>
                    <a:cubicBezTo>
                      <a:pt x="-1259" y="546672"/>
                      <a:pt x="-2446" y="534057"/>
                      <a:pt x="4677" y="525598"/>
                    </a:cubicBezTo>
                    <a:cubicBezTo>
                      <a:pt x="11801" y="517287"/>
                      <a:pt x="24268" y="516100"/>
                      <a:pt x="32727" y="523223"/>
                    </a:cubicBezTo>
                    <a:lnTo>
                      <a:pt x="94615" y="575315"/>
                    </a:lnTo>
                    <a:cubicBezTo>
                      <a:pt x="95951" y="571457"/>
                      <a:pt x="96990" y="567598"/>
                      <a:pt x="97880" y="563442"/>
                    </a:cubicBezTo>
                    <a:lnTo>
                      <a:pt x="39851" y="514615"/>
                    </a:lnTo>
                    <a:cubicBezTo>
                      <a:pt x="31540" y="507492"/>
                      <a:pt x="30353" y="495025"/>
                      <a:pt x="37477" y="486566"/>
                    </a:cubicBezTo>
                    <a:cubicBezTo>
                      <a:pt x="40890" y="482559"/>
                      <a:pt x="45639" y="480036"/>
                      <a:pt x="50982" y="479590"/>
                    </a:cubicBezTo>
                    <a:cubicBezTo>
                      <a:pt x="56325" y="479145"/>
                      <a:pt x="61371" y="480778"/>
                      <a:pt x="65526" y="484191"/>
                    </a:cubicBezTo>
                    <a:lnTo>
                      <a:pt x="100255" y="513428"/>
                    </a:lnTo>
                    <a:cubicBezTo>
                      <a:pt x="99364" y="504227"/>
                      <a:pt x="97880" y="494432"/>
                      <a:pt x="95654" y="484340"/>
                    </a:cubicBezTo>
                    <a:cubicBezTo>
                      <a:pt x="92092" y="467866"/>
                      <a:pt x="85711" y="449166"/>
                      <a:pt x="78883" y="429428"/>
                    </a:cubicBezTo>
                    <a:cubicBezTo>
                      <a:pt x="52169" y="351958"/>
                      <a:pt x="18925" y="255639"/>
                      <a:pt x="100107" y="157688"/>
                    </a:cubicBezTo>
                    <a:lnTo>
                      <a:pt x="100107" y="154127"/>
                    </a:lnTo>
                    <a:lnTo>
                      <a:pt x="103075" y="154127"/>
                    </a:lnTo>
                    <a:cubicBezTo>
                      <a:pt x="121775" y="132607"/>
                      <a:pt x="147301" y="117469"/>
                      <a:pt x="180842" y="107823"/>
                    </a:cubicBezTo>
                    <a:cubicBezTo>
                      <a:pt x="181881" y="107229"/>
                      <a:pt x="183811" y="106784"/>
                      <a:pt x="185889" y="106487"/>
                    </a:cubicBezTo>
                    <a:cubicBezTo>
                      <a:pt x="235606" y="92982"/>
                      <a:pt x="294080" y="94021"/>
                      <a:pt x="345728" y="95059"/>
                    </a:cubicBezTo>
                    <a:cubicBezTo>
                      <a:pt x="374075" y="95653"/>
                      <a:pt x="400047" y="96098"/>
                      <a:pt x="421269" y="94317"/>
                    </a:cubicBezTo>
                    <a:cubicBezTo>
                      <a:pt x="425870" y="93872"/>
                      <a:pt x="430323" y="93427"/>
                      <a:pt x="434626" y="92982"/>
                    </a:cubicBezTo>
                    <a:lnTo>
                      <a:pt x="411178" y="73243"/>
                    </a:lnTo>
                    <a:cubicBezTo>
                      <a:pt x="407170" y="69830"/>
                      <a:pt x="404647" y="65081"/>
                      <a:pt x="404202" y="59738"/>
                    </a:cubicBezTo>
                    <a:cubicBezTo>
                      <a:pt x="403757" y="54395"/>
                      <a:pt x="405389" y="49349"/>
                      <a:pt x="408803" y="45193"/>
                    </a:cubicBezTo>
                    <a:cubicBezTo>
                      <a:pt x="412217" y="41187"/>
                      <a:pt x="416965" y="38664"/>
                      <a:pt x="422308" y="38218"/>
                    </a:cubicBezTo>
                    <a:cubicBezTo>
                      <a:pt x="427651" y="37773"/>
                      <a:pt x="432697" y="39405"/>
                      <a:pt x="436852" y="42819"/>
                    </a:cubicBezTo>
                    <a:lnTo>
                      <a:pt x="483157" y="81851"/>
                    </a:lnTo>
                    <a:cubicBezTo>
                      <a:pt x="486719" y="80367"/>
                      <a:pt x="490133" y="78734"/>
                      <a:pt x="493249" y="77102"/>
                    </a:cubicBezTo>
                    <a:lnTo>
                      <a:pt x="443383" y="35102"/>
                    </a:lnTo>
                    <a:cubicBezTo>
                      <a:pt x="435072" y="28126"/>
                      <a:pt x="433885" y="15511"/>
                      <a:pt x="441008" y="7052"/>
                    </a:cubicBezTo>
                    <a:cubicBezTo>
                      <a:pt x="448132" y="-1259"/>
                      <a:pt x="460598" y="-2446"/>
                      <a:pt x="469058" y="4677"/>
                    </a:cubicBezTo>
                    <a:lnTo>
                      <a:pt x="523080" y="50091"/>
                    </a:lnTo>
                    <a:lnTo>
                      <a:pt x="525900" y="46678"/>
                    </a:lnTo>
                    <a:cubicBezTo>
                      <a:pt x="532875" y="38367"/>
                      <a:pt x="545490" y="37179"/>
                      <a:pt x="553950" y="44303"/>
                    </a:cubicBezTo>
                    <a:cubicBezTo>
                      <a:pt x="562261" y="51278"/>
                      <a:pt x="563448" y="63893"/>
                      <a:pt x="556324" y="72353"/>
                    </a:cubicBezTo>
                    <a:lnTo>
                      <a:pt x="554098" y="75024"/>
                    </a:lnTo>
                    <a:cubicBezTo>
                      <a:pt x="539108" y="92982"/>
                      <a:pt x="523525" y="111533"/>
                      <a:pt x="485829" y="123257"/>
                    </a:cubicBezTo>
                    <a:cubicBezTo>
                      <a:pt x="485383" y="123406"/>
                      <a:pt x="484641" y="123703"/>
                      <a:pt x="483899" y="123851"/>
                    </a:cubicBezTo>
                    <a:cubicBezTo>
                      <a:pt x="467722" y="128749"/>
                      <a:pt x="448280" y="132014"/>
                      <a:pt x="424831" y="134091"/>
                    </a:cubicBezTo>
                    <a:cubicBezTo>
                      <a:pt x="401234" y="136021"/>
                      <a:pt x="372887" y="135575"/>
                      <a:pt x="345579" y="134982"/>
                    </a:cubicBezTo>
                    <a:cubicBezTo>
                      <a:pt x="307735" y="134240"/>
                      <a:pt x="268702" y="133498"/>
                      <a:pt x="233083" y="137950"/>
                    </a:cubicBezTo>
                    <a:lnTo>
                      <a:pt x="258016" y="158876"/>
                    </a:lnTo>
                    <a:cubicBezTo>
                      <a:pt x="262023" y="162289"/>
                      <a:pt x="264547" y="167038"/>
                      <a:pt x="264992" y="172381"/>
                    </a:cubicBezTo>
                    <a:cubicBezTo>
                      <a:pt x="265437" y="177724"/>
                      <a:pt x="263805" y="182770"/>
                      <a:pt x="260391" y="186925"/>
                    </a:cubicBezTo>
                    <a:cubicBezTo>
                      <a:pt x="253267" y="195236"/>
                      <a:pt x="240801" y="196424"/>
                      <a:pt x="232490" y="189300"/>
                    </a:cubicBezTo>
                    <a:lnTo>
                      <a:pt x="183959" y="148487"/>
                    </a:lnTo>
                    <a:cubicBezTo>
                      <a:pt x="177726" y="150565"/>
                      <a:pt x="171789" y="153088"/>
                      <a:pt x="166298" y="155759"/>
                    </a:cubicBezTo>
                    <a:lnTo>
                      <a:pt x="221507" y="202212"/>
                    </a:lnTo>
                    <a:cubicBezTo>
                      <a:pt x="225514" y="205625"/>
                      <a:pt x="228037" y="210374"/>
                      <a:pt x="228483" y="215717"/>
                    </a:cubicBezTo>
                    <a:cubicBezTo>
                      <a:pt x="228928" y="221060"/>
                      <a:pt x="227295" y="226106"/>
                      <a:pt x="223882" y="230261"/>
                    </a:cubicBezTo>
                    <a:cubicBezTo>
                      <a:pt x="220468" y="234268"/>
                      <a:pt x="215719" y="236791"/>
                      <a:pt x="210376" y="237236"/>
                    </a:cubicBezTo>
                    <a:cubicBezTo>
                      <a:pt x="205033" y="237682"/>
                      <a:pt x="199987" y="236049"/>
                      <a:pt x="195832" y="232636"/>
                    </a:cubicBezTo>
                    <a:lnTo>
                      <a:pt x="133499" y="180099"/>
                    </a:lnTo>
                    <a:cubicBezTo>
                      <a:pt x="133499" y="180099"/>
                      <a:pt x="132460" y="181286"/>
                      <a:pt x="132015" y="181879"/>
                    </a:cubicBezTo>
                    <a:cubicBezTo>
                      <a:pt x="128750" y="185738"/>
                      <a:pt x="125782" y="189597"/>
                      <a:pt x="122962" y="193307"/>
                    </a:cubicBezTo>
                    <a:lnTo>
                      <a:pt x="184998" y="245547"/>
                    </a:lnTo>
                    <a:cubicBezTo>
                      <a:pt x="193457" y="252671"/>
                      <a:pt x="194496" y="265138"/>
                      <a:pt x="187372" y="273597"/>
                    </a:cubicBezTo>
                    <a:cubicBezTo>
                      <a:pt x="183959" y="277604"/>
                      <a:pt x="179210" y="280127"/>
                      <a:pt x="173867" y="280572"/>
                    </a:cubicBezTo>
                    <a:cubicBezTo>
                      <a:pt x="168524" y="281166"/>
                      <a:pt x="163478" y="279385"/>
                      <a:pt x="159323" y="275972"/>
                    </a:cubicBezTo>
                    <a:lnTo>
                      <a:pt x="102481" y="228183"/>
                    </a:lnTo>
                    <a:cubicBezTo>
                      <a:pt x="100255" y="233230"/>
                      <a:pt x="98325" y="238424"/>
                      <a:pt x="96693" y="243618"/>
                    </a:cubicBezTo>
                    <a:lnTo>
                      <a:pt x="149379" y="287844"/>
                    </a:lnTo>
                    <a:cubicBezTo>
                      <a:pt x="157690" y="294968"/>
                      <a:pt x="158878" y="307435"/>
                      <a:pt x="151754" y="315746"/>
                    </a:cubicBezTo>
                    <a:cubicBezTo>
                      <a:pt x="148340" y="319753"/>
                      <a:pt x="143591" y="322276"/>
                      <a:pt x="138248" y="322721"/>
                    </a:cubicBezTo>
                    <a:cubicBezTo>
                      <a:pt x="132757" y="323166"/>
                      <a:pt x="127859" y="321534"/>
                      <a:pt x="123704" y="318120"/>
                    </a:cubicBezTo>
                    <a:lnTo>
                      <a:pt x="88976" y="288883"/>
                    </a:lnTo>
                    <a:cubicBezTo>
                      <a:pt x="87491" y="332961"/>
                      <a:pt x="102184" y="375406"/>
                      <a:pt x="116432" y="416665"/>
                    </a:cubicBezTo>
                    <a:cubicBezTo>
                      <a:pt x="123704" y="437739"/>
                      <a:pt x="130531" y="457477"/>
                      <a:pt x="134538" y="476177"/>
                    </a:cubicBezTo>
                    <a:cubicBezTo>
                      <a:pt x="140920" y="505562"/>
                      <a:pt x="142552" y="532721"/>
                      <a:pt x="139436" y="556912"/>
                    </a:cubicBezTo>
                    <a:cubicBezTo>
                      <a:pt x="139436" y="557803"/>
                      <a:pt x="139287" y="559287"/>
                      <a:pt x="138842" y="560623"/>
                    </a:cubicBezTo>
                    <a:cubicBezTo>
                      <a:pt x="135873" y="580955"/>
                      <a:pt x="129492" y="599506"/>
                      <a:pt x="119251" y="616870"/>
                    </a:cubicBezTo>
                    <a:cubicBezTo>
                      <a:pt x="118955" y="617315"/>
                      <a:pt x="118658" y="617909"/>
                      <a:pt x="118361" y="618354"/>
                    </a:cubicBezTo>
                    <a:cubicBezTo>
                      <a:pt x="114057" y="625478"/>
                      <a:pt x="108863" y="632750"/>
                      <a:pt x="102481" y="640319"/>
                    </a:cubicBezTo>
                    <a:cubicBezTo>
                      <a:pt x="98770" y="644771"/>
                      <a:pt x="93131" y="647443"/>
                      <a:pt x="87343" y="647443"/>
                    </a:cubicBezTo>
                  </a:path>
                </a:pathLst>
              </a:custGeom>
              <a:solidFill>
                <a:srgbClr val="FFFFFF"/>
              </a:solidFill>
              <a:ln w="14828" cap="flat">
                <a:noFill/>
                <a:prstDash val="solid"/>
                <a:miter/>
              </a:ln>
            </p:spPr>
            <p:txBody>
              <a:bodyPr rtlCol="0" anchor="ctr"/>
              <a:lstStyle/>
              <a:p>
                <a:endParaRPr lang="en-DK"/>
              </a:p>
            </p:txBody>
          </p:sp>
          <p:sp>
            <p:nvSpPr>
              <p:cNvPr id="243" name="Freeform 242">
                <a:extLst>
                  <a:ext uri="{FF2B5EF4-FFF2-40B4-BE49-F238E27FC236}">
                    <a16:creationId xmlns:a16="http://schemas.microsoft.com/office/drawing/2014/main" id="{AF9A02CD-2137-2AE4-312B-DC998E1562ED}"/>
                  </a:ext>
                </a:extLst>
              </p:cNvPr>
              <p:cNvSpPr/>
              <p:nvPr/>
            </p:nvSpPr>
            <p:spPr>
              <a:xfrm>
                <a:off x="6329376" y="5393537"/>
                <a:ext cx="261300" cy="261344"/>
              </a:xfrm>
              <a:custGeom>
                <a:avLst/>
                <a:gdLst>
                  <a:gd name="connsiteX0" fmla="*/ 107698 w 261300"/>
                  <a:gd name="connsiteY0" fmla="*/ 17064 h 261344"/>
                  <a:gd name="connsiteX1" fmla="*/ 44920 w 261300"/>
                  <a:gd name="connsiteY1" fmla="*/ 52534 h 261344"/>
                  <a:gd name="connsiteX2" fmla="*/ 52489 w 261300"/>
                  <a:gd name="connsiteY2" fmla="*/ 216231 h 261344"/>
                  <a:gd name="connsiteX3" fmla="*/ 216187 w 261300"/>
                  <a:gd name="connsiteY3" fmla="*/ 208662 h 261344"/>
                  <a:gd name="connsiteX4" fmla="*/ 246314 w 261300"/>
                  <a:gd name="connsiteY4" fmla="*/ 125255 h 261344"/>
                  <a:gd name="connsiteX5" fmla="*/ 208618 w 261300"/>
                  <a:gd name="connsiteY5" fmla="*/ 44965 h 261344"/>
                  <a:gd name="connsiteX6" fmla="*/ 125210 w 261300"/>
                  <a:gd name="connsiteY6" fmla="*/ 14838 h 261344"/>
                  <a:gd name="connsiteX7" fmla="*/ 107698 w 261300"/>
                  <a:gd name="connsiteY7" fmla="*/ 16916 h 261344"/>
                  <a:gd name="connsiteX8" fmla="*/ 156377 w 261300"/>
                  <a:gd name="connsiteY8" fmla="*/ 258824 h 261344"/>
                  <a:gd name="connsiteX9" fmla="*/ 136638 w 261300"/>
                  <a:gd name="connsiteY9" fmla="*/ 261199 h 261344"/>
                  <a:gd name="connsiteX10" fmla="*/ 42545 w 261300"/>
                  <a:gd name="connsiteY10" fmla="*/ 227213 h 261344"/>
                  <a:gd name="connsiteX11" fmla="*/ 34086 w 261300"/>
                  <a:gd name="connsiteY11" fmla="*/ 42591 h 261344"/>
                  <a:gd name="connsiteX12" fmla="*/ 124617 w 261300"/>
                  <a:gd name="connsiteY12" fmla="*/ 145 h 261344"/>
                  <a:gd name="connsiteX13" fmla="*/ 218710 w 261300"/>
                  <a:gd name="connsiteY13" fmla="*/ 34131 h 261344"/>
                  <a:gd name="connsiteX14" fmla="*/ 261156 w 261300"/>
                  <a:gd name="connsiteY14" fmla="*/ 124662 h 261344"/>
                  <a:gd name="connsiteX15" fmla="*/ 227169 w 261300"/>
                  <a:gd name="connsiteY15" fmla="*/ 218754 h 261344"/>
                  <a:gd name="connsiteX16" fmla="*/ 156377 w 261300"/>
                  <a:gd name="connsiteY16" fmla="*/ 258824 h 26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1300" h="261344">
                    <a:moveTo>
                      <a:pt x="107698" y="17064"/>
                    </a:moveTo>
                    <a:cubicBezTo>
                      <a:pt x="83655" y="21813"/>
                      <a:pt x="61839" y="34131"/>
                      <a:pt x="44920" y="52534"/>
                    </a:cubicBezTo>
                    <a:cubicBezTo>
                      <a:pt x="1880" y="99729"/>
                      <a:pt x="5145" y="173192"/>
                      <a:pt x="52489" y="216231"/>
                    </a:cubicBezTo>
                    <a:cubicBezTo>
                      <a:pt x="99684" y="259270"/>
                      <a:pt x="173148" y="256005"/>
                      <a:pt x="216187" y="208662"/>
                    </a:cubicBezTo>
                    <a:cubicBezTo>
                      <a:pt x="237113" y="185807"/>
                      <a:pt x="247799" y="156125"/>
                      <a:pt x="246314" y="125255"/>
                    </a:cubicBezTo>
                    <a:cubicBezTo>
                      <a:pt x="244830" y="94386"/>
                      <a:pt x="231473" y="65743"/>
                      <a:pt x="208618" y="44965"/>
                    </a:cubicBezTo>
                    <a:cubicBezTo>
                      <a:pt x="185763" y="24039"/>
                      <a:pt x="156080" y="13354"/>
                      <a:pt x="125210" y="14838"/>
                    </a:cubicBezTo>
                    <a:cubicBezTo>
                      <a:pt x="119274" y="15135"/>
                      <a:pt x="113338" y="15877"/>
                      <a:pt x="107698" y="16916"/>
                    </a:cubicBezTo>
                    <a:moveTo>
                      <a:pt x="156377" y="258824"/>
                    </a:moveTo>
                    <a:cubicBezTo>
                      <a:pt x="149847" y="260160"/>
                      <a:pt x="143317" y="260902"/>
                      <a:pt x="136638" y="261199"/>
                    </a:cubicBezTo>
                    <a:cubicBezTo>
                      <a:pt x="101761" y="262832"/>
                      <a:pt x="68369" y="250662"/>
                      <a:pt x="42545" y="227213"/>
                    </a:cubicBezTo>
                    <a:cubicBezTo>
                      <a:pt x="-10735" y="178683"/>
                      <a:pt x="-14445" y="95721"/>
                      <a:pt x="34086" y="42591"/>
                    </a:cubicBezTo>
                    <a:cubicBezTo>
                      <a:pt x="57535" y="16767"/>
                      <a:pt x="89740" y="1629"/>
                      <a:pt x="124617" y="145"/>
                    </a:cubicBezTo>
                    <a:cubicBezTo>
                      <a:pt x="159493" y="-1487"/>
                      <a:pt x="192886" y="10682"/>
                      <a:pt x="218710" y="34131"/>
                    </a:cubicBezTo>
                    <a:cubicBezTo>
                      <a:pt x="244534" y="57728"/>
                      <a:pt x="259671" y="89785"/>
                      <a:pt x="261156" y="124662"/>
                    </a:cubicBezTo>
                    <a:cubicBezTo>
                      <a:pt x="262788" y="159538"/>
                      <a:pt x="250618" y="192930"/>
                      <a:pt x="227169" y="218754"/>
                    </a:cubicBezTo>
                    <a:cubicBezTo>
                      <a:pt x="208172" y="239531"/>
                      <a:pt x="183536" y="253482"/>
                      <a:pt x="156377" y="258824"/>
                    </a:cubicBezTo>
                  </a:path>
                </a:pathLst>
              </a:custGeom>
              <a:solidFill>
                <a:srgbClr val="FFFFFF"/>
              </a:solidFill>
              <a:ln w="14828" cap="flat">
                <a:noFill/>
                <a:prstDash val="solid"/>
                <a:miter/>
              </a:ln>
            </p:spPr>
            <p:txBody>
              <a:bodyPr rtlCol="0" anchor="ctr"/>
              <a:lstStyle/>
              <a:p>
                <a:endParaRPr lang="en-DK"/>
              </a:p>
            </p:txBody>
          </p:sp>
        </p:grpSp>
        <p:sp>
          <p:nvSpPr>
            <p:cNvPr id="48" name="Freeform 47">
              <a:extLst>
                <a:ext uri="{FF2B5EF4-FFF2-40B4-BE49-F238E27FC236}">
                  <a16:creationId xmlns:a16="http://schemas.microsoft.com/office/drawing/2014/main" id="{5B570D8F-CBA3-ECFA-E4E6-6A8B2A9B81EC}"/>
                </a:ext>
              </a:extLst>
            </p:cNvPr>
            <p:cNvSpPr/>
            <p:nvPr/>
          </p:nvSpPr>
          <p:spPr>
            <a:xfrm>
              <a:off x="6538142" y="5618672"/>
              <a:ext cx="56396" cy="48678"/>
            </a:xfrm>
            <a:custGeom>
              <a:avLst/>
              <a:gdLst>
                <a:gd name="connsiteX0" fmla="*/ 48530 w 56396"/>
                <a:gd name="connsiteY0" fmla="*/ 48679 h 48678"/>
                <a:gd name="connsiteX1" fmla="*/ 0 w 56396"/>
                <a:gd name="connsiteY1" fmla="*/ 8163 h 48678"/>
                <a:gd name="connsiteX2" fmla="*/ 7866 w 56396"/>
                <a:gd name="connsiteY2" fmla="*/ 0 h 48678"/>
                <a:gd name="connsiteX3" fmla="*/ 56396 w 56396"/>
                <a:gd name="connsiteY3" fmla="*/ 40516 h 48678"/>
                <a:gd name="connsiteX4" fmla="*/ 48530 w 56396"/>
                <a:gd name="connsiteY4" fmla="*/ 48679 h 48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96" h="48678">
                  <a:moveTo>
                    <a:pt x="48530" y="48679"/>
                  </a:moveTo>
                  <a:lnTo>
                    <a:pt x="0" y="8163"/>
                  </a:lnTo>
                  <a:lnTo>
                    <a:pt x="7866" y="0"/>
                  </a:lnTo>
                  <a:lnTo>
                    <a:pt x="56396" y="40516"/>
                  </a:lnTo>
                  <a:lnTo>
                    <a:pt x="48530" y="48679"/>
                  </a:lnTo>
                  <a:close/>
                </a:path>
              </a:pathLst>
            </a:custGeom>
            <a:solidFill>
              <a:srgbClr val="FFFFFF"/>
            </a:solidFill>
            <a:ln w="14828" cap="flat">
              <a:noFill/>
              <a:prstDash val="solid"/>
              <a:miter/>
            </a:ln>
          </p:spPr>
          <p:txBody>
            <a:bodyPr rtlCol="0" anchor="ctr"/>
            <a:lstStyle/>
            <a:p>
              <a:endParaRPr lang="en-DK"/>
            </a:p>
          </p:txBody>
        </p:sp>
        <p:sp>
          <p:nvSpPr>
            <p:cNvPr id="49" name="Freeform 48">
              <a:extLst>
                <a:ext uri="{FF2B5EF4-FFF2-40B4-BE49-F238E27FC236}">
                  <a16:creationId xmlns:a16="http://schemas.microsoft.com/office/drawing/2014/main" id="{BDE0B1E1-CCEE-3548-7CFD-2D44B95147A6}"/>
                </a:ext>
              </a:extLst>
            </p:cNvPr>
            <p:cNvSpPr/>
            <p:nvPr/>
          </p:nvSpPr>
          <p:spPr>
            <a:xfrm>
              <a:off x="6535322" y="5616149"/>
              <a:ext cx="61739" cy="53724"/>
            </a:xfrm>
            <a:custGeom>
              <a:avLst/>
              <a:gdLst>
                <a:gd name="connsiteX0" fmla="*/ 51499 w 61739"/>
                <a:gd name="connsiteY0" fmla="*/ 53725 h 53724"/>
                <a:gd name="connsiteX1" fmla="*/ 0 w 61739"/>
                <a:gd name="connsiteY1" fmla="*/ 10834 h 53724"/>
                <a:gd name="connsiteX2" fmla="*/ 10389 w 61739"/>
                <a:gd name="connsiteY2" fmla="*/ 0 h 53724"/>
                <a:gd name="connsiteX3" fmla="*/ 61739 w 61739"/>
                <a:gd name="connsiteY3" fmla="*/ 42891 h 53724"/>
                <a:gd name="connsiteX4" fmla="*/ 51350 w 61739"/>
                <a:gd name="connsiteY4" fmla="*/ 53725 h 53724"/>
                <a:gd name="connsiteX5" fmla="*/ 5491 w 61739"/>
                <a:gd name="connsiteY5" fmla="*/ 10537 h 53724"/>
                <a:gd name="connsiteX6" fmla="*/ 51202 w 61739"/>
                <a:gd name="connsiteY6" fmla="*/ 48679 h 53724"/>
                <a:gd name="connsiteX7" fmla="*/ 56396 w 61739"/>
                <a:gd name="connsiteY7" fmla="*/ 43187 h 53724"/>
                <a:gd name="connsiteX8" fmla="*/ 10686 w 61739"/>
                <a:gd name="connsiteY8" fmla="*/ 5046 h 53724"/>
                <a:gd name="connsiteX9" fmla="*/ 5491 w 61739"/>
                <a:gd name="connsiteY9" fmla="*/ 10537 h 53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739" h="53724">
                  <a:moveTo>
                    <a:pt x="51499" y="53725"/>
                  </a:moveTo>
                  <a:lnTo>
                    <a:pt x="0" y="10834"/>
                  </a:lnTo>
                  <a:lnTo>
                    <a:pt x="10389" y="0"/>
                  </a:lnTo>
                  <a:lnTo>
                    <a:pt x="61739" y="42891"/>
                  </a:lnTo>
                  <a:lnTo>
                    <a:pt x="51350" y="53725"/>
                  </a:lnTo>
                  <a:close/>
                  <a:moveTo>
                    <a:pt x="5491" y="10537"/>
                  </a:moveTo>
                  <a:lnTo>
                    <a:pt x="51202" y="48679"/>
                  </a:lnTo>
                  <a:lnTo>
                    <a:pt x="56396" y="43187"/>
                  </a:lnTo>
                  <a:lnTo>
                    <a:pt x="10686" y="5046"/>
                  </a:lnTo>
                  <a:lnTo>
                    <a:pt x="5491" y="10537"/>
                  </a:lnTo>
                  <a:close/>
                </a:path>
              </a:pathLst>
            </a:custGeom>
            <a:solidFill>
              <a:srgbClr val="FFFFFF"/>
            </a:solidFill>
            <a:ln w="14828" cap="flat">
              <a:noFill/>
              <a:prstDash val="solid"/>
              <a:miter/>
            </a:ln>
          </p:spPr>
          <p:txBody>
            <a:bodyPr rtlCol="0" anchor="ctr"/>
            <a:lstStyle/>
            <a:p>
              <a:endParaRPr lang="en-DK"/>
            </a:p>
          </p:txBody>
        </p:sp>
        <p:sp>
          <p:nvSpPr>
            <p:cNvPr id="50" name="Freeform 49">
              <a:extLst>
                <a:ext uri="{FF2B5EF4-FFF2-40B4-BE49-F238E27FC236}">
                  <a16:creationId xmlns:a16="http://schemas.microsoft.com/office/drawing/2014/main" id="{45F18DC1-40F9-7A02-BA7C-E86BF650D4A3}"/>
                </a:ext>
              </a:extLst>
            </p:cNvPr>
            <p:cNvSpPr/>
            <p:nvPr/>
          </p:nvSpPr>
          <p:spPr>
            <a:xfrm>
              <a:off x="6557436" y="5598488"/>
              <a:ext cx="56396" cy="48678"/>
            </a:xfrm>
            <a:custGeom>
              <a:avLst/>
              <a:gdLst>
                <a:gd name="connsiteX0" fmla="*/ 48679 w 56396"/>
                <a:gd name="connsiteY0" fmla="*/ 48679 h 48678"/>
                <a:gd name="connsiteX1" fmla="*/ 0 w 56396"/>
                <a:gd name="connsiteY1" fmla="*/ 8163 h 48678"/>
                <a:gd name="connsiteX2" fmla="*/ 7866 w 56396"/>
                <a:gd name="connsiteY2" fmla="*/ 0 h 48678"/>
                <a:gd name="connsiteX3" fmla="*/ 56397 w 56396"/>
                <a:gd name="connsiteY3" fmla="*/ 40516 h 48678"/>
                <a:gd name="connsiteX4" fmla="*/ 48679 w 56396"/>
                <a:gd name="connsiteY4" fmla="*/ 48679 h 48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96" h="48678">
                  <a:moveTo>
                    <a:pt x="48679" y="48679"/>
                  </a:moveTo>
                  <a:lnTo>
                    <a:pt x="0" y="8163"/>
                  </a:lnTo>
                  <a:lnTo>
                    <a:pt x="7866" y="0"/>
                  </a:lnTo>
                  <a:lnTo>
                    <a:pt x="56397" y="40516"/>
                  </a:lnTo>
                  <a:lnTo>
                    <a:pt x="48679" y="48679"/>
                  </a:lnTo>
                  <a:close/>
                </a:path>
              </a:pathLst>
            </a:custGeom>
            <a:solidFill>
              <a:srgbClr val="FFFFFF"/>
            </a:solidFill>
            <a:ln w="14828" cap="flat">
              <a:noFill/>
              <a:prstDash val="solid"/>
              <a:miter/>
            </a:ln>
          </p:spPr>
          <p:txBody>
            <a:bodyPr rtlCol="0" anchor="ctr"/>
            <a:lstStyle/>
            <a:p>
              <a:endParaRPr lang="en-DK"/>
            </a:p>
          </p:txBody>
        </p:sp>
        <p:sp>
          <p:nvSpPr>
            <p:cNvPr id="51" name="Freeform 50">
              <a:extLst>
                <a:ext uri="{FF2B5EF4-FFF2-40B4-BE49-F238E27FC236}">
                  <a16:creationId xmlns:a16="http://schemas.microsoft.com/office/drawing/2014/main" id="{7597665C-4B68-F6B5-D545-87E0E2A2665A}"/>
                </a:ext>
              </a:extLst>
            </p:cNvPr>
            <p:cNvSpPr/>
            <p:nvPr/>
          </p:nvSpPr>
          <p:spPr>
            <a:xfrm>
              <a:off x="6554764" y="5595965"/>
              <a:ext cx="61887" cy="53724"/>
            </a:xfrm>
            <a:custGeom>
              <a:avLst/>
              <a:gdLst>
                <a:gd name="connsiteX0" fmla="*/ 51499 w 61887"/>
                <a:gd name="connsiteY0" fmla="*/ 53725 h 53724"/>
                <a:gd name="connsiteX1" fmla="*/ 0 w 61887"/>
                <a:gd name="connsiteY1" fmla="*/ 10834 h 53724"/>
                <a:gd name="connsiteX2" fmla="*/ 10389 w 61887"/>
                <a:gd name="connsiteY2" fmla="*/ 0 h 53724"/>
                <a:gd name="connsiteX3" fmla="*/ 61888 w 61887"/>
                <a:gd name="connsiteY3" fmla="*/ 42891 h 53724"/>
                <a:gd name="connsiteX4" fmla="*/ 51499 w 61887"/>
                <a:gd name="connsiteY4" fmla="*/ 53725 h 53724"/>
                <a:gd name="connsiteX5" fmla="*/ 5491 w 61887"/>
                <a:gd name="connsiteY5" fmla="*/ 10537 h 53724"/>
                <a:gd name="connsiteX6" fmla="*/ 51202 w 61887"/>
                <a:gd name="connsiteY6" fmla="*/ 48679 h 53724"/>
                <a:gd name="connsiteX7" fmla="*/ 56396 w 61887"/>
                <a:gd name="connsiteY7" fmla="*/ 43187 h 53724"/>
                <a:gd name="connsiteX8" fmla="*/ 10686 w 61887"/>
                <a:gd name="connsiteY8" fmla="*/ 5046 h 53724"/>
                <a:gd name="connsiteX9" fmla="*/ 5491 w 61887"/>
                <a:gd name="connsiteY9" fmla="*/ 10537 h 53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887" h="53724">
                  <a:moveTo>
                    <a:pt x="51499" y="53725"/>
                  </a:moveTo>
                  <a:lnTo>
                    <a:pt x="0" y="10834"/>
                  </a:lnTo>
                  <a:lnTo>
                    <a:pt x="10389" y="0"/>
                  </a:lnTo>
                  <a:lnTo>
                    <a:pt x="61888" y="42891"/>
                  </a:lnTo>
                  <a:lnTo>
                    <a:pt x="51499" y="53725"/>
                  </a:lnTo>
                  <a:close/>
                  <a:moveTo>
                    <a:pt x="5491" y="10537"/>
                  </a:moveTo>
                  <a:lnTo>
                    <a:pt x="51202" y="48679"/>
                  </a:lnTo>
                  <a:lnTo>
                    <a:pt x="56396" y="43187"/>
                  </a:lnTo>
                  <a:lnTo>
                    <a:pt x="10686" y="5046"/>
                  </a:lnTo>
                  <a:lnTo>
                    <a:pt x="5491" y="10537"/>
                  </a:lnTo>
                  <a:close/>
                </a:path>
              </a:pathLst>
            </a:custGeom>
            <a:solidFill>
              <a:srgbClr val="FFFFFF"/>
            </a:solidFill>
            <a:ln w="14828" cap="flat">
              <a:noFill/>
              <a:prstDash val="solid"/>
              <a:miter/>
            </a:ln>
          </p:spPr>
          <p:txBody>
            <a:bodyPr rtlCol="0" anchor="ctr"/>
            <a:lstStyle/>
            <a:p>
              <a:endParaRPr lang="en-DK"/>
            </a:p>
          </p:txBody>
        </p:sp>
        <p:grpSp>
          <p:nvGrpSpPr>
            <p:cNvPr id="52" name="Graphic 3">
              <a:extLst>
                <a:ext uri="{FF2B5EF4-FFF2-40B4-BE49-F238E27FC236}">
                  <a16:creationId xmlns:a16="http://schemas.microsoft.com/office/drawing/2014/main" id="{7E35D1F8-57D6-7017-476D-7834F4252D30}"/>
                </a:ext>
              </a:extLst>
            </p:cNvPr>
            <p:cNvGrpSpPr/>
            <p:nvPr/>
          </p:nvGrpSpPr>
          <p:grpSpPr>
            <a:xfrm>
              <a:off x="1176173" y="2206422"/>
              <a:ext cx="5781974" cy="3809841"/>
              <a:chOff x="1176173" y="2206422"/>
              <a:chExt cx="5781974" cy="3809841"/>
            </a:xfrm>
          </p:grpSpPr>
          <p:sp>
            <p:nvSpPr>
              <p:cNvPr id="204" name="Freeform 203">
                <a:extLst>
                  <a:ext uri="{FF2B5EF4-FFF2-40B4-BE49-F238E27FC236}">
                    <a16:creationId xmlns:a16="http://schemas.microsoft.com/office/drawing/2014/main" id="{79360340-439D-F38C-78BC-738DD5667330}"/>
                  </a:ext>
                </a:extLst>
              </p:cNvPr>
              <p:cNvSpPr/>
              <p:nvPr/>
            </p:nvSpPr>
            <p:spPr>
              <a:xfrm>
                <a:off x="6588751" y="5638856"/>
                <a:ext cx="146824" cy="138957"/>
              </a:xfrm>
              <a:custGeom>
                <a:avLst/>
                <a:gdLst>
                  <a:gd name="connsiteX0" fmla="*/ 141139 w 146824"/>
                  <a:gd name="connsiteY0" fmla="*/ 128969 h 138957"/>
                  <a:gd name="connsiteX1" fmla="*/ 138468 w 146824"/>
                  <a:gd name="connsiteY1" fmla="*/ 131788 h 138957"/>
                  <a:gd name="connsiteX2" fmla="*/ 107450 w 146824"/>
                  <a:gd name="connsiteY2" fmla="*/ 133273 h 138957"/>
                  <a:gd name="connsiteX3" fmla="*/ 0 w 146824"/>
                  <a:gd name="connsiteY3" fmla="*/ 35322 h 138957"/>
                  <a:gd name="connsiteX4" fmla="*/ 32205 w 146824"/>
                  <a:gd name="connsiteY4" fmla="*/ 0 h 138957"/>
                  <a:gd name="connsiteX5" fmla="*/ 139656 w 146824"/>
                  <a:gd name="connsiteY5" fmla="*/ 97951 h 138957"/>
                  <a:gd name="connsiteX6" fmla="*/ 141139 w 146824"/>
                  <a:gd name="connsiteY6" fmla="*/ 128969 h 138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824" h="138957">
                    <a:moveTo>
                      <a:pt x="141139" y="128969"/>
                    </a:moveTo>
                    <a:lnTo>
                      <a:pt x="138468" y="131788"/>
                    </a:lnTo>
                    <a:cubicBezTo>
                      <a:pt x="130306" y="140693"/>
                      <a:pt x="116355" y="141435"/>
                      <a:pt x="107450" y="133273"/>
                    </a:cubicBezTo>
                    <a:lnTo>
                      <a:pt x="0" y="35322"/>
                    </a:lnTo>
                    <a:lnTo>
                      <a:pt x="32205" y="0"/>
                    </a:lnTo>
                    <a:lnTo>
                      <a:pt x="139656" y="97951"/>
                    </a:lnTo>
                    <a:cubicBezTo>
                      <a:pt x="148560" y="106114"/>
                      <a:pt x="149302" y="120064"/>
                      <a:pt x="141139" y="128969"/>
                    </a:cubicBezTo>
                  </a:path>
                </a:pathLst>
              </a:custGeom>
              <a:solidFill>
                <a:srgbClr val="2978FF">
                  <a:alpha val="50000"/>
                </a:srgbClr>
              </a:solidFill>
              <a:ln w="14828" cap="flat">
                <a:noFill/>
                <a:prstDash val="solid"/>
                <a:miter/>
              </a:ln>
            </p:spPr>
            <p:txBody>
              <a:bodyPr rtlCol="0" anchor="ctr"/>
              <a:lstStyle/>
              <a:p>
                <a:endParaRPr lang="en-DK"/>
              </a:p>
            </p:txBody>
          </p:sp>
          <p:sp>
            <p:nvSpPr>
              <p:cNvPr id="205" name="Freeform 204">
                <a:extLst>
                  <a:ext uri="{FF2B5EF4-FFF2-40B4-BE49-F238E27FC236}">
                    <a16:creationId xmlns:a16="http://schemas.microsoft.com/office/drawing/2014/main" id="{D220BC91-B8B9-15DA-5E52-86A81D15F35E}"/>
                  </a:ext>
                </a:extLst>
              </p:cNvPr>
              <p:cNvSpPr/>
              <p:nvPr/>
            </p:nvSpPr>
            <p:spPr>
              <a:xfrm>
                <a:off x="6581451" y="5631287"/>
                <a:ext cx="161670" cy="153880"/>
              </a:xfrm>
              <a:custGeom>
                <a:avLst/>
                <a:gdLst>
                  <a:gd name="connsiteX0" fmla="*/ 17837 w 161670"/>
                  <a:gd name="connsiteY0" fmla="*/ 42297 h 153880"/>
                  <a:gd name="connsiteX1" fmla="*/ 119796 w 161670"/>
                  <a:gd name="connsiteY1" fmla="*/ 135202 h 153880"/>
                  <a:gd name="connsiteX2" fmla="*/ 140277 w 161670"/>
                  <a:gd name="connsiteY2" fmla="*/ 134311 h 153880"/>
                  <a:gd name="connsiteX3" fmla="*/ 142948 w 161670"/>
                  <a:gd name="connsiteY3" fmla="*/ 131492 h 153880"/>
                  <a:gd name="connsiteX4" fmla="*/ 142948 w 161670"/>
                  <a:gd name="connsiteY4" fmla="*/ 131492 h 153880"/>
                  <a:gd name="connsiteX5" fmla="*/ 146807 w 161670"/>
                  <a:gd name="connsiteY5" fmla="*/ 120954 h 153880"/>
                  <a:gd name="connsiteX6" fmla="*/ 142058 w 161670"/>
                  <a:gd name="connsiteY6" fmla="*/ 110863 h 153880"/>
                  <a:gd name="connsiteX7" fmla="*/ 40099 w 161670"/>
                  <a:gd name="connsiteY7" fmla="*/ 17958 h 153880"/>
                  <a:gd name="connsiteX8" fmla="*/ 17837 w 161670"/>
                  <a:gd name="connsiteY8" fmla="*/ 42297 h 153880"/>
                  <a:gd name="connsiteX9" fmla="*/ 135379 w 161670"/>
                  <a:gd name="connsiteY9" fmla="*/ 153308 h 153880"/>
                  <a:gd name="connsiteX10" fmla="*/ 109852 w 161670"/>
                  <a:gd name="connsiteY10" fmla="*/ 146184 h 153880"/>
                  <a:gd name="connsiteX11" fmla="*/ 2402 w 161670"/>
                  <a:gd name="connsiteY11" fmla="*/ 48233 h 153880"/>
                  <a:gd name="connsiteX12" fmla="*/ 1957 w 161670"/>
                  <a:gd name="connsiteY12" fmla="*/ 37696 h 153880"/>
                  <a:gd name="connsiteX13" fmla="*/ 34162 w 161670"/>
                  <a:gd name="connsiteY13" fmla="*/ 2375 h 153880"/>
                  <a:gd name="connsiteX14" fmla="*/ 39357 w 161670"/>
                  <a:gd name="connsiteY14" fmla="*/ 0 h 153880"/>
                  <a:gd name="connsiteX15" fmla="*/ 44699 w 161670"/>
                  <a:gd name="connsiteY15" fmla="*/ 1929 h 153880"/>
                  <a:gd name="connsiteX16" fmla="*/ 152149 w 161670"/>
                  <a:gd name="connsiteY16" fmla="*/ 99880 h 153880"/>
                  <a:gd name="connsiteX17" fmla="*/ 161648 w 161670"/>
                  <a:gd name="connsiteY17" fmla="*/ 120212 h 153880"/>
                  <a:gd name="connsiteX18" fmla="*/ 153931 w 161670"/>
                  <a:gd name="connsiteY18" fmla="*/ 141287 h 153880"/>
                  <a:gd name="connsiteX19" fmla="*/ 151259 w 161670"/>
                  <a:gd name="connsiteY19" fmla="*/ 144106 h 153880"/>
                  <a:gd name="connsiteX20" fmla="*/ 135379 w 161670"/>
                  <a:gd name="connsiteY20" fmla="*/ 153160 h 15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1670" h="153880">
                    <a:moveTo>
                      <a:pt x="17837" y="42297"/>
                    </a:moveTo>
                    <a:lnTo>
                      <a:pt x="119796" y="135202"/>
                    </a:lnTo>
                    <a:cubicBezTo>
                      <a:pt x="125732" y="140545"/>
                      <a:pt x="134934" y="140099"/>
                      <a:pt x="140277" y="134311"/>
                    </a:cubicBezTo>
                    <a:lnTo>
                      <a:pt x="142948" y="131492"/>
                    </a:lnTo>
                    <a:lnTo>
                      <a:pt x="142948" y="131492"/>
                    </a:lnTo>
                    <a:cubicBezTo>
                      <a:pt x="145620" y="128672"/>
                      <a:pt x="146955" y="124961"/>
                      <a:pt x="146807" y="120954"/>
                    </a:cubicBezTo>
                    <a:cubicBezTo>
                      <a:pt x="146658" y="117096"/>
                      <a:pt x="145026" y="113534"/>
                      <a:pt x="142058" y="110863"/>
                    </a:cubicBezTo>
                    <a:lnTo>
                      <a:pt x="40099" y="17958"/>
                    </a:lnTo>
                    <a:lnTo>
                      <a:pt x="17837" y="42297"/>
                    </a:lnTo>
                    <a:close/>
                    <a:moveTo>
                      <a:pt x="135379" y="153308"/>
                    </a:moveTo>
                    <a:cubicBezTo>
                      <a:pt x="126474" y="155089"/>
                      <a:pt x="116976" y="152714"/>
                      <a:pt x="109852" y="146184"/>
                    </a:cubicBezTo>
                    <a:lnTo>
                      <a:pt x="2402" y="48233"/>
                    </a:lnTo>
                    <a:cubicBezTo>
                      <a:pt x="-566" y="45414"/>
                      <a:pt x="-863" y="40813"/>
                      <a:pt x="1957" y="37696"/>
                    </a:cubicBezTo>
                    <a:lnTo>
                      <a:pt x="34162" y="2375"/>
                    </a:lnTo>
                    <a:cubicBezTo>
                      <a:pt x="35498" y="890"/>
                      <a:pt x="37279" y="0"/>
                      <a:pt x="39357" y="0"/>
                    </a:cubicBezTo>
                    <a:cubicBezTo>
                      <a:pt x="41286" y="0"/>
                      <a:pt x="43215" y="594"/>
                      <a:pt x="44699" y="1929"/>
                    </a:cubicBezTo>
                    <a:lnTo>
                      <a:pt x="152149" y="99880"/>
                    </a:lnTo>
                    <a:cubicBezTo>
                      <a:pt x="157938" y="105223"/>
                      <a:pt x="161351" y="112346"/>
                      <a:pt x="161648" y="120212"/>
                    </a:cubicBezTo>
                    <a:cubicBezTo>
                      <a:pt x="161945" y="128078"/>
                      <a:pt x="159273" y="135499"/>
                      <a:pt x="153931" y="141287"/>
                    </a:cubicBezTo>
                    <a:lnTo>
                      <a:pt x="151259" y="144106"/>
                    </a:lnTo>
                    <a:cubicBezTo>
                      <a:pt x="146955" y="148856"/>
                      <a:pt x="141316" y="151972"/>
                      <a:pt x="135379" y="153160"/>
                    </a:cubicBezTo>
                  </a:path>
                </a:pathLst>
              </a:custGeom>
              <a:solidFill>
                <a:srgbClr val="FFFFFF"/>
              </a:solidFill>
              <a:ln w="14828" cap="flat">
                <a:noFill/>
                <a:prstDash val="solid"/>
                <a:miter/>
              </a:ln>
            </p:spPr>
            <p:txBody>
              <a:bodyPr rtlCol="0" anchor="ctr"/>
              <a:lstStyle/>
              <a:p>
                <a:endParaRPr lang="en-DK"/>
              </a:p>
            </p:txBody>
          </p:sp>
          <p:sp>
            <p:nvSpPr>
              <p:cNvPr id="206" name="Freeform 205">
                <a:extLst>
                  <a:ext uri="{FF2B5EF4-FFF2-40B4-BE49-F238E27FC236}">
                    <a16:creationId xmlns:a16="http://schemas.microsoft.com/office/drawing/2014/main" id="{48DBA931-7358-A712-E333-D39B3C9D14C8}"/>
                  </a:ext>
                </a:extLst>
              </p:cNvPr>
              <p:cNvSpPr/>
              <p:nvPr/>
            </p:nvSpPr>
            <p:spPr>
              <a:xfrm>
                <a:off x="2768038" y="2223786"/>
                <a:ext cx="1007122" cy="1007112"/>
              </a:xfrm>
              <a:custGeom>
                <a:avLst/>
                <a:gdLst>
                  <a:gd name="connsiteX0" fmla="*/ 503561 w 1007122"/>
                  <a:gd name="connsiteY0" fmla="*/ 1007112 h 1007112"/>
                  <a:gd name="connsiteX1" fmla="*/ 1007122 w 1007122"/>
                  <a:gd name="connsiteY1" fmla="*/ 503556 h 1007112"/>
                  <a:gd name="connsiteX2" fmla="*/ 503561 w 1007122"/>
                  <a:gd name="connsiteY2" fmla="*/ 0 h 1007112"/>
                  <a:gd name="connsiteX3" fmla="*/ 0 w 1007122"/>
                  <a:gd name="connsiteY3" fmla="*/ 503556 h 1007112"/>
                  <a:gd name="connsiteX4" fmla="*/ 503561 w 1007122"/>
                  <a:gd name="connsiteY4" fmla="*/ 1007112 h 100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122" h="1007112">
                    <a:moveTo>
                      <a:pt x="503561" y="1007112"/>
                    </a:moveTo>
                    <a:cubicBezTo>
                      <a:pt x="781685" y="1007112"/>
                      <a:pt x="1007122" y="781677"/>
                      <a:pt x="1007122" y="503556"/>
                    </a:cubicBezTo>
                    <a:cubicBezTo>
                      <a:pt x="1007122" y="225435"/>
                      <a:pt x="781685" y="0"/>
                      <a:pt x="503561" y="0"/>
                    </a:cubicBezTo>
                    <a:cubicBezTo>
                      <a:pt x="225438" y="0"/>
                      <a:pt x="0" y="225435"/>
                      <a:pt x="0" y="503556"/>
                    </a:cubicBezTo>
                    <a:cubicBezTo>
                      <a:pt x="0" y="781677"/>
                      <a:pt x="225438" y="1007112"/>
                      <a:pt x="503561" y="1007112"/>
                    </a:cubicBezTo>
                  </a:path>
                </a:pathLst>
              </a:custGeom>
              <a:solidFill>
                <a:srgbClr val="001965"/>
              </a:solidFill>
              <a:ln w="14828" cap="flat">
                <a:noFill/>
                <a:prstDash val="solid"/>
                <a:miter/>
              </a:ln>
            </p:spPr>
            <p:txBody>
              <a:bodyPr rtlCol="0" anchor="ctr"/>
              <a:lstStyle/>
              <a:p>
                <a:endParaRPr lang="en-DK"/>
              </a:p>
            </p:txBody>
          </p:sp>
          <p:sp>
            <p:nvSpPr>
              <p:cNvPr id="207" name="Freeform 206">
                <a:extLst>
                  <a:ext uri="{FF2B5EF4-FFF2-40B4-BE49-F238E27FC236}">
                    <a16:creationId xmlns:a16="http://schemas.microsoft.com/office/drawing/2014/main" id="{8A5FC193-35AC-26CA-C7C8-DFEE4E1728FB}"/>
                  </a:ext>
                </a:extLst>
              </p:cNvPr>
              <p:cNvSpPr/>
              <p:nvPr/>
            </p:nvSpPr>
            <p:spPr>
              <a:xfrm>
                <a:off x="2753197" y="2208945"/>
                <a:ext cx="1036804" cy="1036794"/>
              </a:xfrm>
              <a:custGeom>
                <a:avLst/>
                <a:gdLst>
                  <a:gd name="connsiteX0" fmla="*/ 518402 w 1036804"/>
                  <a:gd name="connsiteY0" fmla="*/ 1021953 h 1036794"/>
                  <a:gd name="connsiteX1" fmla="*/ 518402 w 1036804"/>
                  <a:gd name="connsiteY1" fmla="*/ 1007112 h 1036794"/>
                  <a:gd name="connsiteX2" fmla="*/ 1007122 w 1036804"/>
                  <a:gd name="connsiteY2" fmla="*/ 518397 h 1036794"/>
                  <a:gd name="connsiteX3" fmla="*/ 518402 w 1036804"/>
                  <a:gd name="connsiteY3" fmla="*/ 29682 h 1036794"/>
                  <a:gd name="connsiteX4" fmla="*/ 29682 w 1036804"/>
                  <a:gd name="connsiteY4" fmla="*/ 518397 h 1036794"/>
                  <a:gd name="connsiteX5" fmla="*/ 518402 w 1036804"/>
                  <a:gd name="connsiteY5" fmla="*/ 1007112 h 1036794"/>
                  <a:gd name="connsiteX6" fmla="*/ 518402 w 1036804"/>
                  <a:gd name="connsiteY6" fmla="*/ 1036794 h 1036794"/>
                  <a:gd name="connsiteX7" fmla="*/ 0 w 1036804"/>
                  <a:gd name="connsiteY7" fmla="*/ 518397 h 1036794"/>
                  <a:gd name="connsiteX8" fmla="*/ 518402 w 1036804"/>
                  <a:gd name="connsiteY8" fmla="*/ 0 h 1036794"/>
                  <a:gd name="connsiteX9" fmla="*/ 1036805 w 1036804"/>
                  <a:gd name="connsiteY9" fmla="*/ 518397 h 1036794"/>
                  <a:gd name="connsiteX10" fmla="*/ 518402 w 1036804"/>
                  <a:gd name="connsiteY10" fmla="*/ 1036794 h 1036794"/>
                  <a:gd name="connsiteX11" fmla="*/ 518402 w 1036804"/>
                  <a:gd name="connsiteY11" fmla="*/ 1021953 h 1036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6804" h="1036794">
                    <a:moveTo>
                      <a:pt x="518402" y="1021953"/>
                    </a:moveTo>
                    <a:lnTo>
                      <a:pt x="518402" y="1007112"/>
                    </a:lnTo>
                    <a:cubicBezTo>
                      <a:pt x="788363" y="1006667"/>
                      <a:pt x="1006677" y="788356"/>
                      <a:pt x="1007122" y="518397"/>
                    </a:cubicBezTo>
                    <a:cubicBezTo>
                      <a:pt x="1006677" y="248439"/>
                      <a:pt x="788363" y="30127"/>
                      <a:pt x="518402" y="29682"/>
                    </a:cubicBezTo>
                    <a:cubicBezTo>
                      <a:pt x="248441" y="30127"/>
                      <a:pt x="30128" y="248439"/>
                      <a:pt x="29682" y="518397"/>
                    </a:cubicBezTo>
                    <a:cubicBezTo>
                      <a:pt x="30128" y="788356"/>
                      <a:pt x="248441" y="1006667"/>
                      <a:pt x="518402" y="1007112"/>
                    </a:cubicBezTo>
                    <a:lnTo>
                      <a:pt x="518402" y="1036794"/>
                    </a:lnTo>
                    <a:cubicBezTo>
                      <a:pt x="232116" y="1036794"/>
                      <a:pt x="0" y="804681"/>
                      <a:pt x="0" y="518397"/>
                    </a:cubicBezTo>
                    <a:cubicBezTo>
                      <a:pt x="0" y="232114"/>
                      <a:pt x="232116" y="0"/>
                      <a:pt x="518402" y="0"/>
                    </a:cubicBezTo>
                    <a:cubicBezTo>
                      <a:pt x="804689" y="0"/>
                      <a:pt x="1036805" y="232114"/>
                      <a:pt x="1036805" y="518397"/>
                    </a:cubicBezTo>
                    <a:cubicBezTo>
                      <a:pt x="1036805" y="804681"/>
                      <a:pt x="804689" y="1036794"/>
                      <a:pt x="518402" y="1036794"/>
                    </a:cubicBezTo>
                    <a:lnTo>
                      <a:pt x="518402" y="1021953"/>
                    </a:lnTo>
                    <a:close/>
                  </a:path>
                </a:pathLst>
              </a:custGeom>
              <a:gradFill>
                <a:gsLst>
                  <a:gs pos="0">
                    <a:srgbClr val="F3E700"/>
                  </a:gs>
                  <a:gs pos="33000">
                    <a:srgbClr val="8CC3CA"/>
                  </a:gs>
                  <a:gs pos="67000">
                    <a:srgbClr val="2878FF"/>
                  </a:gs>
                  <a:gs pos="100000">
                    <a:srgbClr val="E229E2"/>
                  </a:gs>
                </a:gsLst>
                <a:lin ang="0" scaled="1"/>
              </a:gradFill>
              <a:ln w="14828" cap="flat">
                <a:noFill/>
                <a:prstDash val="solid"/>
                <a:miter/>
              </a:ln>
            </p:spPr>
            <p:txBody>
              <a:bodyPr rtlCol="0" anchor="ctr"/>
              <a:lstStyle/>
              <a:p>
                <a:endParaRPr lang="en-DK"/>
              </a:p>
            </p:txBody>
          </p:sp>
          <p:sp>
            <p:nvSpPr>
              <p:cNvPr id="208" name="Freeform 207">
                <a:extLst>
                  <a:ext uri="{FF2B5EF4-FFF2-40B4-BE49-F238E27FC236}">
                    <a16:creationId xmlns:a16="http://schemas.microsoft.com/office/drawing/2014/main" id="{83BEEC89-1B21-193D-5DF0-5603418A3561}"/>
                  </a:ext>
                </a:extLst>
              </p:cNvPr>
              <p:cNvSpPr/>
              <p:nvPr/>
            </p:nvSpPr>
            <p:spPr>
              <a:xfrm>
                <a:off x="1191014" y="4994310"/>
                <a:ext cx="1007122" cy="1007112"/>
              </a:xfrm>
              <a:custGeom>
                <a:avLst/>
                <a:gdLst>
                  <a:gd name="connsiteX0" fmla="*/ 503561 w 1007122"/>
                  <a:gd name="connsiteY0" fmla="*/ 1007112 h 1007112"/>
                  <a:gd name="connsiteX1" fmla="*/ 1007122 w 1007122"/>
                  <a:gd name="connsiteY1" fmla="*/ 503556 h 1007112"/>
                  <a:gd name="connsiteX2" fmla="*/ 503561 w 1007122"/>
                  <a:gd name="connsiteY2" fmla="*/ 0 h 1007112"/>
                  <a:gd name="connsiteX3" fmla="*/ 0 w 1007122"/>
                  <a:gd name="connsiteY3" fmla="*/ 503556 h 1007112"/>
                  <a:gd name="connsiteX4" fmla="*/ 503561 w 1007122"/>
                  <a:gd name="connsiteY4" fmla="*/ 1007112 h 100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122" h="1007112">
                    <a:moveTo>
                      <a:pt x="503561" y="1007112"/>
                    </a:moveTo>
                    <a:cubicBezTo>
                      <a:pt x="781685" y="1007112"/>
                      <a:pt x="1007122" y="781677"/>
                      <a:pt x="1007122" y="503556"/>
                    </a:cubicBezTo>
                    <a:cubicBezTo>
                      <a:pt x="1007122" y="225435"/>
                      <a:pt x="781685" y="0"/>
                      <a:pt x="503561" y="0"/>
                    </a:cubicBezTo>
                    <a:cubicBezTo>
                      <a:pt x="225437" y="0"/>
                      <a:pt x="0" y="225435"/>
                      <a:pt x="0" y="503556"/>
                    </a:cubicBezTo>
                    <a:cubicBezTo>
                      <a:pt x="0" y="781677"/>
                      <a:pt x="225437" y="1007112"/>
                      <a:pt x="503561" y="1007112"/>
                    </a:cubicBezTo>
                  </a:path>
                </a:pathLst>
              </a:custGeom>
              <a:solidFill>
                <a:srgbClr val="001965"/>
              </a:solidFill>
              <a:ln w="14828" cap="flat">
                <a:noFill/>
                <a:prstDash val="solid"/>
                <a:miter/>
              </a:ln>
            </p:spPr>
            <p:txBody>
              <a:bodyPr rtlCol="0" anchor="ctr"/>
              <a:lstStyle/>
              <a:p>
                <a:endParaRPr lang="en-DK"/>
              </a:p>
            </p:txBody>
          </p:sp>
          <p:sp>
            <p:nvSpPr>
              <p:cNvPr id="209" name="Freeform 208">
                <a:extLst>
                  <a:ext uri="{FF2B5EF4-FFF2-40B4-BE49-F238E27FC236}">
                    <a16:creationId xmlns:a16="http://schemas.microsoft.com/office/drawing/2014/main" id="{C5BD8E89-CF5E-65AD-50AA-2F47BDA3D176}"/>
                  </a:ext>
                </a:extLst>
              </p:cNvPr>
              <p:cNvSpPr/>
              <p:nvPr/>
            </p:nvSpPr>
            <p:spPr>
              <a:xfrm>
                <a:off x="1176173" y="4979469"/>
                <a:ext cx="1036804" cy="1036794"/>
              </a:xfrm>
              <a:custGeom>
                <a:avLst/>
                <a:gdLst>
                  <a:gd name="connsiteX0" fmla="*/ 518402 w 1036804"/>
                  <a:gd name="connsiteY0" fmla="*/ 1021953 h 1036794"/>
                  <a:gd name="connsiteX1" fmla="*/ 518402 w 1036804"/>
                  <a:gd name="connsiteY1" fmla="*/ 1007112 h 1036794"/>
                  <a:gd name="connsiteX2" fmla="*/ 1007122 w 1036804"/>
                  <a:gd name="connsiteY2" fmla="*/ 518397 h 1036794"/>
                  <a:gd name="connsiteX3" fmla="*/ 518402 w 1036804"/>
                  <a:gd name="connsiteY3" fmla="*/ 29682 h 1036794"/>
                  <a:gd name="connsiteX4" fmla="*/ 29682 w 1036804"/>
                  <a:gd name="connsiteY4" fmla="*/ 518397 h 1036794"/>
                  <a:gd name="connsiteX5" fmla="*/ 518402 w 1036804"/>
                  <a:gd name="connsiteY5" fmla="*/ 1007112 h 1036794"/>
                  <a:gd name="connsiteX6" fmla="*/ 518402 w 1036804"/>
                  <a:gd name="connsiteY6" fmla="*/ 1036794 h 1036794"/>
                  <a:gd name="connsiteX7" fmla="*/ 0 w 1036804"/>
                  <a:gd name="connsiteY7" fmla="*/ 518397 h 1036794"/>
                  <a:gd name="connsiteX8" fmla="*/ 518402 w 1036804"/>
                  <a:gd name="connsiteY8" fmla="*/ 0 h 1036794"/>
                  <a:gd name="connsiteX9" fmla="*/ 1036805 w 1036804"/>
                  <a:gd name="connsiteY9" fmla="*/ 518397 h 1036794"/>
                  <a:gd name="connsiteX10" fmla="*/ 518402 w 1036804"/>
                  <a:gd name="connsiteY10" fmla="*/ 1036794 h 1036794"/>
                  <a:gd name="connsiteX11" fmla="*/ 518402 w 1036804"/>
                  <a:gd name="connsiteY11" fmla="*/ 1021953 h 1036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6804" h="1036794">
                    <a:moveTo>
                      <a:pt x="518402" y="1021953"/>
                    </a:moveTo>
                    <a:lnTo>
                      <a:pt x="518402" y="1007112"/>
                    </a:lnTo>
                    <a:cubicBezTo>
                      <a:pt x="788363" y="1006667"/>
                      <a:pt x="1006677" y="788355"/>
                      <a:pt x="1007122" y="518397"/>
                    </a:cubicBezTo>
                    <a:cubicBezTo>
                      <a:pt x="1006677" y="248439"/>
                      <a:pt x="788363" y="30127"/>
                      <a:pt x="518402" y="29682"/>
                    </a:cubicBezTo>
                    <a:cubicBezTo>
                      <a:pt x="248441" y="30127"/>
                      <a:pt x="30128" y="248439"/>
                      <a:pt x="29682" y="518397"/>
                    </a:cubicBezTo>
                    <a:cubicBezTo>
                      <a:pt x="30128" y="788355"/>
                      <a:pt x="248441" y="1006667"/>
                      <a:pt x="518402" y="1007112"/>
                    </a:cubicBezTo>
                    <a:lnTo>
                      <a:pt x="518402" y="1036794"/>
                    </a:lnTo>
                    <a:cubicBezTo>
                      <a:pt x="232116" y="1036794"/>
                      <a:pt x="0" y="804680"/>
                      <a:pt x="0" y="518397"/>
                    </a:cubicBezTo>
                    <a:cubicBezTo>
                      <a:pt x="0" y="232114"/>
                      <a:pt x="232116" y="0"/>
                      <a:pt x="518402" y="0"/>
                    </a:cubicBezTo>
                    <a:cubicBezTo>
                      <a:pt x="804689" y="0"/>
                      <a:pt x="1036805" y="232114"/>
                      <a:pt x="1036805" y="518397"/>
                    </a:cubicBezTo>
                    <a:cubicBezTo>
                      <a:pt x="1036805" y="804680"/>
                      <a:pt x="804689" y="1036794"/>
                      <a:pt x="518402" y="1036794"/>
                    </a:cubicBezTo>
                    <a:lnTo>
                      <a:pt x="518402" y="1021953"/>
                    </a:lnTo>
                    <a:close/>
                  </a:path>
                </a:pathLst>
              </a:custGeom>
              <a:gradFill>
                <a:gsLst>
                  <a:gs pos="0">
                    <a:srgbClr val="F3E700"/>
                  </a:gs>
                  <a:gs pos="33000">
                    <a:srgbClr val="8CC3CA"/>
                  </a:gs>
                  <a:gs pos="67000">
                    <a:srgbClr val="2878FF"/>
                  </a:gs>
                  <a:gs pos="100000">
                    <a:srgbClr val="E229E2"/>
                  </a:gs>
                </a:gsLst>
                <a:lin ang="0" scaled="1"/>
              </a:gradFill>
              <a:ln w="14828" cap="flat">
                <a:noFill/>
                <a:prstDash val="solid"/>
                <a:miter/>
              </a:ln>
            </p:spPr>
            <p:txBody>
              <a:bodyPr rtlCol="0" anchor="ctr"/>
              <a:lstStyle/>
              <a:p>
                <a:endParaRPr lang="en-DK"/>
              </a:p>
            </p:txBody>
          </p:sp>
          <p:sp>
            <p:nvSpPr>
              <p:cNvPr id="210" name="Freeform 209">
                <a:extLst>
                  <a:ext uri="{FF2B5EF4-FFF2-40B4-BE49-F238E27FC236}">
                    <a16:creationId xmlns:a16="http://schemas.microsoft.com/office/drawing/2014/main" id="{4E5D152A-2928-3263-FEB6-07DF9D7BC1E3}"/>
                  </a:ext>
                </a:extLst>
              </p:cNvPr>
              <p:cNvSpPr/>
              <p:nvPr/>
            </p:nvSpPr>
            <p:spPr>
              <a:xfrm>
                <a:off x="1426980" y="5293358"/>
                <a:ext cx="577186" cy="368235"/>
              </a:xfrm>
              <a:custGeom>
                <a:avLst/>
                <a:gdLst>
                  <a:gd name="connsiteX0" fmla="*/ 402056 w 577186"/>
                  <a:gd name="connsiteY0" fmla="*/ 7419 h 368235"/>
                  <a:gd name="connsiteX1" fmla="*/ 400127 w 577186"/>
                  <a:gd name="connsiteY1" fmla="*/ 11129 h 368235"/>
                  <a:gd name="connsiteX2" fmla="*/ 418827 w 577186"/>
                  <a:gd name="connsiteY2" fmla="*/ 34578 h 368235"/>
                  <a:gd name="connsiteX3" fmla="*/ 391519 w 577186"/>
                  <a:gd name="connsiteY3" fmla="*/ 7567 h 368235"/>
                  <a:gd name="connsiteX4" fmla="*/ 348777 w 577186"/>
                  <a:gd name="connsiteY4" fmla="*/ 35765 h 368235"/>
                  <a:gd name="connsiteX5" fmla="*/ 353526 w 577186"/>
                  <a:gd name="connsiteY5" fmla="*/ 59659 h 368235"/>
                  <a:gd name="connsiteX6" fmla="*/ 349073 w 577186"/>
                  <a:gd name="connsiteY6" fmla="*/ 47489 h 368235"/>
                  <a:gd name="connsiteX7" fmla="*/ 341504 w 577186"/>
                  <a:gd name="connsiteY7" fmla="*/ 49716 h 368235"/>
                  <a:gd name="connsiteX8" fmla="*/ 118441 w 577186"/>
                  <a:gd name="connsiteY8" fmla="*/ 83405 h 368235"/>
                  <a:gd name="connsiteX9" fmla="*/ 77925 w 577186"/>
                  <a:gd name="connsiteY9" fmla="*/ 152564 h 368235"/>
                  <a:gd name="connsiteX10" fmla="*/ 40970 w 577186"/>
                  <a:gd name="connsiteY10" fmla="*/ 212077 h 368235"/>
                  <a:gd name="connsiteX11" fmla="*/ 103155 w 577186"/>
                  <a:gd name="connsiteY11" fmla="*/ 355144 h 368235"/>
                  <a:gd name="connsiteX12" fmla="*/ 429216 w 577186"/>
                  <a:gd name="connsiteY12" fmla="*/ 362119 h 368235"/>
                  <a:gd name="connsiteX13" fmla="*/ 432036 w 577186"/>
                  <a:gd name="connsiteY13" fmla="*/ 358854 h 368235"/>
                  <a:gd name="connsiteX14" fmla="*/ 323546 w 577186"/>
                  <a:gd name="connsiteY14" fmla="*/ 315815 h 368235"/>
                  <a:gd name="connsiteX15" fmla="*/ 98703 w 577186"/>
                  <a:gd name="connsiteY15" fmla="*/ 339858 h 368235"/>
                  <a:gd name="connsiteX16" fmla="*/ 27910 w 577186"/>
                  <a:gd name="connsiteY16" fmla="*/ 264465 h 368235"/>
                  <a:gd name="connsiteX17" fmla="*/ 71098 w 577186"/>
                  <a:gd name="connsiteY17" fmla="*/ 219942 h 368235"/>
                  <a:gd name="connsiteX18" fmla="*/ 112653 w 577186"/>
                  <a:gd name="connsiteY18" fmla="*/ 218458 h 368235"/>
                  <a:gd name="connsiteX19" fmla="*/ 103155 w 577186"/>
                  <a:gd name="connsiteY19" fmla="*/ 253186 h 368235"/>
                  <a:gd name="connsiteX20" fmla="*/ 99296 w 577186"/>
                  <a:gd name="connsiteY20" fmla="*/ 264169 h 368235"/>
                  <a:gd name="connsiteX21" fmla="*/ 165785 w 577186"/>
                  <a:gd name="connsiteY21" fmla="*/ 266988 h 368235"/>
                  <a:gd name="connsiteX22" fmla="*/ 230195 w 577186"/>
                  <a:gd name="connsiteY22" fmla="*/ 268176 h 368235"/>
                  <a:gd name="connsiteX23" fmla="*/ 225298 w 577186"/>
                  <a:gd name="connsiteY23" fmla="*/ 263130 h 368235"/>
                  <a:gd name="connsiteX24" fmla="*/ 211941 w 577186"/>
                  <a:gd name="connsiteY24" fmla="*/ 253928 h 368235"/>
                  <a:gd name="connsiteX25" fmla="*/ 179587 w 577186"/>
                  <a:gd name="connsiteY25" fmla="*/ 248882 h 368235"/>
                  <a:gd name="connsiteX26" fmla="*/ 155841 w 577186"/>
                  <a:gd name="connsiteY26" fmla="*/ 247992 h 368235"/>
                  <a:gd name="connsiteX27" fmla="*/ 163707 w 577186"/>
                  <a:gd name="connsiteY27" fmla="*/ 243540 h 368235"/>
                  <a:gd name="connsiteX28" fmla="*/ 171573 w 577186"/>
                  <a:gd name="connsiteY28" fmla="*/ 239087 h 368235"/>
                  <a:gd name="connsiteX29" fmla="*/ 200068 w 577186"/>
                  <a:gd name="connsiteY29" fmla="*/ 239978 h 368235"/>
                  <a:gd name="connsiteX30" fmla="*/ 287334 w 577186"/>
                  <a:gd name="connsiteY30" fmla="*/ 233448 h 368235"/>
                  <a:gd name="connsiteX31" fmla="*/ 313009 w 577186"/>
                  <a:gd name="connsiteY31" fmla="*/ 231370 h 368235"/>
                  <a:gd name="connsiteX32" fmla="*/ 321469 w 577186"/>
                  <a:gd name="connsiteY32" fmla="*/ 239087 h 368235"/>
                  <a:gd name="connsiteX33" fmla="*/ 332897 w 577186"/>
                  <a:gd name="connsiteY33" fmla="*/ 261646 h 368235"/>
                  <a:gd name="connsiteX34" fmla="*/ 333787 w 577186"/>
                  <a:gd name="connsiteY34" fmla="*/ 266098 h 368235"/>
                  <a:gd name="connsiteX35" fmla="*/ 354119 w 577186"/>
                  <a:gd name="connsiteY35" fmla="*/ 266098 h 368235"/>
                  <a:gd name="connsiteX36" fmla="*/ 374452 w 577186"/>
                  <a:gd name="connsiteY36" fmla="*/ 264911 h 368235"/>
                  <a:gd name="connsiteX37" fmla="*/ 348183 w 577186"/>
                  <a:gd name="connsiteY37" fmla="*/ 237900 h 368235"/>
                  <a:gd name="connsiteX38" fmla="*/ 336310 w 577186"/>
                  <a:gd name="connsiteY38" fmla="*/ 229292 h 368235"/>
                  <a:gd name="connsiteX39" fmla="*/ 350706 w 577186"/>
                  <a:gd name="connsiteY39" fmla="*/ 230776 h 368235"/>
                  <a:gd name="connsiteX40" fmla="*/ 379498 w 577186"/>
                  <a:gd name="connsiteY40" fmla="*/ 255412 h 368235"/>
                  <a:gd name="connsiteX41" fmla="*/ 390332 w 577186"/>
                  <a:gd name="connsiteY41" fmla="*/ 266246 h 368235"/>
                  <a:gd name="connsiteX42" fmla="*/ 425060 w 577186"/>
                  <a:gd name="connsiteY42" fmla="*/ 267285 h 368235"/>
                  <a:gd name="connsiteX43" fmla="*/ 457414 w 577186"/>
                  <a:gd name="connsiteY43" fmla="*/ 265059 h 368235"/>
                  <a:gd name="connsiteX44" fmla="*/ 423131 w 577186"/>
                  <a:gd name="connsiteY44" fmla="*/ 250218 h 368235"/>
                  <a:gd name="connsiteX45" fmla="*/ 401166 w 577186"/>
                  <a:gd name="connsiteY45" fmla="*/ 227363 h 368235"/>
                  <a:gd name="connsiteX46" fmla="*/ 495111 w 577186"/>
                  <a:gd name="connsiteY46" fmla="*/ 148705 h 368235"/>
                  <a:gd name="connsiteX47" fmla="*/ 521676 w 577186"/>
                  <a:gd name="connsiteY47" fmla="*/ 143363 h 368235"/>
                  <a:gd name="connsiteX48" fmla="*/ 536963 w 577186"/>
                  <a:gd name="connsiteY48" fmla="*/ 138910 h 368235"/>
                  <a:gd name="connsiteX49" fmla="*/ 548390 w 577186"/>
                  <a:gd name="connsiteY49" fmla="*/ 134458 h 368235"/>
                  <a:gd name="connsiteX50" fmla="*/ 560709 w 577186"/>
                  <a:gd name="connsiteY50" fmla="*/ 127779 h 368235"/>
                  <a:gd name="connsiteX51" fmla="*/ 574362 w 577186"/>
                  <a:gd name="connsiteY51" fmla="*/ 109525 h 368235"/>
                  <a:gd name="connsiteX52" fmla="*/ 577034 w 577186"/>
                  <a:gd name="connsiteY52" fmla="*/ 93200 h 368235"/>
                  <a:gd name="connsiteX53" fmla="*/ 538892 w 577186"/>
                  <a:gd name="connsiteY53" fmla="*/ 69454 h 368235"/>
                  <a:gd name="connsiteX54" fmla="*/ 465725 w 577186"/>
                  <a:gd name="connsiteY54" fmla="*/ 40366 h 368235"/>
                  <a:gd name="connsiteX55" fmla="*/ 445096 w 577186"/>
                  <a:gd name="connsiteY55" fmla="*/ 26415 h 368235"/>
                  <a:gd name="connsiteX56" fmla="*/ 401463 w 577186"/>
                  <a:gd name="connsiteY56" fmla="*/ 7419 h 368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77186" h="368235">
                    <a:moveTo>
                      <a:pt x="402056" y="7419"/>
                    </a:moveTo>
                    <a:cubicBezTo>
                      <a:pt x="401463" y="8309"/>
                      <a:pt x="400572" y="10090"/>
                      <a:pt x="400127" y="11129"/>
                    </a:cubicBezTo>
                    <a:cubicBezTo>
                      <a:pt x="399979" y="11574"/>
                      <a:pt x="418827" y="34578"/>
                      <a:pt x="418827" y="34578"/>
                    </a:cubicBezTo>
                    <a:cubicBezTo>
                      <a:pt x="418679" y="33687"/>
                      <a:pt x="395081" y="9942"/>
                      <a:pt x="391519" y="7567"/>
                    </a:cubicBezTo>
                    <a:cubicBezTo>
                      <a:pt x="371780" y="-5493"/>
                      <a:pt x="345066" y="5786"/>
                      <a:pt x="348777" y="35765"/>
                    </a:cubicBezTo>
                    <a:cubicBezTo>
                      <a:pt x="349964" y="43779"/>
                      <a:pt x="351745" y="51645"/>
                      <a:pt x="353526" y="59659"/>
                    </a:cubicBezTo>
                    <a:lnTo>
                      <a:pt x="349073" y="47489"/>
                    </a:lnTo>
                    <a:lnTo>
                      <a:pt x="341504" y="49716"/>
                    </a:lnTo>
                    <a:cubicBezTo>
                      <a:pt x="263588" y="39624"/>
                      <a:pt x="181516" y="18846"/>
                      <a:pt x="118441" y="83405"/>
                    </a:cubicBezTo>
                    <a:cubicBezTo>
                      <a:pt x="96625" y="105666"/>
                      <a:pt x="87423" y="121843"/>
                      <a:pt x="77925" y="152564"/>
                    </a:cubicBezTo>
                    <a:cubicBezTo>
                      <a:pt x="69762" y="178536"/>
                      <a:pt x="63974" y="187886"/>
                      <a:pt x="40970" y="212077"/>
                    </a:cubicBezTo>
                    <a:cubicBezTo>
                      <a:pt x="-42585" y="292812"/>
                      <a:pt x="13514" y="351137"/>
                      <a:pt x="103155" y="355144"/>
                    </a:cubicBezTo>
                    <a:cubicBezTo>
                      <a:pt x="209566" y="351434"/>
                      <a:pt x="327108" y="289992"/>
                      <a:pt x="429216" y="362119"/>
                    </a:cubicBezTo>
                    <a:cubicBezTo>
                      <a:pt x="442127" y="371618"/>
                      <a:pt x="443908" y="369688"/>
                      <a:pt x="432036" y="358854"/>
                    </a:cubicBezTo>
                    <a:cubicBezTo>
                      <a:pt x="410961" y="339561"/>
                      <a:pt x="364953" y="321307"/>
                      <a:pt x="323546" y="315815"/>
                    </a:cubicBezTo>
                    <a:cubicBezTo>
                      <a:pt x="242068" y="307356"/>
                      <a:pt x="174393" y="346982"/>
                      <a:pt x="98703" y="339858"/>
                    </a:cubicBezTo>
                    <a:cubicBezTo>
                      <a:pt x="42603" y="335851"/>
                      <a:pt x="4164" y="308395"/>
                      <a:pt x="27910" y="264465"/>
                    </a:cubicBezTo>
                    <a:cubicBezTo>
                      <a:pt x="35776" y="250070"/>
                      <a:pt x="57741" y="227363"/>
                      <a:pt x="71098" y="219942"/>
                    </a:cubicBezTo>
                    <a:cubicBezTo>
                      <a:pt x="87869" y="210592"/>
                      <a:pt x="106569" y="209999"/>
                      <a:pt x="112653" y="218458"/>
                    </a:cubicBezTo>
                    <a:cubicBezTo>
                      <a:pt x="118441" y="226621"/>
                      <a:pt x="113989" y="243094"/>
                      <a:pt x="103155" y="253186"/>
                    </a:cubicBezTo>
                    <a:cubicBezTo>
                      <a:pt x="96922" y="258974"/>
                      <a:pt x="96031" y="261497"/>
                      <a:pt x="99296" y="264169"/>
                    </a:cubicBezTo>
                    <a:cubicBezTo>
                      <a:pt x="100484" y="265208"/>
                      <a:pt x="126307" y="266246"/>
                      <a:pt x="165785" y="266988"/>
                    </a:cubicBezTo>
                    <a:lnTo>
                      <a:pt x="230195" y="268176"/>
                    </a:lnTo>
                    <a:lnTo>
                      <a:pt x="225298" y="263130"/>
                    </a:lnTo>
                    <a:cubicBezTo>
                      <a:pt x="222627" y="260310"/>
                      <a:pt x="216542" y="256303"/>
                      <a:pt x="211941" y="253928"/>
                    </a:cubicBezTo>
                    <a:cubicBezTo>
                      <a:pt x="204372" y="250218"/>
                      <a:pt x="200810" y="249773"/>
                      <a:pt x="179587" y="248882"/>
                    </a:cubicBezTo>
                    <a:lnTo>
                      <a:pt x="155841" y="247992"/>
                    </a:lnTo>
                    <a:lnTo>
                      <a:pt x="163707" y="243540"/>
                    </a:lnTo>
                    <a:lnTo>
                      <a:pt x="171573" y="239087"/>
                    </a:lnTo>
                    <a:lnTo>
                      <a:pt x="200068" y="239978"/>
                    </a:lnTo>
                    <a:cubicBezTo>
                      <a:pt x="232273" y="241017"/>
                      <a:pt x="257206" y="239236"/>
                      <a:pt x="287334" y="233448"/>
                    </a:cubicBezTo>
                    <a:cubicBezTo>
                      <a:pt x="300394" y="230925"/>
                      <a:pt x="313009" y="231370"/>
                      <a:pt x="313009" y="231370"/>
                    </a:cubicBezTo>
                    <a:cubicBezTo>
                      <a:pt x="313009" y="231370"/>
                      <a:pt x="317165" y="235080"/>
                      <a:pt x="321469" y="239087"/>
                    </a:cubicBezTo>
                    <a:cubicBezTo>
                      <a:pt x="328444" y="245320"/>
                      <a:pt x="330225" y="248882"/>
                      <a:pt x="332897" y="261646"/>
                    </a:cubicBezTo>
                    <a:lnTo>
                      <a:pt x="333787" y="266098"/>
                    </a:lnTo>
                    <a:lnTo>
                      <a:pt x="354119" y="266098"/>
                    </a:lnTo>
                    <a:cubicBezTo>
                      <a:pt x="365399" y="266098"/>
                      <a:pt x="374452" y="265504"/>
                      <a:pt x="374452" y="264911"/>
                    </a:cubicBezTo>
                    <a:cubicBezTo>
                      <a:pt x="374452" y="261794"/>
                      <a:pt x="357236" y="244133"/>
                      <a:pt x="348183" y="237900"/>
                    </a:cubicBezTo>
                    <a:cubicBezTo>
                      <a:pt x="340317" y="232557"/>
                      <a:pt x="336310" y="229292"/>
                      <a:pt x="336310" y="229292"/>
                    </a:cubicBezTo>
                    <a:lnTo>
                      <a:pt x="350706" y="230776"/>
                    </a:lnTo>
                    <a:cubicBezTo>
                      <a:pt x="350706" y="230776"/>
                      <a:pt x="372968" y="248734"/>
                      <a:pt x="379498" y="255412"/>
                    </a:cubicBezTo>
                    <a:lnTo>
                      <a:pt x="390332" y="266246"/>
                    </a:lnTo>
                    <a:lnTo>
                      <a:pt x="425060" y="267285"/>
                    </a:lnTo>
                    <a:cubicBezTo>
                      <a:pt x="459640" y="268176"/>
                      <a:pt x="459789" y="268176"/>
                      <a:pt x="457414" y="265059"/>
                    </a:cubicBezTo>
                    <a:cubicBezTo>
                      <a:pt x="449993" y="254670"/>
                      <a:pt x="439753" y="250367"/>
                      <a:pt x="423131" y="250218"/>
                    </a:cubicBezTo>
                    <a:cubicBezTo>
                      <a:pt x="404431" y="250218"/>
                      <a:pt x="397307" y="244133"/>
                      <a:pt x="401166" y="227363"/>
                    </a:cubicBezTo>
                    <a:cubicBezTo>
                      <a:pt x="413929" y="171115"/>
                      <a:pt x="461421" y="157610"/>
                      <a:pt x="495111" y="148705"/>
                    </a:cubicBezTo>
                    <a:cubicBezTo>
                      <a:pt x="506241" y="145737"/>
                      <a:pt x="518263" y="143363"/>
                      <a:pt x="521676" y="143363"/>
                    </a:cubicBezTo>
                    <a:cubicBezTo>
                      <a:pt x="525238" y="143363"/>
                      <a:pt x="532065" y="141285"/>
                      <a:pt x="536963" y="138910"/>
                    </a:cubicBezTo>
                    <a:cubicBezTo>
                      <a:pt x="541860" y="136387"/>
                      <a:pt x="547055" y="134458"/>
                      <a:pt x="548390" y="134458"/>
                    </a:cubicBezTo>
                    <a:cubicBezTo>
                      <a:pt x="549726" y="134458"/>
                      <a:pt x="555366" y="131490"/>
                      <a:pt x="560709" y="127779"/>
                    </a:cubicBezTo>
                    <a:cubicBezTo>
                      <a:pt x="568426" y="122585"/>
                      <a:pt x="571394" y="118726"/>
                      <a:pt x="574362" y="109525"/>
                    </a:cubicBezTo>
                    <a:cubicBezTo>
                      <a:pt x="576440" y="103143"/>
                      <a:pt x="577628" y="95723"/>
                      <a:pt x="577034" y="93200"/>
                    </a:cubicBezTo>
                    <a:cubicBezTo>
                      <a:pt x="576143" y="89935"/>
                      <a:pt x="565013" y="82959"/>
                      <a:pt x="538892" y="69454"/>
                    </a:cubicBezTo>
                    <a:cubicBezTo>
                      <a:pt x="498079" y="48380"/>
                      <a:pt x="478192" y="40514"/>
                      <a:pt x="465725" y="40366"/>
                    </a:cubicBezTo>
                    <a:cubicBezTo>
                      <a:pt x="458304" y="40366"/>
                      <a:pt x="457117" y="37546"/>
                      <a:pt x="445096" y="26415"/>
                    </a:cubicBezTo>
                    <a:cubicBezTo>
                      <a:pt x="428919" y="11574"/>
                      <a:pt x="415859" y="-12171"/>
                      <a:pt x="401463" y="7419"/>
                    </a:cubicBezTo>
                  </a:path>
                </a:pathLst>
              </a:custGeom>
              <a:solidFill>
                <a:srgbClr val="2978FF">
                  <a:alpha val="50000"/>
                </a:srgbClr>
              </a:solidFill>
              <a:ln w="14828" cap="flat">
                <a:noFill/>
                <a:prstDash val="solid"/>
                <a:miter/>
              </a:ln>
            </p:spPr>
            <p:txBody>
              <a:bodyPr rtlCol="0" anchor="ctr"/>
              <a:lstStyle/>
              <a:p>
                <a:endParaRPr lang="en-DK"/>
              </a:p>
            </p:txBody>
          </p:sp>
          <p:sp>
            <p:nvSpPr>
              <p:cNvPr id="211" name="Freeform 210">
                <a:extLst>
                  <a:ext uri="{FF2B5EF4-FFF2-40B4-BE49-F238E27FC236}">
                    <a16:creationId xmlns:a16="http://schemas.microsoft.com/office/drawing/2014/main" id="{6BD19992-0FBE-805F-DBBF-4A0B6644C7C1}"/>
                  </a:ext>
                </a:extLst>
              </p:cNvPr>
              <p:cNvSpPr/>
              <p:nvPr/>
            </p:nvSpPr>
            <p:spPr>
              <a:xfrm>
                <a:off x="1421855" y="5288014"/>
                <a:ext cx="588027" cy="378891"/>
              </a:xfrm>
              <a:custGeom>
                <a:avLst/>
                <a:gdLst>
                  <a:gd name="connsiteX0" fmla="*/ 407181 w 588027"/>
                  <a:gd name="connsiteY0" fmla="*/ 12763 h 378891"/>
                  <a:gd name="connsiteX1" fmla="*/ 407181 w 588027"/>
                  <a:gd name="connsiteY1" fmla="*/ 12763 h 378891"/>
                  <a:gd name="connsiteX2" fmla="*/ 407181 w 588027"/>
                  <a:gd name="connsiteY2" fmla="*/ 12763 h 378891"/>
                  <a:gd name="connsiteX3" fmla="*/ 240812 w 588027"/>
                  <a:gd name="connsiteY3" fmla="*/ 49124 h 378891"/>
                  <a:gd name="connsiteX4" fmla="*/ 127573 w 588027"/>
                  <a:gd name="connsiteY4" fmla="*/ 92460 h 378891"/>
                  <a:gd name="connsiteX5" fmla="*/ 88244 w 588027"/>
                  <a:gd name="connsiteY5" fmla="*/ 159541 h 378891"/>
                  <a:gd name="connsiteX6" fmla="*/ 50102 w 588027"/>
                  <a:gd name="connsiteY6" fmla="*/ 221131 h 378891"/>
                  <a:gd name="connsiteX7" fmla="*/ 13593 w 588027"/>
                  <a:gd name="connsiteY7" fmla="*/ 307951 h 378891"/>
                  <a:gd name="connsiteX8" fmla="*/ 108873 w 588027"/>
                  <a:gd name="connsiteY8" fmla="*/ 355294 h 378891"/>
                  <a:gd name="connsiteX9" fmla="*/ 205193 w 588027"/>
                  <a:gd name="connsiteY9" fmla="*/ 341641 h 378891"/>
                  <a:gd name="connsiteX10" fmla="*/ 339357 w 588027"/>
                  <a:gd name="connsiteY10" fmla="*/ 328135 h 378891"/>
                  <a:gd name="connsiteX11" fmla="*/ 328523 w 588027"/>
                  <a:gd name="connsiteY11" fmla="*/ 326354 h 378891"/>
                  <a:gd name="connsiteX12" fmla="*/ 212910 w 588027"/>
                  <a:gd name="connsiteY12" fmla="*/ 338524 h 378891"/>
                  <a:gd name="connsiteX13" fmla="*/ 103827 w 588027"/>
                  <a:gd name="connsiteY13" fmla="*/ 350545 h 378891"/>
                  <a:gd name="connsiteX14" fmla="*/ 26208 w 588027"/>
                  <a:gd name="connsiteY14" fmla="*/ 314778 h 378891"/>
                  <a:gd name="connsiteX15" fmla="*/ 28880 w 588027"/>
                  <a:gd name="connsiteY15" fmla="*/ 267435 h 378891"/>
                  <a:gd name="connsiteX16" fmla="*/ 74294 w 588027"/>
                  <a:gd name="connsiteY16" fmla="*/ 220835 h 378891"/>
                  <a:gd name="connsiteX17" fmla="*/ 122676 w 588027"/>
                  <a:gd name="connsiteY17" fmla="*/ 220835 h 378891"/>
                  <a:gd name="connsiteX18" fmla="*/ 112435 w 588027"/>
                  <a:gd name="connsiteY18" fmla="*/ 262390 h 378891"/>
                  <a:gd name="connsiteX19" fmla="*/ 109912 w 588027"/>
                  <a:gd name="connsiteY19" fmla="*/ 264912 h 378891"/>
                  <a:gd name="connsiteX20" fmla="*/ 171503 w 588027"/>
                  <a:gd name="connsiteY20" fmla="*/ 266990 h 378891"/>
                  <a:gd name="connsiteX21" fmla="*/ 221963 w 588027"/>
                  <a:gd name="connsiteY21" fmla="*/ 267881 h 378891"/>
                  <a:gd name="connsiteX22" fmla="*/ 215285 w 588027"/>
                  <a:gd name="connsiteY22" fmla="*/ 264022 h 378891"/>
                  <a:gd name="connsiteX23" fmla="*/ 185009 w 588027"/>
                  <a:gd name="connsiteY23" fmla="*/ 259570 h 378891"/>
                  <a:gd name="connsiteX24" fmla="*/ 161263 w 588027"/>
                  <a:gd name="connsiteY24" fmla="*/ 258679 h 378891"/>
                  <a:gd name="connsiteX25" fmla="*/ 156365 w 588027"/>
                  <a:gd name="connsiteY25" fmla="*/ 254672 h 378891"/>
                  <a:gd name="connsiteX26" fmla="*/ 158888 w 588027"/>
                  <a:gd name="connsiteY26" fmla="*/ 248884 h 378891"/>
                  <a:gd name="connsiteX27" fmla="*/ 174620 w 588027"/>
                  <a:gd name="connsiteY27" fmla="*/ 239831 h 378891"/>
                  <a:gd name="connsiteX28" fmla="*/ 177440 w 588027"/>
                  <a:gd name="connsiteY28" fmla="*/ 239089 h 378891"/>
                  <a:gd name="connsiteX29" fmla="*/ 205935 w 588027"/>
                  <a:gd name="connsiteY29" fmla="*/ 239979 h 378891"/>
                  <a:gd name="connsiteX30" fmla="*/ 292014 w 588027"/>
                  <a:gd name="connsiteY30" fmla="*/ 233598 h 378891"/>
                  <a:gd name="connsiteX31" fmla="*/ 318876 w 588027"/>
                  <a:gd name="connsiteY31" fmla="*/ 231372 h 378891"/>
                  <a:gd name="connsiteX32" fmla="*/ 322290 w 588027"/>
                  <a:gd name="connsiteY32" fmla="*/ 232707 h 378891"/>
                  <a:gd name="connsiteX33" fmla="*/ 330749 w 588027"/>
                  <a:gd name="connsiteY33" fmla="*/ 240425 h 378891"/>
                  <a:gd name="connsiteX34" fmla="*/ 343809 w 588027"/>
                  <a:gd name="connsiteY34" fmla="*/ 265951 h 378891"/>
                  <a:gd name="connsiteX35" fmla="*/ 343809 w 588027"/>
                  <a:gd name="connsiteY35" fmla="*/ 265951 h 378891"/>
                  <a:gd name="connsiteX36" fmla="*/ 359838 w 588027"/>
                  <a:gd name="connsiteY36" fmla="*/ 266100 h 378891"/>
                  <a:gd name="connsiteX37" fmla="*/ 370820 w 588027"/>
                  <a:gd name="connsiteY37" fmla="*/ 265951 h 378891"/>
                  <a:gd name="connsiteX38" fmla="*/ 350933 w 588027"/>
                  <a:gd name="connsiteY38" fmla="*/ 247549 h 378891"/>
                  <a:gd name="connsiteX39" fmla="*/ 338763 w 588027"/>
                  <a:gd name="connsiteY39" fmla="*/ 238792 h 378891"/>
                  <a:gd name="connsiteX40" fmla="*/ 337131 w 588027"/>
                  <a:gd name="connsiteY40" fmla="*/ 232707 h 378891"/>
                  <a:gd name="connsiteX41" fmla="*/ 342622 w 588027"/>
                  <a:gd name="connsiteY41" fmla="*/ 229442 h 378891"/>
                  <a:gd name="connsiteX42" fmla="*/ 357018 w 588027"/>
                  <a:gd name="connsiteY42" fmla="*/ 230926 h 378891"/>
                  <a:gd name="connsiteX43" fmla="*/ 359838 w 588027"/>
                  <a:gd name="connsiteY43" fmla="*/ 232114 h 378891"/>
                  <a:gd name="connsiteX44" fmla="*/ 389075 w 588027"/>
                  <a:gd name="connsiteY44" fmla="*/ 257047 h 378891"/>
                  <a:gd name="connsiteX45" fmla="*/ 398425 w 588027"/>
                  <a:gd name="connsiteY45" fmla="*/ 266396 h 378891"/>
                  <a:gd name="connsiteX46" fmla="*/ 431075 w 588027"/>
                  <a:gd name="connsiteY46" fmla="*/ 267287 h 378891"/>
                  <a:gd name="connsiteX47" fmla="*/ 453931 w 588027"/>
                  <a:gd name="connsiteY47" fmla="*/ 267881 h 378891"/>
                  <a:gd name="connsiteX48" fmla="*/ 428998 w 588027"/>
                  <a:gd name="connsiteY48" fmla="*/ 260757 h 378891"/>
                  <a:gd name="connsiteX49" fmla="*/ 404658 w 588027"/>
                  <a:gd name="connsiteY49" fmla="*/ 252594 h 378891"/>
                  <a:gd name="connsiteX50" fmla="*/ 401987 w 588027"/>
                  <a:gd name="connsiteY50" fmla="*/ 231520 h 378891"/>
                  <a:gd name="connsiteX51" fmla="*/ 499642 w 588027"/>
                  <a:gd name="connsiteY51" fmla="*/ 149004 h 378891"/>
                  <a:gd name="connsiteX52" fmla="*/ 527543 w 588027"/>
                  <a:gd name="connsiteY52" fmla="*/ 143513 h 378891"/>
                  <a:gd name="connsiteX53" fmla="*/ 540603 w 588027"/>
                  <a:gd name="connsiteY53" fmla="*/ 139506 h 378891"/>
                  <a:gd name="connsiteX54" fmla="*/ 553812 w 588027"/>
                  <a:gd name="connsiteY54" fmla="*/ 134460 h 378891"/>
                  <a:gd name="connsiteX55" fmla="*/ 563904 w 588027"/>
                  <a:gd name="connsiteY55" fmla="*/ 128672 h 378891"/>
                  <a:gd name="connsiteX56" fmla="*/ 575480 w 588027"/>
                  <a:gd name="connsiteY56" fmla="*/ 113089 h 378891"/>
                  <a:gd name="connsiteX57" fmla="*/ 578003 w 588027"/>
                  <a:gd name="connsiteY57" fmla="*/ 100177 h 378891"/>
                  <a:gd name="connsiteX58" fmla="*/ 542533 w 588027"/>
                  <a:gd name="connsiteY58" fmla="*/ 79400 h 378891"/>
                  <a:gd name="connsiteX59" fmla="*/ 471740 w 588027"/>
                  <a:gd name="connsiteY59" fmla="*/ 50905 h 378891"/>
                  <a:gd name="connsiteX60" fmla="*/ 453337 w 588027"/>
                  <a:gd name="connsiteY60" fmla="*/ 40961 h 378891"/>
                  <a:gd name="connsiteX61" fmla="*/ 447549 w 588027"/>
                  <a:gd name="connsiteY61" fmla="*/ 35619 h 378891"/>
                  <a:gd name="connsiteX62" fmla="*/ 437309 w 588027"/>
                  <a:gd name="connsiteY62" fmla="*/ 25081 h 378891"/>
                  <a:gd name="connsiteX63" fmla="*/ 418757 w 588027"/>
                  <a:gd name="connsiteY63" fmla="*/ 10686 h 378891"/>
                  <a:gd name="connsiteX64" fmla="*/ 411782 w 588027"/>
                  <a:gd name="connsiteY64" fmla="*/ 16028 h 378891"/>
                  <a:gd name="connsiteX65" fmla="*/ 411782 w 588027"/>
                  <a:gd name="connsiteY65" fmla="*/ 16028 h 378891"/>
                  <a:gd name="connsiteX66" fmla="*/ 411782 w 588027"/>
                  <a:gd name="connsiteY66" fmla="*/ 16028 h 378891"/>
                  <a:gd name="connsiteX67" fmla="*/ 428404 w 588027"/>
                  <a:gd name="connsiteY67" fmla="*/ 36657 h 378891"/>
                  <a:gd name="connsiteX68" fmla="*/ 428256 w 588027"/>
                  <a:gd name="connsiteY68" fmla="*/ 36657 h 378891"/>
                  <a:gd name="connsiteX69" fmla="*/ 429443 w 588027"/>
                  <a:gd name="connsiteY69" fmla="*/ 38884 h 378891"/>
                  <a:gd name="connsiteX70" fmla="*/ 426623 w 588027"/>
                  <a:gd name="connsiteY70" fmla="*/ 44672 h 378891"/>
                  <a:gd name="connsiteX71" fmla="*/ 420241 w 588027"/>
                  <a:gd name="connsiteY71" fmla="*/ 43187 h 378891"/>
                  <a:gd name="connsiteX72" fmla="*/ 419202 w 588027"/>
                  <a:gd name="connsiteY72" fmla="*/ 42000 h 378891"/>
                  <a:gd name="connsiteX73" fmla="*/ 394121 w 588027"/>
                  <a:gd name="connsiteY73" fmla="*/ 17216 h 378891"/>
                  <a:gd name="connsiteX74" fmla="*/ 368743 w 588027"/>
                  <a:gd name="connsiteY74" fmla="*/ 15731 h 378891"/>
                  <a:gd name="connsiteX75" fmla="*/ 359541 w 588027"/>
                  <a:gd name="connsiteY75" fmla="*/ 40368 h 378891"/>
                  <a:gd name="connsiteX76" fmla="*/ 363548 w 588027"/>
                  <a:gd name="connsiteY76" fmla="*/ 60551 h 378891"/>
                  <a:gd name="connsiteX77" fmla="*/ 364290 w 588027"/>
                  <a:gd name="connsiteY77" fmla="*/ 63816 h 378891"/>
                  <a:gd name="connsiteX78" fmla="*/ 360580 w 588027"/>
                  <a:gd name="connsiteY78" fmla="*/ 70050 h 378891"/>
                  <a:gd name="connsiteX79" fmla="*/ 354198 w 588027"/>
                  <a:gd name="connsiteY79" fmla="*/ 66785 h 378891"/>
                  <a:gd name="connsiteX80" fmla="*/ 351378 w 588027"/>
                  <a:gd name="connsiteY80" fmla="*/ 59364 h 378891"/>
                  <a:gd name="connsiteX81" fmla="*/ 348559 w 588027"/>
                  <a:gd name="connsiteY81" fmla="*/ 60255 h 378891"/>
                  <a:gd name="connsiteX82" fmla="*/ 346332 w 588027"/>
                  <a:gd name="connsiteY82" fmla="*/ 60403 h 378891"/>
                  <a:gd name="connsiteX83" fmla="*/ 320657 w 588027"/>
                  <a:gd name="connsiteY83" fmla="*/ 56841 h 378891"/>
                  <a:gd name="connsiteX84" fmla="*/ 240960 w 588027"/>
                  <a:gd name="connsiteY84" fmla="*/ 49124 h 378891"/>
                  <a:gd name="connsiteX85" fmla="*/ 445026 w 588027"/>
                  <a:gd name="connsiteY85" fmla="*/ 378891 h 378891"/>
                  <a:gd name="connsiteX86" fmla="*/ 431372 w 588027"/>
                  <a:gd name="connsiteY86" fmla="*/ 371620 h 378891"/>
                  <a:gd name="connsiteX87" fmla="*/ 206974 w 588027"/>
                  <a:gd name="connsiteY87" fmla="*/ 351881 h 378891"/>
                  <a:gd name="connsiteX88" fmla="*/ 108725 w 588027"/>
                  <a:gd name="connsiteY88" fmla="*/ 365683 h 378891"/>
                  <a:gd name="connsiteX89" fmla="*/ 3650 w 588027"/>
                  <a:gd name="connsiteY89" fmla="*/ 311513 h 378891"/>
                  <a:gd name="connsiteX90" fmla="*/ 42533 w 588027"/>
                  <a:gd name="connsiteY90" fmla="*/ 213562 h 378891"/>
                  <a:gd name="connsiteX91" fmla="*/ 78152 w 588027"/>
                  <a:gd name="connsiteY91" fmla="*/ 156276 h 378891"/>
                  <a:gd name="connsiteX92" fmla="*/ 120004 w 588027"/>
                  <a:gd name="connsiteY92" fmla="*/ 85039 h 378891"/>
                  <a:gd name="connsiteX93" fmla="*/ 321993 w 588027"/>
                  <a:gd name="connsiteY93" fmla="*/ 46304 h 378891"/>
                  <a:gd name="connsiteX94" fmla="*/ 346481 w 588027"/>
                  <a:gd name="connsiteY94" fmla="*/ 49718 h 378891"/>
                  <a:gd name="connsiteX95" fmla="*/ 350043 w 588027"/>
                  <a:gd name="connsiteY95" fmla="*/ 48679 h 378891"/>
                  <a:gd name="connsiteX96" fmla="*/ 348855 w 588027"/>
                  <a:gd name="connsiteY96" fmla="*/ 42000 h 378891"/>
                  <a:gd name="connsiteX97" fmla="*/ 362955 w 588027"/>
                  <a:gd name="connsiteY97" fmla="*/ 6975 h 378891"/>
                  <a:gd name="connsiteX98" fmla="*/ 399612 w 588027"/>
                  <a:gd name="connsiteY98" fmla="*/ 8608 h 378891"/>
                  <a:gd name="connsiteX99" fmla="*/ 402135 w 588027"/>
                  <a:gd name="connsiteY99" fmla="*/ 10834 h 378891"/>
                  <a:gd name="connsiteX100" fmla="*/ 402877 w 588027"/>
                  <a:gd name="connsiteY100" fmla="*/ 9647 h 378891"/>
                  <a:gd name="connsiteX101" fmla="*/ 417718 w 588027"/>
                  <a:gd name="connsiteY101" fmla="*/ 0 h 378891"/>
                  <a:gd name="connsiteX102" fmla="*/ 418609 w 588027"/>
                  <a:gd name="connsiteY102" fmla="*/ 0 h 378891"/>
                  <a:gd name="connsiteX103" fmla="*/ 444581 w 588027"/>
                  <a:gd name="connsiteY103" fmla="*/ 17809 h 378891"/>
                  <a:gd name="connsiteX104" fmla="*/ 454228 w 588027"/>
                  <a:gd name="connsiteY104" fmla="*/ 27753 h 378891"/>
                  <a:gd name="connsiteX105" fmla="*/ 460164 w 588027"/>
                  <a:gd name="connsiteY105" fmla="*/ 33244 h 378891"/>
                  <a:gd name="connsiteX106" fmla="*/ 471295 w 588027"/>
                  <a:gd name="connsiteY106" fmla="*/ 40219 h 378891"/>
                  <a:gd name="connsiteX107" fmla="*/ 546837 w 588027"/>
                  <a:gd name="connsiteY107" fmla="*/ 69901 h 378891"/>
                  <a:gd name="connsiteX108" fmla="*/ 587650 w 588027"/>
                  <a:gd name="connsiteY108" fmla="*/ 96912 h 378891"/>
                  <a:gd name="connsiteX109" fmla="*/ 584979 w 588027"/>
                  <a:gd name="connsiteY109" fmla="*/ 116354 h 378891"/>
                  <a:gd name="connsiteX110" fmla="*/ 569247 w 588027"/>
                  <a:gd name="connsiteY110" fmla="*/ 137280 h 378891"/>
                  <a:gd name="connsiteX111" fmla="*/ 553960 w 588027"/>
                  <a:gd name="connsiteY111" fmla="*/ 144849 h 378891"/>
                  <a:gd name="connsiteX112" fmla="*/ 544759 w 588027"/>
                  <a:gd name="connsiteY112" fmla="*/ 148707 h 378891"/>
                  <a:gd name="connsiteX113" fmla="*/ 527098 w 588027"/>
                  <a:gd name="connsiteY113" fmla="*/ 153753 h 378891"/>
                  <a:gd name="connsiteX114" fmla="*/ 501868 w 588027"/>
                  <a:gd name="connsiteY114" fmla="*/ 158948 h 378891"/>
                  <a:gd name="connsiteX115" fmla="*/ 411782 w 588027"/>
                  <a:gd name="connsiteY115" fmla="*/ 233598 h 378891"/>
                  <a:gd name="connsiteX116" fmla="*/ 412524 w 588027"/>
                  <a:gd name="connsiteY116" fmla="*/ 245767 h 378891"/>
                  <a:gd name="connsiteX117" fmla="*/ 428701 w 588027"/>
                  <a:gd name="connsiteY117" fmla="*/ 249923 h 378891"/>
                  <a:gd name="connsiteX118" fmla="*/ 467288 w 588027"/>
                  <a:gd name="connsiteY118" fmla="*/ 266990 h 378891"/>
                  <a:gd name="connsiteX119" fmla="*/ 468475 w 588027"/>
                  <a:gd name="connsiteY119" fmla="*/ 274411 h 378891"/>
                  <a:gd name="connsiteX120" fmla="*/ 430482 w 588027"/>
                  <a:gd name="connsiteY120" fmla="*/ 277676 h 378891"/>
                  <a:gd name="connsiteX121" fmla="*/ 395754 w 588027"/>
                  <a:gd name="connsiteY121" fmla="*/ 276637 h 378891"/>
                  <a:gd name="connsiteX122" fmla="*/ 392192 w 588027"/>
                  <a:gd name="connsiteY122" fmla="*/ 275153 h 378891"/>
                  <a:gd name="connsiteX123" fmla="*/ 384623 w 588027"/>
                  <a:gd name="connsiteY123" fmla="*/ 267584 h 378891"/>
                  <a:gd name="connsiteX124" fmla="*/ 385216 w 588027"/>
                  <a:gd name="connsiteY124" fmla="*/ 269958 h 378891"/>
                  <a:gd name="connsiteX125" fmla="*/ 359541 w 588027"/>
                  <a:gd name="connsiteY125" fmla="*/ 276488 h 378891"/>
                  <a:gd name="connsiteX126" fmla="*/ 339209 w 588027"/>
                  <a:gd name="connsiteY126" fmla="*/ 276488 h 378891"/>
                  <a:gd name="connsiteX127" fmla="*/ 334014 w 588027"/>
                  <a:gd name="connsiteY127" fmla="*/ 272333 h 378891"/>
                  <a:gd name="connsiteX128" fmla="*/ 333124 w 588027"/>
                  <a:gd name="connsiteY128" fmla="*/ 267881 h 378891"/>
                  <a:gd name="connsiteX129" fmla="*/ 323328 w 588027"/>
                  <a:gd name="connsiteY129" fmla="*/ 248142 h 378891"/>
                  <a:gd name="connsiteX130" fmla="*/ 316353 w 588027"/>
                  <a:gd name="connsiteY130" fmla="*/ 241761 h 378891"/>
                  <a:gd name="connsiteX131" fmla="*/ 293646 w 588027"/>
                  <a:gd name="connsiteY131" fmla="*/ 243838 h 378891"/>
                  <a:gd name="connsiteX132" fmla="*/ 208458 w 588027"/>
                  <a:gd name="connsiteY132" fmla="*/ 250517 h 378891"/>
                  <a:gd name="connsiteX133" fmla="*/ 219589 w 588027"/>
                  <a:gd name="connsiteY133" fmla="*/ 254375 h 378891"/>
                  <a:gd name="connsiteX134" fmla="*/ 234578 w 588027"/>
                  <a:gd name="connsiteY134" fmla="*/ 264616 h 378891"/>
                  <a:gd name="connsiteX135" fmla="*/ 239476 w 588027"/>
                  <a:gd name="connsiteY135" fmla="*/ 269662 h 378891"/>
                  <a:gd name="connsiteX136" fmla="*/ 240515 w 588027"/>
                  <a:gd name="connsiteY136" fmla="*/ 275449 h 378891"/>
                  <a:gd name="connsiteX137" fmla="*/ 235617 w 588027"/>
                  <a:gd name="connsiteY137" fmla="*/ 278566 h 378891"/>
                  <a:gd name="connsiteX138" fmla="*/ 171206 w 588027"/>
                  <a:gd name="connsiteY138" fmla="*/ 277379 h 378891"/>
                  <a:gd name="connsiteX139" fmla="*/ 101601 w 588027"/>
                  <a:gd name="connsiteY139" fmla="*/ 273520 h 378891"/>
                  <a:gd name="connsiteX140" fmla="*/ 97743 w 588027"/>
                  <a:gd name="connsiteY140" fmla="*/ 266693 h 378891"/>
                  <a:gd name="connsiteX141" fmla="*/ 105163 w 588027"/>
                  <a:gd name="connsiteY141" fmla="*/ 254672 h 378891"/>
                  <a:gd name="connsiteX142" fmla="*/ 114068 w 588027"/>
                  <a:gd name="connsiteY142" fmla="*/ 226919 h 378891"/>
                  <a:gd name="connsiteX143" fmla="*/ 79340 w 588027"/>
                  <a:gd name="connsiteY143" fmla="*/ 229888 h 378891"/>
                  <a:gd name="connsiteX144" fmla="*/ 38081 w 588027"/>
                  <a:gd name="connsiteY144" fmla="*/ 272333 h 378891"/>
                  <a:gd name="connsiteX145" fmla="*/ 35261 w 588027"/>
                  <a:gd name="connsiteY145" fmla="*/ 309584 h 378891"/>
                  <a:gd name="connsiteX146" fmla="*/ 104570 w 588027"/>
                  <a:gd name="connsiteY146" fmla="*/ 340008 h 378891"/>
                  <a:gd name="connsiteX147" fmla="*/ 210536 w 588027"/>
                  <a:gd name="connsiteY147" fmla="*/ 328135 h 378891"/>
                  <a:gd name="connsiteX148" fmla="*/ 329562 w 588027"/>
                  <a:gd name="connsiteY148" fmla="*/ 315817 h 378891"/>
                  <a:gd name="connsiteX149" fmla="*/ 441019 w 588027"/>
                  <a:gd name="connsiteY149" fmla="*/ 360192 h 378891"/>
                  <a:gd name="connsiteX150" fmla="*/ 449330 w 588027"/>
                  <a:gd name="connsiteY150" fmla="*/ 376665 h 378891"/>
                  <a:gd name="connsiteX151" fmla="*/ 445026 w 588027"/>
                  <a:gd name="connsiteY151" fmla="*/ 378743 h 378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588027" h="378891">
                    <a:moveTo>
                      <a:pt x="407181" y="12763"/>
                    </a:moveTo>
                    <a:lnTo>
                      <a:pt x="407181" y="12763"/>
                    </a:lnTo>
                    <a:lnTo>
                      <a:pt x="407181" y="12763"/>
                    </a:lnTo>
                    <a:close/>
                    <a:moveTo>
                      <a:pt x="240812" y="49124"/>
                    </a:moveTo>
                    <a:cubicBezTo>
                      <a:pt x="199850" y="49124"/>
                      <a:pt x="160669" y="58622"/>
                      <a:pt x="127573" y="92460"/>
                    </a:cubicBezTo>
                    <a:cubicBezTo>
                      <a:pt x="106647" y="113831"/>
                      <a:pt x="97891" y="128820"/>
                      <a:pt x="88244" y="159541"/>
                    </a:cubicBezTo>
                    <a:cubicBezTo>
                      <a:pt x="79785" y="186403"/>
                      <a:pt x="73700" y="196198"/>
                      <a:pt x="50102" y="221131"/>
                    </a:cubicBezTo>
                    <a:cubicBezTo>
                      <a:pt x="16858" y="253337"/>
                      <a:pt x="4243" y="283315"/>
                      <a:pt x="13593" y="307951"/>
                    </a:cubicBezTo>
                    <a:cubicBezTo>
                      <a:pt x="23834" y="334962"/>
                      <a:pt x="60343" y="353068"/>
                      <a:pt x="108873" y="355294"/>
                    </a:cubicBezTo>
                    <a:cubicBezTo>
                      <a:pt x="139743" y="354256"/>
                      <a:pt x="171503" y="348171"/>
                      <a:pt x="205193" y="341641"/>
                    </a:cubicBezTo>
                    <a:cubicBezTo>
                      <a:pt x="249716" y="333181"/>
                      <a:pt x="294982" y="324574"/>
                      <a:pt x="339357" y="328135"/>
                    </a:cubicBezTo>
                    <a:cubicBezTo>
                      <a:pt x="335647" y="327393"/>
                      <a:pt x="332085" y="326800"/>
                      <a:pt x="328523" y="326354"/>
                    </a:cubicBezTo>
                    <a:cubicBezTo>
                      <a:pt x="287710" y="322199"/>
                      <a:pt x="249716" y="330510"/>
                      <a:pt x="212910" y="338524"/>
                    </a:cubicBezTo>
                    <a:cubicBezTo>
                      <a:pt x="177885" y="346093"/>
                      <a:pt x="141524" y="354107"/>
                      <a:pt x="103827" y="350545"/>
                    </a:cubicBezTo>
                    <a:cubicBezTo>
                      <a:pt x="65537" y="347874"/>
                      <a:pt x="37191" y="334814"/>
                      <a:pt x="26208" y="314778"/>
                    </a:cubicBezTo>
                    <a:cubicBezTo>
                      <a:pt x="21014" y="305280"/>
                      <a:pt x="17155" y="289252"/>
                      <a:pt x="28880" y="267435"/>
                    </a:cubicBezTo>
                    <a:cubicBezTo>
                      <a:pt x="37191" y="252298"/>
                      <a:pt x="60046" y="228700"/>
                      <a:pt x="74294" y="220835"/>
                    </a:cubicBezTo>
                    <a:cubicBezTo>
                      <a:pt x="93735" y="210149"/>
                      <a:pt x="114958" y="210149"/>
                      <a:pt x="122676" y="220835"/>
                    </a:cubicBezTo>
                    <a:cubicBezTo>
                      <a:pt x="130096" y="231223"/>
                      <a:pt x="125496" y="250368"/>
                      <a:pt x="112435" y="262390"/>
                    </a:cubicBezTo>
                    <a:cubicBezTo>
                      <a:pt x="111248" y="263428"/>
                      <a:pt x="110506" y="264170"/>
                      <a:pt x="109912" y="264912"/>
                    </a:cubicBezTo>
                    <a:cubicBezTo>
                      <a:pt x="116739" y="265506"/>
                      <a:pt x="134549" y="266248"/>
                      <a:pt x="171503" y="266990"/>
                    </a:cubicBezTo>
                    <a:lnTo>
                      <a:pt x="221963" y="267881"/>
                    </a:lnTo>
                    <a:cubicBezTo>
                      <a:pt x="219885" y="266396"/>
                      <a:pt x="217511" y="265061"/>
                      <a:pt x="215285" y="264022"/>
                    </a:cubicBezTo>
                    <a:cubicBezTo>
                      <a:pt x="208755" y="260905"/>
                      <a:pt x="206232" y="260312"/>
                      <a:pt x="185009" y="259570"/>
                    </a:cubicBezTo>
                    <a:lnTo>
                      <a:pt x="161263" y="258679"/>
                    </a:lnTo>
                    <a:cubicBezTo>
                      <a:pt x="158888" y="258679"/>
                      <a:pt x="156959" y="256898"/>
                      <a:pt x="156365" y="254672"/>
                    </a:cubicBezTo>
                    <a:cubicBezTo>
                      <a:pt x="155772" y="252446"/>
                      <a:pt x="156810" y="250071"/>
                      <a:pt x="158888" y="248884"/>
                    </a:cubicBezTo>
                    <a:lnTo>
                      <a:pt x="174620" y="239831"/>
                    </a:lnTo>
                    <a:cubicBezTo>
                      <a:pt x="175510" y="239386"/>
                      <a:pt x="176549" y="239089"/>
                      <a:pt x="177440" y="239089"/>
                    </a:cubicBezTo>
                    <a:lnTo>
                      <a:pt x="205935" y="239979"/>
                    </a:lnTo>
                    <a:cubicBezTo>
                      <a:pt x="237546" y="241167"/>
                      <a:pt x="262480" y="239238"/>
                      <a:pt x="292014" y="233598"/>
                    </a:cubicBezTo>
                    <a:cubicBezTo>
                      <a:pt x="305519" y="231075"/>
                      <a:pt x="318431" y="231372"/>
                      <a:pt x="318876" y="231372"/>
                    </a:cubicBezTo>
                    <a:cubicBezTo>
                      <a:pt x="320063" y="231372"/>
                      <a:pt x="321399" y="231965"/>
                      <a:pt x="322290" y="232707"/>
                    </a:cubicBezTo>
                    <a:lnTo>
                      <a:pt x="330749" y="240425"/>
                    </a:lnTo>
                    <a:cubicBezTo>
                      <a:pt x="338615" y="247400"/>
                      <a:pt x="340841" y="252001"/>
                      <a:pt x="343809" y="265951"/>
                    </a:cubicBezTo>
                    <a:lnTo>
                      <a:pt x="343809" y="265951"/>
                    </a:lnTo>
                    <a:cubicBezTo>
                      <a:pt x="343809" y="265951"/>
                      <a:pt x="359838" y="266100"/>
                      <a:pt x="359838" y="266100"/>
                    </a:cubicBezTo>
                    <a:cubicBezTo>
                      <a:pt x="364142" y="266100"/>
                      <a:pt x="367852" y="266100"/>
                      <a:pt x="370820" y="265951"/>
                    </a:cubicBezTo>
                    <a:cubicBezTo>
                      <a:pt x="365477" y="260015"/>
                      <a:pt x="356721" y="251555"/>
                      <a:pt x="350933" y="247549"/>
                    </a:cubicBezTo>
                    <a:cubicBezTo>
                      <a:pt x="343067" y="242206"/>
                      <a:pt x="338912" y="238941"/>
                      <a:pt x="338763" y="238792"/>
                    </a:cubicBezTo>
                    <a:cubicBezTo>
                      <a:pt x="336982" y="237308"/>
                      <a:pt x="336240" y="234785"/>
                      <a:pt x="337131" y="232707"/>
                    </a:cubicBezTo>
                    <a:cubicBezTo>
                      <a:pt x="338021" y="230481"/>
                      <a:pt x="340099" y="229146"/>
                      <a:pt x="342622" y="229442"/>
                    </a:cubicBezTo>
                    <a:lnTo>
                      <a:pt x="357018" y="230926"/>
                    </a:lnTo>
                    <a:cubicBezTo>
                      <a:pt x="358057" y="230926"/>
                      <a:pt x="358947" y="231372"/>
                      <a:pt x="359838" y="232114"/>
                    </a:cubicBezTo>
                    <a:cubicBezTo>
                      <a:pt x="360728" y="232856"/>
                      <a:pt x="382396" y="250368"/>
                      <a:pt x="389075" y="257047"/>
                    </a:cubicBezTo>
                    <a:lnTo>
                      <a:pt x="398425" y="266396"/>
                    </a:lnTo>
                    <a:lnTo>
                      <a:pt x="431075" y="267287"/>
                    </a:lnTo>
                    <a:cubicBezTo>
                      <a:pt x="440871" y="267584"/>
                      <a:pt x="448588" y="267732"/>
                      <a:pt x="453931" y="267881"/>
                    </a:cubicBezTo>
                    <a:cubicBezTo>
                      <a:pt x="447994" y="262835"/>
                      <a:pt x="440277" y="260905"/>
                      <a:pt x="428998" y="260757"/>
                    </a:cubicBezTo>
                    <a:cubicBezTo>
                      <a:pt x="421280" y="260757"/>
                      <a:pt x="410446" y="259867"/>
                      <a:pt x="404658" y="252594"/>
                    </a:cubicBezTo>
                    <a:cubicBezTo>
                      <a:pt x="400799" y="247697"/>
                      <a:pt x="399761" y="240722"/>
                      <a:pt x="401987" y="231520"/>
                    </a:cubicBezTo>
                    <a:cubicBezTo>
                      <a:pt x="415641" y="171266"/>
                      <a:pt x="468178" y="157315"/>
                      <a:pt x="499642" y="149004"/>
                    </a:cubicBezTo>
                    <a:cubicBezTo>
                      <a:pt x="509734" y="146333"/>
                      <a:pt x="522942" y="143513"/>
                      <a:pt x="527543" y="143513"/>
                    </a:cubicBezTo>
                    <a:cubicBezTo>
                      <a:pt x="529918" y="143513"/>
                      <a:pt x="536003" y="141732"/>
                      <a:pt x="540603" y="139506"/>
                    </a:cubicBezTo>
                    <a:cubicBezTo>
                      <a:pt x="542830" y="138319"/>
                      <a:pt x="550102" y="134905"/>
                      <a:pt x="553812" y="134460"/>
                    </a:cubicBezTo>
                    <a:cubicBezTo>
                      <a:pt x="554999" y="134014"/>
                      <a:pt x="558858" y="132085"/>
                      <a:pt x="563904" y="128672"/>
                    </a:cubicBezTo>
                    <a:cubicBezTo>
                      <a:pt x="570731" y="124071"/>
                      <a:pt x="572809" y="121251"/>
                      <a:pt x="575480" y="113089"/>
                    </a:cubicBezTo>
                    <a:cubicBezTo>
                      <a:pt x="577410" y="107301"/>
                      <a:pt x="578152" y="101958"/>
                      <a:pt x="578003" y="100177"/>
                    </a:cubicBezTo>
                    <a:cubicBezTo>
                      <a:pt x="576222" y="98099"/>
                      <a:pt x="568356" y="92756"/>
                      <a:pt x="542533" y="79400"/>
                    </a:cubicBezTo>
                    <a:cubicBezTo>
                      <a:pt x="502907" y="58919"/>
                      <a:pt x="483168" y="51053"/>
                      <a:pt x="471740" y="50905"/>
                    </a:cubicBezTo>
                    <a:cubicBezTo>
                      <a:pt x="463726" y="50905"/>
                      <a:pt x="460461" y="47788"/>
                      <a:pt x="453337" y="40961"/>
                    </a:cubicBezTo>
                    <a:cubicBezTo>
                      <a:pt x="451705" y="39477"/>
                      <a:pt x="449775" y="37696"/>
                      <a:pt x="447549" y="35619"/>
                    </a:cubicBezTo>
                    <a:cubicBezTo>
                      <a:pt x="443987" y="32354"/>
                      <a:pt x="440574" y="28643"/>
                      <a:pt x="437309" y="25081"/>
                    </a:cubicBezTo>
                    <a:cubicBezTo>
                      <a:pt x="430630" y="17809"/>
                      <a:pt x="423655" y="10537"/>
                      <a:pt x="418757" y="10686"/>
                    </a:cubicBezTo>
                    <a:cubicBezTo>
                      <a:pt x="416680" y="10686"/>
                      <a:pt x="414305" y="12615"/>
                      <a:pt x="411782" y="16028"/>
                    </a:cubicBezTo>
                    <a:lnTo>
                      <a:pt x="411782" y="16028"/>
                    </a:lnTo>
                    <a:cubicBezTo>
                      <a:pt x="411782" y="16028"/>
                      <a:pt x="411782" y="16028"/>
                      <a:pt x="411782" y="16028"/>
                    </a:cubicBezTo>
                    <a:cubicBezTo>
                      <a:pt x="414899" y="20035"/>
                      <a:pt x="421874" y="28792"/>
                      <a:pt x="428404" y="36657"/>
                    </a:cubicBezTo>
                    <a:lnTo>
                      <a:pt x="428256" y="36657"/>
                    </a:lnTo>
                    <a:cubicBezTo>
                      <a:pt x="428998" y="37696"/>
                      <a:pt x="429443" y="38438"/>
                      <a:pt x="429443" y="38884"/>
                    </a:cubicBezTo>
                    <a:cubicBezTo>
                      <a:pt x="429888" y="41258"/>
                      <a:pt x="428701" y="43633"/>
                      <a:pt x="426623" y="44672"/>
                    </a:cubicBezTo>
                    <a:cubicBezTo>
                      <a:pt x="424397" y="45710"/>
                      <a:pt x="421874" y="45117"/>
                      <a:pt x="420241" y="43187"/>
                    </a:cubicBezTo>
                    <a:cubicBezTo>
                      <a:pt x="419945" y="42742"/>
                      <a:pt x="419648" y="42297"/>
                      <a:pt x="419202" y="42000"/>
                    </a:cubicBezTo>
                    <a:cubicBezTo>
                      <a:pt x="415047" y="37399"/>
                      <a:pt x="396941" y="19293"/>
                      <a:pt x="394121" y="17216"/>
                    </a:cubicBezTo>
                    <a:cubicBezTo>
                      <a:pt x="385958" y="11873"/>
                      <a:pt x="376015" y="11279"/>
                      <a:pt x="368743" y="15731"/>
                    </a:cubicBezTo>
                    <a:cubicBezTo>
                      <a:pt x="361470" y="20184"/>
                      <a:pt x="358057" y="29237"/>
                      <a:pt x="359541" y="40368"/>
                    </a:cubicBezTo>
                    <a:cubicBezTo>
                      <a:pt x="360580" y="47046"/>
                      <a:pt x="362064" y="53873"/>
                      <a:pt x="363548" y="60551"/>
                    </a:cubicBezTo>
                    <a:lnTo>
                      <a:pt x="364290" y="63816"/>
                    </a:lnTo>
                    <a:cubicBezTo>
                      <a:pt x="364884" y="66488"/>
                      <a:pt x="363251" y="69308"/>
                      <a:pt x="360580" y="70050"/>
                    </a:cubicBezTo>
                    <a:cubicBezTo>
                      <a:pt x="357908" y="70792"/>
                      <a:pt x="355089" y="69456"/>
                      <a:pt x="354198" y="66785"/>
                    </a:cubicBezTo>
                    <a:lnTo>
                      <a:pt x="351378" y="59364"/>
                    </a:lnTo>
                    <a:lnTo>
                      <a:pt x="348559" y="60255"/>
                    </a:lnTo>
                    <a:cubicBezTo>
                      <a:pt x="348559" y="60255"/>
                      <a:pt x="347074" y="60551"/>
                      <a:pt x="346332" y="60403"/>
                    </a:cubicBezTo>
                    <a:cubicBezTo>
                      <a:pt x="337873" y="59364"/>
                      <a:pt x="329265" y="58028"/>
                      <a:pt x="320657" y="56841"/>
                    </a:cubicBezTo>
                    <a:cubicBezTo>
                      <a:pt x="294091" y="52983"/>
                      <a:pt x="267229" y="49124"/>
                      <a:pt x="240960" y="49124"/>
                    </a:cubicBezTo>
                    <a:moveTo>
                      <a:pt x="445026" y="378891"/>
                    </a:moveTo>
                    <a:cubicBezTo>
                      <a:pt x="441464" y="378891"/>
                      <a:pt x="436864" y="375775"/>
                      <a:pt x="431372" y="371620"/>
                    </a:cubicBezTo>
                    <a:cubicBezTo>
                      <a:pt x="361619" y="322347"/>
                      <a:pt x="282960" y="337337"/>
                      <a:pt x="206974" y="351881"/>
                    </a:cubicBezTo>
                    <a:cubicBezTo>
                      <a:pt x="174471" y="358114"/>
                      <a:pt x="140782" y="364496"/>
                      <a:pt x="108725" y="365683"/>
                    </a:cubicBezTo>
                    <a:cubicBezTo>
                      <a:pt x="55594" y="363309"/>
                      <a:pt x="15374" y="342531"/>
                      <a:pt x="3650" y="311513"/>
                    </a:cubicBezTo>
                    <a:cubicBezTo>
                      <a:pt x="-3920" y="291330"/>
                      <a:pt x="-3474" y="257937"/>
                      <a:pt x="42533" y="213562"/>
                    </a:cubicBezTo>
                    <a:cubicBezTo>
                      <a:pt x="64944" y="190114"/>
                      <a:pt x="70286" y="181506"/>
                      <a:pt x="78152" y="156276"/>
                    </a:cubicBezTo>
                    <a:cubicBezTo>
                      <a:pt x="88096" y="124220"/>
                      <a:pt x="97891" y="107449"/>
                      <a:pt x="120004" y="85039"/>
                    </a:cubicBezTo>
                    <a:cubicBezTo>
                      <a:pt x="178182" y="25675"/>
                      <a:pt x="251349" y="36064"/>
                      <a:pt x="321993" y="46304"/>
                    </a:cubicBezTo>
                    <a:cubicBezTo>
                      <a:pt x="330155" y="47491"/>
                      <a:pt x="338318" y="48679"/>
                      <a:pt x="346481" y="49718"/>
                    </a:cubicBezTo>
                    <a:lnTo>
                      <a:pt x="350043" y="48679"/>
                    </a:lnTo>
                    <a:cubicBezTo>
                      <a:pt x="349597" y="46452"/>
                      <a:pt x="349152" y="44226"/>
                      <a:pt x="348855" y="42000"/>
                    </a:cubicBezTo>
                    <a:cubicBezTo>
                      <a:pt x="346926" y="26566"/>
                      <a:pt x="352120" y="13802"/>
                      <a:pt x="362955" y="6975"/>
                    </a:cubicBezTo>
                    <a:cubicBezTo>
                      <a:pt x="373640" y="297"/>
                      <a:pt x="388036" y="1039"/>
                      <a:pt x="399612" y="8608"/>
                    </a:cubicBezTo>
                    <a:cubicBezTo>
                      <a:pt x="399612" y="8608"/>
                      <a:pt x="400651" y="9498"/>
                      <a:pt x="402135" y="10834"/>
                    </a:cubicBezTo>
                    <a:cubicBezTo>
                      <a:pt x="402432" y="10389"/>
                      <a:pt x="402729" y="9943"/>
                      <a:pt x="402877" y="9647"/>
                    </a:cubicBezTo>
                    <a:cubicBezTo>
                      <a:pt x="407330" y="3562"/>
                      <a:pt x="412376" y="445"/>
                      <a:pt x="417718" y="0"/>
                    </a:cubicBezTo>
                    <a:cubicBezTo>
                      <a:pt x="418015" y="0"/>
                      <a:pt x="418312" y="0"/>
                      <a:pt x="418609" y="0"/>
                    </a:cubicBezTo>
                    <a:cubicBezTo>
                      <a:pt x="428107" y="0"/>
                      <a:pt x="436121" y="8608"/>
                      <a:pt x="444581" y="17809"/>
                    </a:cubicBezTo>
                    <a:cubicBezTo>
                      <a:pt x="447698" y="21223"/>
                      <a:pt x="450963" y="24784"/>
                      <a:pt x="454228" y="27753"/>
                    </a:cubicBezTo>
                    <a:cubicBezTo>
                      <a:pt x="456602" y="29831"/>
                      <a:pt x="458383" y="31760"/>
                      <a:pt x="460164" y="33244"/>
                    </a:cubicBezTo>
                    <a:cubicBezTo>
                      <a:pt x="466991" y="39774"/>
                      <a:pt x="467733" y="40219"/>
                      <a:pt x="471295" y="40219"/>
                    </a:cubicBezTo>
                    <a:cubicBezTo>
                      <a:pt x="484949" y="40219"/>
                      <a:pt x="504688" y="48085"/>
                      <a:pt x="546837" y="69901"/>
                    </a:cubicBezTo>
                    <a:cubicBezTo>
                      <a:pt x="580229" y="87117"/>
                      <a:pt x="586463" y="92163"/>
                      <a:pt x="587650" y="96912"/>
                    </a:cubicBezTo>
                    <a:cubicBezTo>
                      <a:pt x="588986" y="101809"/>
                      <a:pt x="586463" y="111753"/>
                      <a:pt x="584979" y="116354"/>
                    </a:cubicBezTo>
                    <a:cubicBezTo>
                      <a:pt x="581565" y="126594"/>
                      <a:pt x="577855" y="131492"/>
                      <a:pt x="569247" y="137280"/>
                    </a:cubicBezTo>
                    <a:cubicBezTo>
                      <a:pt x="565091" y="140099"/>
                      <a:pt x="557522" y="144849"/>
                      <a:pt x="553960" y="144849"/>
                    </a:cubicBezTo>
                    <a:cubicBezTo>
                      <a:pt x="553515" y="144849"/>
                      <a:pt x="549656" y="146333"/>
                      <a:pt x="544759" y="148707"/>
                    </a:cubicBezTo>
                    <a:cubicBezTo>
                      <a:pt x="539861" y="151230"/>
                      <a:pt x="531996" y="153753"/>
                      <a:pt x="527098" y="153753"/>
                    </a:cubicBezTo>
                    <a:cubicBezTo>
                      <a:pt x="524723" y="153753"/>
                      <a:pt x="513889" y="155682"/>
                      <a:pt x="501868" y="158948"/>
                    </a:cubicBezTo>
                    <a:cubicBezTo>
                      <a:pt x="470850" y="167110"/>
                      <a:pt x="424100" y="179577"/>
                      <a:pt x="411782" y="233598"/>
                    </a:cubicBezTo>
                    <a:cubicBezTo>
                      <a:pt x="410446" y="239534"/>
                      <a:pt x="410743" y="243541"/>
                      <a:pt x="412524" y="245767"/>
                    </a:cubicBezTo>
                    <a:cubicBezTo>
                      <a:pt x="414750" y="248439"/>
                      <a:pt x="420093" y="249923"/>
                      <a:pt x="428701" y="249923"/>
                    </a:cubicBezTo>
                    <a:cubicBezTo>
                      <a:pt x="446956" y="249923"/>
                      <a:pt x="458829" y="255266"/>
                      <a:pt x="467288" y="266990"/>
                    </a:cubicBezTo>
                    <a:cubicBezTo>
                      <a:pt x="468030" y="268178"/>
                      <a:pt x="470256" y="270997"/>
                      <a:pt x="468475" y="274411"/>
                    </a:cubicBezTo>
                    <a:cubicBezTo>
                      <a:pt x="466991" y="277186"/>
                      <a:pt x="454327" y="278269"/>
                      <a:pt x="430482" y="277676"/>
                    </a:cubicBezTo>
                    <a:lnTo>
                      <a:pt x="395754" y="276637"/>
                    </a:lnTo>
                    <a:cubicBezTo>
                      <a:pt x="394418" y="276637"/>
                      <a:pt x="393082" y="276043"/>
                      <a:pt x="392192" y="275153"/>
                    </a:cubicBezTo>
                    <a:lnTo>
                      <a:pt x="384623" y="267584"/>
                    </a:lnTo>
                    <a:cubicBezTo>
                      <a:pt x="384919" y="268474"/>
                      <a:pt x="385216" y="269216"/>
                      <a:pt x="385216" y="269958"/>
                    </a:cubicBezTo>
                    <a:cubicBezTo>
                      <a:pt x="385216" y="275598"/>
                      <a:pt x="381803" y="276488"/>
                      <a:pt x="359541" y="276488"/>
                    </a:cubicBezTo>
                    <a:lnTo>
                      <a:pt x="339209" y="276488"/>
                    </a:lnTo>
                    <a:cubicBezTo>
                      <a:pt x="336686" y="276488"/>
                      <a:pt x="334608" y="274708"/>
                      <a:pt x="334014" y="272333"/>
                    </a:cubicBezTo>
                    <a:lnTo>
                      <a:pt x="333124" y="267881"/>
                    </a:lnTo>
                    <a:cubicBezTo>
                      <a:pt x="330601" y="255563"/>
                      <a:pt x="329117" y="253188"/>
                      <a:pt x="323328" y="248142"/>
                    </a:cubicBezTo>
                    <a:lnTo>
                      <a:pt x="316353" y="241761"/>
                    </a:lnTo>
                    <a:cubicBezTo>
                      <a:pt x="312494" y="241761"/>
                      <a:pt x="303144" y="241909"/>
                      <a:pt x="293646" y="243838"/>
                    </a:cubicBezTo>
                    <a:cubicBezTo>
                      <a:pt x="264261" y="249478"/>
                      <a:pt x="239327" y="251407"/>
                      <a:pt x="208458" y="250517"/>
                    </a:cubicBezTo>
                    <a:cubicBezTo>
                      <a:pt x="212613" y="251259"/>
                      <a:pt x="215730" y="252446"/>
                      <a:pt x="219589" y="254375"/>
                    </a:cubicBezTo>
                    <a:cubicBezTo>
                      <a:pt x="224932" y="256898"/>
                      <a:pt x="231462" y="261351"/>
                      <a:pt x="234578" y="264616"/>
                    </a:cubicBezTo>
                    <a:lnTo>
                      <a:pt x="239476" y="269662"/>
                    </a:lnTo>
                    <a:cubicBezTo>
                      <a:pt x="240960" y="271146"/>
                      <a:pt x="241405" y="273520"/>
                      <a:pt x="240515" y="275449"/>
                    </a:cubicBezTo>
                    <a:cubicBezTo>
                      <a:pt x="239624" y="277379"/>
                      <a:pt x="237695" y="278418"/>
                      <a:pt x="235617" y="278566"/>
                    </a:cubicBezTo>
                    <a:lnTo>
                      <a:pt x="171206" y="277379"/>
                    </a:lnTo>
                    <a:cubicBezTo>
                      <a:pt x="105015" y="276192"/>
                      <a:pt x="103234" y="274856"/>
                      <a:pt x="101601" y="273520"/>
                    </a:cubicBezTo>
                    <a:cubicBezTo>
                      <a:pt x="99078" y="271591"/>
                      <a:pt x="97891" y="269216"/>
                      <a:pt x="97743" y="266693"/>
                    </a:cubicBezTo>
                    <a:cubicBezTo>
                      <a:pt x="97594" y="262538"/>
                      <a:pt x="100266" y="259124"/>
                      <a:pt x="105163" y="254672"/>
                    </a:cubicBezTo>
                    <a:cubicBezTo>
                      <a:pt x="114662" y="245767"/>
                      <a:pt x="117778" y="232262"/>
                      <a:pt x="114068" y="226919"/>
                    </a:cubicBezTo>
                    <a:cubicBezTo>
                      <a:pt x="110209" y="221428"/>
                      <a:pt x="94478" y="221577"/>
                      <a:pt x="79340" y="229888"/>
                    </a:cubicBezTo>
                    <a:cubicBezTo>
                      <a:pt x="66725" y="236863"/>
                      <a:pt x="45502" y="258679"/>
                      <a:pt x="38081" y="272333"/>
                    </a:cubicBezTo>
                    <a:cubicBezTo>
                      <a:pt x="30512" y="286432"/>
                      <a:pt x="29473" y="299047"/>
                      <a:pt x="35261" y="309584"/>
                    </a:cubicBezTo>
                    <a:cubicBezTo>
                      <a:pt x="44314" y="326206"/>
                      <a:pt x="70286" y="337485"/>
                      <a:pt x="104570" y="340008"/>
                    </a:cubicBezTo>
                    <a:cubicBezTo>
                      <a:pt x="140634" y="343421"/>
                      <a:pt x="174620" y="336001"/>
                      <a:pt x="210536" y="328135"/>
                    </a:cubicBezTo>
                    <a:cubicBezTo>
                      <a:pt x="248084" y="319973"/>
                      <a:pt x="286968" y="311513"/>
                      <a:pt x="329562" y="315817"/>
                    </a:cubicBezTo>
                    <a:cubicBezTo>
                      <a:pt x="372304" y="321457"/>
                      <a:pt x="419054" y="340156"/>
                      <a:pt x="441019" y="360192"/>
                    </a:cubicBezTo>
                    <a:cubicBezTo>
                      <a:pt x="448291" y="366870"/>
                      <a:pt x="453189" y="371916"/>
                      <a:pt x="449330" y="376665"/>
                    </a:cubicBezTo>
                    <a:cubicBezTo>
                      <a:pt x="448143" y="378150"/>
                      <a:pt x="446659" y="378743"/>
                      <a:pt x="445026" y="378743"/>
                    </a:cubicBezTo>
                  </a:path>
                </a:pathLst>
              </a:custGeom>
              <a:solidFill>
                <a:srgbClr val="FFFFFF"/>
              </a:solidFill>
              <a:ln w="14828" cap="flat">
                <a:noFill/>
                <a:prstDash val="solid"/>
                <a:miter/>
              </a:ln>
            </p:spPr>
            <p:txBody>
              <a:bodyPr rtlCol="0" anchor="ctr"/>
              <a:lstStyle/>
              <a:p>
                <a:endParaRPr lang="en-DK"/>
              </a:p>
            </p:txBody>
          </p:sp>
          <p:sp>
            <p:nvSpPr>
              <p:cNvPr id="212" name="Freeform 211">
                <a:extLst>
                  <a:ext uri="{FF2B5EF4-FFF2-40B4-BE49-F238E27FC236}">
                    <a16:creationId xmlns:a16="http://schemas.microsoft.com/office/drawing/2014/main" id="{5F0D7EA3-E316-967E-F227-EC5E3816F559}"/>
                  </a:ext>
                </a:extLst>
              </p:cNvPr>
              <p:cNvSpPr/>
              <p:nvPr/>
            </p:nvSpPr>
            <p:spPr>
              <a:xfrm>
                <a:off x="1191014" y="2223786"/>
                <a:ext cx="1007122" cy="1007112"/>
              </a:xfrm>
              <a:custGeom>
                <a:avLst/>
                <a:gdLst>
                  <a:gd name="connsiteX0" fmla="*/ 503561 w 1007122"/>
                  <a:gd name="connsiteY0" fmla="*/ 1007112 h 1007112"/>
                  <a:gd name="connsiteX1" fmla="*/ 1007122 w 1007122"/>
                  <a:gd name="connsiteY1" fmla="*/ 503556 h 1007112"/>
                  <a:gd name="connsiteX2" fmla="*/ 503561 w 1007122"/>
                  <a:gd name="connsiteY2" fmla="*/ 0 h 1007112"/>
                  <a:gd name="connsiteX3" fmla="*/ 0 w 1007122"/>
                  <a:gd name="connsiteY3" fmla="*/ 503556 h 1007112"/>
                  <a:gd name="connsiteX4" fmla="*/ 503561 w 1007122"/>
                  <a:gd name="connsiteY4" fmla="*/ 1007112 h 100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122" h="1007112">
                    <a:moveTo>
                      <a:pt x="503561" y="1007112"/>
                    </a:moveTo>
                    <a:cubicBezTo>
                      <a:pt x="781685" y="1007112"/>
                      <a:pt x="1007122" y="781677"/>
                      <a:pt x="1007122" y="503556"/>
                    </a:cubicBezTo>
                    <a:cubicBezTo>
                      <a:pt x="1007122" y="225435"/>
                      <a:pt x="781685" y="0"/>
                      <a:pt x="503561" y="0"/>
                    </a:cubicBezTo>
                    <a:cubicBezTo>
                      <a:pt x="225437" y="0"/>
                      <a:pt x="0" y="225435"/>
                      <a:pt x="0" y="503556"/>
                    </a:cubicBezTo>
                    <a:cubicBezTo>
                      <a:pt x="0" y="781677"/>
                      <a:pt x="225437" y="1007112"/>
                      <a:pt x="503561" y="1007112"/>
                    </a:cubicBezTo>
                  </a:path>
                </a:pathLst>
              </a:custGeom>
              <a:solidFill>
                <a:srgbClr val="001965"/>
              </a:solidFill>
              <a:ln w="14828" cap="flat">
                <a:noFill/>
                <a:prstDash val="solid"/>
                <a:miter/>
              </a:ln>
            </p:spPr>
            <p:txBody>
              <a:bodyPr rtlCol="0" anchor="ctr"/>
              <a:lstStyle/>
              <a:p>
                <a:endParaRPr lang="en-DK"/>
              </a:p>
            </p:txBody>
          </p:sp>
          <p:sp>
            <p:nvSpPr>
              <p:cNvPr id="213" name="Freeform 212">
                <a:extLst>
                  <a:ext uri="{FF2B5EF4-FFF2-40B4-BE49-F238E27FC236}">
                    <a16:creationId xmlns:a16="http://schemas.microsoft.com/office/drawing/2014/main" id="{93481910-EB05-FAFE-E218-CF46C9069CAB}"/>
                  </a:ext>
                </a:extLst>
              </p:cNvPr>
              <p:cNvSpPr/>
              <p:nvPr/>
            </p:nvSpPr>
            <p:spPr>
              <a:xfrm>
                <a:off x="1176173" y="2208945"/>
                <a:ext cx="1036804" cy="1036794"/>
              </a:xfrm>
              <a:custGeom>
                <a:avLst/>
                <a:gdLst>
                  <a:gd name="connsiteX0" fmla="*/ 518402 w 1036804"/>
                  <a:gd name="connsiteY0" fmla="*/ 1021953 h 1036794"/>
                  <a:gd name="connsiteX1" fmla="*/ 518402 w 1036804"/>
                  <a:gd name="connsiteY1" fmla="*/ 1007112 h 1036794"/>
                  <a:gd name="connsiteX2" fmla="*/ 1007122 w 1036804"/>
                  <a:gd name="connsiteY2" fmla="*/ 518397 h 1036794"/>
                  <a:gd name="connsiteX3" fmla="*/ 518402 w 1036804"/>
                  <a:gd name="connsiteY3" fmla="*/ 29682 h 1036794"/>
                  <a:gd name="connsiteX4" fmla="*/ 29682 w 1036804"/>
                  <a:gd name="connsiteY4" fmla="*/ 518397 h 1036794"/>
                  <a:gd name="connsiteX5" fmla="*/ 518402 w 1036804"/>
                  <a:gd name="connsiteY5" fmla="*/ 1007112 h 1036794"/>
                  <a:gd name="connsiteX6" fmla="*/ 518402 w 1036804"/>
                  <a:gd name="connsiteY6" fmla="*/ 1036794 h 1036794"/>
                  <a:gd name="connsiteX7" fmla="*/ 0 w 1036804"/>
                  <a:gd name="connsiteY7" fmla="*/ 518397 h 1036794"/>
                  <a:gd name="connsiteX8" fmla="*/ 518402 w 1036804"/>
                  <a:gd name="connsiteY8" fmla="*/ 0 h 1036794"/>
                  <a:gd name="connsiteX9" fmla="*/ 1036805 w 1036804"/>
                  <a:gd name="connsiteY9" fmla="*/ 518397 h 1036794"/>
                  <a:gd name="connsiteX10" fmla="*/ 518402 w 1036804"/>
                  <a:gd name="connsiteY10" fmla="*/ 1036794 h 1036794"/>
                  <a:gd name="connsiteX11" fmla="*/ 518402 w 1036804"/>
                  <a:gd name="connsiteY11" fmla="*/ 1021953 h 1036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6804" h="1036794">
                    <a:moveTo>
                      <a:pt x="518402" y="1021953"/>
                    </a:moveTo>
                    <a:lnTo>
                      <a:pt x="518402" y="1007112"/>
                    </a:lnTo>
                    <a:cubicBezTo>
                      <a:pt x="788363" y="1006667"/>
                      <a:pt x="1006677" y="788356"/>
                      <a:pt x="1007122" y="518397"/>
                    </a:cubicBezTo>
                    <a:cubicBezTo>
                      <a:pt x="1006677" y="248439"/>
                      <a:pt x="788363" y="30127"/>
                      <a:pt x="518402" y="29682"/>
                    </a:cubicBezTo>
                    <a:cubicBezTo>
                      <a:pt x="248441" y="30127"/>
                      <a:pt x="30128" y="248439"/>
                      <a:pt x="29682" y="518397"/>
                    </a:cubicBezTo>
                    <a:cubicBezTo>
                      <a:pt x="30128" y="788356"/>
                      <a:pt x="248441" y="1006667"/>
                      <a:pt x="518402" y="1007112"/>
                    </a:cubicBezTo>
                    <a:lnTo>
                      <a:pt x="518402" y="1036794"/>
                    </a:lnTo>
                    <a:cubicBezTo>
                      <a:pt x="232116" y="1036794"/>
                      <a:pt x="0" y="804681"/>
                      <a:pt x="0" y="518397"/>
                    </a:cubicBezTo>
                    <a:cubicBezTo>
                      <a:pt x="0" y="232114"/>
                      <a:pt x="232116" y="0"/>
                      <a:pt x="518402" y="0"/>
                    </a:cubicBezTo>
                    <a:cubicBezTo>
                      <a:pt x="804689" y="0"/>
                      <a:pt x="1036805" y="232114"/>
                      <a:pt x="1036805" y="518397"/>
                    </a:cubicBezTo>
                    <a:cubicBezTo>
                      <a:pt x="1036805" y="804681"/>
                      <a:pt x="804689" y="1036794"/>
                      <a:pt x="518402" y="1036794"/>
                    </a:cubicBezTo>
                    <a:lnTo>
                      <a:pt x="518402" y="1021953"/>
                    </a:lnTo>
                    <a:close/>
                  </a:path>
                </a:pathLst>
              </a:custGeom>
              <a:gradFill>
                <a:gsLst>
                  <a:gs pos="0">
                    <a:srgbClr val="F3E700"/>
                  </a:gs>
                  <a:gs pos="33000">
                    <a:srgbClr val="8CC3CA"/>
                  </a:gs>
                  <a:gs pos="67000">
                    <a:srgbClr val="2878FF"/>
                  </a:gs>
                  <a:gs pos="100000">
                    <a:srgbClr val="E229E2"/>
                  </a:gs>
                </a:gsLst>
                <a:lin ang="0" scaled="1"/>
              </a:gradFill>
              <a:ln w="14828" cap="flat">
                <a:noFill/>
                <a:prstDash val="solid"/>
                <a:miter/>
              </a:ln>
            </p:spPr>
            <p:txBody>
              <a:bodyPr rtlCol="0" anchor="ctr"/>
              <a:lstStyle/>
              <a:p>
                <a:endParaRPr lang="en-DK"/>
              </a:p>
            </p:txBody>
          </p:sp>
          <p:sp>
            <p:nvSpPr>
              <p:cNvPr id="214" name="Freeform 213">
                <a:extLst>
                  <a:ext uri="{FF2B5EF4-FFF2-40B4-BE49-F238E27FC236}">
                    <a16:creationId xmlns:a16="http://schemas.microsoft.com/office/drawing/2014/main" id="{1E8F7B40-DD1A-11AF-21F4-A79BC39C864B}"/>
                  </a:ext>
                </a:extLst>
              </p:cNvPr>
              <p:cNvSpPr/>
              <p:nvPr/>
            </p:nvSpPr>
            <p:spPr>
              <a:xfrm>
                <a:off x="5936184" y="2221263"/>
                <a:ext cx="1007122" cy="1007112"/>
              </a:xfrm>
              <a:custGeom>
                <a:avLst/>
                <a:gdLst>
                  <a:gd name="connsiteX0" fmla="*/ 503561 w 1007122"/>
                  <a:gd name="connsiteY0" fmla="*/ 1007112 h 1007112"/>
                  <a:gd name="connsiteX1" fmla="*/ 1007122 w 1007122"/>
                  <a:gd name="connsiteY1" fmla="*/ 503556 h 1007112"/>
                  <a:gd name="connsiteX2" fmla="*/ 503561 w 1007122"/>
                  <a:gd name="connsiteY2" fmla="*/ 0 h 1007112"/>
                  <a:gd name="connsiteX3" fmla="*/ 0 w 1007122"/>
                  <a:gd name="connsiteY3" fmla="*/ 503556 h 1007112"/>
                  <a:gd name="connsiteX4" fmla="*/ 503561 w 1007122"/>
                  <a:gd name="connsiteY4" fmla="*/ 1007112 h 100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122" h="1007112">
                    <a:moveTo>
                      <a:pt x="503561" y="1007112"/>
                    </a:moveTo>
                    <a:cubicBezTo>
                      <a:pt x="781685" y="1007112"/>
                      <a:pt x="1007122" y="781677"/>
                      <a:pt x="1007122" y="503556"/>
                    </a:cubicBezTo>
                    <a:cubicBezTo>
                      <a:pt x="1007122" y="225435"/>
                      <a:pt x="781685" y="0"/>
                      <a:pt x="503561" y="0"/>
                    </a:cubicBezTo>
                    <a:cubicBezTo>
                      <a:pt x="225438" y="0"/>
                      <a:pt x="0" y="225435"/>
                      <a:pt x="0" y="503556"/>
                    </a:cubicBezTo>
                    <a:cubicBezTo>
                      <a:pt x="0" y="781677"/>
                      <a:pt x="225438" y="1007112"/>
                      <a:pt x="503561" y="1007112"/>
                    </a:cubicBezTo>
                  </a:path>
                </a:pathLst>
              </a:custGeom>
              <a:solidFill>
                <a:srgbClr val="001965"/>
              </a:solidFill>
              <a:ln w="14828" cap="flat">
                <a:noFill/>
                <a:prstDash val="solid"/>
                <a:miter/>
              </a:ln>
            </p:spPr>
            <p:txBody>
              <a:bodyPr rtlCol="0" anchor="ctr"/>
              <a:lstStyle/>
              <a:p>
                <a:endParaRPr lang="en-DK"/>
              </a:p>
            </p:txBody>
          </p:sp>
          <p:sp>
            <p:nvSpPr>
              <p:cNvPr id="215" name="Freeform 214">
                <a:extLst>
                  <a:ext uri="{FF2B5EF4-FFF2-40B4-BE49-F238E27FC236}">
                    <a16:creationId xmlns:a16="http://schemas.microsoft.com/office/drawing/2014/main" id="{C8A8AD21-18BD-3A34-27D8-379D8CDF9359}"/>
                  </a:ext>
                </a:extLst>
              </p:cNvPr>
              <p:cNvSpPr/>
              <p:nvPr/>
            </p:nvSpPr>
            <p:spPr>
              <a:xfrm>
                <a:off x="5921343" y="2206422"/>
                <a:ext cx="1036804" cy="1036794"/>
              </a:xfrm>
              <a:custGeom>
                <a:avLst/>
                <a:gdLst>
                  <a:gd name="connsiteX0" fmla="*/ 518402 w 1036804"/>
                  <a:gd name="connsiteY0" fmla="*/ 1021953 h 1036794"/>
                  <a:gd name="connsiteX1" fmla="*/ 518402 w 1036804"/>
                  <a:gd name="connsiteY1" fmla="*/ 1007112 h 1036794"/>
                  <a:gd name="connsiteX2" fmla="*/ 1007122 w 1036804"/>
                  <a:gd name="connsiteY2" fmla="*/ 518397 h 1036794"/>
                  <a:gd name="connsiteX3" fmla="*/ 518402 w 1036804"/>
                  <a:gd name="connsiteY3" fmla="*/ 29682 h 1036794"/>
                  <a:gd name="connsiteX4" fmla="*/ 29682 w 1036804"/>
                  <a:gd name="connsiteY4" fmla="*/ 518397 h 1036794"/>
                  <a:gd name="connsiteX5" fmla="*/ 518402 w 1036804"/>
                  <a:gd name="connsiteY5" fmla="*/ 1007112 h 1036794"/>
                  <a:gd name="connsiteX6" fmla="*/ 518402 w 1036804"/>
                  <a:gd name="connsiteY6" fmla="*/ 1036794 h 1036794"/>
                  <a:gd name="connsiteX7" fmla="*/ 0 w 1036804"/>
                  <a:gd name="connsiteY7" fmla="*/ 518397 h 1036794"/>
                  <a:gd name="connsiteX8" fmla="*/ 518402 w 1036804"/>
                  <a:gd name="connsiteY8" fmla="*/ 0 h 1036794"/>
                  <a:gd name="connsiteX9" fmla="*/ 1036805 w 1036804"/>
                  <a:gd name="connsiteY9" fmla="*/ 518397 h 1036794"/>
                  <a:gd name="connsiteX10" fmla="*/ 518402 w 1036804"/>
                  <a:gd name="connsiteY10" fmla="*/ 1036794 h 1036794"/>
                  <a:gd name="connsiteX11" fmla="*/ 518402 w 1036804"/>
                  <a:gd name="connsiteY11" fmla="*/ 1021953 h 1036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6804" h="1036794">
                    <a:moveTo>
                      <a:pt x="518402" y="1021953"/>
                    </a:moveTo>
                    <a:lnTo>
                      <a:pt x="518402" y="1007112"/>
                    </a:lnTo>
                    <a:cubicBezTo>
                      <a:pt x="788363" y="1006667"/>
                      <a:pt x="1006677" y="788356"/>
                      <a:pt x="1007122" y="518397"/>
                    </a:cubicBezTo>
                    <a:cubicBezTo>
                      <a:pt x="1006677" y="248439"/>
                      <a:pt x="788363" y="30127"/>
                      <a:pt x="518402" y="29682"/>
                    </a:cubicBezTo>
                    <a:cubicBezTo>
                      <a:pt x="248441" y="30127"/>
                      <a:pt x="30128" y="248439"/>
                      <a:pt x="29682" y="518397"/>
                    </a:cubicBezTo>
                    <a:cubicBezTo>
                      <a:pt x="30128" y="788356"/>
                      <a:pt x="248441" y="1006667"/>
                      <a:pt x="518402" y="1007112"/>
                    </a:cubicBezTo>
                    <a:lnTo>
                      <a:pt x="518402" y="1036794"/>
                    </a:lnTo>
                    <a:cubicBezTo>
                      <a:pt x="232116" y="1036794"/>
                      <a:pt x="0" y="804681"/>
                      <a:pt x="0" y="518397"/>
                    </a:cubicBezTo>
                    <a:cubicBezTo>
                      <a:pt x="0" y="232114"/>
                      <a:pt x="232116" y="0"/>
                      <a:pt x="518402" y="0"/>
                    </a:cubicBezTo>
                    <a:cubicBezTo>
                      <a:pt x="804689" y="0"/>
                      <a:pt x="1036805" y="232114"/>
                      <a:pt x="1036805" y="518397"/>
                    </a:cubicBezTo>
                    <a:cubicBezTo>
                      <a:pt x="1036805" y="804681"/>
                      <a:pt x="804689" y="1036794"/>
                      <a:pt x="518402" y="1036794"/>
                    </a:cubicBezTo>
                    <a:lnTo>
                      <a:pt x="518402" y="1021953"/>
                    </a:lnTo>
                    <a:close/>
                  </a:path>
                </a:pathLst>
              </a:custGeom>
              <a:gradFill>
                <a:gsLst>
                  <a:gs pos="0">
                    <a:srgbClr val="F3E700"/>
                  </a:gs>
                  <a:gs pos="33000">
                    <a:srgbClr val="8CC3CA"/>
                  </a:gs>
                  <a:gs pos="67000">
                    <a:srgbClr val="2878FF"/>
                  </a:gs>
                  <a:gs pos="100000">
                    <a:srgbClr val="E229E2"/>
                  </a:gs>
                </a:gsLst>
                <a:lin ang="0" scaled="1"/>
              </a:gradFill>
              <a:ln w="14828" cap="flat">
                <a:noFill/>
                <a:prstDash val="solid"/>
                <a:miter/>
              </a:ln>
            </p:spPr>
            <p:txBody>
              <a:bodyPr rtlCol="0" anchor="ctr"/>
              <a:lstStyle/>
              <a:p>
                <a:endParaRPr lang="en-DK"/>
              </a:p>
            </p:txBody>
          </p:sp>
          <p:sp>
            <p:nvSpPr>
              <p:cNvPr id="216" name="Freeform 215">
                <a:extLst>
                  <a:ext uri="{FF2B5EF4-FFF2-40B4-BE49-F238E27FC236}">
                    <a16:creationId xmlns:a16="http://schemas.microsoft.com/office/drawing/2014/main" id="{58ABC43E-C617-2BAD-0F22-407C5B0945B8}"/>
                  </a:ext>
                </a:extLst>
              </p:cNvPr>
              <p:cNvSpPr/>
              <p:nvPr/>
            </p:nvSpPr>
            <p:spPr>
              <a:xfrm>
                <a:off x="6160731" y="2559639"/>
                <a:ext cx="185811" cy="329025"/>
              </a:xfrm>
              <a:custGeom>
                <a:avLst/>
                <a:gdLst>
                  <a:gd name="connsiteX0" fmla="*/ 144701 w 185811"/>
                  <a:gd name="connsiteY0" fmla="*/ 118283 h 329025"/>
                  <a:gd name="connsiteX1" fmla="*/ 156129 w 185811"/>
                  <a:gd name="connsiteY1" fmla="*/ 97802 h 329025"/>
                  <a:gd name="connsiteX2" fmla="*/ 171415 w 185811"/>
                  <a:gd name="connsiteY2" fmla="*/ 50014 h 329025"/>
                  <a:gd name="connsiteX3" fmla="*/ 158058 w 185811"/>
                  <a:gd name="connsiteY3" fmla="*/ 21074 h 329025"/>
                  <a:gd name="connsiteX4" fmla="*/ 108786 w 185811"/>
                  <a:gd name="connsiteY4" fmla="*/ 0 h 329025"/>
                  <a:gd name="connsiteX5" fmla="*/ 79697 w 185811"/>
                  <a:gd name="connsiteY5" fmla="*/ 7717 h 329025"/>
                  <a:gd name="connsiteX6" fmla="*/ 52241 w 185811"/>
                  <a:gd name="connsiteY6" fmla="*/ 23597 h 329025"/>
                  <a:gd name="connsiteX7" fmla="*/ 22558 w 185811"/>
                  <a:gd name="connsiteY7" fmla="*/ 53279 h 329025"/>
                  <a:gd name="connsiteX8" fmla="*/ 6233 w 185811"/>
                  <a:gd name="connsiteY8" fmla="*/ 97802 h 329025"/>
                  <a:gd name="connsiteX9" fmla="*/ 0 w 185811"/>
                  <a:gd name="connsiteY9" fmla="*/ 143513 h 329025"/>
                  <a:gd name="connsiteX10" fmla="*/ 0 w 185811"/>
                  <a:gd name="connsiteY10" fmla="*/ 189520 h 329025"/>
                  <a:gd name="connsiteX11" fmla="*/ 7717 w 185811"/>
                  <a:gd name="connsiteY11" fmla="*/ 231372 h 329025"/>
                  <a:gd name="connsiteX12" fmla="*/ 22558 w 185811"/>
                  <a:gd name="connsiteY12" fmla="*/ 275895 h 329025"/>
                  <a:gd name="connsiteX13" fmla="*/ 52241 w 185811"/>
                  <a:gd name="connsiteY13" fmla="*/ 305577 h 329025"/>
                  <a:gd name="connsiteX14" fmla="*/ 85633 w 185811"/>
                  <a:gd name="connsiteY14" fmla="*/ 329026 h 329025"/>
                  <a:gd name="connsiteX15" fmla="*/ 108786 w 185811"/>
                  <a:gd name="connsiteY15" fmla="*/ 329026 h 329025"/>
                  <a:gd name="connsiteX16" fmla="*/ 135054 w 185811"/>
                  <a:gd name="connsiteY16" fmla="*/ 323683 h 329025"/>
                  <a:gd name="connsiteX17" fmla="*/ 156129 w 185811"/>
                  <a:gd name="connsiteY17" fmla="*/ 305577 h 329025"/>
                  <a:gd name="connsiteX18" fmla="*/ 171415 w 185811"/>
                  <a:gd name="connsiteY18" fmla="*/ 290439 h 329025"/>
                  <a:gd name="connsiteX19" fmla="*/ 185811 w 185811"/>
                  <a:gd name="connsiteY19" fmla="*/ 261054 h 329025"/>
                  <a:gd name="connsiteX20" fmla="*/ 170970 w 185811"/>
                  <a:gd name="connsiteY20" fmla="*/ 215789 h 329025"/>
                  <a:gd name="connsiteX21" fmla="*/ 141288 w 185811"/>
                  <a:gd name="connsiteY21" fmla="*/ 186849 h 329025"/>
                  <a:gd name="connsiteX22" fmla="*/ 137726 w 185811"/>
                  <a:gd name="connsiteY22" fmla="*/ 164439 h 329025"/>
                  <a:gd name="connsiteX23" fmla="*/ 120956 w 185811"/>
                  <a:gd name="connsiteY23" fmla="*/ 134014 h 329025"/>
                  <a:gd name="connsiteX24" fmla="*/ 144701 w 185811"/>
                  <a:gd name="connsiteY24" fmla="*/ 118283 h 32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811" h="329025">
                    <a:moveTo>
                      <a:pt x="144701" y="118283"/>
                    </a:moveTo>
                    <a:lnTo>
                      <a:pt x="156129" y="97802"/>
                    </a:lnTo>
                    <a:lnTo>
                      <a:pt x="171415" y="50014"/>
                    </a:lnTo>
                    <a:lnTo>
                      <a:pt x="158058" y="21074"/>
                    </a:lnTo>
                    <a:lnTo>
                      <a:pt x="108786" y="0"/>
                    </a:lnTo>
                    <a:lnTo>
                      <a:pt x="79697" y="7717"/>
                    </a:lnTo>
                    <a:lnTo>
                      <a:pt x="52241" y="23597"/>
                    </a:lnTo>
                    <a:lnTo>
                      <a:pt x="22558" y="53279"/>
                    </a:lnTo>
                    <a:lnTo>
                      <a:pt x="6233" y="97802"/>
                    </a:lnTo>
                    <a:lnTo>
                      <a:pt x="0" y="143513"/>
                    </a:lnTo>
                    <a:lnTo>
                      <a:pt x="0" y="189520"/>
                    </a:lnTo>
                    <a:lnTo>
                      <a:pt x="7717" y="231372"/>
                    </a:lnTo>
                    <a:lnTo>
                      <a:pt x="22558" y="275895"/>
                    </a:lnTo>
                    <a:lnTo>
                      <a:pt x="52241" y="305577"/>
                    </a:lnTo>
                    <a:lnTo>
                      <a:pt x="85633" y="329026"/>
                    </a:lnTo>
                    <a:lnTo>
                      <a:pt x="108786" y="329026"/>
                    </a:lnTo>
                    <a:lnTo>
                      <a:pt x="135054" y="323683"/>
                    </a:lnTo>
                    <a:lnTo>
                      <a:pt x="156129" y="305577"/>
                    </a:lnTo>
                    <a:lnTo>
                      <a:pt x="171415" y="290439"/>
                    </a:lnTo>
                    <a:lnTo>
                      <a:pt x="185811" y="261054"/>
                    </a:lnTo>
                    <a:lnTo>
                      <a:pt x="170970" y="215789"/>
                    </a:lnTo>
                    <a:lnTo>
                      <a:pt x="141288" y="186849"/>
                    </a:lnTo>
                    <a:lnTo>
                      <a:pt x="137726" y="164439"/>
                    </a:lnTo>
                    <a:lnTo>
                      <a:pt x="120956" y="134014"/>
                    </a:lnTo>
                    <a:lnTo>
                      <a:pt x="144701" y="118283"/>
                    </a:lnTo>
                    <a:close/>
                  </a:path>
                </a:pathLst>
              </a:custGeom>
              <a:solidFill>
                <a:srgbClr val="2978FF">
                  <a:alpha val="50482"/>
                </a:srgbClr>
              </a:solidFill>
              <a:ln w="14828" cap="flat">
                <a:noFill/>
                <a:prstDash val="solid"/>
                <a:miter/>
              </a:ln>
            </p:spPr>
            <p:txBody>
              <a:bodyPr rtlCol="0" anchor="ctr"/>
              <a:lstStyle/>
              <a:p>
                <a:endParaRPr lang="en-DK"/>
              </a:p>
            </p:txBody>
          </p:sp>
          <p:sp>
            <p:nvSpPr>
              <p:cNvPr id="217" name="Freeform 216">
                <a:extLst>
                  <a:ext uri="{FF2B5EF4-FFF2-40B4-BE49-F238E27FC236}">
                    <a16:creationId xmlns:a16="http://schemas.microsoft.com/office/drawing/2014/main" id="{7F6BD36D-C85E-6ADC-648D-DEAB6027EFB1}"/>
                  </a:ext>
                </a:extLst>
              </p:cNvPr>
              <p:cNvSpPr/>
              <p:nvPr/>
            </p:nvSpPr>
            <p:spPr>
              <a:xfrm>
                <a:off x="6538291" y="2559639"/>
                <a:ext cx="181210" cy="329025"/>
              </a:xfrm>
              <a:custGeom>
                <a:avLst/>
                <a:gdLst>
                  <a:gd name="connsiteX0" fmla="*/ 53131 w 181210"/>
                  <a:gd name="connsiteY0" fmla="*/ 7717 h 329025"/>
                  <a:gd name="connsiteX1" fmla="*/ 23449 w 181210"/>
                  <a:gd name="connsiteY1" fmla="*/ 31018 h 329025"/>
                  <a:gd name="connsiteX2" fmla="*/ 8608 w 181210"/>
                  <a:gd name="connsiteY2" fmla="*/ 60700 h 329025"/>
                  <a:gd name="connsiteX3" fmla="*/ 24191 w 181210"/>
                  <a:gd name="connsiteY3" fmla="*/ 97802 h 329025"/>
                  <a:gd name="connsiteX4" fmla="*/ 41704 w 181210"/>
                  <a:gd name="connsiteY4" fmla="*/ 128523 h 329025"/>
                  <a:gd name="connsiteX5" fmla="*/ 60997 w 181210"/>
                  <a:gd name="connsiteY5" fmla="*/ 134014 h 329025"/>
                  <a:gd name="connsiteX6" fmla="*/ 47937 w 181210"/>
                  <a:gd name="connsiteY6" fmla="*/ 155831 h 329025"/>
                  <a:gd name="connsiteX7" fmla="*/ 38290 w 181210"/>
                  <a:gd name="connsiteY7" fmla="*/ 179428 h 329025"/>
                  <a:gd name="connsiteX8" fmla="*/ 38290 w 181210"/>
                  <a:gd name="connsiteY8" fmla="*/ 194269 h 329025"/>
                  <a:gd name="connsiteX9" fmla="*/ 23449 w 181210"/>
                  <a:gd name="connsiteY9" fmla="*/ 209110 h 329025"/>
                  <a:gd name="connsiteX10" fmla="*/ 0 w 181210"/>
                  <a:gd name="connsiteY10" fmla="*/ 250962 h 329025"/>
                  <a:gd name="connsiteX11" fmla="*/ 8608 w 181210"/>
                  <a:gd name="connsiteY11" fmla="*/ 283315 h 329025"/>
                  <a:gd name="connsiteX12" fmla="*/ 31463 w 181210"/>
                  <a:gd name="connsiteY12" fmla="*/ 315817 h 329025"/>
                  <a:gd name="connsiteX13" fmla="*/ 60997 w 181210"/>
                  <a:gd name="connsiteY13" fmla="*/ 329026 h 329025"/>
                  <a:gd name="connsiteX14" fmla="*/ 96171 w 181210"/>
                  <a:gd name="connsiteY14" fmla="*/ 329026 h 329025"/>
                  <a:gd name="connsiteX15" fmla="*/ 127337 w 181210"/>
                  <a:gd name="connsiteY15" fmla="*/ 312997 h 329025"/>
                  <a:gd name="connsiteX16" fmla="*/ 157019 w 181210"/>
                  <a:gd name="connsiteY16" fmla="*/ 268474 h 329025"/>
                  <a:gd name="connsiteX17" fmla="*/ 174087 w 181210"/>
                  <a:gd name="connsiteY17" fmla="*/ 221131 h 329025"/>
                  <a:gd name="connsiteX18" fmla="*/ 181211 w 181210"/>
                  <a:gd name="connsiteY18" fmla="*/ 155831 h 329025"/>
                  <a:gd name="connsiteX19" fmla="*/ 171861 w 181210"/>
                  <a:gd name="connsiteY19" fmla="*/ 90382 h 329025"/>
                  <a:gd name="connsiteX20" fmla="*/ 142178 w 181210"/>
                  <a:gd name="connsiteY20" fmla="*/ 31018 h 329025"/>
                  <a:gd name="connsiteX21" fmla="*/ 97655 w 181210"/>
                  <a:gd name="connsiteY21" fmla="*/ 1336 h 329025"/>
                  <a:gd name="connsiteX22" fmla="*/ 71534 w 181210"/>
                  <a:gd name="connsiteY22" fmla="*/ 0 h 329025"/>
                  <a:gd name="connsiteX23" fmla="*/ 53131 w 181210"/>
                  <a:gd name="connsiteY23" fmla="*/ 7717 h 32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81210" h="329025">
                    <a:moveTo>
                      <a:pt x="53131" y="7717"/>
                    </a:moveTo>
                    <a:lnTo>
                      <a:pt x="23449" y="31018"/>
                    </a:lnTo>
                    <a:lnTo>
                      <a:pt x="8608" y="60700"/>
                    </a:lnTo>
                    <a:lnTo>
                      <a:pt x="24191" y="97802"/>
                    </a:lnTo>
                    <a:lnTo>
                      <a:pt x="41704" y="128523"/>
                    </a:lnTo>
                    <a:lnTo>
                      <a:pt x="60997" y="134014"/>
                    </a:lnTo>
                    <a:lnTo>
                      <a:pt x="47937" y="155831"/>
                    </a:lnTo>
                    <a:lnTo>
                      <a:pt x="38290" y="179428"/>
                    </a:lnTo>
                    <a:lnTo>
                      <a:pt x="38290" y="194269"/>
                    </a:lnTo>
                    <a:lnTo>
                      <a:pt x="23449" y="209110"/>
                    </a:lnTo>
                    <a:lnTo>
                      <a:pt x="0" y="250962"/>
                    </a:lnTo>
                    <a:lnTo>
                      <a:pt x="8608" y="283315"/>
                    </a:lnTo>
                    <a:lnTo>
                      <a:pt x="31463" y="315817"/>
                    </a:lnTo>
                    <a:lnTo>
                      <a:pt x="60997" y="329026"/>
                    </a:lnTo>
                    <a:lnTo>
                      <a:pt x="96171" y="329026"/>
                    </a:lnTo>
                    <a:lnTo>
                      <a:pt x="127337" y="312997"/>
                    </a:lnTo>
                    <a:lnTo>
                      <a:pt x="157019" y="268474"/>
                    </a:lnTo>
                    <a:lnTo>
                      <a:pt x="174087" y="221131"/>
                    </a:lnTo>
                    <a:lnTo>
                      <a:pt x="181211" y="155831"/>
                    </a:lnTo>
                    <a:lnTo>
                      <a:pt x="171861" y="90382"/>
                    </a:lnTo>
                    <a:lnTo>
                      <a:pt x="142178" y="31018"/>
                    </a:lnTo>
                    <a:lnTo>
                      <a:pt x="97655" y="1336"/>
                    </a:lnTo>
                    <a:lnTo>
                      <a:pt x="71534" y="0"/>
                    </a:lnTo>
                    <a:lnTo>
                      <a:pt x="53131" y="7717"/>
                    </a:lnTo>
                    <a:close/>
                  </a:path>
                </a:pathLst>
              </a:custGeom>
              <a:solidFill>
                <a:srgbClr val="2978FF">
                  <a:alpha val="49757"/>
                </a:srgbClr>
              </a:solidFill>
              <a:ln w="14828" cap="flat">
                <a:noFill/>
                <a:prstDash val="solid"/>
                <a:miter/>
              </a:ln>
            </p:spPr>
            <p:txBody>
              <a:bodyPr rtlCol="0" anchor="ctr"/>
              <a:lstStyle/>
              <a:p>
                <a:endParaRPr lang="en-DK"/>
              </a:p>
            </p:txBody>
          </p:sp>
          <p:sp>
            <p:nvSpPr>
              <p:cNvPr id="218" name="Freeform 217">
                <a:extLst>
                  <a:ext uri="{FF2B5EF4-FFF2-40B4-BE49-F238E27FC236}">
                    <a16:creationId xmlns:a16="http://schemas.microsoft.com/office/drawing/2014/main" id="{53617ECA-DFAC-4221-1DD0-2519D8980EEF}"/>
                  </a:ext>
                </a:extLst>
              </p:cNvPr>
              <p:cNvSpPr/>
              <p:nvPr/>
            </p:nvSpPr>
            <p:spPr>
              <a:xfrm>
                <a:off x="6412289" y="2490480"/>
                <a:ext cx="315375" cy="479958"/>
              </a:xfrm>
              <a:custGeom>
                <a:avLst/>
                <a:gdLst>
                  <a:gd name="connsiteX0" fmla="*/ 207480 w 315375"/>
                  <a:gd name="connsiteY0" fmla="*/ 392842 h 479958"/>
                  <a:gd name="connsiteX1" fmla="*/ 134906 w 315375"/>
                  <a:gd name="connsiteY1" fmla="*/ 330361 h 479958"/>
                  <a:gd name="connsiteX2" fmla="*/ 166815 w 315375"/>
                  <a:gd name="connsiteY2" fmla="*/ 271591 h 479958"/>
                  <a:gd name="connsiteX3" fmla="*/ 206738 w 315375"/>
                  <a:gd name="connsiteY3" fmla="*/ 297859 h 479958"/>
                  <a:gd name="connsiteX4" fmla="*/ 207331 w 315375"/>
                  <a:gd name="connsiteY4" fmla="*/ 297859 h 479958"/>
                  <a:gd name="connsiteX5" fmla="*/ 214752 w 315375"/>
                  <a:gd name="connsiteY5" fmla="*/ 291033 h 479958"/>
                  <a:gd name="connsiteX6" fmla="*/ 207925 w 315375"/>
                  <a:gd name="connsiteY6" fmla="*/ 282870 h 479958"/>
                  <a:gd name="connsiteX7" fmla="*/ 174829 w 315375"/>
                  <a:gd name="connsiteY7" fmla="*/ 245767 h 479958"/>
                  <a:gd name="connsiteX8" fmla="*/ 207035 w 315375"/>
                  <a:gd name="connsiteY8" fmla="*/ 207774 h 479958"/>
                  <a:gd name="connsiteX9" fmla="*/ 213713 w 315375"/>
                  <a:gd name="connsiteY9" fmla="*/ 199463 h 479958"/>
                  <a:gd name="connsiteX10" fmla="*/ 205402 w 315375"/>
                  <a:gd name="connsiteY10" fmla="*/ 192933 h 479958"/>
                  <a:gd name="connsiteX11" fmla="*/ 191154 w 315375"/>
                  <a:gd name="connsiteY11" fmla="*/ 196940 h 479958"/>
                  <a:gd name="connsiteX12" fmla="*/ 144850 w 315375"/>
                  <a:gd name="connsiteY12" fmla="*/ 130304 h 479958"/>
                  <a:gd name="connsiteX13" fmla="*/ 197981 w 315375"/>
                  <a:gd name="connsiteY13" fmla="*/ 77173 h 479958"/>
                  <a:gd name="connsiteX14" fmla="*/ 299941 w 315375"/>
                  <a:gd name="connsiteY14" fmla="*/ 230481 h 479958"/>
                  <a:gd name="connsiteX15" fmla="*/ 207331 w 315375"/>
                  <a:gd name="connsiteY15" fmla="*/ 393139 h 479958"/>
                  <a:gd name="connsiteX16" fmla="*/ 146779 w 315375"/>
                  <a:gd name="connsiteY16" fmla="*/ 203471 h 479958"/>
                  <a:gd name="connsiteX17" fmla="*/ 114871 w 315375"/>
                  <a:gd name="connsiteY17" fmla="*/ 212672 h 479958"/>
                  <a:gd name="connsiteX18" fmla="*/ 94835 w 315375"/>
                  <a:gd name="connsiteY18" fmla="*/ 212672 h 479958"/>
                  <a:gd name="connsiteX19" fmla="*/ 94835 w 315375"/>
                  <a:gd name="connsiteY19" fmla="*/ 190707 h 479958"/>
                  <a:gd name="connsiteX20" fmla="*/ 96022 w 315375"/>
                  <a:gd name="connsiteY20" fmla="*/ 190707 h 479958"/>
                  <a:gd name="connsiteX21" fmla="*/ 146037 w 315375"/>
                  <a:gd name="connsiteY21" fmla="*/ 182545 h 479958"/>
                  <a:gd name="connsiteX22" fmla="*/ 157020 w 315375"/>
                  <a:gd name="connsiteY22" fmla="*/ 194863 h 479958"/>
                  <a:gd name="connsiteX23" fmla="*/ 146779 w 315375"/>
                  <a:gd name="connsiteY23" fmla="*/ 203471 h 479958"/>
                  <a:gd name="connsiteX24" fmla="*/ 14841 w 315375"/>
                  <a:gd name="connsiteY24" fmla="*/ 188184 h 479958"/>
                  <a:gd name="connsiteX25" fmla="*/ 14841 w 315375"/>
                  <a:gd name="connsiteY25" fmla="*/ 166962 h 479958"/>
                  <a:gd name="connsiteX26" fmla="*/ 39923 w 315375"/>
                  <a:gd name="connsiteY26" fmla="*/ 179873 h 479958"/>
                  <a:gd name="connsiteX27" fmla="*/ 39923 w 315375"/>
                  <a:gd name="connsiteY27" fmla="*/ 208071 h 479958"/>
                  <a:gd name="connsiteX28" fmla="*/ 14841 w 315375"/>
                  <a:gd name="connsiteY28" fmla="*/ 188333 h 479958"/>
                  <a:gd name="connsiteX29" fmla="*/ 197388 w 315375"/>
                  <a:gd name="connsiteY29" fmla="*/ 62036 h 479958"/>
                  <a:gd name="connsiteX30" fmla="*/ 197388 w 315375"/>
                  <a:gd name="connsiteY30" fmla="*/ 62036 h 479958"/>
                  <a:gd name="connsiteX31" fmla="*/ 130009 w 315375"/>
                  <a:gd name="connsiteY31" fmla="*/ 130156 h 479958"/>
                  <a:gd name="connsiteX32" fmla="*/ 138617 w 315375"/>
                  <a:gd name="connsiteY32" fmla="*/ 169188 h 479958"/>
                  <a:gd name="connsiteX33" fmla="*/ 95132 w 315375"/>
                  <a:gd name="connsiteY33" fmla="*/ 175569 h 479958"/>
                  <a:gd name="connsiteX34" fmla="*/ 95132 w 315375"/>
                  <a:gd name="connsiteY34" fmla="*/ 0 h 479958"/>
                  <a:gd name="connsiteX35" fmla="*/ 80142 w 315375"/>
                  <a:gd name="connsiteY35" fmla="*/ 0 h 479958"/>
                  <a:gd name="connsiteX36" fmla="*/ 80142 w 315375"/>
                  <a:gd name="connsiteY36" fmla="*/ 212672 h 479958"/>
                  <a:gd name="connsiteX37" fmla="*/ 67676 w 315375"/>
                  <a:gd name="connsiteY37" fmla="*/ 212672 h 479958"/>
                  <a:gd name="connsiteX38" fmla="*/ 55209 w 315375"/>
                  <a:gd name="connsiteY38" fmla="*/ 211485 h 479958"/>
                  <a:gd name="connsiteX39" fmla="*/ 55209 w 315375"/>
                  <a:gd name="connsiteY39" fmla="*/ 0 h 479958"/>
                  <a:gd name="connsiteX40" fmla="*/ 40220 w 315375"/>
                  <a:gd name="connsiteY40" fmla="*/ 0 h 479958"/>
                  <a:gd name="connsiteX41" fmla="*/ 40220 w 315375"/>
                  <a:gd name="connsiteY41" fmla="*/ 163548 h 479958"/>
                  <a:gd name="connsiteX42" fmla="*/ 15138 w 315375"/>
                  <a:gd name="connsiteY42" fmla="*/ 148559 h 479958"/>
                  <a:gd name="connsiteX43" fmla="*/ 15138 w 315375"/>
                  <a:gd name="connsiteY43" fmla="*/ 0 h 479958"/>
                  <a:gd name="connsiteX44" fmla="*/ 149 w 315375"/>
                  <a:gd name="connsiteY44" fmla="*/ 0 h 479958"/>
                  <a:gd name="connsiteX45" fmla="*/ 149 w 315375"/>
                  <a:gd name="connsiteY45" fmla="*/ 188184 h 479958"/>
                  <a:gd name="connsiteX46" fmla="*/ 67676 w 315375"/>
                  <a:gd name="connsiteY46" fmla="*/ 227513 h 479958"/>
                  <a:gd name="connsiteX47" fmla="*/ 115168 w 315375"/>
                  <a:gd name="connsiteY47" fmla="*/ 227513 h 479958"/>
                  <a:gd name="connsiteX48" fmla="*/ 154942 w 315375"/>
                  <a:gd name="connsiteY48" fmla="*/ 216085 h 479958"/>
                  <a:gd name="connsiteX49" fmla="*/ 169338 w 315375"/>
                  <a:gd name="connsiteY49" fmla="*/ 203471 h 479958"/>
                  <a:gd name="connsiteX50" fmla="*/ 176017 w 315375"/>
                  <a:gd name="connsiteY50" fmla="*/ 207032 h 479958"/>
                  <a:gd name="connsiteX51" fmla="*/ 160136 w 315375"/>
                  <a:gd name="connsiteY51" fmla="*/ 245619 h 479958"/>
                  <a:gd name="connsiteX52" fmla="*/ 160136 w 315375"/>
                  <a:gd name="connsiteY52" fmla="*/ 246361 h 479958"/>
                  <a:gd name="connsiteX53" fmla="*/ 87563 w 315375"/>
                  <a:gd name="connsiteY53" fmla="*/ 242354 h 479958"/>
                  <a:gd name="connsiteX54" fmla="*/ 0 w 315375"/>
                  <a:gd name="connsiteY54" fmla="*/ 289845 h 479958"/>
                  <a:gd name="connsiteX55" fmla="*/ 0 w 315375"/>
                  <a:gd name="connsiteY55" fmla="*/ 479959 h 479958"/>
                  <a:gd name="connsiteX56" fmla="*/ 14990 w 315375"/>
                  <a:gd name="connsiteY56" fmla="*/ 479959 h 479958"/>
                  <a:gd name="connsiteX57" fmla="*/ 14990 w 315375"/>
                  <a:gd name="connsiteY57" fmla="*/ 289845 h 479958"/>
                  <a:gd name="connsiteX58" fmla="*/ 40071 w 315375"/>
                  <a:gd name="connsiteY58" fmla="*/ 265506 h 479958"/>
                  <a:gd name="connsiteX59" fmla="*/ 40071 w 315375"/>
                  <a:gd name="connsiteY59" fmla="*/ 479959 h 479958"/>
                  <a:gd name="connsiteX60" fmla="*/ 55061 w 315375"/>
                  <a:gd name="connsiteY60" fmla="*/ 479959 h 479958"/>
                  <a:gd name="connsiteX61" fmla="*/ 55061 w 315375"/>
                  <a:gd name="connsiteY61" fmla="*/ 260757 h 479958"/>
                  <a:gd name="connsiteX62" fmla="*/ 80142 w 315375"/>
                  <a:gd name="connsiteY62" fmla="*/ 257640 h 479958"/>
                  <a:gd name="connsiteX63" fmla="*/ 80142 w 315375"/>
                  <a:gd name="connsiteY63" fmla="*/ 479959 h 479958"/>
                  <a:gd name="connsiteX64" fmla="*/ 95132 w 315375"/>
                  <a:gd name="connsiteY64" fmla="*/ 479959 h 479958"/>
                  <a:gd name="connsiteX65" fmla="*/ 95132 w 315375"/>
                  <a:gd name="connsiteY65" fmla="*/ 257492 h 479958"/>
                  <a:gd name="connsiteX66" fmla="*/ 154794 w 315375"/>
                  <a:gd name="connsiteY66" fmla="*/ 260905 h 479958"/>
                  <a:gd name="connsiteX67" fmla="*/ 120214 w 315375"/>
                  <a:gd name="connsiteY67" fmla="*/ 329916 h 479958"/>
                  <a:gd name="connsiteX68" fmla="*/ 207777 w 315375"/>
                  <a:gd name="connsiteY68" fmla="*/ 407386 h 479958"/>
                  <a:gd name="connsiteX69" fmla="*/ 315375 w 315375"/>
                  <a:gd name="connsiteY69" fmla="*/ 229739 h 479958"/>
                  <a:gd name="connsiteX70" fmla="*/ 197685 w 315375"/>
                  <a:gd name="connsiteY70" fmla="*/ 61590 h 47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315375" h="479958">
                    <a:moveTo>
                      <a:pt x="207480" y="392842"/>
                    </a:moveTo>
                    <a:cubicBezTo>
                      <a:pt x="172454" y="392842"/>
                      <a:pt x="134906" y="367761"/>
                      <a:pt x="134906" y="330361"/>
                    </a:cubicBezTo>
                    <a:cubicBezTo>
                      <a:pt x="134906" y="300234"/>
                      <a:pt x="143217" y="284503"/>
                      <a:pt x="166815" y="271591"/>
                    </a:cubicBezTo>
                    <a:cubicBezTo>
                      <a:pt x="174978" y="286135"/>
                      <a:pt x="189374" y="296375"/>
                      <a:pt x="206738" y="297859"/>
                    </a:cubicBezTo>
                    <a:cubicBezTo>
                      <a:pt x="206886" y="297859"/>
                      <a:pt x="207183" y="297859"/>
                      <a:pt x="207331" y="297859"/>
                    </a:cubicBezTo>
                    <a:cubicBezTo>
                      <a:pt x="211190" y="297859"/>
                      <a:pt x="214455" y="294891"/>
                      <a:pt x="214752" y="291033"/>
                    </a:cubicBezTo>
                    <a:cubicBezTo>
                      <a:pt x="215049" y="286877"/>
                      <a:pt x="212081" y="283315"/>
                      <a:pt x="207925" y="282870"/>
                    </a:cubicBezTo>
                    <a:cubicBezTo>
                      <a:pt x="189225" y="281238"/>
                      <a:pt x="174978" y="265358"/>
                      <a:pt x="174829" y="245767"/>
                    </a:cubicBezTo>
                    <a:cubicBezTo>
                      <a:pt x="174532" y="226177"/>
                      <a:pt x="188483" y="209852"/>
                      <a:pt x="207035" y="207774"/>
                    </a:cubicBezTo>
                    <a:cubicBezTo>
                      <a:pt x="211190" y="207329"/>
                      <a:pt x="214159" y="203619"/>
                      <a:pt x="213713" y="199463"/>
                    </a:cubicBezTo>
                    <a:cubicBezTo>
                      <a:pt x="213268" y="195308"/>
                      <a:pt x="209557" y="192340"/>
                      <a:pt x="205402" y="192933"/>
                    </a:cubicBezTo>
                    <a:cubicBezTo>
                      <a:pt x="200356" y="193527"/>
                      <a:pt x="195607" y="195011"/>
                      <a:pt x="191154" y="196940"/>
                    </a:cubicBezTo>
                    <a:cubicBezTo>
                      <a:pt x="163847" y="190114"/>
                      <a:pt x="144850" y="163251"/>
                      <a:pt x="144850" y="130304"/>
                    </a:cubicBezTo>
                    <a:cubicBezTo>
                      <a:pt x="144850" y="102552"/>
                      <a:pt x="167112" y="80587"/>
                      <a:pt x="197981" y="77173"/>
                    </a:cubicBezTo>
                    <a:cubicBezTo>
                      <a:pt x="263579" y="77173"/>
                      <a:pt x="299941" y="167852"/>
                      <a:pt x="299941" y="230481"/>
                    </a:cubicBezTo>
                    <a:cubicBezTo>
                      <a:pt x="299941" y="298602"/>
                      <a:pt x="267735" y="393139"/>
                      <a:pt x="207331" y="393139"/>
                    </a:cubicBezTo>
                    <a:moveTo>
                      <a:pt x="146779" y="203471"/>
                    </a:moveTo>
                    <a:cubicBezTo>
                      <a:pt x="137133" y="209555"/>
                      <a:pt x="126150" y="212672"/>
                      <a:pt x="114871" y="212672"/>
                    </a:cubicBezTo>
                    <a:lnTo>
                      <a:pt x="94835" y="212672"/>
                    </a:lnTo>
                    <a:lnTo>
                      <a:pt x="94835" y="190707"/>
                    </a:lnTo>
                    <a:cubicBezTo>
                      <a:pt x="94835" y="190707"/>
                      <a:pt x="95577" y="190707"/>
                      <a:pt x="96022" y="190707"/>
                    </a:cubicBezTo>
                    <a:cubicBezTo>
                      <a:pt x="112496" y="190707"/>
                      <a:pt x="129267" y="187887"/>
                      <a:pt x="146037" y="182545"/>
                    </a:cubicBezTo>
                    <a:cubicBezTo>
                      <a:pt x="149302" y="186997"/>
                      <a:pt x="152864" y="191152"/>
                      <a:pt x="157020" y="194863"/>
                    </a:cubicBezTo>
                    <a:cubicBezTo>
                      <a:pt x="154348" y="197831"/>
                      <a:pt x="151084" y="200799"/>
                      <a:pt x="146779" y="203471"/>
                    </a:cubicBezTo>
                    <a:moveTo>
                      <a:pt x="14841" y="188184"/>
                    </a:moveTo>
                    <a:lnTo>
                      <a:pt x="14841" y="166962"/>
                    </a:lnTo>
                    <a:cubicBezTo>
                      <a:pt x="21075" y="170969"/>
                      <a:pt x="29534" y="175718"/>
                      <a:pt x="39923" y="179873"/>
                    </a:cubicBezTo>
                    <a:lnTo>
                      <a:pt x="39923" y="208071"/>
                    </a:lnTo>
                    <a:cubicBezTo>
                      <a:pt x="25972" y="203471"/>
                      <a:pt x="14841" y="196050"/>
                      <a:pt x="14841" y="188333"/>
                    </a:cubicBezTo>
                    <a:moveTo>
                      <a:pt x="197388" y="62036"/>
                    </a:moveTo>
                    <a:lnTo>
                      <a:pt x="197388" y="62036"/>
                    </a:lnTo>
                    <a:cubicBezTo>
                      <a:pt x="157762" y="66488"/>
                      <a:pt x="130009" y="94389"/>
                      <a:pt x="130009" y="130156"/>
                    </a:cubicBezTo>
                    <a:cubicBezTo>
                      <a:pt x="130009" y="144403"/>
                      <a:pt x="133125" y="157612"/>
                      <a:pt x="138617" y="169188"/>
                    </a:cubicBezTo>
                    <a:cubicBezTo>
                      <a:pt x="124072" y="173492"/>
                      <a:pt x="109379" y="175718"/>
                      <a:pt x="95132" y="175569"/>
                    </a:cubicBezTo>
                    <a:lnTo>
                      <a:pt x="95132" y="0"/>
                    </a:lnTo>
                    <a:lnTo>
                      <a:pt x="80142" y="0"/>
                    </a:lnTo>
                    <a:lnTo>
                      <a:pt x="80142" y="212672"/>
                    </a:lnTo>
                    <a:lnTo>
                      <a:pt x="67676" y="212672"/>
                    </a:lnTo>
                    <a:cubicBezTo>
                      <a:pt x="63669" y="212672"/>
                      <a:pt x="59365" y="212227"/>
                      <a:pt x="55209" y="211485"/>
                    </a:cubicBezTo>
                    <a:lnTo>
                      <a:pt x="55209" y="0"/>
                    </a:lnTo>
                    <a:lnTo>
                      <a:pt x="40220" y="0"/>
                    </a:lnTo>
                    <a:lnTo>
                      <a:pt x="40220" y="163548"/>
                    </a:lnTo>
                    <a:cubicBezTo>
                      <a:pt x="27753" y="157909"/>
                      <a:pt x="19145" y="151675"/>
                      <a:pt x="15138" y="148559"/>
                    </a:cubicBezTo>
                    <a:lnTo>
                      <a:pt x="15138" y="0"/>
                    </a:lnTo>
                    <a:lnTo>
                      <a:pt x="149" y="0"/>
                    </a:lnTo>
                    <a:lnTo>
                      <a:pt x="149" y="188184"/>
                    </a:lnTo>
                    <a:cubicBezTo>
                      <a:pt x="149" y="215640"/>
                      <a:pt x="44821" y="227513"/>
                      <a:pt x="67676" y="227513"/>
                    </a:cubicBezTo>
                    <a:lnTo>
                      <a:pt x="115168" y="227513"/>
                    </a:lnTo>
                    <a:cubicBezTo>
                      <a:pt x="129267" y="227513"/>
                      <a:pt x="143069" y="223506"/>
                      <a:pt x="154942" y="216085"/>
                    </a:cubicBezTo>
                    <a:cubicBezTo>
                      <a:pt x="160878" y="212375"/>
                      <a:pt x="165479" y="208071"/>
                      <a:pt x="169338" y="203471"/>
                    </a:cubicBezTo>
                    <a:cubicBezTo>
                      <a:pt x="171564" y="204806"/>
                      <a:pt x="173642" y="205994"/>
                      <a:pt x="176017" y="207032"/>
                    </a:cubicBezTo>
                    <a:cubicBezTo>
                      <a:pt x="166073" y="216827"/>
                      <a:pt x="159988" y="230481"/>
                      <a:pt x="160136" y="245619"/>
                    </a:cubicBezTo>
                    <a:cubicBezTo>
                      <a:pt x="160136" y="245916"/>
                      <a:pt x="160136" y="246213"/>
                      <a:pt x="160136" y="246361"/>
                    </a:cubicBezTo>
                    <a:cubicBezTo>
                      <a:pt x="146779" y="244877"/>
                      <a:pt x="120510" y="242354"/>
                      <a:pt x="87563" y="242354"/>
                    </a:cubicBezTo>
                    <a:cubicBezTo>
                      <a:pt x="36806" y="242354"/>
                      <a:pt x="0" y="262389"/>
                      <a:pt x="0" y="289845"/>
                    </a:cubicBezTo>
                    <a:lnTo>
                      <a:pt x="0" y="479959"/>
                    </a:lnTo>
                    <a:lnTo>
                      <a:pt x="14990" y="479959"/>
                    </a:lnTo>
                    <a:lnTo>
                      <a:pt x="14990" y="289845"/>
                    </a:lnTo>
                    <a:cubicBezTo>
                      <a:pt x="14990" y="280941"/>
                      <a:pt x="24191" y="271888"/>
                      <a:pt x="40071" y="265506"/>
                    </a:cubicBezTo>
                    <a:lnTo>
                      <a:pt x="40071" y="479959"/>
                    </a:lnTo>
                    <a:lnTo>
                      <a:pt x="55061" y="479959"/>
                    </a:lnTo>
                    <a:lnTo>
                      <a:pt x="55061" y="260757"/>
                    </a:lnTo>
                    <a:cubicBezTo>
                      <a:pt x="62482" y="259124"/>
                      <a:pt x="70941" y="258086"/>
                      <a:pt x="80142" y="257640"/>
                    </a:cubicBezTo>
                    <a:lnTo>
                      <a:pt x="80142" y="479959"/>
                    </a:lnTo>
                    <a:lnTo>
                      <a:pt x="95132" y="479959"/>
                    </a:lnTo>
                    <a:lnTo>
                      <a:pt x="95132" y="257492"/>
                    </a:lnTo>
                    <a:cubicBezTo>
                      <a:pt x="120659" y="257789"/>
                      <a:pt x="142030" y="259570"/>
                      <a:pt x="154794" y="260905"/>
                    </a:cubicBezTo>
                    <a:cubicBezTo>
                      <a:pt x="129860" y="276340"/>
                      <a:pt x="120214" y="296227"/>
                      <a:pt x="120214" y="329916"/>
                    </a:cubicBezTo>
                    <a:cubicBezTo>
                      <a:pt x="120214" y="376220"/>
                      <a:pt x="165479" y="407386"/>
                      <a:pt x="207777" y="407386"/>
                    </a:cubicBezTo>
                    <a:cubicBezTo>
                      <a:pt x="281092" y="407386"/>
                      <a:pt x="315375" y="301421"/>
                      <a:pt x="315375" y="229739"/>
                    </a:cubicBezTo>
                    <a:cubicBezTo>
                      <a:pt x="315375" y="158057"/>
                      <a:pt x="274710" y="61590"/>
                      <a:pt x="197685" y="61590"/>
                    </a:cubicBezTo>
                  </a:path>
                </a:pathLst>
              </a:custGeom>
              <a:solidFill>
                <a:srgbClr val="FFFFFF"/>
              </a:solidFill>
              <a:ln w="14828" cap="flat">
                <a:noFill/>
                <a:prstDash val="solid"/>
                <a:miter/>
              </a:ln>
            </p:spPr>
            <p:txBody>
              <a:bodyPr rtlCol="0" anchor="ctr"/>
              <a:lstStyle/>
              <a:p>
                <a:endParaRPr lang="en-DK"/>
              </a:p>
            </p:txBody>
          </p:sp>
          <p:sp>
            <p:nvSpPr>
              <p:cNvPr id="219" name="Freeform 218">
                <a:extLst>
                  <a:ext uri="{FF2B5EF4-FFF2-40B4-BE49-F238E27FC236}">
                    <a16:creationId xmlns:a16="http://schemas.microsoft.com/office/drawing/2014/main" id="{48F1088E-3763-8A18-6609-DD62C49A2349}"/>
                  </a:ext>
                </a:extLst>
              </p:cNvPr>
              <p:cNvSpPr/>
              <p:nvPr/>
            </p:nvSpPr>
            <p:spPr>
              <a:xfrm>
                <a:off x="6151826" y="2490628"/>
                <a:ext cx="235232" cy="480255"/>
              </a:xfrm>
              <a:custGeom>
                <a:avLst/>
                <a:gdLst>
                  <a:gd name="connsiteX0" fmla="*/ 155239 w 235232"/>
                  <a:gd name="connsiteY0" fmla="*/ 246658 h 480255"/>
                  <a:gd name="connsiteX1" fmla="*/ 155239 w 235232"/>
                  <a:gd name="connsiteY1" fmla="*/ 245767 h 480255"/>
                  <a:gd name="connsiteX2" fmla="*/ 139358 w 235232"/>
                  <a:gd name="connsiteY2" fmla="*/ 207181 h 480255"/>
                  <a:gd name="connsiteX3" fmla="*/ 146779 w 235232"/>
                  <a:gd name="connsiteY3" fmla="*/ 203174 h 480255"/>
                  <a:gd name="connsiteX4" fmla="*/ 161472 w 235232"/>
                  <a:gd name="connsiteY4" fmla="*/ 216234 h 480255"/>
                  <a:gd name="connsiteX5" fmla="*/ 201395 w 235232"/>
                  <a:gd name="connsiteY5" fmla="*/ 227661 h 480255"/>
                  <a:gd name="connsiteX6" fmla="*/ 220243 w 235232"/>
                  <a:gd name="connsiteY6" fmla="*/ 227661 h 480255"/>
                  <a:gd name="connsiteX7" fmla="*/ 220243 w 235232"/>
                  <a:gd name="connsiteY7" fmla="*/ 242799 h 480255"/>
                  <a:gd name="connsiteX8" fmla="*/ 155090 w 235232"/>
                  <a:gd name="connsiteY8" fmla="*/ 246806 h 480255"/>
                  <a:gd name="connsiteX9" fmla="*/ 180320 w 235232"/>
                  <a:gd name="connsiteY9" fmla="*/ 330065 h 480255"/>
                  <a:gd name="connsiteX10" fmla="*/ 107747 w 235232"/>
                  <a:gd name="connsiteY10" fmla="*/ 392545 h 480255"/>
                  <a:gd name="connsiteX11" fmla="*/ 15138 w 235232"/>
                  <a:gd name="connsiteY11" fmla="*/ 229888 h 480255"/>
                  <a:gd name="connsiteX12" fmla="*/ 116206 w 235232"/>
                  <a:gd name="connsiteY12" fmla="*/ 76580 h 480255"/>
                  <a:gd name="connsiteX13" fmla="*/ 170228 w 235232"/>
                  <a:gd name="connsiteY13" fmla="*/ 129859 h 480255"/>
                  <a:gd name="connsiteX14" fmla="*/ 123924 w 235232"/>
                  <a:gd name="connsiteY14" fmla="*/ 196495 h 480255"/>
                  <a:gd name="connsiteX15" fmla="*/ 109676 w 235232"/>
                  <a:gd name="connsiteY15" fmla="*/ 192488 h 480255"/>
                  <a:gd name="connsiteX16" fmla="*/ 101365 w 235232"/>
                  <a:gd name="connsiteY16" fmla="*/ 199018 h 480255"/>
                  <a:gd name="connsiteX17" fmla="*/ 107895 w 235232"/>
                  <a:gd name="connsiteY17" fmla="*/ 207329 h 480255"/>
                  <a:gd name="connsiteX18" fmla="*/ 140101 w 235232"/>
                  <a:gd name="connsiteY18" fmla="*/ 245322 h 480255"/>
                  <a:gd name="connsiteX19" fmla="*/ 107005 w 235232"/>
                  <a:gd name="connsiteY19" fmla="*/ 282425 h 480255"/>
                  <a:gd name="connsiteX20" fmla="*/ 100178 w 235232"/>
                  <a:gd name="connsiteY20" fmla="*/ 290587 h 480255"/>
                  <a:gd name="connsiteX21" fmla="*/ 107599 w 235232"/>
                  <a:gd name="connsiteY21" fmla="*/ 297414 h 480255"/>
                  <a:gd name="connsiteX22" fmla="*/ 108192 w 235232"/>
                  <a:gd name="connsiteY22" fmla="*/ 297414 h 480255"/>
                  <a:gd name="connsiteX23" fmla="*/ 148115 w 235232"/>
                  <a:gd name="connsiteY23" fmla="*/ 271146 h 480255"/>
                  <a:gd name="connsiteX24" fmla="*/ 180024 w 235232"/>
                  <a:gd name="connsiteY24" fmla="*/ 329916 h 480255"/>
                  <a:gd name="connsiteX25" fmla="*/ 220243 w 235232"/>
                  <a:gd name="connsiteY25" fmla="*/ 212524 h 480255"/>
                  <a:gd name="connsiteX26" fmla="*/ 201395 w 235232"/>
                  <a:gd name="connsiteY26" fmla="*/ 212524 h 480255"/>
                  <a:gd name="connsiteX27" fmla="*/ 169486 w 235232"/>
                  <a:gd name="connsiteY27" fmla="*/ 203471 h 480255"/>
                  <a:gd name="connsiteX28" fmla="*/ 158652 w 235232"/>
                  <a:gd name="connsiteY28" fmla="*/ 194269 h 480255"/>
                  <a:gd name="connsiteX29" fmla="*/ 185070 w 235232"/>
                  <a:gd name="connsiteY29" fmla="*/ 130007 h 480255"/>
                  <a:gd name="connsiteX30" fmla="*/ 116949 w 235232"/>
                  <a:gd name="connsiteY30" fmla="*/ 61887 h 480255"/>
                  <a:gd name="connsiteX31" fmla="*/ 0 w 235232"/>
                  <a:gd name="connsiteY31" fmla="*/ 230184 h 480255"/>
                  <a:gd name="connsiteX32" fmla="*/ 107599 w 235232"/>
                  <a:gd name="connsiteY32" fmla="*/ 407832 h 480255"/>
                  <a:gd name="connsiteX33" fmla="*/ 195161 w 235232"/>
                  <a:gd name="connsiteY33" fmla="*/ 330213 h 480255"/>
                  <a:gd name="connsiteX34" fmla="*/ 160730 w 235232"/>
                  <a:gd name="connsiteY34" fmla="*/ 261202 h 480255"/>
                  <a:gd name="connsiteX35" fmla="*/ 220243 w 235232"/>
                  <a:gd name="connsiteY35" fmla="*/ 257789 h 480255"/>
                  <a:gd name="connsiteX36" fmla="*/ 220243 w 235232"/>
                  <a:gd name="connsiteY36" fmla="*/ 480256 h 480255"/>
                  <a:gd name="connsiteX37" fmla="*/ 235233 w 235232"/>
                  <a:gd name="connsiteY37" fmla="*/ 480256 h 480255"/>
                  <a:gd name="connsiteX38" fmla="*/ 235233 w 235232"/>
                  <a:gd name="connsiteY38" fmla="*/ 0 h 480255"/>
                  <a:gd name="connsiteX39" fmla="*/ 220243 w 235232"/>
                  <a:gd name="connsiteY39" fmla="*/ 0 h 480255"/>
                  <a:gd name="connsiteX40" fmla="*/ 220243 w 235232"/>
                  <a:gd name="connsiteY40" fmla="*/ 212672 h 48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35232" h="480255">
                    <a:moveTo>
                      <a:pt x="155239" y="246658"/>
                    </a:moveTo>
                    <a:cubicBezTo>
                      <a:pt x="155239" y="246658"/>
                      <a:pt x="155239" y="246064"/>
                      <a:pt x="155239" y="245767"/>
                    </a:cubicBezTo>
                    <a:cubicBezTo>
                      <a:pt x="155387" y="230630"/>
                      <a:pt x="149302" y="216976"/>
                      <a:pt x="139358" y="207181"/>
                    </a:cubicBezTo>
                    <a:cubicBezTo>
                      <a:pt x="141882" y="205994"/>
                      <a:pt x="144405" y="204658"/>
                      <a:pt x="146779" y="203174"/>
                    </a:cubicBezTo>
                    <a:cubicBezTo>
                      <a:pt x="150638" y="207774"/>
                      <a:pt x="155239" y="212227"/>
                      <a:pt x="161472" y="216234"/>
                    </a:cubicBezTo>
                    <a:cubicBezTo>
                      <a:pt x="173493" y="223654"/>
                      <a:pt x="187296" y="227661"/>
                      <a:pt x="201395" y="227661"/>
                    </a:cubicBezTo>
                    <a:lnTo>
                      <a:pt x="220243" y="227661"/>
                    </a:lnTo>
                    <a:lnTo>
                      <a:pt x="220243" y="242799"/>
                    </a:lnTo>
                    <a:cubicBezTo>
                      <a:pt x="190561" y="243245"/>
                      <a:pt x="166963" y="245471"/>
                      <a:pt x="155090" y="246806"/>
                    </a:cubicBezTo>
                    <a:moveTo>
                      <a:pt x="180320" y="330065"/>
                    </a:moveTo>
                    <a:cubicBezTo>
                      <a:pt x="180320" y="367464"/>
                      <a:pt x="142772" y="392545"/>
                      <a:pt x="107747" y="392545"/>
                    </a:cubicBezTo>
                    <a:cubicBezTo>
                      <a:pt x="47343" y="392545"/>
                      <a:pt x="15138" y="298156"/>
                      <a:pt x="15138" y="229888"/>
                    </a:cubicBezTo>
                    <a:cubicBezTo>
                      <a:pt x="15138" y="167258"/>
                      <a:pt x="51499" y="76728"/>
                      <a:pt x="116206" y="76580"/>
                    </a:cubicBezTo>
                    <a:cubicBezTo>
                      <a:pt x="147967" y="80142"/>
                      <a:pt x="170228" y="101958"/>
                      <a:pt x="170228" y="129859"/>
                    </a:cubicBezTo>
                    <a:cubicBezTo>
                      <a:pt x="170228" y="162658"/>
                      <a:pt x="151232" y="189668"/>
                      <a:pt x="123924" y="196495"/>
                    </a:cubicBezTo>
                    <a:cubicBezTo>
                      <a:pt x="119471" y="194566"/>
                      <a:pt x="114722" y="193082"/>
                      <a:pt x="109676" y="192488"/>
                    </a:cubicBezTo>
                    <a:cubicBezTo>
                      <a:pt x="105669" y="192043"/>
                      <a:pt x="101810" y="195011"/>
                      <a:pt x="101365" y="199018"/>
                    </a:cubicBezTo>
                    <a:cubicBezTo>
                      <a:pt x="100920" y="203174"/>
                      <a:pt x="103888" y="206884"/>
                      <a:pt x="107895" y="207329"/>
                    </a:cubicBezTo>
                    <a:cubicBezTo>
                      <a:pt x="126447" y="209555"/>
                      <a:pt x="140397" y="225881"/>
                      <a:pt x="140101" y="245322"/>
                    </a:cubicBezTo>
                    <a:cubicBezTo>
                      <a:pt x="139804" y="264912"/>
                      <a:pt x="125556" y="280792"/>
                      <a:pt x="107005" y="282425"/>
                    </a:cubicBezTo>
                    <a:cubicBezTo>
                      <a:pt x="102849" y="282722"/>
                      <a:pt x="99733" y="286432"/>
                      <a:pt x="100178" y="290587"/>
                    </a:cubicBezTo>
                    <a:cubicBezTo>
                      <a:pt x="100475" y="294446"/>
                      <a:pt x="103740" y="297414"/>
                      <a:pt x="107599" y="297414"/>
                    </a:cubicBezTo>
                    <a:cubicBezTo>
                      <a:pt x="107747" y="297414"/>
                      <a:pt x="108044" y="297414"/>
                      <a:pt x="108192" y="297414"/>
                    </a:cubicBezTo>
                    <a:cubicBezTo>
                      <a:pt x="125556" y="295930"/>
                      <a:pt x="140101" y="285690"/>
                      <a:pt x="148115" y="271146"/>
                    </a:cubicBezTo>
                    <a:cubicBezTo>
                      <a:pt x="171713" y="284206"/>
                      <a:pt x="180024" y="299937"/>
                      <a:pt x="180024" y="329916"/>
                    </a:cubicBezTo>
                    <a:moveTo>
                      <a:pt x="220243" y="212524"/>
                    </a:moveTo>
                    <a:lnTo>
                      <a:pt x="201395" y="212524"/>
                    </a:lnTo>
                    <a:cubicBezTo>
                      <a:pt x="190115" y="212524"/>
                      <a:pt x="179133" y="209407"/>
                      <a:pt x="169486" y="203471"/>
                    </a:cubicBezTo>
                    <a:cubicBezTo>
                      <a:pt x="164885" y="200502"/>
                      <a:pt x="161472" y="197386"/>
                      <a:pt x="158652" y="194269"/>
                    </a:cubicBezTo>
                    <a:cubicBezTo>
                      <a:pt x="174978" y="178983"/>
                      <a:pt x="185070" y="155979"/>
                      <a:pt x="185070" y="130007"/>
                    </a:cubicBezTo>
                    <a:cubicBezTo>
                      <a:pt x="185070" y="94241"/>
                      <a:pt x="157317" y="66339"/>
                      <a:pt x="116949" y="61887"/>
                    </a:cubicBezTo>
                    <a:cubicBezTo>
                      <a:pt x="40665" y="61887"/>
                      <a:pt x="0" y="159541"/>
                      <a:pt x="0" y="230184"/>
                    </a:cubicBezTo>
                    <a:cubicBezTo>
                      <a:pt x="0" y="300828"/>
                      <a:pt x="34135" y="407832"/>
                      <a:pt x="107599" y="407832"/>
                    </a:cubicBezTo>
                    <a:cubicBezTo>
                      <a:pt x="149896" y="407832"/>
                      <a:pt x="195161" y="376665"/>
                      <a:pt x="195161" y="330213"/>
                    </a:cubicBezTo>
                    <a:cubicBezTo>
                      <a:pt x="195161" y="296524"/>
                      <a:pt x="185515" y="276637"/>
                      <a:pt x="160730" y="261202"/>
                    </a:cubicBezTo>
                    <a:cubicBezTo>
                      <a:pt x="173196" y="259866"/>
                      <a:pt x="194420" y="258086"/>
                      <a:pt x="220243" y="257789"/>
                    </a:cubicBezTo>
                    <a:lnTo>
                      <a:pt x="220243" y="480256"/>
                    </a:lnTo>
                    <a:lnTo>
                      <a:pt x="235233" y="480256"/>
                    </a:lnTo>
                    <a:lnTo>
                      <a:pt x="235233" y="0"/>
                    </a:lnTo>
                    <a:lnTo>
                      <a:pt x="220243" y="0"/>
                    </a:lnTo>
                    <a:lnTo>
                      <a:pt x="220243" y="212672"/>
                    </a:lnTo>
                    <a:close/>
                  </a:path>
                </a:pathLst>
              </a:custGeom>
              <a:solidFill>
                <a:srgbClr val="FFFFFF"/>
              </a:solidFill>
              <a:ln w="14828" cap="flat">
                <a:noFill/>
                <a:prstDash val="solid"/>
                <a:miter/>
              </a:ln>
            </p:spPr>
            <p:txBody>
              <a:bodyPr rtlCol="0" anchor="ctr"/>
              <a:lstStyle/>
              <a:p>
                <a:endParaRPr lang="en-DK"/>
              </a:p>
            </p:txBody>
          </p:sp>
          <p:sp>
            <p:nvSpPr>
              <p:cNvPr id="220" name="Freeform 219">
                <a:extLst>
                  <a:ext uri="{FF2B5EF4-FFF2-40B4-BE49-F238E27FC236}">
                    <a16:creationId xmlns:a16="http://schemas.microsoft.com/office/drawing/2014/main" id="{352C2198-F4B4-A7A7-C9F9-4099DCE70528}"/>
                  </a:ext>
                </a:extLst>
              </p:cNvPr>
              <p:cNvSpPr/>
              <p:nvPr/>
            </p:nvSpPr>
            <p:spPr>
              <a:xfrm>
                <a:off x="2768186" y="3407655"/>
                <a:ext cx="1007122" cy="1007112"/>
              </a:xfrm>
              <a:custGeom>
                <a:avLst/>
                <a:gdLst>
                  <a:gd name="connsiteX0" fmla="*/ 503561 w 1007122"/>
                  <a:gd name="connsiteY0" fmla="*/ 1007112 h 1007112"/>
                  <a:gd name="connsiteX1" fmla="*/ 1007122 w 1007122"/>
                  <a:gd name="connsiteY1" fmla="*/ 503556 h 1007112"/>
                  <a:gd name="connsiteX2" fmla="*/ 503561 w 1007122"/>
                  <a:gd name="connsiteY2" fmla="*/ 0 h 1007112"/>
                  <a:gd name="connsiteX3" fmla="*/ 0 w 1007122"/>
                  <a:gd name="connsiteY3" fmla="*/ 503556 h 1007112"/>
                  <a:gd name="connsiteX4" fmla="*/ 503561 w 1007122"/>
                  <a:gd name="connsiteY4" fmla="*/ 1007112 h 100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122" h="1007112">
                    <a:moveTo>
                      <a:pt x="503561" y="1007112"/>
                    </a:moveTo>
                    <a:cubicBezTo>
                      <a:pt x="781685" y="1007112"/>
                      <a:pt x="1007122" y="781677"/>
                      <a:pt x="1007122" y="503556"/>
                    </a:cubicBezTo>
                    <a:cubicBezTo>
                      <a:pt x="1007122" y="225435"/>
                      <a:pt x="781685" y="0"/>
                      <a:pt x="503561" y="0"/>
                    </a:cubicBezTo>
                    <a:cubicBezTo>
                      <a:pt x="225438" y="0"/>
                      <a:pt x="0" y="225435"/>
                      <a:pt x="0" y="503556"/>
                    </a:cubicBezTo>
                    <a:cubicBezTo>
                      <a:pt x="0" y="781677"/>
                      <a:pt x="225438" y="1007112"/>
                      <a:pt x="503561" y="1007112"/>
                    </a:cubicBezTo>
                  </a:path>
                </a:pathLst>
              </a:custGeom>
              <a:solidFill>
                <a:srgbClr val="001965"/>
              </a:solidFill>
              <a:ln w="14828" cap="flat">
                <a:noFill/>
                <a:prstDash val="solid"/>
                <a:miter/>
              </a:ln>
            </p:spPr>
            <p:txBody>
              <a:bodyPr rtlCol="0" anchor="ctr"/>
              <a:lstStyle/>
              <a:p>
                <a:endParaRPr lang="en-DK"/>
              </a:p>
            </p:txBody>
          </p:sp>
          <p:sp>
            <p:nvSpPr>
              <p:cNvPr id="221" name="Freeform 220">
                <a:extLst>
                  <a:ext uri="{FF2B5EF4-FFF2-40B4-BE49-F238E27FC236}">
                    <a16:creationId xmlns:a16="http://schemas.microsoft.com/office/drawing/2014/main" id="{420D51CE-3603-3328-A0A4-43BB7D2B2ED2}"/>
                  </a:ext>
                </a:extLst>
              </p:cNvPr>
              <p:cNvSpPr/>
              <p:nvPr/>
            </p:nvSpPr>
            <p:spPr>
              <a:xfrm>
                <a:off x="2753345" y="3392814"/>
                <a:ext cx="1036804" cy="1036794"/>
              </a:xfrm>
              <a:custGeom>
                <a:avLst/>
                <a:gdLst>
                  <a:gd name="connsiteX0" fmla="*/ 518402 w 1036804"/>
                  <a:gd name="connsiteY0" fmla="*/ 1021953 h 1036794"/>
                  <a:gd name="connsiteX1" fmla="*/ 518402 w 1036804"/>
                  <a:gd name="connsiteY1" fmla="*/ 1007112 h 1036794"/>
                  <a:gd name="connsiteX2" fmla="*/ 1007122 w 1036804"/>
                  <a:gd name="connsiteY2" fmla="*/ 518397 h 1036794"/>
                  <a:gd name="connsiteX3" fmla="*/ 518402 w 1036804"/>
                  <a:gd name="connsiteY3" fmla="*/ 29682 h 1036794"/>
                  <a:gd name="connsiteX4" fmla="*/ 29682 w 1036804"/>
                  <a:gd name="connsiteY4" fmla="*/ 518397 h 1036794"/>
                  <a:gd name="connsiteX5" fmla="*/ 518402 w 1036804"/>
                  <a:gd name="connsiteY5" fmla="*/ 1007112 h 1036794"/>
                  <a:gd name="connsiteX6" fmla="*/ 518402 w 1036804"/>
                  <a:gd name="connsiteY6" fmla="*/ 1036794 h 1036794"/>
                  <a:gd name="connsiteX7" fmla="*/ 0 w 1036804"/>
                  <a:gd name="connsiteY7" fmla="*/ 518397 h 1036794"/>
                  <a:gd name="connsiteX8" fmla="*/ 518402 w 1036804"/>
                  <a:gd name="connsiteY8" fmla="*/ 0 h 1036794"/>
                  <a:gd name="connsiteX9" fmla="*/ 1036805 w 1036804"/>
                  <a:gd name="connsiteY9" fmla="*/ 518397 h 1036794"/>
                  <a:gd name="connsiteX10" fmla="*/ 518402 w 1036804"/>
                  <a:gd name="connsiteY10" fmla="*/ 1036794 h 1036794"/>
                  <a:gd name="connsiteX11" fmla="*/ 518402 w 1036804"/>
                  <a:gd name="connsiteY11" fmla="*/ 1021953 h 1036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6804" h="1036794">
                    <a:moveTo>
                      <a:pt x="518402" y="1021953"/>
                    </a:moveTo>
                    <a:lnTo>
                      <a:pt x="518402" y="1007112"/>
                    </a:lnTo>
                    <a:cubicBezTo>
                      <a:pt x="788363" y="1006667"/>
                      <a:pt x="1006677" y="788355"/>
                      <a:pt x="1007122" y="518397"/>
                    </a:cubicBezTo>
                    <a:cubicBezTo>
                      <a:pt x="1006677" y="248439"/>
                      <a:pt x="788363" y="30127"/>
                      <a:pt x="518402" y="29682"/>
                    </a:cubicBezTo>
                    <a:cubicBezTo>
                      <a:pt x="248441" y="30127"/>
                      <a:pt x="30128" y="248439"/>
                      <a:pt x="29682" y="518397"/>
                    </a:cubicBezTo>
                    <a:cubicBezTo>
                      <a:pt x="30128" y="788355"/>
                      <a:pt x="248441" y="1006667"/>
                      <a:pt x="518402" y="1007112"/>
                    </a:cubicBezTo>
                    <a:lnTo>
                      <a:pt x="518402" y="1036794"/>
                    </a:lnTo>
                    <a:cubicBezTo>
                      <a:pt x="232116" y="1036794"/>
                      <a:pt x="0" y="804681"/>
                      <a:pt x="0" y="518397"/>
                    </a:cubicBezTo>
                    <a:cubicBezTo>
                      <a:pt x="0" y="232114"/>
                      <a:pt x="232116" y="0"/>
                      <a:pt x="518402" y="0"/>
                    </a:cubicBezTo>
                    <a:cubicBezTo>
                      <a:pt x="804689" y="0"/>
                      <a:pt x="1036805" y="232114"/>
                      <a:pt x="1036805" y="518397"/>
                    </a:cubicBezTo>
                    <a:cubicBezTo>
                      <a:pt x="1036805" y="804681"/>
                      <a:pt x="804689" y="1036794"/>
                      <a:pt x="518402" y="1036794"/>
                    </a:cubicBezTo>
                    <a:lnTo>
                      <a:pt x="518402" y="1021953"/>
                    </a:lnTo>
                    <a:close/>
                  </a:path>
                </a:pathLst>
              </a:custGeom>
              <a:gradFill>
                <a:gsLst>
                  <a:gs pos="0">
                    <a:srgbClr val="F3E700"/>
                  </a:gs>
                  <a:gs pos="33000">
                    <a:srgbClr val="8CC3CA"/>
                  </a:gs>
                  <a:gs pos="67000">
                    <a:srgbClr val="2878FF"/>
                  </a:gs>
                  <a:gs pos="100000">
                    <a:srgbClr val="E229E2"/>
                  </a:gs>
                </a:gsLst>
                <a:lin ang="0" scaled="1"/>
              </a:gradFill>
              <a:ln w="14828" cap="flat">
                <a:noFill/>
                <a:prstDash val="solid"/>
                <a:miter/>
              </a:ln>
            </p:spPr>
            <p:txBody>
              <a:bodyPr rtlCol="0" anchor="ctr"/>
              <a:lstStyle/>
              <a:p>
                <a:endParaRPr lang="en-DK"/>
              </a:p>
            </p:txBody>
          </p:sp>
          <p:sp>
            <p:nvSpPr>
              <p:cNvPr id="222" name="Freeform 221">
                <a:extLst>
                  <a:ext uri="{FF2B5EF4-FFF2-40B4-BE49-F238E27FC236}">
                    <a16:creationId xmlns:a16="http://schemas.microsoft.com/office/drawing/2014/main" id="{BF587EB0-9889-9610-87EF-1BCE3D8070B5}"/>
                  </a:ext>
                </a:extLst>
              </p:cNvPr>
              <p:cNvSpPr/>
              <p:nvPr/>
            </p:nvSpPr>
            <p:spPr>
              <a:xfrm>
                <a:off x="3011136" y="3745734"/>
                <a:ext cx="207776" cy="385866"/>
              </a:xfrm>
              <a:custGeom>
                <a:avLst/>
                <a:gdLst>
                  <a:gd name="connsiteX0" fmla="*/ 14841 w 207776"/>
                  <a:gd name="connsiteY0" fmla="*/ 371026 h 385866"/>
                  <a:gd name="connsiteX1" fmla="*/ 44524 w 207776"/>
                  <a:gd name="connsiteY1" fmla="*/ 385867 h 385866"/>
                  <a:gd name="connsiteX2" fmla="*/ 89047 w 207776"/>
                  <a:gd name="connsiteY2" fmla="*/ 356185 h 385866"/>
                  <a:gd name="connsiteX3" fmla="*/ 119472 w 207776"/>
                  <a:gd name="connsiteY3" fmla="*/ 356185 h 385866"/>
                  <a:gd name="connsiteX4" fmla="*/ 163253 w 207776"/>
                  <a:gd name="connsiteY4" fmla="*/ 356185 h 385866"/>
                  <a:gd name="connsiteX5" fmla="*/ 178094 w 207776"/>
                  <a:gd name="connsiteY5" fmla="*/ 356185 h 385866"/>
                  <a:gd name="connsiteX6" fmla="*/ 192935 w 207776"/>
                  <a:gd name="connsiteY6" fmla="*/ 341344 h 385866"/>
                  <a:gd name="connsiteX7" fmla="*/ 207777 w 207776"/>
                  <a:gd name="connsiteY7" fmla="*/ 267139 h 385866"/>
                  <a:gd name="connsiteX8" fmla="*/ 207777 w 207776"/>
                  <a:gd name="connsiteY8" fmla="*/ 133569 h 385866"/>
                  <a:gd name="connsiteX9" fmla="*/ 192935 w 207776"/>
                  <a:gd name="connsiteY9" fmla="*/ 59364 h 385866"/>
                  <a:gd name="connsiteX10" fmla="*/ 178836 w 207776"/>
                  <a:gd name="connsiteY10" fmla="*/ 12912 h 385866"/>
                  <a:gd name="connsiteX11" fmla="*/ 148412 w 207776"/>
                  <a:gd name="connsiteY11" fmla="*/ 0 h 385866"/>
                  <a:gd name="connsiteX12" fmla="*/ 89047 w 207776"/>
                  <a:gd name="connsiteY12" fmla="*/ 44523 h 385866"/>
                  <a:gd name="connsiteX13" fmla="*/ 37697 w 207776"/>
                  <a:gd name="connsiteY13" fmla="*/ 129859 h 385866"/>
                  <a:gd name="connsiteX14" fmla="*/ 8460 w 207776"/>
                  <a:gd name="connsiteY14" fmla="*/ 214898 h 385866"/>
                  <a:gd name="connsiteX15" fmla="*/ 0 w 207776"/>
                  <a:gd name="connsiteY15" fmla="*/ 296821 h 385866"/>
                  <a:gd name="connsiteX16" fmla="*/ 8460 w 207776"/>
                  <a:gd name="connsiteY16" fmla="*/ 351139 h 385866"/>
                  <a:gd name="connsiteX17" fmla="*/ 14693 w 207776"/>
                  <a:gd name="connsiteY17" fmla="*/ 371768 h 385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6" h="385866">
                    <a:moveTo>
                      <a:pt x="14841" y="371026"/>
                    </a:moveTo>
                    <a:lnTo>
                      <a:pt x="44524" y="385867"/>
                    </a:lnTo>
                    <a:lnTo>
                      <a:pt x="89047" y="356185"/>
                    </a:lnTo>
                    <a:lnTo>
                      <a:pt x="119472" y="356185"/>
                    </a:lnTo>
                    <a:lnTo>
                      <a:pt x="163253" y="356185"/>
                    </a:lnTo>
                    <a:lnTo>
                      <a:pt x="178094" y="356185"/>
                    </a:lnTo>
                    <a:lnTo>
                      <a:pt x="192935" y="341344"/>
                    </a:lnTo>
                    <a:lnTo>
                      <a:pt x="207777" y="267139"/>
                    </a:lnTo>
                    <a:lnTo>
                      <a:pt x="207777" y="133569"/>
                    </a:lnTo>
                    <a:lnTo>
                      <a:pt x="192935" y="59364"/>
                    </a:lnTo>
                    <a:lnTo>
                      <a:pt x="178836" y="12912"/>
                    </a:lnTo>
                    <a:lnTo>
                      <a:pt x="148412" y="0"/>
                    </a:lnTo>
                    <a:lnTo>
                      <a:pt x="89047" y="44523"/>
                    </a:lnTo>
                    <a:lnTo>
                      <a:pt x="37697" y="129859"/>
                    </a:lnTo>
                    <a:lnTo>
                      <a:pt x="8460" y="214898"/>
                    </a:lnTo>
                    <a:lnTo>
                      <a:pt x="0" y="296821"/>
                    </a:lnTo>
                    <a:lnTo>
                      <a:pt x="8460" y="351139"/>
                    </a:lnTo>
                    <a:lnTo>
                      <a:pt x="14693" y="371768"/>
                    </a:lnTo>
                  </a:path>
                </a:pathLst>
              </a:custGeom>
              <a:solidFill>
                <a:srgbClr val="2978FF">
                  <a:alpha val="50000"/>
                </a:srgbClr>
              </a:solidFill>
              <a:ln w="14828" cap="flat">
                <a:noFill/>
                <a:prstDash val="solid"/>
                <a:miter/>
              </a:ln>
            </p:spPr>
            <p:txBody>
              <a:bodyPr rtlCol="0" anchor="ctr"/>
              <a:lstStyle/>
              <a:p>
                <a:endParaRPr lang="en-DK"/>
              </a:p>
            </p:txBody>
          </p:sp>
          <p:sp>
            <p:nvSpPr>
              <p:cNvPr id="223" name="Freeform 222">
                <a:extLst>
                  <a:ext uri="{FF2B5EF4-FFF2-40B4-BE49-F238E27FC236}">
                    <a16:creationId xmlns:a16="http://schemas.microsoft.com/office/drawing/2014/main" id="{9362482A-AE58-E675-F9A7-F7BD30F5801E}"/>
                  </a:ext>
                </a:extLst>
              </p:cNvPr>
              <p:cNvSpPr/>
              <p:nvPr/>
            </p:nvSpPr>
            <p:spPr>
              <a:xfrm>
                <a:off x="3322801" y="3745734"/>
                <a:ext cx="207776" cy="385866"/>
              </a:xfrm>
              <a:custGeom>
                <a:avLst/>
                <a:gdLst>
                  <a:gd name="connsiteX0" fmla="*/ 4304 w 207776"/>
                  <a:gd name="connsiteY0" fmla="*/ 129859 h 385866"/>
                  <a:gd name="connsiteX1" fmla="*/ 0 w 207776"/>
                  <a:gd name="connsiteY1" fmla="*/ 207774 h 385866"/>
                  <a:gd name="connsiteX2" fmla="*/ 2226 w 207776"/>
                  <a:gd name="connsiteY2" fmla="*/ 250814 h 385866"/>
                  <a:gd name="connsiteX3" fmla="*/ 4304 w 207776"/>
                  <a:gd name="connsiteY3" fmla="*/ 287471 h 385866"/>
                  <a:gd name="connsiteX4" fmla="*/ 14841 w 207776"/>
                  <a:gd name="connsiteY4" fmla="*/ 341344 h 385866"/>
                  <a:gd name="connsiteX5" fmla="*/ 29682 w 207776"/>
                  <a:gd name="connsiteY5" fmla="*/ 356185 h 385866"/>
                  <a:gd name="connsiteX6" fmla="*/ 89047 w 207776"/>
                  <a:gd name="connsiteY6" fmla="*/ 356185 h 385866"/>
                  <a:gd name="connsiteX7" fmla="*/ 118729 w 207776"/>
                  <a:gd name="connsiteY7" fmla="*/ 356185 h 385866"/>
                  <a:gd name="connsiteX8" fmla="*/ 133571 w 207776"/>
                  <a:gd name="connsiteY8" fmla="*/ 371026 h 385866"/>
                  <a:gd name="connsiteX9" fmla="*/ 148412 w 207776"/>
                  <a:gd name="connsiteY9" fmla="*/ 371026 h 385866"/>
                  <a:gd name="connsiteX10" fmla="*/ 163253 w 207776"/>
                  <a:gd name="connsiteY10" fmla="*/ 385867 h 385866"/>
                  <a:gd name="connsiteX11" fmla="*/ 192935 w 207776"/>
                  <a:gd name="connsiteY11" fmla="*/ 371026 h 385866"/>
                  <a:gd name="connsiteX12" fmla="*/ 207777 w 207776"/>
                  <a:gd name="connsiteY12" fmla="*/ 341344 h 385866"/>
                  <a:gd name="connsiteX13" fmla="*/ 207777 w 207776"/>
                  <a:gd name="connsiteY13" fmla="*/ 267139 h 385866"/>
                  <a:gd name="connsiteX14" fmla="*/ 201098 w 207776"/>
                  <a:gd name="connsiteY14" fmla="*/ 215640 h 385866"/>
                  <a:gd name="connsiteX15" fmla="*/ 178094 w 207776"/>
                  <a:gd name="connsiteY15" fmla="*/ 148410 h 385866"/>
                  <a:gd name="connsiteX16" fmla="*/ 148412 w 207776"/>
                  <a:gd name="connsiteY16" fmla="*/ 74205 h 385866"/>
                  <a:gd name="connsiteX17" fmla="*/ 118729 w 207776"/>
                  <a:gd name="connsiteY17" fmla="*/ 44523 h 385866"/>
                  <a:gd name="connsiteX18" fmla="*/ 89047 w 207776"/>
                  <a:gd name="connsiteY18" fmla="*/ 14841 h 385866"/>
                  <a:gd name="connsiteX19" fmla="*/ 59365 w 207776"/>
                  <a:gd name="connsiteY19" fmla="*/ 0 h 385866"/>
                  <a:gd name="connsiteX20" fmla="*/ 33393 w 207776"/>
                  <a:gd name="connsiteY20" fmla="*/ 12912 h 385866"/>
                  <a:gd name="connsiteX21" fmla="*/ 14841 w 207776"/>
                  <a:gd name="connsiteY21" fmla="*/ 59364 h 385866"/>
                  <a:gd name="connsiteX22" fmla="*/ 4304 w 207776"/>
                  <a:gd name="connsiteY22" fmla="*/ 129859 h 385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7776" h="385866">
                    <a:moveTo>
                      <a:pt x="4304" y="129859"/>
                    </a:moveTo>
                    <a:lnTo>
                      <a:pt x="0" y="207774"/>
                    </a:lnTo>
                    <a:lnTo>
                      <a:pt x="2226" y="250814"/>
                    </a:lnTo>
                    <a:lnTo>
                      <a:pt x="4304" y="287471"/>
                    </a:lnTo>
                    <a:lnTo>
                      <a:pt x="14841" y="341344"/>
                    </a:lnTo>
                    <a:lnTo>
                      <a:pt x="29682" y="356185"/>
                    </a:lnTo>
                    <a:lnTo>
                      <a:pt x="89047" y="356185"/>
                    </a:lnTo>
                    <a:lnTo>
                      <a:pt x="118729" y="356185"/>
                    </a:lnTo>
                    <a:lnTo>
                      <a:pt x="133571" y="371026"/>
                    </a:lnTo>
                    <a:lnTo>
                      <a:pt x="148412" y="371026"/>
                    </a:lnTo>
                    <a:lnTo>
                      <a:pt x="163253" y="385867"/>
                    </a:lnTo>
                    <a:lnTo>
                      <a:pt x="192935" y="371026"/>
                    </a:lnTo>
                    <a:lnTo>
                      <a:pt x="207777" y="341344"/>
                    </a:lnTo>
                    <a:lnTo>
                      <a:pt x="207777" y="267139"/>
                    </a:lnTo>
                    <a:lnTo>
                      <a:pt x="201098" y="215640"/>
                    </a:lnTo>
                    <a:lnTo>
                      <a:pt x="178094" y="148410"/>
                    </a:lnTo>
                    <a:lnTo>
                      <a:pt x="148412" y="74205"/>
                    </a:lnTo>
                    <a:lnTo>
                      <a:pt x="118729" y="44523"/>
                    </a:lnTo>
                    <a:lnTo>
                      <a:pt x="89047" y="14841"/>
                    </a:lnTo>
                    <a:lnTo>
                      <a:pt x="59365" y="0"/>
                    </a:lnTo>
                    <a:lnTo>
                      <a:pt x="33393" y="12912"/>
                    </a:lnTo>
                    <a:lnTo>
                      <a:pt x="14841" y="59364"/>
                    </a:lnTo>
                    <a:lnTo>
                      <a:pt x="4304" y="129859"/>
                    </a:lnTo>
                    <a:close/>
                  </a:path>
                </a:pathLst>
              </a:custGeom>
              <a:solidFill>
                <a:srgbClr val="2978FF">
                  <a:alpha val="50000"/>
                </a:srgbClr>
              </a:solidFill>
              <a:ln w="14828" cap="flat">
                <a:noFill/>
                <a:prstDash val="solid"/>
                <a:miter/>
              </a:ln>
            </p:spPr>
            <p:txBody>
              <a:bodyPr rtlCol="0" anchor="ctr"/>
              <a:lstStyle/>
              <a:p>
                <a:endParaRPr lang="en-DK"/>
              </a:p>
            </p:txBody>
          </p:sp>
          <p:sp>
            <p:nvSpPr>
              <p:cNvPr id="224" name="Freeform 223">
                <a:extLst>
                  <a:ext uri="{FF2B5EF4-FFF2-40B4-BE49-F238E27FC236}">
                    <a16:creationId xmlns:a16="http://schemas.microsoft.com/office/drawing/2014/main" id="{82DE7EF9-BC0E-124F-7330-1515D28D5D3C}"/>
                  </a:ext>
                </a:extLst>
              </p:cNvPr>
              <p:cNvSpPr/>
              <p:nvPr/>
            </p:nvSpPr>
            <p:spPr>
              <a:xfrm>
                <a:off x="3004012" y="3626115"/>
                <a:ext cx="535766" cy="506969"/>
              </a:xfrm>
              <a:custGeom>
                <a:avLst/>
                <a:gdLst>
                  <a:gd name="connsiteX0" fmla="*/ 486197 w 535766"/>
                  <a:gd name="connsiteY0" fmla="*/ 491238 h 506969"/>
                  <a:gd name="connsiteX1" fmla="*/ 460819 w 535766"/>
                  <a:gd name="connsiteY1" fmla="*/ 479514 h 506969"/>
                  <a:gd name="connsiteX2" fmla="*/ 423716 w 535766"/>
                  <a:gd name="connsiteY2" fmla="*/ 463485 h 506969"/>
                  <a:gd name="connsiteX3" fmla="*/ 396556 w 535766"/>
                  <a:gd name="connsiteY3" fmla="*/ 466602 h 506969"/>
                  <a:gd name="connsiteX4" fmla="*/ 361679 w 535766"/>
                  <a:gd name="connsiteY4" fmla="*/ 470164 h 506969"/>
                  <a:gd name="connsiteX5" fmla="*/ 327545 w 535766"/>
                  <a:gd name="connsiteY5" fmla="*/ 322347 h 506969"/>
                  <a:gd name="connsiteX6" fmla="*/ 327545 w 535766"/>
                  <a:gd name="connsiteY6" fmla="*/ 307951 h 506969"/>
                  <a:gd name="connsiteX7" fmla="*/ 371623 w 535766"/>
                  <a:gd name="connsiteY7" fmla="*/ 344609 h 506969"/>
                  <a:gd name="connsiteX8" fmla="*/ 354704 w 535766"/>
                  <a:gd name="connsiteY8" fmla="*/ 369987 h 506969"/>
                  <a:gd name="connsiteX9" fmla="*/ 353368 w 535766"/>
                  <a:gd name="connsiteY9" fmla="*/ 374291 h 506969"/>
                  <a:gd name="connsiteX10" fmla="*/ 353368 w 535766"/>
                  <a:gd name="connsiteY10" fmla="*/ 405457 h 506969"/>
                  <a:gd name="connsiteX11" fmla="*/ 361234 w 535766"/>
                  <a:gd name="connsiteY11" fmla="*/ 413323 h 506969"/>
                  <a:gd name="connsiteX12" fmla="*/ 368952 w 535766"/>
                  <a:gd name="connsiteY12" fmla="*/ 405457 h 506969"/>
                  <a:gd name="connsiteX13" fmla="*/ 368952 w 535766"/>
                  <a:gd name="connsiteY13" fmla="*/ 376665 h 506969"/>
                  <a:gd name="connsiteX14" fmla="*/ 380231 w 535766"/>
                  <a:gd name="connsiteY14" fmla="*/ 359747 h 506969"/>
                  <a:gd name="connsiteX15" fmla="*/ 395518 w 535766"/>
                  <a:gd name="connsiteY15" fmla="*/ 398036 h 506969"/>
                  <a:gd name="connsiteX16" fmla="*/ 402790 w 535766"/>
                  <a:gd name="connsiteY16" fmla="*/ 402934 h 506969"/>
                  <a:gd name="connsiteX17" fmla="*/ 405758 w 535766"/>
                  <a:gd name="connsiteY17" fmla="*/ 402340 h 506969"/>
                  <a:gd name="connsiteX18" fmla="*/ 410062 w 535766"/>
                  <a:gd name="connsiteY18" fmla="*/ 392248 h 506969"/>
                  <a:gd name="connsiteX19" fmla="*/ 389284 w 535766"/>
                  <a:gd name="connsiteY19" fmla="*/ 340305 h 506969"/>
                  <a:gd name="connsiteX20" fmla="*/ 388987 w 535766"/>
                  <a:gd name="connsiteY20" fmla="*/ 339860 h 506969"/>
                  <a:gd name="connsiteX21" fmla="*/ 388097 w 535766"/>
                  <a:gd name="connsiteY21" fmla="*/ 338524 h 506969"/>
                  <a:gd name="connsiteX22" fmla="*/ 387206 w 535766"/>
                  <a:gd name="connsiteY22" fmla="*/ 337485 h 506969"/>
                  <a:gd name="connsiteX23" fmla="*/ 386910 w 535766"/>
                  <a:gd name="connsiteY23" fmla="*/ 337188 h 506969"/>
                  <a:gd name="connsiteX24" fmla="*/ 327990 w 535766"/>
                  <a:gd name="connsiteY24" fmla="*/ 288064 h 506969"/>
                  <a:gd name="connsiteX25" fmla="*/ 329919 w 535766"/>
                  <a:gd name="connsiteY25" fmla="*/ 253485 h 506969"/>
                  <a:gd name="connsiteX26" fmla="*/ 366874 w 535766"/>
                  <a:gd name="connsiteY26" fmla="*/ 276637 h 506969"/>
                  <a:gd name="connsiteX27" fmla="*/ 406797 w 535766"/>
                  <a:gd name="connsiteY27" fmla="*/ 306467 h 506969"/>
                  <a:gd name="connsiteX28" fmla="*/ 426832 w 535766"/>
                  <a:gd name="connsiteY28" fmla="*/ 356482 h 506969"/>
                  <a:gd name="connsiteX29" fmla="*/ 430543 w 535766"/>
                  <a:gd name="connsiteY29" fmla="*/ 360489 h 506969"/>
                  <a:gd name="connsiteX30" fmla="*/ 472098 w 535766"/>
                  <a:gd name="connsiteY30" fmla="*/ 381266 h 506969"/>
                  <a:gd name="connsiteX31" fmla="*/ 475660 w 535766"/>
                  <a:gd name="connsiteY31" fmla="*/ 382157 h 506969"/>
                  <a:gd name="connsiteX32" fmla="*/ 482635 w 535766"/>
                  <a:gd name="connsiteY32" fmla="*/ 377853 h 506969"/>
                  <a:gd name="connsiteX33" fmla="*/ 479073 w 535766"/>
                  <a:gd name="connsiteY33" fmla="*/ 367316 h 506969"/>
                  <a:gd name="connsiteX34" fmla="*/ 440189 w 535766"/>
                  <a:gd name="connsiteY34" fmla="*/ 347874 h 506969"/>
                  <a:gd name="connsiteX35" fmla="*/ 426090 w 535766"/>
                  <a:gd name="connsiteY35" fmla="*/ 312849 h 506969"/>
                  <a:gd name="connsiteX36" fmla="*/ 452953 w 535766"/>
                  <a:gd name="connsiteY36" fmla="*/ 319527 h 506969"/>
                  <a:gd name="connsiteX37" fmla="*/ 454882 w 535766"/>
                  <a:gd name="connsiteY37" fmla="*/ 319676 h 506969"/>
                  <a:gd name="connsiteX38" fmla="*/ 462451 w 535766"/>
                  <a:gd name="connsiteY38" fmla="*/ 313739 h 506969"/>
                  <a:gd name="connsiteX39" fmla="*/ 456811 w 535766"/>
                  <a:gd name="connsiteY39" fmla="*/ 304241 h 506969"/>
                  <a:gd name="connsiteX40" fmla="*/ 416740 w 535766"/>
                  <a:gd name="connsiteY40" fmla="*/ 294298 h 506969"/>
                  <a:gd name="connsiteX41" fmla="*/ 381567 w 535766"/>
                  <a:gd name="connsiteY41" fmla="*/ 268029 h 506969"/>
                  <a:gd name="connsiteX42" fmla="*/ 397298 w 535766"/>
                  <a:gd name="connsiteY42" fmla="*/ 236566 h 506969"/>
                  <a:gd name="connsiteX43" fmla="*/ 423716 w 535766"/>
                  <a:gd name="connsiteY43" fmla="*/ 236566 h 506969"/>
                  <a:gd name="connsiteX44" fmla="*/ 431582 w 535766"/>
                  <a:gd name="connsiteY44" fmla="*/ 228700 h 506969"/>
                  <a:gd name="connsiteX45" fmla="*/ 423716 w 535766"/>
                  <a:gd name="connsiteY45" fmla="*/ 220983 h 506969"/>
                  <a:gd name="connsiteX46" fmla="*/ 400267 w 535766"/>
                  <a:gd name="connsiteY46" fmla="*/ 220983 h 506969"/>
                  <a:gd name="connsiteX47" fmla="*/ 400267 w 535766"/>
                  <a:gd name="connsiteY47" fmla="*/ 197534 h 506969"/>
                  <a:gd name="connsiteX48" fmla="*/ 392401 w 535766"/>
                  <a:gd name="connsiteY48" fmla="*/ 189668 h 506969"/>
                  <a:gd name="connsiteX49" fmla="*/ 384535 w 535766"/>
                  <a:gd name="connsiteY49" fmla="*/ 197534 h 506969"/>
                  <a:gd name="connsiteX50" fmla="*/ 384535 w 535766"/>
                  <a:gd name="connsiteY50" fmla="*/ 226919 h 506969"/>
                  <a:gd name="connsiteX51" fmla="*/ 368358 w 535766"/>
                  <a:gd name="connsiteY51" fmla="*/ 259273 h 506969"/>
                  <a:gd name="connsiteX52" fmla="*/ 333630 w 535766"/>
                  <a:gd name="connsiteY52" fmla="*/ 237605 h 506969"/>
                  <a:gd name="connsiteX53" fmla="*/ 331552 w 535766"/>
                  <a:gd name="connsiteY53" fmla="*/ 235972 h 506969"/>
                  <a:gd name="connsiteX54" fmla="*/ 371475 w 535766"/>
                  <a:gd name="connsiteY54" fmla="*/ 132679 h 506969"/>
                  <a:gd name="connsiteX55" fmla="*/ 519738 w 535766"/>
                  <a:gd name="connsiteY55" fmla="*/ 395217 h 506969"/>
                  <a:gd name="connsiteX56" fmla="*/ 485900 w 535766"/>
                  <a:gd name="connsiteY56" fmla="*/ 491387 h 506969"/>
                  <a:gd name="connsiteX57" fmla="*/ 173790 w 535766"/>
                  <a:gd name="connsiteY57" fmla="*/ 470164 h 506969"/>
                  <a:gd name="connsiteX58" fmla="*/ 138913 w 535766"/>
                  <a:gd name="connsiteY58" fmla="*/ 466602 h 506969"/>
                  <a:gd name="connsiteX59" fmla="*/ 111754 w 535766"/>
                  <a:gd name="connsiteY59" fmla="*/ 463485 h 506969"/>
                  <a:gd name="connsiteX60" fmla="*/ 74651 w 535766"/>
                  <a:gd name="connsiteY60" fmla="*/ 479514 h 506969"/>
                  <a:gd name="connsiteX61" fmla="*/ 49273 w 535766"/>
                  <a:gd name="connsiteY61" fmla="*/ 491238 h 506969"/>
                  <a:gd name="connsiteX62" fmla="*/ 15435 w 535766"/>
                  <a:gd name="connsiteY62" fmla="*/ 395068 h 506969"/>
                  <a:gd name="connsiteX63" fmla="*/ 163698 w 535766"/>
                  <a:gd name="connsiteY63" fmla="*/ 132530 h 506969"/>
                  <a:gd name="connsiteX64" fmla="*/ 203621 w 535766"/>
                  <a:gd name="connsiteY64" fmla="*/ 235824 h 506969"/>
                  <a:gd name="connsiteX65" fmla="*/ 201543 w 535766"/>
                  <a:gd name="connsiteY65" fmla="*/ 237456 h 506969"/>
                  <a:gd name="connsiteX66" fmla="*/ 166815 w 535766"/>
                  <a:gd name="connsiteY66" fmla="*/ 259124 h 506969"/>
                  <a:gd name="connsiteX67" fmla="*/ 150638 w 535766"/>
                  <a:gd name="connsiteY67" fmla="*/ 226771 h 506969"/>
                  <a:gd name="connsiteX68" fmla="*/ 150638 w 535766"/>
                  <a:gd name="connsiteY68" fmla="*/ 197386 h 506969"/>
                  <a:gd name="connsiteX69" fmla="*/ 142772 w 535766"/>
                  <a:gd name="connsiteY69" fmla="*/ 189520 h 506969"/>
                  <a:gd name="connsiteX70" fmla="*/ 135055 w 535766"/>
                  <a:gd name="connsiteY70" fmla="*/ 197386 h 506969"/>
                  <a:gd name="connsiteX71" fmla="*/ 135055 w 535766"/>
                  <a:gd name="connsiteY71" fmla="*/ 220834 h 506969"/>
                  <a:gd name="connsiteX72" fmla="*/ 111606 w 535766"/>
                  <a:gd name="connsiteY72" fmla="*/ 220834 h 506969"/>
                  <a:gd name="connsiteX73" fmla="*/ 103740 w 535766"/>
                  <a:gd name="connsiteY73" fmla="*/ 228552 h 506969"/>
                  <a:gd name="connsiteX74" fmla="*/ 111606 w 535766"/>
                  <a:gd name="connsiteY74" fmla="*/ 236418 h 506969"/>
                  <a:gd name="connsiteX75" fmla="*/ 138023 w 535766"/>
                  <a:gd name="connsiteY75" fmla="*/ 236418 h 506969"/>
                  <a:gd name="connsiteX76" fmla="*/ 153755 w 535766"/>
                  <a:gd name="connsiteY76" fmla="*/ 267881 h 506969"/>
                  <a:gd name="connsiteX77" fmla="*/ 118581 w 535766"/>
                  <a:gd name="connsiteY77" fmla="*/ 294298 h 506969"/>
                  <a:gd name="connsiteX78" fmla="*/ 78510 w 535766"/>
                  <a:gd name="connsiteY78" fmla="*/ 304241 h 506969"/>
                  <a:gd name="connsiteX79" fmla="*/ 72870 w 535766"/>
                  <a:gd name="connsiteY79" fmla="*/ 313739 h 506969"/>
                  <a:gd name="connsiteX80" fmla="*/ 80439 w 535766"/>
                  <a:gd name="connsiteY80" fmla="*/ 319676 h 506969"/>
                  <a:gd name="connsiteX81" fmla="*/ 82369 w 535766"/>
                  <a:gd name="connsiteY81" fmla="*/ 319527 h 506969"/>
                  <a:gd name="connsiteX82" fmla="*/ 109083 w 535766"/>
                  <a:gd name="connsiteY82" fmla="*/ 312849 h 506969"/>
                  <a:gd name="connsiteX83" fmla="*/ 94984 w 535766"/>
                  <a:gd name="connsiteY83" fmla="*/ 347874 h 506969"/>
                  <a:gd name="connsiteX84" fmla="*/ 56100 w 535766"/>
                  <a:gd name="connsiteY84" fmla="*/ 367316 h 506969"/>
                  <a:gd name="connsiteX85" fmla="*/ 52538 w 535766"/>
                  <a:gd name="connsiteY85" fmla="*/ 377853 h 506969"/>
                  <a:gd name="connsiteX86" fmla="*/ 59513 w 535766"/>
                  <a:gd name="connsiteY86" fmla="*/ 382157 h 506969"/>
                  <a:gd name="connsiteX87" fmla="*/ 63075 w 535766"/>
                  <a:gd name="connsiteY87" fmla="*/ 381266 h 506969"/>
                  <a:gd name="connsiteX88" fmla="*/ 104630 w 535766"/>
                  <a:gd name="connsiteY88" fmla="*/ 360489 h 506969"/>
                  <a:gd name="connsiteX89" fmla="*/ 108341 w 535766"/>
                  <a:gd name="connsiteY89" fmla="*/ 356482 h 506969"/>
                  <a:gd name="connsiteX90" fmla="*/ 128376 w 535766"/>
                  <a:gd name="connsiteY90" fmla="*/ 306467 h 506969"/>
                  <a:gd name="connsiteX91" fmla="*/ 167705 w 535766"/>
                  <a:gd name="connsiteY91" fmla="*/ 276934 h 506969"/>
                  <a:gd name="connsiteX92" fmla="*/ 205105 w 535766"/>
                  <a:gd name="connsiteY92" fmla="*/ 253485 h 506969"/>
                  <a:gd name="connsiteX93" fmla="*/ 207034 w 535766"/>
                  <a:gd name="connsiteY93" fmla="*/ 288064 h 506969"/>
                  <a:gd name="connsiteX94" fmla="*/ 148115 w 535766"/>
                  <a:gd name="connsiteY94" fmla="*/ 337188 h 506969"/>
                  <a:gd name="connsiteX95" fmla="*/ 147818 w 535766"/>
                  <a:gd name="connsiteY95" fmla="*/ 337485 h 506969"/>
                  <a:gd name="connsiteX96" fmla="*/ 146928 w 535766"/>
                  <a:gd name="connsiteY96" fmla="*/ 338524 h 506969"/>
                  <a:gd name="connsiteX97" fmla="*/ 146037 w 535766"/>
                  <a:gd name="connsiteY97" fmla="*/ 340008 h 506969"/>
                  <a:gd name="connsiteX98" fmla="*/ 145740 w 535766"/>
                  <a:gd name="connsiteY98" fmla="*/ 340453 h 506969"/>
                  <a:gd name="connsiteX99" fmla="*/ 124963 w 535766"/>
                  <a:gd name="connsiteY99" fmla="*/ 392397 h 506969"/>
                  <a:gd name="connsiteX100" fmla="*/ 129267 w 535766"/>
                  <a:gd name="connsiteY100" fmla="*/ 402489 h 506969"/>
                  <a:gd name="connsiteX101" fmla="*/ 132087 w 535766"/>
                  <a:gd name="connsiteY101" fmla="*/ 403082 h 506969"/>
                  <a:gd name="connsiteX102" fmla="*/ 139359 w 535766"/>
                  <a:gd name="connsiteY102" fmla="*/ 398185 h 506969"/>
                  <a:gd name="connsiteX103" fmla="*/ 154645 w 535766"/>
                  <a:gd name="connsiteY103" fmla="*/ 359895 h 506969"/>
                  <a:gd name="connsiteX104" fmla="*/ 165924 w 535766"/>
                  <a:gd name="connsiteY104" fmla="*/ 376814 h 506969"/>
                  <a:gd name="connsiteX105" fmla="*/ 165924 w 535766"/>
                  <a:gd name="connsiteY105" fmla="*/ 405605 h 506969"/>
                  <a:gd name="connsiteX106" fmla="*/ 173790 w 535766"/>
                  <a:gd name="connsiteY106" fmla="*/ 413471 h 506969"/>
                  <a:gd name="connsiteX107" fmla="*/ 181656 w 535766"/>
                  <a:gd name="connsiteY107" fmla="*/ 405605 h 506969"/>
                  <a:gd name="connsiteX108" fmla="*/ 181656 w 535766"/>
                  <a:gd name="connsiteY108" fmla="*/ 374439 h 506969"/>
                  <a:gd name="connsiteX109" fmla="*/ 180320 w 535766"/>
                  <a:gd name="connsiteY109" fmla="*/ 370135 h 506969"/>
                  <a:gd name="connsiteX110" fmla="*/ 163402 w 535766"/>
                  <a:gd name="connsiteY110" fmla="*/ 344757 h 506969"/>
                  <a:gd name="connsiteX111" fmla="*/ 207480 w 535766"/>
                  <a:gd name="connsiteY111" fmla="*/ 307951 h 506969"/>
                  <a:gd name="connsiteX112" fmla="*/ 207480 w 535766"/>
                  <a:gd name="connsiteY112" fmla="*/ 322347 h 506969"/>
                  <a:gd name="connsiteX113" fmla="*/ 173345 w 535766"/>
                  <a:gd name="connsiteY113" fmla="*/ 470164 h 506969"/>
                  <a:gd name="connsiteX114" fmla="*/ 280795 w 535766"/>
                  <a:gd name="connsiteY114" fmla="*/ 0 h 506969"/>
                  <a:gd name="connsiteX115" fmla="*/ 280795 w 535766"/>
                  <a:gd name="connsiteY115" fmla="*/ 175866 h 506969"/>
                  <a:gd name="connsiteX116" fmla="*/ 288216 w 535766"/>
                  <a:gd name="connsiteY116" fmla="*/ 200948 h 506969"/>
                  <a:gd name="connsiteX117" fmla="*/ 311516 w 535766"/>
                  <a:gd name="connsiteY117" fmla="*/ 236863 h 506969"/>
                  <a:gd name="connsiteX118" fmla="*/ 315524 w 535766"/>
                  <a:gd name="connsiteY118" fmla="*/ 241760 h 506969"/>
                  <a:gd name="connsiteX119" fmla="*/ 313297 w 535766"/>
                  <a:gd name="connsiteY119" fmla="*/ 273669 h 506969"/>
                  <a:gd name="connsiteX120" fmla="*/ 300386 w 535766"/>
                  <a:gd name="connsiteY120" fmla="*/ 260757 h 506969"/>
                  <a:gd name="connsiteX121" fmla="*/ 235381 w 535766"/>
                  <a:gd name="connsiteY121" fmla="*/ 260757 h 506969"/>
                  <a:gd name="connsiteX122" fmla="*/ 222469 w 535766"/>
                  <a:gd name="connsiteY122" fmla="*/ 273669 h 506969"/>
                  <a:gd name="connsiteX123" fmla="*/ 220095 w 535766"/>
                  <a:gd name="connsiteY123" fmla="*/ 241760 h 506969"/>
                  <a:gd name="connsiteX124" fmla="*/ 224102 w 535766"/>
                  <a:gd name="connsiteY124" fmla="*/ 236863 h 506969"/>
                  <a:gd name="connsiteX125" fmla="*/ 247402 w 535766"/>
                  <a:gd name="connsiteY125" fmla="*/ 200948 h 506969"/>
                  <a:gd name="connsiteX126" fmla="*/ 254823 w 535766"/>
                  <a:gd name="connsiteY126" fmla="*/ 175866 h 506969"/>
                  <a:gd name="connsiteX127" fmla="*/ 254823 w 535766"/>
                  <a:gd name="connsiteY127" fmla="*/ 0 h 506969"/>
                  <a:gd name="connsiteX128" fmla="*/ 239240 w 535766"/>
                  <a:gd name="connsiteY128" fmla="*/ 0 h 506969"/>
                  <a:gd name="connsiteX129" fmla="*/ 239240 w 535766"/>
                  <a:gd name="connsiteY129" fmla="*/ 175866 h 506969"/>
                  <a:gd name="connsiteX130" fmla="*/ 234342 w 535766"/>
                  <a:gd name="connsiteY130" fmla="*/ 192488 h 506969"/>
                  <a:gd name="connsiteX131" fmla="*/ 217423 w 535766"/>
                  <a:gd name="connsiteY131" fmla="*/ 218460 h 506969"/>
                  <a:gd name="connsiteX132" fmla="*/ 163847 w 535766"/>
                  <a:gd name="connsiteY132" fmla="*/ 116947 h 506969"/>
                  <a:gd name="connsiteX133" fmla="*/ 0 w 535766"/>
                  <a:gd name="connsiteY133" fmla="*/ 395217 h 506969"/>
                  <a:gd name="connsiteX134" fmla="*/ 49421 w 535766"/>
                  <a:gd name="connsiteY134" fmla="*/ 506970 h 506969"/>
                  <a:gd name="connsiteX135" fmla="*/ 85040 w 535766"/>
                  <a:gd name="connsiteY135" fmla="*/ 491387 h 506969"/>
                  <a:gd name="connsiteX136" fmla="*/ 111903 w 535766"/>
                  <a:gd name="connsiteY136" fmla="*/ 479217 h 506969"/>
                  <a:gd name="connsiteX137" fmla="*/ 136242 w 535766"/>
                  <a:gd name="connsiteY137" fmla="*/ 482037 h 506969"/>
                  <a:gd name="connsiteX138" fmla="*/ 174087 w 535766"/>
                  <a:gd name="connsiteY138" fmla="*/ 485895 h 506969"/>
                  <a:gd name="connsiteX139" fmla="*/ 223805 w 535766"/>
                  <a:gd name="connsiteY139" fmla="*/ 322496 h 506969"/>
                  <a:gd name="connsiteX140" fmla="*/ 223360 w 535766"/>
                  <a:gd name="connsiteY140" fmla="*/ 294891 h 506969"/>
                  <a:gd name="connsiteX141" fmla="*/ 246512 w 535766"/>
                  <a:gd name="connsiteY141" fmla="*/ 271739 h 506969"/>
                  <a:gd name="connsiteX142" fmla="*/ 289403 w 535766"/>
                  <a:gd name="connsiteY142" fmla="*/ 271739 h 506969"/>
                  <a:gd name="connsiteX143" fmla="*/ 312555 w 535766"/>
                  <a:gd name="connsiteY143" fmla="*/ 294743 h 506969"/>
                  <a:gd name="connsiteX144" fmla="*/ 312110 w 535766"/>
                  <a:gd name="connsiteY144" fmla="*/ 322347 h 506969"/>
                  <a:gd name="connsiteX145" fmla="*/ 361828 w 535766"/>
                  <a:gd name="connsiteY145" fmla="*/ 485747 h 506969"/>
                  <a:gd name="connsiteX146" fmla="*/ 399673 w 535766"/>
                  <a:gd name="connsiteY146" fmla="*/ 481888 h 506969"/>
                  <a:gd name="connsiteX147" fmla="*/ 423864 w 535766"/>
                  <a:gd name="connsiteY147" fmla="*/ 479068 h 506969"/>
                  <a:gd name="connsiteX148" fmla="*/ 450727 w 535766"/>
                  <a:gd name="connsiteY148" fmla="*/ 491238 h 506969"/>
                  <a:gd name="connsiteX149" fmla="*/ 486345 w 535766"/>
                  <a:gd name="connsiteY149" fmla="*/ 506821 h 506969"/>
                  <a:gd name="connsiteX150" fmla="*/ 535767 w 535766"/>
                  <a:gd name="connsiteY150" fmla="*/ 395068 h 506969"/>
                  <a:gd name="connsiteX151" fmla="*/ 371920 w 535766"/>
                  <a:gd name="connsiteY151" fmla="*/ 116799 h 506969"/>
                  <a:gd name="connsiteX152" fmla="*/ 318343 w 535766"/>
                  <a:gd name="connsiteY152" fmla="*/ 218312 h 506969"/>
                  <a:gd name="connsiteX153" fmla="*/ 301424 w 535766"/>
                  <a:gd name="connsiteY153" fmla="*/ 192340 h 506969"/>
                  <a:gd name="connsiteX154" fmla="*/ 296527 w 535766"/>
                  <a:gd name="connsiteY154" fmla="*/ 175866 h 506969"/>
                  <a:gd name="connsiteX155" fmla="*/ 296527 w 535766"/>
                  <a:gd name="connsiteY155" fmla="*/ 0 h 506969"/>
                  <a:gd name="connsiteX156" fmla="*/ 280944 w 535766"/>
                  <a:gd name="connsiteY156" fmla="*/ 0 h 50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535766" h="506969">
                    <a:moveTo>
                      <a:pt x="486197" y="491238"/>
                    </a:moveTo>
                    <a:cubicBezTo>
                      <a:pt x="474324" y="491238"/>
                      <a:pt x="468388" y="486044"/>
                      <a:pt x="460819" y="479514"/>
                    </a:cubicBezTo>
                    <a:cubicBezTo>
                      <a:pt x="452211" y="471945"/>
                      <a:pt x="442416" y="463485"/>
                      <a:pt x="423716" y="463485"/>
                    </a:cubicBezTo>
                    <a:cubicBezTo>
                      <a:pt x="412585" y="463485"/>
                      <a:pt x="404719" y="464970"/>
                      <a:pt x="396556" y="466602"/>
                    </a:cubicBezTo>
                    <a:cubicBezTo>
                      <a:pt x="387355" y="468383"/>
                      <a:pt x="377857" y="470164"/>
                      <a:pt x="361679" y="470164"/>
                    </a:cubicBezTo>
                    <a:cubicBezTo>
                      <a:pt x="345503" y="470164"/>
                      <a:pt x="327545" y="452651"/>
                      <a:pt x="327545" y="322347"/>
                    </a:cubicBezTo>
                    <a:cubicBezTo>
                      <a:pt x="327545" y="317450"/>
                      <a:pt x="327545" y="312700"/>
                      <a:pt x="327545" y="307951"/>
                    </a:cubicBezTo>
                    <a:lnTo>
                      <a:pt x="371623" y="344609"/>
                    </a:lnTo>
                    <a:lnTo>
                      <a:pt x="354704" y="369987"/>
                    </a:lnTo>
                    <a:cubicBezTo>
                      <a:pt x="353814" y="371323"/>
                      <a:pt x="353368" y="372807"/>
                      <a:pt x="353368" y="374291"/>
                    </a:cubicBezTo>
                    <a:lnTo>
                      <a:pt x="353368" y="405457"/>
                    </a:lnTo>
                    <a:cubicBezTo>
                      <a:pt x="353368" y="409761"/>
                      <a:pt x="356930" y="413323"/>
                      <a:pt x="361234" y="413323"/>
                    </a:cubicBezTo>
                    <a:cubicBezTo>
                      <a:pt x="365538" y="413323"/>
                      <a:pt x="368952" y="409761"/>
                      <a:pt x="368952" y="405457"/>
                    </a:cubicBezTo>
                    <a:lnTo>
                      <a:pt x="368952" y="376665"/>
                    </a:lnTo>
                    <a:lnTo>
                      <a:pt x="380231" y="359747"/>
                    </a:lnTo>
                    <a:lnTo>
                      <a:pt x="395518" y="398036"/>
                    </a:lnTo>
                    <a:cubicBezTo>
                      <a:pt x="396705" y="401153"/>
                      <a:pt x="399673" y="402934"/>
                      <a:pt x="402790" y="402934"/>
                    </a:cubicBezTo>
                    <a:cubicBezTo>
                      <a:pt x="403829" y="402934"/>
                      <a:pt x="404719" y="402786"/>
                      <a:pt x="405758" y="402340"/>
                    </a:cubicBezTo>
                    <a:cubicBezTo>
                      <a:pt x="409765" y="400708"/>
                      <a:pt x="411694" y="396255"/>
                      <a:pt x="410062" y="392248"/>
                    </a:cubicBezTo>
                    <a:lnTo>
                      <a:pt x="389284" y="340305"/>
                    </a:lnTo>
                    <a:cubicBezTo>
                      <a:pt x="389284" y="340305"/>
                      <a:pt x="389136" y="340008"/>
                      <a:pt x="388987" y="339860"/>
                    </a:cubicBezTo>
                    <a:cubicBezTo>
                      <a:pt x="388839" y="339414"/>
                      <a:pt x="388394" y="338969"/>
                      <a:pt x="388097" y="338524"/>
                    </a:cubicBezTo>
                    <a:cubicBezTo>
                      <a:pt x="387800" y="338227"/>
                      <a:pt x="387503" y="337782"/>
                      <a:pt x="387206" y="337485"/>
                    </a:cubicBezTo>
                    <a:cubicBezTo>
                      <a:pt x="387206" y="337485"/>
                      <a:pt x="387206" y="337337"/>
                      <a:pt x="386910" y="337188"/>
                    </a:cubicBezTo>
                    <a:lnTo>
                      <a:pt x="327990" y="288064"/>
                    </a:lnTo>
                    <a:cubicBezTo>
                      <a:pt x="328435" y="276043"/>
                      <a:pt x="329029" y="264467"/>
                      <a:pt x="329919" y="253485"/>
                    </a:cubicBezTo>
                    <a:lnTo>
                      <a:pt x="366874" y="276637"/>
                    </a:lnTo>
                    <a:lnTo>
                      <a:pt x="406797" y="306467"/>
                    </a:lnTo>
                    <a:lnTo>
                      <a:pt x="426832" y="356482"/>
                    </a:lnTo>
                    <a:cubicBezTo>
                      <a:pt x="427574" y="358262"/>
                      <a:pt x="428910" y="359747"/>
                      <a:pt x="430543" y="360489"/>
                    </a:cubicBezTo>
                    <a:lnTo>
                      <a:pt x="472098" y="381266"/>
                    </a:lnTo>
                    <a:cubicBezTo>
                      <a:pt x="473137" y="381860"/>
                      <a:pt x="474472" y="382157"/>
                      <a:pt x="475660" y="382157"/>
                    </a:cubicBezTo>
                    <a:cubicBezTo>
                      <a:pt x="478480" y="382157"/>
                      <a:pt x="481300" y="380524"/>
                      <a:pt x="482635" y="377853"/>
                    </a:cubicBezTo>
                    <a:cubicBezTo>
                      <a:pt x="484565" y="373994"/>
                      <a:pt x="482932" y="369393"/>
                      <a:pt x="479073" y="367316"/>
                    </a:cubicBezTo>
                    <a:lnTo>
                      <a:pt x="440189" y="347874"/>
                    </a:lnTo>
                    <a:lnTo>
                      <a:pt x="426090" y="312849"/>
                    </a:lnTo>
                    <a:lnTo>
                      <a:pt x="452953" y="319527"/>
                    </a:lnTo>
                    <a:cubicBezTo>
                      <a:pt x="452953" y="319527"/>
                      <a:pt x="454288" y="319676"/>
                      <a:pt x="454882" y="319676"/>
                    </a:cubicBezTo>
                    <a:cubicBezTo>
                      <a:pt x="458296" y="319676"/>
                      <a:pt x="461561" y="317301"/>
                      <a:pt x="462451" y="313739"/>
                    </a:cubicBezTo>
                    <a:cubicBezTo>
                      <a:pt x="463490" y="309584"/>
                      <a:pt x="460967" y="305280"/>
                      <a:pt x="456811" y="304241"/>
                    </a:cubicBezTo>
                    <a:lnTo>
                      <a:pt x="416740" y="294298"/>
                    </a:lnTo>
                    <a:lnTo>
                      <a:pt x="381567" y="268029"/>
                    </a:lnTo>
                    <a:lnTo>
                      <a:pt x="397298" y="236566"/>
                    </a:lnTo>
                    <a:lnTo>
                      <a:pt x="423716" y="236566"/>
                    </a:lnTo>
                    <a:cubicBezTo>
                      <a:pt x="428020" y="236566"/>
                      <a:pt x="431582" y="233004"/>
                      <a:pt x="431582" y="228700"/>
                    </a:cubicBezTo>
                    <a:cubicBezTo>
                      <a:pt x="431582" y="224396"/>
                      <a:pt x="428020" y="220983"/>
                      <a:pt x="423716" y="220983"/>
                    </a:cubicBezTo>
                    <a:lnTo>
                      <a:pt x="400267" y="220983"/>
                    </a:lnTo>
                    <a:lnTo>
                      <a:pt x="400267" y="197534"/>
                    </a:lnTo>
                    <a:cubicBezTo>
                      <a:pt x="400267" y="193230"/>
                      <a:pt x="396705" y="189668"/>
                      <a:pt x="392401" y="189668"/>
                    </a:cubicBezTo>
                    <a:cubicBezTo>
                      <a:pt x="388097" y="189668"/>
                      <a:pt x="384535" y="193230"/>
                      <a:pt x="384535" y="197534"/>
                    </a:cubicBezTo>
                    <a:lnTo>
                      <a:pt x="384535" y="226919"/>
                    </a:lnTo>
                    <a:lnTo>
                      <a:pt x="368358" y="259273"/>
                    </a:lnTo>
                    <a:lnTo>
                      <a:pt x="333630" y="237605"/>
                    </a:lnTo>
                    <a:cubicBezTo>
                      <a:pt x="332888" y="237160"/>
                      <a:pt x="332294" y="236418"/>
                      <a:pt x="331552" y="235972"/>
                    </a:cubicBezTo>
                    <a:cubicBezTo>
                      <a:pt x="338379" y="172601"/>
                      <a:pt x="352923" y="132679"/>
                      <a:pt x="371475" y="132679"/>
                    </a:cubicBezTo>
                    <a:cubicBezTo>
                      <a:pt x="446423" y="132679"/>
                      <a:pt x="519738" y="298898"/>
                      <a:pt x="519738" y="395217"/>
                    </a:cubicBezTo>
                    <a:cubicBezTo>
                      <a:pt x="519738" y="491535"/>
                      <a:pt x="507717" y="491387"/>
                      <a:pt x="485900" y="491387"/>
                    </a:cubicBezTo>
                    <a:moveTo>
                      <a:pt x="173790" y="470164"/>
                    </a:moveTo>
                    <a:cubicBezTo>
                      <a:pt x="157613" y="470164"/>
                      <a:pt x="148115" y="468383"/>
                      <a:pt x="138913" y="466602"/>
                    </a:cubicBezTo>
                    <a:cubicBezTo>
                      <a:pt x="130751" y="464970"/>
                      <a:pt x="122885" y="463485"/>
                      <a:pt x="111754" y="463485"/>
                    </a:cubicBezTo>
                    <a:cubicBezTo>
                      <a:pt x="93054" y="463485"/>
                      <a:pt x="83259" y="471945"/>
                      <a:pt x="74651" y="479514"/>
                    </a:cubicBezTo>
                    <a:cubicBezTo>
                      <a:pt x="67082" y="486044"/>
                      <a:pt x="61146" y="491238"/>
                      <a:pt x="49273" y="491238"/>
                    </a:cubicBezTo>
                    <a:cubicBezTo>
                      <a:pt x="27456" y="491238"/>
                      <a:pt x="15435" y="491238"/>
                      <a:pt x="15435" y="395068"/>
                    </a:cubicBezTo>
                    <a:cubicBezTo>
                      <a:pt x="15435" y="298898"/>
                      <a:pt x="88602" y="132530"/>
                      <a:pt x="163698" y="132530"/>
                    </a:cubicBezTo>
                    <a:cubicBezTo>
                      <a:pt x="182250" y="132530"/>
                      <a:pt x="196794" y="172453"/>
                      <a:pt x="203621" y="235824"/>
                    </a:cubicBezTo>
                    <a:cubicBezTo>
                      <a:pt x="202879" y="236418"/>
                      <a:pt x="202285" y="237011"/>
                      <a:pt x="201543" y="237456"/>
                    </a:cubicBezTo>
                    <a:lnTo>
                      <a:pt x="166815" y="259124"/>
                    </a:lnTo>
                    <a:lnTo>
                      <a:pt x="150638" y="226771"/>
                    </a:lnTo>
                    <a:lnTo>
                      <a:pt x="150638" y="197386"/>
                    </a:lnTo>
                    <a:cubicBezTo>
                      <a:pt x="150638" y="193082"/>
                      <a:pt x="147076" y="189520"/>
                      <a:pt x="142772" y="189520"/>
                    </a:cubicBezTo>
                    <a:cubicBezTo>
                      <a:pt x="138468" y="189520"/>
                      <a:pt x="135055" y="193082"/>
                      <a:pt x="135055" y="197386"/>
                    </a:cubicBezTo>
                    <a:lnTo>
                      <a:pt x="135055" y="220834"/>
                    </a:lnTo>
                    <a:lnTo>
                      <a:pt x="111606" y="220834"/>
                    </a:lnTo>
                    <a:cubicBezTo>
                      <a:pt x="107302" y="220834"/>
                      <a:pt x="103740" y="224396"/>
                      <a:pt x="103740" y="228552"/>
                    </a:cubicBezTo>
                    <a:cubicBezTo>
                      <a:pt x="103740" y="232707"/>
                      <a:pt x="107302" y="236418"/>
                      <a:pt x="111606" y="236418"/>
                    </a:cubicBezTo>
                    <a:lnTo>
                      <a:pt x="138023" y="236418"/>
                    </a:lnTo>
                    <a:lnTo>
                      <a:pt x="153755" y="267881"/>
                    </a:lnTo>
                    <a:lnTo>
                      <a:pt x="118581" y="294298"/>
                    </a:lnTo>
                    <a:lnTo>
                      <a:pt x="78510" y="304241"/>
                    </a:lnTo>
                    <a:cubicBezTo>
                      <a:pt x="74354" y="305280"/>
                      <a:pt x="71831" y="309584"/>
                      <a:pt x="72870" y="313739"/>
                    </a:cubicBezTo>
                    <a:cubicBezTo>
                      <a:pt x="73761" y="317301"/>
                      <a:pt x="76877" y="319676"/>
                      <a:pt x="80439" y="319676"/>
                    </a:cubicBezTo>
                    <a:cubicBezTo>
                      <a:pt x="81033" y="319676"/>
                      <a:pt x="81626" y="319676"/>
                      <a:pt x="82369" y="319527"/>
                    </a:cubicBezTo>
                    <a:lnTo>
                      <a:pt x="109083" y="312849"/>
                    </a:lnTo>
                    <a:lnTo>
                      <a:pt x="94984" y="347874"/>
                    </a:lnTo>
                    <a:lnTo>
                      <a:pt x="56100" y="367316"/>
                    </a:lnTo>
                    <a:cubicBezTo>
                      <a:pt x="52241" y="369245"/>
                      <a:pt x="50608" y="373994"/>
                      <a:pt x="52538" y="377853"/>
                    </a:cubicBezTo>
                    <a:cubicBezTo>
                      <a:pt x="53874" y="380524"/>
                      <a:pt x="56693" y="382157"/>
                      <a:pt x="59513" y="382157"/>
                    </a:cubicBezTo>
                    <a:cubicBezTo>
                      <a:pt x="60700" y="382157"/>
                      <a:pt x="61888" y="381860"/>
                      <a:pt x="63075" y="381266"/>
                    </a:cubicBezTo>
                    <a:lnTo>
                      <a:pt x="104630" y="360489"/>
                    </a:lnTo>
                    <a:cubicBezTo>
                      <a:pt x="106411" y="359598"/>
                      <a:pt x="107747" y="358262"/>
                      <a:pt x="108341" y="356482"/>
                    </a:cubicBezTo>
                    <a:lnTo>
                      <a:pt x="128376" y="306467"/>
                    </a:lnTo>
                    <a:lnTo>
                      <a:pt x="167705" y="276934"/>
                    </a:lnTo>
                    <a:lnTo>
                      <a:pt x="205105" y="253485"/>
                    </a:lnTo>
                    <a:cubicBezTo>
                      <a:pt x="205996" y="264467"/>
                      <a:pt x="206589" y="275895"/>
                      <a:pt x="207034" y="288064"/>
                    </a:cubicBezTo>
                    <a:lnTo>
                      <a:pt x="148115" y="337188"/>
                    </a:lnTo>
                    <a:cubicBezTo>
                      <a:pt x="148115" y="337188"/>
                      <a:pt x="148115" y="337337"/>
                      <a:pt x="147818" y="337485"/>
                    </a:cubicBezTo>
                    <a:cubicBezTo>
                      <a:pt x="147521" y="337782"/>
                      <a:pt x="147224" y="338079"/>
                      <a:pt x="146928" y="338524"/>
                    </a:cubicBezTo>
                    <a:cubicBezTo>
                      <a:pt x="146631" y="338969"/>
                      <a:pt x="146186" y="339414"/>
                      <a:pt x="146037" y="340008"/>
                    </a:cubicBezTo>
                    <a:cubicBezTo>
                      <a:pt x="146037" y="340008"/>
                      <a:pt x="145889" y="340305"/>
                      <a:pt x="145740" y="340453"/>
                    </a:cubicBezTo>
                    <a:lnTo>
                      <a:pt x="124963" y="392397"/>
                    </a:lnTo>
                    <a:cubicBezTo>
                      <a:pt x="123330" y="396404"/>
                      <a:pt x="125260" y="400856"/>
                      <a:pt x="129267" y="402489"/>
                    </a:cubicBezTo>
                    <a:cubicBezTo>
                      <a:pt x="130157" y="402934"/>
                      <a:pt x="131196" y="403082"/>
                      <a:pt x="132087" y="403082"/>
                    </a:cubicBezTo>
                    <a:cubicBezTo>
                      <a:pt x="135203" y="403082"/>
                      <a:pt x="138023" y="401301"/>
                      <a:pt x="139359" y="398185"/>
                    </a:cubicBezTo>
                    <a:lnTo>
                      <a:pt x="154645" y="359895"/>
                    </a:lnTo>
                    <a:lnTo>
                      <a:pt x="165924" y="376814"/>
                    </a:lnTo>
                    <a:lnTo>
                      <a:pt x="165924" y="405605"/>
                    </a:lnTo>
                    <a:cubicBezTo>
                      <a:pt x="165924" y="409909"/>
                      <a:pt x="169486" y="413471"/>
                      <a:pt x="173790" y="413471"/>
                    </a:cubicBezTo>
                    <a:cubicBezTo>
                      <a:pt x="178094" y="413471"/>
                      <a:pt x="181656" y="409909"/>
                      <a:pt x="181656" y="405605"/>
                    </a:cubicBezTo>
                    <a:lnTo>
                      <a:pt x="181656" y="374439"/>
                    </a:lnTo>
                    <a:cubicBezTo>
                      <a:pt x="181656" y="372955"/>
                      <a:pt x="181211" y="371323"/>
                      <a:pt x="180320" y="370135"/>
                    </a:cubicBezTo>
                    <a:lnTo>
                      <a:pt x="163402" y="344757"/>
                    </a:lnTo>
                    <a:lnTo>
                      <a:pt x="207480" y="307951"/>
                    </a:lnTo>
                    <a:cubicBezTo>
                      <a:pt x="207480" y="312700"/>
                      <a:pt x="207480" y="317450"/>
                      <a:pt x="207480" y="322347"/>
                    </a:cubicBezTo>
                    <a:cubicBezTo>
                      <a:pt x="207480" y="452651"/>
                      <a:pt x="190264" y="470164"/>
                      <a:pt x="173345" y="470164"/>
                    </a:cubicBezTo>
                    <a:moveTo>
                      <a:pt x="280795" y="0"/>
                    </a:moveTo>
                    <a:lnTo>
                      <a:pt x="280795" y="175866"/>
                    </a:lnTo>
                    <a:cubicBezTo>
                      <a:pt x="280795" y="184771"/>
                      <a:pt x="283318" y="193379"/>
                      <a:pt x="288216" y="200948"/>
                    </a:cubicBezTo>
                    <a:lnTo>
                      <a:pt x="311516" y="236863"/>
                    </a:lnTo>
                    <a:cubicBezTo>
                      <a:pt x="312704" y="238644"/>
                      <a:pt x="314188" y="240128"/>
                      <a:pt x="315524" y="241760"/>
                    </a:cubicBezTo>
                    <a:cubicBezTo>
                      <a:pt x="314485" y="252594"/>
                      <a:pt x="313743" y="263428"/>
                      <a:pt x="313297" y="273669"/>
                    </a:cubicBezTo>
                    <a:lnTo>
                      <a:pt x="300386" y="260757"/>
                    </a:lnTo>
                    <a:cubicBezTo>
                      <a:pt x="282428" y="242799"/>
                      <a:pt x="253339" y="242799"/>
                      <a:pt x="235381" y="260757"/>
                    </a:cubicBezTo>
                    <a:lnTo>
                      <a:pt x="222469" y="273669"/>
                    </a:lnTo>
                    <a:cubicBezTo>
                      <a:pt x="221876" y="263280"/>
                      <a:pt x="221134" y="252594"/>
                      <a:pt x="220095" y="241760"/>
                    </a:cubicBezTo>
                    <a:cubicBezTo>
                      <a:pt x="221430" y="240128"/>
                      <a:pt x="222915" y="238644"/>
                      <a:pt x="224102" y="236863"/>
                    </a:cubicBezTo>
                    <a:lnTo>
                      <a:pt x="247402" y="200948"/>
                    </a:lnTo>
                    <a:cubicBezTo>
                      <a:pt x="252300" y="193527"/>
                      <a:pt x="254823" y="184771"/>
                      <a:pt x="254823" y="175866"/>
                    </a:cubicBezTo>
                    <a:lnTo>
                      <a:pt x="254823" y="0"/>
                    </a:lnTo>
                    <a:lnTo>
                      <a:pt x="239240" y="0"/>
                    </a:lnTo>
                    <a:lnTo>
                      <a:pt x="239240" y="175866"/>
                    </a:lnTo>
                    <a:cubicBezTo>
                      <a:pt x="239240" y="181803"/>
                      <a:pt x="237607" y="187442"/>
                      <a:pt x="234342" y="192488"/>
                    </a:cubicBezTo>
                    <a:lnTo>
                      <a:pt x="217423" y="218460"/>
                    </a:lnTo>
                    <a:cubicBezTo>
                      <a:pt x="210299" y="165626"/>
                      <a:pt x="195162" y="116947"/>
                      <a:pt x="163847" y="116947"/>
                    </a:cubicBezTo>
                    <a:cubicBezTo>
                      <a:pt x="70941" y="116947"/>
                      <a:pt x="0" y="302312"/>
                      <a:pt x="0" y="395217"/>
                    </a:cubicBezTo>
                    <a:cubicBezTo>
                      <a:pt x="0" y="488121"/>
                      <a:pt x="9201" y="506970"/>
                      <a:pt x="49421" y="506970"/>
                    </a:cubicBezTo>
                    <a:cubicBezTo>
                      <a:pt x="67082" y="506970"/>
                      <a:pt x="76581" y="498659"/>
                      <a:pt x="85040" y="491387"/>
                    </a:cubicBezTo>
                    <a:cubicBezTo>
                      <a:pt x="92906" y="484560"/>
                      <a:pt x="98991" y="479217"/>
                      <a:pt x="111903" y="479217"/>
                    </a:cubicBezTo>
                    <a:cubicBezTo>
                      <a:pt x="121698" y="479217"/>
                      <a:pt x="128376" y="480553"/>
                      <a:pt x="136242" y="482037"/>
                    </a:cubicBezTo>
                    <a:cubicBezTo>
                      <a:pt x="145740" y="483818"/>
                      <a:pt x="156426" y="485895"/>
                      <a:pt x="174087" y="485895"/>
                    </a:cubicBezTo>
                    <a:cubicBezTo>
                      <a:pt x="210299" y="485895"/>
                      <a:pt x="223805" y="441521"/>
                      <a:pt x="223805" y="322496"/>
                    </a:cubicBezTo>
                    <a:cubicBezTo>
                      <a:pt x="223805" y="314481"/>
                      <a:pt x="223805" y="305132"/>
                      <a:pt x="223360" y="294891"/>
                    </a:cubicBezTo>
                    <a:lnTo>
                      <a:pt x="246512" y="271739"/>
                    </a:lnTo>
                    <a:cubicBezTo>
                      <a:pt x="257940" y="260312"/>
                      <a:pt x="277975" y="260312"/>
                      <a:pt x="289403" y="271739"/>
                    </a:cubicBezTo>
                    <a:lnTo>
                      <a:pt x="312555" y="294743"/>
                    </a:lnTo>
                    <a:cubicBezTo>
                      <a:pt x="312259" y="304983"/>
                      <a:pt x="312110" y="314333"/>
                      <a:pt x="312110" y="322347"/>
                    </a:cubicBezTo>
                    <a:cubicBezTo>
                      <a:pt x="312110" y="441521"/>
                      <a:pt x="325616" y="485747"/>
                      <a:pt x="361828" y="485747"/>
                    </a:cubicBezTo>
                    <a:cubicBezTo>
                      <a:pt x="379489" y="485747"/>
                      <a:pt x="390175" y="483669"/>
                      <a:pt x="399673" y="481888"/>
                    </a:cubicBezTo>
                    <a:cubicBezTo>
                      <a:pt x="407539" y="480404"/>
                      <a:pt x="414217" y="479068"/>
                      <a:pt x="423864" y="479068"/>
                    </a:cubicBezTo>
                    <a:cubicBezTo>
                      <a:pt x="436776" y="479068"/>
                      <a:pt x="442861" y="484411"/>
                      <a:pt x="450727" y="491238"/>
                    </a:cubicBezTo>
                    <a:cubicBezTo>
                      <a:pt x="459186" y="498510"/>
                      <a:pt x="468536" y="506821"/>
                      <a:pt x="486345" y="506821"/>
                    </a:cubicBezTo>
                    <a:cubicBezTo>
                      <a:pt x="526565" y="506821"/>
                      <a:pt x="535767" y="485895"/>
                      <a:pt x="535767" y="395068"/>
                    </a:cubicBezTo>
                    <a:cubicBezTo>
                      <a:pt x="535767" y="304241"/>
                      <a:pt x="464974" y="116799"/>
                      <a:pt x="371920" y="116799"/>
                    </a:cubicBezTo>
                    <a:cubicBezTo>
                      <a:pt x="340605" y="116799"/>
                      <a:pt x="325467" y="165478"/>
                      <a:pt x="318343" y="218312"/>
                    </a:cubicBezTo>
                    <a:lnTo>
                      <a:pt x="301424" y="192340"/>
                    </a:lnTo>
                    <a:cubicBezTo>
                      <a:pt x="298159" y="187442"/>
                      <a:pt x="296527" y="181654"/>
                      <a:pt x="296527" y="175866"/>
                    </a:cubicBezTo>
                    <a:lnTo>
                      <a:pt x="296527" y="0"/>
                    </a:lnTo>
                    <a:lnTo>
                      <a:pt x="280944" y="0"/>
                    </a:lnTo>
                    <a:close/>
                  </a:path>
                </a:pathLst>
              </a:custGeom>
              <a:solidFill>
                <a:srgbClr val="FFFFFF"/>
              </a:solidFill>
              <a:ln w="14828" cap="flat">
                <a:noFill/>
                <a:prstDash val="solid"/>
                <a:miter/>
              </a:ln>
            </p:spPr>
            <p:txBody>
              <a:bodyPr rtlCol="0" anchor="ctr"/>
              <a:lstStyle/>
              <a:p>
                <a:endParaRPr lang="en-DK"/>
              </a:p>
            </p:txBody>
          </p:sp>
          <p:sp>
            <p:nvSpPr>
              <p:cNvPr id="225" name="Freeform 224">
                <a:extLst>
                  <a:ext uri="{FF2B5EF4-FFF2-40B4-BE49-F238E27FC236}">
                    <a16:creationId xmlns:a16="http://schemas.microsoft.com/office/drawing/2014/main" id="{77AC4B5A-365A-B8E7-EC94-41C0962ACA79}"/>
                  </a:ext>
                </a:extLst>
              </p:cNvPr>
              <p:cNvSpPr/>
              <p:nvPr/>
            </p:nvSpPr>
            <p:spPr>
              <a:xfrm>
                <a:off x="4342835" y="4994310"/>
                <a:ext cx="1007122" cy="1007112"/>
              </a:xfrm>
              <a:custGeom>
                <a:avLst/>
                <a:gdLst>
                  <a:gd name="connsiteX0" fmla="*/ 503561 w 1007122"/>
                  <a:gd name="connsiteY0" fmla="*/ 1007112 h 1007112"/>
                  <a:gd name="connsiteX1" fmla="*/ 1007122 w 1007122"/>
                  <a:gd name="connsiteY1" fmla="*/ 503556 h 1007112"/>
                  <a:gd name="connsiteX2" fmla="*/ 503561 w 1007122"/>
                  <a:gd name="connsiteY2" fmla="*/ 0 h 1007112"/>
                  <a:gd name="connsiteX3" fmla="*/ 0 w 1007122"/>
                  <a:gd name="connsiteY3" fmla="*/ 503556 h 1007112"/>
                  <a:gd name="connsiteX4" fmla="*/ 503561 w 1007122"/>
                  <a:gd name="connsiteY4" fmla="*/ 1007112 h 100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122" h="1007112">
                    <a:moveTo>
                      <a:pt x="503561" y="1007112"/>
                    </a:moveTo>
                    <a:cubicBezTo>
                      <a:pt x="781685" y="1007112"/>
                      <a:pt x="1007122" y="781677"/>
                      <a:pt x="1007122" y="503556"/>
                    </a:cubicBezTo>
                    <a:cubicBezTo>
                      <a:pt x="1007122" y="225435"/>
                      <a:pt x="781685" y="0"/>
                      <a:pt x="503561" y="0"/>
                    </a:cubicBezTo>
                    <a:cubicBezTo>
                      <a:pt x="225437" y="0"/>
                      <a:pt x="0" y="225435"/>
                      <a:pt x="0" y="503556"/>
                    </a:cubicBezTo>
                    <a:cubicBezTo>
                      <a:pt x="0" y="781677"/>
                      <a:pt x="225437" y="1007112"/>
                      <a:pt x="503561" y="1007112"/>
                    </a:cubicBezTo>
                  </a:path>
                </a:pathLst>
              </a:custGeom>
              <a:solidFill>
                <a:srgbClr val="001965"/>
              </a:solidFill>
              <a:ln w="14828" cap="flat">
                <a:noFill/>
                <a:prstDash val="solid"/>
                <a:miter/>
              </a:ln>
            </p:spPr>
            <p:txBody>
              <a:bodyPr rtlCol="0" anchor="ctr"/>
              <a:lstStyle/>
              <a:p>
                <a:endParaRPr lang="en-DK"/>
              </a:p>
            </p:txBody>
          </p:sp>
          <p:sp>
            <p:nvSpPr>
              <p:cNvPr id="226" name="Freeform 225">
                <a:extLst>
                  <a:ext uri="{FF2B5EF4-FFF2-40B4-BE49-F238E27FC236}">
                    <a16:creationId xmlns:a16="http://schemas.microsoft.com/office/drawing/2014/main" id="{F6E14F5F-CF48-2694-0E0A-17861DE82390}"/>
                  </a:ext>
                </a:extLst>
              </p:cNvPr>
              <p:cNvSpPr/>
              <p:nvPr/>
            </p:nvSpPr>
            <p:spPr>
              <a:xfrm>
                <a:off x="4327994" y="4979469"/>
                <a:ext cx="1036804" cy="1036794"/>
              </a:xfrm>
              <a:custGeom>
                <a:avLst/>
                <a:gdLst>
                  <a:gd name="connsiteX0" fmla="*/ 518402 w 1036804"/>
                  <a:gd name="connsiteY0" fmla="*/ 1021953 h 1036794"/>
                  <a:gd name="connsiteX1" fmla="*/ 518402 w 1036804"/>
                  <a:gd name="connsiteY1" fmla="*/ 1007112 h 1036794"/>
                  <a:gd name="connsiteX2" fmla="*/ 1007122 w 1036804"/>
                  <a:gd name="connsiteY2" fmla="*/ 518397 h 1036794"/>
                  <a:gd name="connsiteX3" fmla="*/ 518402 w 1036804"/>
                  <a:gd name="connsiteY3" fmla="*/ 29682 h 1036794"/>
                  <a:gd name="connsiteX4" fmla="*/ 29682 w 1036804"/>
                  <a:gd name="connsiteY4" fmla="*/ 518397 h 1036794"/>
                  <a:gd name="connsiteX5" fmla="*/ 518402 w 1036804"/>
                  <a:gd name="connsiteY5" fmla="*/ 1007112 h 1036794"/>
                  <a:gd name="connsiteX6" fmla="*/ 518402 w 1036804"/>
                  <a:gd name="connsiteY6" fmla="*/ 1036794 h 1036794"/>
                  <a:gd name="connsiteX7" fmla="*/ 0 w 1036804"/>
                  <a:gd name="connsiteY7" fmla="*/ 518397 h 1036794"/>
                  <a:gd name="connsiteX8" fmla="*/ 518402 w 1036804"/>
                  <a:gd name="connsiteY8" fmla="*/ 0 h 1036794"/>
                  <a:gd name="connsiteX9" fmla="*/ 1036805 w 1036804"/>
                  <a:gd name="connsiteY9" fmla="*/ 518397 h 1036794"/>
                  <a:gd name="connsiteX10" fmla="*/ 518402 w 1036804"/>
                  <a:gd name="connsiteY10" fmla="*/ 1036794 h 1036794"/>
                  <a:gd name="connsiteX11" fmla="*/ 518402 w 1036804"/>
                  <a:gd name="connsiteY11" fmla="*/ 1021953 h 1036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6804" h="1036794">
                    <a:moveTo>
                      <a:pt x="518402" y="1021953"/>
                    </a:moveTo>
                    <a:lnTo>
                      <a:pt x="518402" y="1007112"/>
                    </a:lnTo>
                    <a:cubicBezTo>
                      <a:pt x="788364" y="1006667"/>
                      <a:pt x="1006677" y="788355"/>
                      <a:pt x="1007122" y="518397"/>
                    </a:cubicBezTo>
                    <a:cubicBezTo>
                      <a:pt x="1006677" y="248439"/>
                      <a:pt x="788364" y="30127"/>
                      <a:pt x="518402" y="29682"/>
                    </a:cubicBezTo>
                    <a:cubicBezTo>
                      <a:pt x="248441" y="30127"/>
                      <a:pt x="30128" y="248439"/>
                      <a:pt x="29682" y="518397"/>
                    </a:cubicBezTo>
                    <a:cubicBezTo>
                      <a:pt x="30128" y="788355"/>
                      <a:pt x="248441" y="1006667"/>
                      <a:pt x="518402" y="1007112"/>
                    </a:cubicBezTo>
                    <a:lnTo>
                      <a:pt x="518402" y="1036794"/>
                    </a:lnTo>
                    <a:cubicBezTo>
                      <a:pt x="232116" y="1036794"/>
                      <a:pt x="0" y="804680"/>
                      <a:pt x="0" y="518397"/>
                    </a:cubicBezTo>
                    <a:cubicBezTo>
                      <a:pt x="0" y="232114"/>
                      <a:pt x="232116" y="0"/>
                      <a:pt x="518402" y="0"/>
                    </a:cubicBezTo>
                    <a:cubicBezTo>
                      <a:pt x="804689" y="0"/>
                      <a:pt x="1036805" y="232114"/>
                      <a:pt x="1036805" y="518397"/>
                    </a:cubicBezTo>
                    <a:cubicBezTo>
                      <a:pt x="1036805" y="804680"/>
                      <a:pt x="804689" y="1036794"/>
                      <a:pt x="518402" y="1036794"/>
                    </a:cubicBezTo>
                    <a:lnTo>
                      <a:pt x="518402" y="1021953"/>
                    </a:lnTo>
                    <a:close/>
                  </a:path>
                </a:pathLst>
              </a:custGeom>
              <a:gradFill>
                <a:gsLst>
                  <a:gs pos="0">
                    <a:srgbClr val="F3E700"/>
                  </a:gs>
                  <a:gs pos="33000">
                    <a:srgbClr val="8CC3CA"/>
                  </a:gs>
                  <a:gs pos="67000">
                    <a:srgbClr val="2878FF"/>
                  </a:gs>
                  <a:gs pos="100000">
                    <a:srgbClr val="E229E2"/>
                  </a:gs>
                </a:gsLst>
                <a:lin ang="0" scaled="1"/>
              </a:gradFill>
              <a:ln w="14828" cap="flat">
                <a:noFill/>
                <a:prstDash val="solid"/>
                <a:miter/>
              </a:ln>
            </p:spPr>
            <p:txBody>
              <a:bodyPr rtlCol="0" anchor="ctr"/>
              <a:lstStyle/>
              <a:p>
                <a:endParaRPr lang="en-DK"/>
              </a:p>
            </p:txBody>
          </p:sp>
          <p:sp>
            <p:nvSpPr>
              <p:cNvPr id="227" name="Freeform 226">
                <a:extLst>
                  <a:ext uri="{FF2B5EF4-FFF2-40B4-BE49-F238E27FC236}">
                    <a16:creationId xmlns:a16="http://schemas.microsoft.com/office/drawing/2014/main" id="{A069B8EF-577C-7385-47AF-338E4509C555}"/>
                  </a:ext>
                </a:extLst>
              </p:cNvPr>
              <p:cNvSpPr/>
              <p:nvPr/>
            </p:nvSpPr>
            <p:spPr>
              <a:xfrm>
                <a:off x="4751710" y="5433308"/>
                <a:ext cx="170376" cy="170374"/>
              </a:xfrm>
              <a:custGeom>
                <a:avLst/>
                <a:gdLst>
                  <a:gd name="connsiteX0" fmla="*/ 170376 w 170376"/>
                  <a:gd name="connsiteY0" fmla="*/ 85187 h 170374"/>
                  <a:gd name="connsiteX1" fmla="*/ 85188 w 170376"/>
                  <a:gd name="connsiteY1" fmla="*/ 170375 h 170374"/>
                  <a:gd name="connsiteX2" fmla="*/ 0 w 170376"/>
                  <a:gd name="connsiteY2" fmla="*/ 85187 h 170374"/>
                  <a:gd name="connsiteX3" fmla="*/ 85188 w 170376"/>
                  <a:gd name="connsiteY3" fmla="*/ 0 h 170374"/>
                  <a:gd name="connsiteX4" fmla="*/ 170376 w 170376"/>
                  <a:gd name="connsiteY4" fmla="*/ 85187 h 170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376" h="170374">
                    <a:moveTo>
                      <a:pt x="170376" y="85187"/>
                    </a:moveTo>
                    <a:cubicBezTo>
                      <a:pt x="170376" y="132233"/>
                      <a:pt x="132235" y="170375"/>
                      <a:pt x="85188" y="170375"/>
                    </a:cubicBezTo>
                    <a:cubicBezTo>
                      <a:pt x="38142" y="170375"/>
                      <a:pt x="0" y="132233"/>
                      <a:pt x="0" y="85187"/>
                    </a:cubicBezTo>
                    <a:cubicBezTo>
                      <a:pt x="0" y="38141"/>
                      <a:pt x="38142" y="0"/>
                      <a:pt x="85188" y="0"/>
                    </a:cubicBezTo>
                    <a:cubicBezTo>
                      <a:pt x="132235" y="0"/>
                      <a:pt x="170376" y="38141"/>
                      <a:pt x="170376" y="85187"/>
                    </a:cubicBezTo>
                  </a:path>
                </a:pathLst>
              </a:custGeom>
              <a:solidFill>
                <a:srgbClr val="2978FF">
                  <a:alpha val="50000"/>
                </a:srgbClr>
              </a:solidFill>
              <a:ln w="14828" cap="flat">
                <a:noFill/>
                <a:prstDash val="solid"/>
                <a:miter/>
              </a:ln>
            </p:spPr>
            <p:txBody>
              <a:bodyPr rtlCol="0" anchor="ctr"/>
              <a:lstStyle/>
              <a:p>
                <a:endParaRPr lang="en-DK"/>
              </a:p>
            </p:txBody>
          </p:sp>
          <p:sp>
            <p:nvSpPr>
              <p:cNvPr id="228" name="Freeform 227">
                <a:extLst>
                  <a:ext uri="{FF2B5EF4-FFF2-40B4-BE49-F238E27FC236}">
                    <a16:creationId xmlns:a16="http://schemas.microsoft.com/office/drawing/2014/main" id="{9C0A6A93-BD76-B3DB-BD92-AEAD6412C1BD}"/>
                  </a:ext>
                </a:extLst>
              </p:cNvPr>
              <p:cNvSpPr/>
              <p:nvPr/>
            </p:nvSpPr>
            <p:spPr>
              <a:xfrm>
                <a:off x="4746515" y="5428113"/>
                <a:ext cx="180765" cy="180763"/>
              </a:xfrm>
              <a:custGeom>
                <a:avLst/>
                <a:gdLst>
                  <a:gd name="connsiteX0" fmla="*/ 90383 w 180765"/>
                  <a:gd name="connsiteY0" fmla="*/ 10240 h 180763"/>
                  <a:gd name="connsiteX1" fmla="*/ 10389 w 180765"/>
                  <a:gd name="connsiteY1" fmla="*/ 90233 h 180763"/>
                  <a:gd name="connsiteX2" fmla="*/ 90383 w 180765"/>
                  <a:gd name="connsiteY2" fmla="*/ 170227 h 180763"/>
                  <a:gd name="connsiteX3" fmla="*/ 170377 w 180765"/>
                  <a:gd name="connsiteY3" fmla="*/ 90233 h 180763"/>
                  <a:gd name="connsiteX4" fmla="*/ 90383 w 180765"/>
                  <a:gd name="connsiteY4" fmla="*/ 10240 h 180763"/>
                  <a:gd name="connsiteX5" fmla="*/ 90383 w 180765"/>
                  <a:gd name="connsiteY5" fmla="*/ 180764 h 180763"/>
                  <a:gd name="connsiteX6" fmla="*/ 0 w 180765"/>
                  <a:gd name="connsiteY6" fmla="*/ 90382 h 180763"/>
                  <a:gd name="connsiteX7" fmla="*/ 90383 w 180765"/>
                  <a:gd name="connsiteY7" fmla="*/ 0 h 180763"/>
                  <a:gd name="connsiteX8" fmla="*/ 180765 w 180765"/>
                  <a:gd name="connsiteY8" fmla="*/ 90382 h 180763"/>
                  <a:gd name="connsiteX9" fmla="*/ 90383 w 180765"/>
                  <a:gd name="connsiteY9" fmla="*/ 180764 h 18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765" h="180763">
                    <a:moveTo>
                      <a:pt x="90383" y="10240"/>
                    </a:moveTo>
                    <a:cubicBezTo>
                      <a:pt x="46156" y="10240"/>
                      <a:pt x="10389" y="46156"/>
                      <a:pt x="10389" y="90233"/>
                    </a:cubicBezTo>
                    <a:cubicBezTo>
                      <a:pt x="10389" y="134311"/>
                      <a:pt x="46304" y="170227"/>
                      <a:pt x="90383" y="170227"/>
                    </a:cubicBezTo>
                    <a:cubicBezTo>
                      <a:pt x="134461" y="170227"/>
                      <a:pt x="170377" y="134311"/>
                      <a:pt x="170377" y="90233"/>
                    </a:cubicBezTo>
                    <a:cubicBezTo>
                      <a:pt x="170377" y="46156"/>
                      <a:pt x="134461" y="10240"/>
                      <a:pt x="90383" y="10240"/>
                    </a:cubicBezTo>
                    <a:moveTo>
                      <a:pt x="90383" y="180764"/>
                    </a:moveTo>
                    <a:cubicBezTo>
                      <a:pt x="40517" y="180764"/>
                      <a:pt x="0" y="140248"/>
                      <a:pt x="0" y="90382"/>
                    </a:cubicBezTo>
                    <a:cubicBezTo>
                      <a:pt x="0" y="40516"/>
                      <a:pt x="40517" y="0"/>
                      <a:pt x="90383" y="0"/>
                    </a:cubicBezTo>
                    <a:cubicBezTo>
                      <a:pt x="140249" y="0"/>
                      <a:pt x="180765" y="40516"/>
                      <a:pt x="180765" y="90382"/>
                    </a:cubicBezTo>
                    <a:cubicBezTo>
                      <a:pt x="180765" y="140248"/>
                      <a:pt x="140249" y="180764"/>
                      <a:pt x="90383" y="180764"/>
                    </a:cubicBezTo>
                  </a:path>
                </a:pathLst>
              </a:custGeom>
              <a:solidFill>
                <a:srgbClr val="FFFFFF"/>
              </a:solidFill>
              <a:ln w="14828" cap="flat">
                <a:noFill/>
                <a:prstDash val="solid"/>
                <a:miter/>
              </a:ln>
            </p:spPr>
            <p:txBody>
              <a:bodyPr rtlCol="0" anchor="ctr"/>
              <a:lstStyle/>
              <a:p>
                <a:endParaRPr lang="en-DK"/>
              </a:p>
            </p:txBody>
          </p:sp>
          <p:sp>
            <p:nvSpPr>
              <p:cNvPr id="229" name="Freeform 228">
                <a:extLst>
                  <a:ext uri="{FF2B5EF4-FFF2-40B4-BE49-F238E27FC236}">
                    <a16:creationId xmlns:a16="http://schemas.microsoft.com/office/drawing/2014/main" id="{0EC3FB63-B5A2-C6E7-B76E-548D882FE058}"/>
                  </a:ext>
                </a:extLst>
              </p:cNvPr>
              <p:cNvSpPr/>
              <p:nvPr/>
            </p:nvSpPr>
            <p:spPr>
              <a:xfrm>
                <a:off x="4969430" y="5537343"/>
                <a:ext cx="94686" cy="94685"/>
              </a:xfrm>
              <a:custGeom>
                <a:avLst/>
                <a:gdLst>
                  <a:gd name="connsiteX0" fmla="*/ 94687 w 94686"/>
                  <a:gd name="connsiteY0" fmla="*/ 47343 h 94685"/>
                  <a:gd name="connsiteX1" fmla="*/ 47343 w 94686"/>
                  <a:gd name="connsiteY1" fmla="*/ 94686 h 94685"/>
                  <a:gd name="connsiteX2" fmla="*/ 0 w 94686"/>
                  <a:gd name="connsiteY2" fmla="*/ 47343 h 94685"/>
                  <a:gd name="connsiteX3" fmla="*/ 47343 w 94686"/>
                  <a:gd name="connsiteY3" fmla="*/ 0 h 94685"/>
                  <a:gd name="connsiteX4" fmla="*/ 94687 w 94686"/>
                  <a:gd name="connsiteY4" fmla="*/ 47343 h 94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86" h="94685">
                    <a:moveTo>
                      <a:pt x="94687" y="47343"/>
                    </a:moveTo>
                    <a:cubicBezTo>
                      <a:pt x="94687" y="73463"/>
                      <a:pt x="73464" y="94686"/>
                      <a:pt x="47343" y="94686"/>
                    </a:cubicBezTo>
                    <a:cubicBezTo>
                      <a:pt x="21223" y="94686"/>
                      <a:pt x="0" y="73463"/>
                      <a:pt x="0" y="47343"/>
                    </a:cubicBezTo>
                    <a:cubicBezTo>
                      <a:pt x="0" y="21223"/>
                      <a:pt x="21223" y="0"/>
                      <a:pt x="47343" y="0"/>
                    </a:cubicBezTo>
                    <a:cubicBezTo>
                      <a:pt x="73464" y="0"/>
                      <a:pt x="94687" y="21223"/>
                      <a:pt x="94687" y="47343"/>
                    </a:cubicBezTo>
                  </a:path>
                </a:pathLst>
              </a:custGeom>
              <a:solidFill>
                <a:srgbClr val="2978FF">
                  <a:alpha val="50000"/>
                </a:srgbClr>
              </a:solidFill>
              <a:ln w="14828" cap="flat">
                <a:noFill/>
                <a:prstDash val="solid"/>
                <a:miter/>
              </a:ln>
            </p:spPr>
            <p:txBody>
              <a:bodyPr rtlCol="0" anchor="ctr"/>
              <a:lstStyle/>
              <a:p>
                <a:endParaRPr lang="en-DK"/>
              </a:p>
            </p:txBody>
          </p:sp>
          <p:sp>
            <p:nvSpPr>
              <p:cNvPr id="230" name="Freeform 229">
                <a:extLst>
                  <a:ext uri="{FF2B5EF4-FFF2-40B4-BE49-F238E27FC236}">
                    <a16:creationId xmlns:a16="http://schemas.microsoft.com/office/drawing/2014/main" id="{41A62C40-3698-CD83-BC74-F93053F6E789}"/>
                  </a:ext>
                </a:extLst>
              </p:cNvPr>
              <p:cNvSpPr/>
              <p:nvPr/>
            </p:nvSpPr>
            <p:spPr>
              <a:xfrm>
                <a:off x="4964236" y="5532149"/>
                <a:ext cx="105075" cy="105074"/>
              </a:xfrm>
              <a:custGeom>
                <a:avLst/>
                <a:gdLst>
                  <a:gd name="connsiteX0" fmla="*/ 52537 w 105075"/>
                  <a:gd name="connsiteY0" fmla="*/ 10389 h 105074"/>
                  <a:gd name="connsiteX1" fmla="*/ 10389 w 105075"/>
                  <a:gd name="connsiteY1" fmla="*/ 52537 h 105074"/>
                  <a:gd name="connsiteX2" fmla="*/ 52537 w 105075"/>
                  <a:gd name="connsiteY2" fmla="*/ 94686 h 105074"/>
                  <a:gd name="connsiteX3" fmla="*/ 94686 w 105075"/>
                  <a:gd name="connsiteY3" fmla="*/ 52537 h 105074"/>
                  <a:gd name="connsiteX4" fmla="*/ 52537 w 105075"/>
                  <a:gd name="connsiteY4" fmla="*/ 10389 h 105074"/>
                  <a:gd name="connsiteX5" fmla="*/ 52537 w 105075"/>
                  <a:gd name="connsiteY5" fmla="*/ 105075 h 105074"/>
                  <a:gd name="connsiteX6" fmla="*/ 0 w 105075"/>
                  <a:gd name="connsiteY6" fmla="*/ 52537 h 105074"/>
                  <a:gd name="connsiteX7" fmla="*/ 52537 w 105075"/>
                  <a:gd name="connsiteY7" fmla="*/ 0 h 105074"/>
                  <a:gd name="connsiteX8" fmla="*/ 105075 w 105075"/>
                  <a:gd name="connsiteY8" fmla="*/ 52537 h 105074"/>
                  <a:gd name="connsiteX9" fmla="*/ 52537 w 105075"/>
                  <a:gd name="connsiteY9" fmla="*/ 105075 h 10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075" h="105074">
                    <a:moveTo>
                      <a:pt x="52537" y="10389"/>
                    </a:moveTo>
                    <a:cubicBezTo>
                      <a:pt x="29237" y="10389"/>
                      <a:pt x="10389" y="29385"/>
                      <a:pt x="10389" y="52537"/>
                    </a:cubicBezTo>
                    <a:cubicBezTo>
                      <a:pt x="10389" y="75689"/>
                      <a:pt x="29385" y="94686"/>
                      <a:pt x="52537" y="94686"/>
                    </a:cubicBezTo>
                    <a:cubicBezTo>
                      <a:pt x="75690" y="94686"/>
                      <a:pt x="94686" y="75689"/>
                      <a:pt x="94686" y="52537"/>
                    </a:cubicBezTo>
                    <a:cubicBezTo>
                      <a:pt x="94686" y="29385"/>
                      <a:pt x="75690" y="10389"/>
                      <a:pt x="52537" y="10389"/>
                    </a:cubicBezTo>
                    <a:moveTo>
                      <a:pt x="52537" y="105075"/>
                    </a:moveTo>
                    <a:cubicBezTo>
                      <a:pt x="23597" y="105075"/>
                      <a:pt x="0" y="81477"/>
                      <a:pt x="0" y="52537"/>
                    </a:cubicBezTo>
                    <a:cubicBezTo>
                      <a:pt x="0" y="23597"/>
                      <a:pt x="23597" y="0"/>
                      <a:pt x="52537" y="0"/>
                    </a:cubicBezTo>
                    <a:cubicBezTo>
                      <a:pt x="81478" y="0"/>
                      <a:pt x="105075" y="23597"/>
                      <a:pt x="105075" y="52537"/>
                    </a:cubicBezTo>
                    <a:cubicBezTo>
                      <a:pt x="105075" y="81477"/>
                      <a:pt x="81478" y="105075"/>
                      <a:pt x="52537" y="105075"/>
                    </a:cubicBezTo>
                  </a:path>
                </a:pathLst>
              </a:custGeom>
              <a:solidFill>
                <a:srgbClr val="FFFFFF"/>
              </a:solidFill>
              <a:ln w="14828" cap="flat">
                <a:noFill/>
                <a:prstDash val="solid"/>
                <a:miter/>
              </a:ln>
            </p:spPr>
            <p:txBody>
              <a:bodyPr rtlCol="0" anchor="ctr"/>
              <a:lstStyle/>
              <a:p>
                <a:endParaRPr lang="en-DK"/>
              </a:p>
            </p:txBody>
          </p:sp>
          <p:sp>
            <p:nvSpPr>
              <p:cNvPr id="231" name="Freeform 230">
                <a:extLst>
                  <a:ext uri="{FF2B5EF4-FFF2-40B4-BE49-F238E27FC236}">
                    <a16:creationId xmlns:a16="http://schemas.microsoft.com/office/drawing/2014/main" id="{C2FD1B5B-2F7F-90E4-2F1D-C26DE63D78F4}"/>
                  </a:ext>
                </a:extLst>
              </p:cNvPr>
              <p:cNvSpPr/>
              <p:nvPr/>
            </p:nvSpPr>
            <p:spPr>
              <a:xfrm>
                <a:off x="4888567" y="5232679"/>
                <a:ext cx="86034" cy="86056"/>
              </a:xfrm>
              <a:custGeom>
                <a:avLst/>
                <a:gdLst>
                  <a:gd name="connsiteX0" fmla="*/ 43018 w 86034"/>
                  <a:gd name="connsiteY0" fmla="*/ 10367 h 86056"/>
                  <a:gd name="connsiteX1" fmla="*/ 33371 w 86034"/>
                  <a:gd name="connsiteY1" fmla="*/ 11851 h 86056"/>
                  <a:gd name="connsiteX2" fmla="*/ 11702 w 86034"/>
                  <a:gd name="connsiteY2" fmla="*/ 52812 h 86056"/>
                  <a:gd name="connsiteX3" fmla="*/ 52664 w 86034"/>
                  <a:gd name="connsiteY3" fmla="*/ 74480 h 86056"/>
                  <a:gd name="connsiteX4" fmla="*/ 74332 w 86034"/>
                  <a:gd name="connsiteY4" fmla="*/ 33519 h 86056"/>
                  <a:gd name="connsiteX5" fmla="*/ 43018 w 86034"/>
                  <a:gd name="connsiteY5" fmla="*/ 10515 h 86056"/>
                  <a:gd name="connsiteX6" fmla="*/ 43018 w 86034"/>
                  <a:gd name="connsiteY6" fmla="*/ 86056 h 86056"/>
                  <a:gd name="connsiteX7" fmla="*/ 1908 w 86034"/>
                  <a:gd name="connsiteY7" fmla="*/ 55780 h 86056"/>
                  <a:gd name="connsiteX8" fmla="*/ 30254 w 86034"/>
                  <a:gd name="connsiteY8" fmla="*/ 1908 h 86056"/>
                  <a:gd name="connsiteX9" fmla="*/ 84127 w 86034"/>
                  <a:gd name="connsiteY9" fmla="*/ 30254 h 86056"/>
                  <a:gd name="connsiteX10" fmla="*/ 55633 w 86034"/>
                  <a:gd name="connsiteY10" fmla="*/ 84127 h 86056"/>
                  <a:gd name="connsiteX11" fmla="*/ 43018 w 86034"/>
                  <a:gd name="connsiteY11" fmla="*/ 86056 h 86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034" h="86056">
                    <a:moveTo>
                      <a:pt x="43018" y="10367"/>
                    </a:moveTo>
                    <a:cubicBezTo>
                      <a:pt x="39752" y="10367"/>
                      <a:pt x="36636" y="10812"/>
                      <a:pt x="33371" y="11851"/>
                    </a:cubicBezTo>
                    <a:cubicBezTo>
                      <a:pt x="16155" y="17194"/>
                      <a:pt x="6360" y="35597"/>
                      <a:pt x="11702" y="52812"/>
                    </a:cubicBezTo>
                    <a:cubicBezTo>
                      <a:pt x="17045" y="70028"/>
                      <a:pt x="35448" y="79674"/>
                      <a:pt x="52664" y="74480"/>
                    </a:cubicBezTo>
                    <a:cubicBezTo>
                      <a:pt x="69880" y="69137"/>
                      <a:pt x="79675" y="50734"/>
                      <a:pt x="74332" y="33519"/>
                    </a:cubicBezTo>
                    <a:cubicBezTo>
                      <a:pt x="70029" y="19420"/>
                      <a:pt x="56968" y="10515"/>
                      <a:pt x="43018" y="10515"/>
                    </a:cubicBezTo>
                    <a:moveTo>
                      <a:pt x="43018" y="86056"/>
                    </a:moveTo>
                    <a:cubicBezTo>
                      <a:pt x="24615" y="86056"/>
                      <a:pt x="7547" y="74183"/>
                      <a:pt x="1908" y="55780"/>
                    </a:cubicBezTo>
                    <a:cubicBezTo>
                      <a:pt x="-5068" y="33074"/>
                      <a:pt x="7695" y="9031"/>
                      <a:pt x="30254" y="1908"/>
                    </a:cubicBezTo>
                    <a:cubicBezTo>
                      <a:pt x="52813" y="-5068"/>
                      <a:pt x="77004" y="7696"/>
                      <a:pt x="84127" y="30254"/>
                    </a:cubicBezTo>
                    <a:cubicBezTo>
                      <a:pt x="91103" y="52961"/>
                      <a:pt x="78340" y="77003"/>
                      <a:pt x="55633" y="84127"/>
                    </a:cubicBezTo>
                    <a:cubicBezTo>
                      <a:pt x="51477" y="85462"/>
                      <a:pt x="47173" y="86056"/>
                      <a:pt x="43018" y="86056"/>
                    </a:cubicBezTo>
                  </a:path>
                </a:pathLst>
              </a:custGeom>
              <a:solidFill>
                <a:srgbClr val="FFFFFF"/>
              </a:solidFill>
              <a:ln w="14828" cap="flat">
                <a:noFill/>
                <a:prstDash val="solid"/>
                <a:miter/>
              </a:ln>
            </p:spPr>
            <p:txBody>
              <a:bodyPr rtlCol="0" anchor="ctr"/>
              <a:lstStyle/>
              <a:p>
                <a:endParaRPr lang="en-DK"/>
              </a:p>
            </p:txBody>
          </p:sp>
          <p:sp>
            <p:nvSpPr>
              <p:cNvPr id="232" name="Freeform 231">
                <a:extLst>
                  <a:ext uri="{FF2B5EF4-FFF2-40B4-BE49-F238E27FC236}">
                    <a16:creationId xmlns:a16="http://schemas.microsoft.com/office/drawing/2014/main" id="{8044DC86-3FF2-62D1-1A0D-626FFF0F4C8E}"/>
                  </a:ext>
                </a:extLst>
              </p:cNvPr>
              <p:cNvSpPr/>
              <p:nvPr/>
            </p:nvSpPr>
            <p:spPr>
              <a:xfrm>
                <a:off x="4798941" y="5291167"/>
                <a:ext cx="37920" cy="37919"/>
              </a:xfrm>
              <a:custGeom>
                <a:avLst/>
                <a:gdLst>
                  <a:gd name="connsiteX0" fmla="*/ 36473 w 37920"/>
                  <a:gd name="connsiteY0" fmla="*/ 11688 h 37919"/>
                  <a:gd name="connsiteX1" fmla="*/ 26232 w 37920"/>
                  <a:gd name="connsiteY1" fmla="*/ 36472 h 37919"/>
                  <a:gd name="connsiteX2" fmla="*/ 1448 w 37920"/>
                  <a:gd name="connsiteY2" fmla="*/ 26232 h 37919"/>
                  <a:gd name="connsiteX3" fmla="*/ 11688 w 37920"/>
                  <a:gd name="connsiteY3" fmla="*/ 1447 h 37919"/>
                  <a:gd name="connsiteX4" fmla="*/ 36473 w 37920"/>
                  <a:gd name="connsiteY4" fmla="*/ 11688 h 37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20" h="37919">
                    <a:moveTo>
                      <a:pt x="36473" y="11688"/>
                    </a:moveTo>
                    <a:cubicBezTo>
                      <a:pt x="40480" y="21335"/>
                      <a:pt x="35879" y="32465"/>
                      <a:pt x="26232" y="36472"/>
                    </a:cubicBezTo>
                    <a:cubicBezTo>
                      <a:pt x="16585" y="40479"/>
                      <a:pt x="5455" y="35879"/>
                      <a:pt x="1448" y="26232"/>
                    </a:cubicBezTo>
                    <a:cubicBezTo>
                      <a:pt x="-2560" y="16585"/>
                      <a:pt x="2041" y="5455"/>
                      <a:pt x="11688" y="1447"/>
                    </a:cubicBezTo>
                    <a:cubicBezTo>
                      <a:pt x="21335" y="-2559"/>
                      <a:pt x="32466" y="2041"/>
                      <a:pt x="36473" y="11688"/>
                    </a:cubicBezTo>
                  </a:path>
                </a:pathLst>
              </a:custGeom>
              <a:solidFill>
                <a:srgbClr val="2978FF">
                  <a:alpha val="50000"/>
                </a:srgbClr>
              </a:solidFill>
              <a:ln w="14828" cap="flat">
                <a:noFill/>
                <a:prstDash val="solid"/>
                <a:miter/>
              </a:ln>
            </p:spPr>
            <p:txBody>
              <a:bodyPr rtlCol="0" anchor="ctr"/>
              <a:lstStyle/>
              <a:p>
                <a:endParaRPr lang="en-DK"/>
              </a:p>
            </p:txBody>
          </p:sp>
          <p:sp>
            <p:nvSpPr>
              <p:cNvPr id="233" name="Freeform 232">
                <a:extLst>
                  <a:ext uri="{FF2B5EF4-FFF2-40B4-BE49-F238E27FC236}">
                    <a16:creationId xmlns:a16="http://schemas.microsoft.com/office/drawing/2014/main" id="{5437B7CF-CC5C-B7C7-0A69-B89030CA92E3}"/>
                  </a:ext>
                </a:extLst>
              </p:cNvPr>
              <p:cNvSpPr/>
              <p:nvPr/>
            </p:nvSpPr>
            <p:spPr>
              <a:xfrm>
                <a:off x="4793967" y="5286131"/>
                <a:ext cx="48236" cy="48187"/>
              </a:xfrm>
              <a:custGeom>
                <a:avLst/>
                <a:gdLst>
                  <a:gd name="connsiteX0" fmla="*/ 24083 w 48236"/>
                  <a:gd name="connsiteY0" fmla="*/ 10194 h 48187"/>
                  <a:gd name="connsiteX1" fmla="*/ 18740 w 48236"/>
                  <a:gd name="connsiteY1" fmla="*/ 11233 h 48187"/>
                  <a:gd name="connsiteX2" fmla="*/ 11319 w 48236"/>
                  <a:gd name="connsiteY2" fmla="*/ 18654 h 48187"/>
                  <a:gd name="connsiteX3" fmla="*/ 11319 w 48236"/>
                  <a:gd name="connsiteY3" fmla="*/ 29191 h 48187"/>
                  <a:gd name="connsiteX4" fmla="*/ 18740 w 48236"/>
                  <a:gd name="connsiteY4" fmla="*/ 36611 h 48187"/>
                  <a:gd name="connsiteX5" fmla="*/ 29277 w 48236"/>
                  <a:gd name="connsiteY5" fmla="*/ 36611 h 48187"/>
                  <a:gd name="connsiteX6" fmla="*/ 36698 w 48236"/>
                  <a:gd name="connsiteY6" fmla="*/ 29191 h 48187"/>
                  <a:gd name="connsiteX7" fmla="*/ 36698 w 48236"/>
                  <a:gd name="connsiteY7" fmla="*/ 18654 h 48187"/>
                  <a:gd name="connsiteX8" fmla="*/ 29277 w 48236"/>
                  <a:gd name="connsiteY8" fmla="*/ 11233 h 48187"/>
                  <a:gd name="connsiteX9" fmla="*/ 24083 w 48236"/>
                  <a:gd name="connsiteY9" fmla="*/ 10194 h 48187"/>
                  <a:gd name="connsiteX10" fmla="*/ 24083 w 48236"/>
                  <a:gd name="connsiteY10" fmla="*/ 48187 h 48187"/>
                  <a:gd name="connsiteX11" fmla="*/ 1821 w 48236"/>
                  <a:gd name="connsiteY11" fmla="*/ 33346 h 48187"/>
                  <a:gd name="connsiteX12" fmla="*/ 14881 w 48236"/>
                  <a:gd name="connsiteY12" fmla="*/ 1883 h 48187"/>
                  <a:gd name="connsiteX13" fmla="*/ 46345 w 48236"/>
                  <a:gd name="connsiteY13" fmla="*/ 14943 h 48187"/>
                  <a:gd name="connsiteX14" fmla="*/ 46345 w 48236"/>
                  <a:gd name="connsiteY14" fmla="*/ 33346 h 48187"/>
                  <a:gd name="connsiteX15" fmla="*/ 33284 w 48236"/>
                  <a:gd name="connsiteY15" fmla="*/ 46406 h 48187"/>
                  <a:gd name="connsiteX16" fmla="*/ 24083 w 48236"/>
                  <a:gd name="connsiteY16" fmla="*/ 48187 h 4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36" h="48187">
                    <a:moveTo>
                      <a:pt x="24083" y="10194"/>
                    </a:moveTo>
                    <a:cubicBezTo>
                      <a:pt x="22302" y="10194"/>
                      <a:pt x="20521" y="10491"/>
                      <a:pt x="18740" y="11233"/>
                    </a:cubicBezTo>
                    <a:cubicBezTo>
                      <a:pt x="15327" y="12717"/>
                      <a:pt x="12655" y="15240"/>
                      <a:pt x="11319" y="18654"/>
                    </a:cubicBezTo>
                    <a:cubicBezTo>
                      <a:pt x="9835" y="22067"/>
                      <a:pt x="9835" y="25777"/>
                      <a:pt x="11319" y="29191"/>
                    </a:cubicBezTo>
                    <a:cubicBezTo>
                      <a:pt x="12803" y="32604"/>
                      <a:pt x="15327" y="35276"/>
                      <a:pt x="18740" y="36611"/>
                    </a:cubicBezTo>
                    <a:cubicBezTo>
                      <a:pt x="22154" y="38095"/>
                      <a:pt x="25864" y="37947"/>
                      <a:pt x="29277" y="36611"/>
                    </a:cubicBezTo>
                    <a:cubicBezTo>
                      <a:pt x="32691" y="35276"/>
                      <a:pt x="35362" y="32604"/>
                      <a:pt x="36698" y="29191"/>
                    </a:cubicBezTo>
                    <a:cubicBezTo>
                      <a:pt x="38182" y="25777"/>
                      <a:pt x="38034" y="22067"/>
                      <a:pt x="36698" y="18654"/>
                    </a:cubicBezTo>
                    <a:cubicBezTo>
                      <a:pt x="35214" y="15240"/>
                      <a:pt x="32691" y="12569"/>
                      <a:pt x="29277" y="11233"/>
                    </a:cubicBezTo>
                    <a:cubicBezTo>
                      <a:pt x="27645" y="10491"/>
                      <a:pt x="25864" y="10194"/>
                      <a:pt x="24083" y="10194"/>
                    </a:cubicBezTo>
                    <a:moveTo>
                      <a:pt x="24083" y="48187"/>
                    </a:moveTo>
                    <a:cubicBezTo>
                      <a:pt x="14584" y="48187"/>
                      <a:pt x="5680" y="42548"/>
                      <a:pt x="1821" y="33346"/>
                    </a:cubicBezTo>
                    <a:cubicBezTo>
                      <a:pt x="-3225" y="21028"/>
                      <a:pt x="2563" y="6929"/>
                      <a:pt x="14881" y="1883"/>
                    </a:cubicBezTo>
                    <a:cubicBezTo>
                      <a:pt x="27199" y="-3311"/>
                      <a:pt x="41299" y="2625"/>
                      <a:pt x="46345" y="14943"/>
                    </a:cubicBezTo>
                    <a:cubicBezTo>
                      <a:pt x="48867" y="20880"/>
                      <a:pt x="48867" y="27410"/>
                      <a:pt x="46345" y="33346"/>
                    </a:cubicBezTo>
                    <a:cubicBezTo>
                      <a:pt x="43822" y="39283"/>
                      <a:pt x="39221" y="43883"/>
                      <a:pt x="33284" y="46406"/>
                    </a:cubicBezTo>
                    <a:cubicBezTo>
                      <a:pt x="30316" y="47594"/>
                      <a:pt x="27199" y="48187"/>
                      <a:pt x="24083" y="48187"/>
                    </a:cubicBezTo>
                  </a:path>
                </a:pathLst>
              </a:custGeom>
              <a:solidFill>
                <a:srgbClr val="FFFFFF"/>
              </a:solidFill>
              <a:ln w="14828" cap="flat">
                <a:noFill/>
                <a:prstDash val="solid"/>
                <a:miter/>
              </a:ln>
            </p:spPr>
            <p:txBody>
              <a:bodyPr rtlCol="0" anchor="ctr"/>
              <a:lstStyle/>
              <a:p>
                <a:endParaRPr lang="en-DK"/>
              </a:p>
            </p:txBody>
          </p:sp>
          <p:sp>
            <p:nvSpPr>
              <p:cNvPr id="234" name="Freeform 233">
                <a:extLst>
                  <a:ext uri="{FF2B5EF4-FFF2-40B4-BE49-F238E27FC236}">
                    <a16:creationId xmlns:a16="http://schemas.microsoft.com/office/drawing/2014/main" id="{75AB431F-06C8-A1A3-331D-7DA5D3CC4CA3}"/>
                  </a:ext>
                </a:extLst>
              </p:cNvPr>
              <p:cNvSpPr/>
              <p:nvPr/>
            </p:nvSpPr>
            <p:spPr>
              <a:xfrm>
                <a:off x="4614132" y="5257738"/>
                <a:ext cx="123775" cy="123922"/>
              </a:xfrm>
              <a:custGeom>
                <a:avLst/>
                <a:gdLst>
                  <a:gd name="connsiteX0" fmla="*/ 61888 w 123775"/>
                  <a:gd name="connsiteY0" fmla="*/ 10240 h 123922"/>
                  <a:gd name="connsiteX1" fmla="*/ 10240 w 123775"/>
                  <a:gd name="connsiteY1" fmla="*/ 61887 h 123922"/>
                  <a:gd name="connsiteX2" fmla="*/ 61888 w 123775"/>
                  <a:gd name="connsiteY2" fmla="*/ 113534 h 123922"/>
                  <a:gd name="connsiteX3" fmla="*/ 113535 w 123775"/>
                  <a:gd name="connsiteY3" fmla="*/ 61887 h 123922"/>
                  <a:gd name="connsiteX4" fmla="*/ 61888 w 123775"/>
                  <a:gd name="connsiteY4" fmla="*/ 10240 h 123922"/>
                  <a:gd name="connsiteX5" fmla="*/ 61888 w 123775"/>
                  <a:gd name="connsiteY5" fmla="*/ 123922 h 123922"/>
                  <a:gd name="connsiteX6" fmla="*/ 0 w 123775"/>
                  <a:gd name="connsiteY6" fmla="*/ 61887 h 123922"/>
                  <a:gd name="connsiteX7" fmla="*/ 61888 w 123775"/>
                  <a:gd name="connsiteY7" fmla="*/ 0 h 123922"/>
                  <a:gd name="connsiteX8" fmla="*/ 123776 w 123775"/>
                  <a:gd name="connsiteY8" fmla="*/ 61887 h 123922"/>
                  <a:gd name="connsiteX9" fmla="*/ 61888 w 123775"/>
                  <a:gd name="connsiteY9" fmla="*/ 123922 h 12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 h="123922">
                    <a:moveTo>
                      <a:pt x="61888" y="10240"/>
                    </a:moveTo>
                    <a:cubicBezTo>
                      <a:pt x="33393" y="10240"/>
                      <a:pt x="10240" y="33392"/>
                      <a:pt x="10240" y="61887"/>
                    </a:cubicBezTo>
                    <a:cubicBezTo>
                      <a:pt x="10240" y="90382"/>
                      <a:pt x="33393" y="113534"/>
                      <a:pt x="61888" y="113534"/>
                    </a:cubicBezTo>
                    <a:cubicBezTo>
                      <a:pt x="90383" y="113534"/>
                      <a:pt x="113535" y="90382"/>
                      <a:pt x="113535" y="61887"/>
                    </a:cubicBezTo>
                    <a:cubicBezTo>
                      <a:pt x="113535" y="33392"/>
                      <a:pt x="90383" y="10240"/>
                      <a:pt x="61888" y="10240"/>
                    </a:cubicBezTo>
                    <a:moveTo>
                      <a:pt x="61888" y="123922"/>
                    </a:moveTo>
                    <a:cubicBezTo>
                      <a:pt x="27753" y="123922"/>
                      <a:pt x="0" y="96170"/>
                      <a:pt x="0" y="61887"/>
                    </a:cubicBezTo>
                    <a:cubicBezTo>
                      <a:pt x="0" y="27604"/>
                      <a:pt x="27753" y="0"/>
                      <a:pt x="61888" y="0"/>
                    </a:cubicBezTo>
                    <a:cubicBezTo>
                      <a:pt x="96022" y="0"/>
                      <a:pt x="123776" y="27753"/>
                      <a:pt x="123776" y="61887"/>
                    </a:cubicBezTo>
                    <a:cubicBezTo>
                      <a:pt x="123776" y="96021"/>
                      <a:pt x="96022" y="123922"/>
                      <a:pt x="61888" y="123922"/>
                    </a:cubicBezTo>
                  </a:path>
                </a:pathLst>
              </a:custGeom>
              <a:solidFill>
                <a:srgbClr val="FFFFFF"/>
              </a:solidFill>
              <a:ln w="14828" cap="flat">
                <a:noFill/>
                <a:prstDash val="solid"/>
                <a:miter/>
              </a:ln>
            </p:spPr>
            <p:txBody>
              <a:bodyPr rtlCol="0" anchor="ctr"/>
              <a:lstStyle/>
              <a:p>
                <a:endParaRPr lang="en-DK"/>
              </a:p>
            </p:txBody>
          </p:sp>
          <p:sp>
            <p:nvSpPr>
              <p:cNvPr id="235" name="Freeform 234">
                <a:extLst>
                  <a:ext uri="{FF2B5EF4-FFF2-40B4-BE49-F238E27FC236}">
                    <a16:creationId xmlns:a16="http://schemas.microsoft.com/office/drawing/2014/main" id="{E921A87C-98FB-1E14-0D8F-3BCA96A2EA1E}"/>
                  </a:ext>
                </a:extLst>
              </p:cNvPr>
              <p:cNvSpPr/>
              <p:nvPr/>
            </p:nvSpPr>
            <p:spPr>
              <a:xfrm>
                <a:off x="4642478" y="5655329"/>
                <a:ext cx="123775" cy="123922"/>
              </a:xfrm>
              <a:custGeom>
                <a:avLst/>
                <a:gdLst>
                  <a:gd name="connsiteX0" fmla="*/ 61888 w 123775"/>
                  <a:gd name="connsiteY0" fmla="*/ 10240 h 123922"/>
                  <a:gd name="connsiteX1" fmla="*/ 10240 w 123775"/>
                  <a:gd name="connsiteY1" fmla="*/ 61887 h 123922"/>
                  <a:gd name="connsiteX2" fmla="*/ 61888 w 123775"/>
                  <a:gd name="connsiteY2" fmla="*/ 113534 h 123922"/>
                  <a:gd name="connsiteX3" fmla="*/ 113535 w 123775"/>
                  <a:gd name="connsiteY3" fmla="*/ 61887 h 123922"/>
                  <a:gd name="connsiteX4" fmla="*/ 61888 w 123775"/>
                  <a:gd name="connsiteY4" fmla="*/ 10240 h 123922"/>
                  <a:gd name="connsiteX5" fmla="*/ 61888 w 123775"/>
                  <a:gd name="connsiteY5" fmla="*/ 123923 h 123922"/>
                  <a:gd name="connsiteX6" fmla="*/ 0 w 123775"/>
                  <a:gd name="connsiteY6" fmla="*/ 62036 h 123922"/>
                  <a:gd name="connsiteX7" fmla="*/ 61888 w 123775"/>
                  <a:gd name="connsiteY7" fmla="*/ 0 h 123922"/>
                  <a:gd name="connsiteX8" fmla="*/ 123775 w 123775"/>
                  <a:gd name="connsiteY8" fmla="*/ 62036 h 123922"/>
                  <a:gd name="connsiteX9" fmla="*/ 61888 w 123775"/>
                  <a:gd name="connsiteY9" fmla="*/ 123923 h 12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 h="123922">
                    <a:moveTo>
                      <a:pt x="61888" y="10240"/>
                    </a:moveTo>
                    <a:cubicBezTo>
                      <a:pt x="33393" y="10240"/>
                      <a:pt x="10240" y="33392"/>
                      <a:pt x="10240" y="61887"/>
                    </a:cubicBezTo>
                    <a:cubicBezTo>
                      <a:pt x="10240" y="90382"/>
                      <a:pt x="33393" y="113534"/>
                      <a:pt x="61888" y="113534"/>
                    </a:cubicBezTo>
                    <a:cubicBezTo>
                      <a:pt x="90383" y="113534"/>
                      <a:pt x="113535" y="90382"/>
                      <a:pt x="113535" y="61887"/>
                    </a:cubicBezTo>
                    <a:cubicBezTo>
                      <a:pt x="113535" y="33392"/>
                      <a:pt x="90383" y="10240"/>
                      <a:pt x="61888" y="10240"/>
                    </a:cubicBezTo>
                    <a:moveTo>
                      <a:pt x="61888" y="123923"/>
                    </a:moveTo>
                    <a:cubicBezTo>
                      <a:pt x="27753" y="123923"/>
                      <a:pt x="0" y="96170"/>
                      <a:pt x="0" y="62036"/>
                    </a:cubicBezTo>
                    <a:cubicBezTo>
                      <a:pt x="0" y="27901"/>
                      <a:pt x="27753" y="0"/>
                      <a:pt x="61888" y="0"/>
                    </a:cubicBezTo>
                    <a:cubicBezTo>
                      <a:pt x="96022" y="0"/>
                      <a:pt x="123775" y="27753"/>
                      <a:pt x="123775" y="62036"/>
                    </a:cubicBezTo>
                    <a:cubicBezTo>
                      <a:pt x="123775" y="96318"/>
                      <a:pt x="96022" y="123923"/>
                      <a:pt x="61888" y="123923"/>
                    </a:cubicBezTo>
                  </a:path>
                </a:pathLst>
              </a:custGeom>
              <a:solidFill>
                <a:srgbClr val="FFFFFF"/>
              </a:solidFill>
              <a:ln w="14828" cap="flat">
                <a:noFill/>
                <a:prstDash val="solid"/>
                <a:miter/>
              </a:ln>
            </p:spPr>
            <p:txBody>
              <a:bodyPr rtlCol="0" anchor="ctr"/>
              <a:lstStyle/>
              <a:p>
                <a:endParaRPr lang="en-DK"/>
              </a:p>
            </p:txBody>
          </p:sp>
          <p:sp>
            <p:nvSpPr>
              <p:cNvPr id="236" name="Freeform 235">
                <a:extLst>
                  <a:ext uri="{FF2B5EF4-FFF2-40B4-BE49-F238E27FC236}">
                    <a16:creationId xmlns:a16="http://schemas.microsoft.com/office/drawing/2014/main" id="{4CF036B0-0B1A-C907-CB64-78E3E3DF6FE6}"/>
                  </a:ext>
                </a:extLst>
              </p:cNvPr>
              <p:cNvSpPr/>
              <p:nvPr/>
            </p:nvSpPr>
            <p:spPr>
              <a:xfrm>
                <a:off x="4959931" y="5338474"/>
                <a:ext cx="113683" cy="113682"/>
              </a:xfrm>
              <a:custGeom>
                <a:avLst/>
                <a:gdLst>
                  <a:gd name="connsiteX0" fmla="*/ 113683 w 113683"/>
                  <a:gd name="connsiteY0" fmla="*/ 56841 h 113682"/>
                  <a:gd name="connsiteX1" fmla="*/ 56842 w 113683"/>
                  <a:gd name="connsiteY1" fmla="*/ 113682 h 113682"/>
                  <a:gd name="connsiteX2" fmla="*/ 0 w 113683"/>
                  <a:gd name="connsiteY2" fmla="*/ 56841 h 113682"/>
                  <a:gd name="connsiteX3" fmla="*/ 56842 w 113683"/>
                  <a:gd name="connsiteY3" fmla="*/ 0 h 113682"/>
                  <a:gd name="connsiteX4" fmla="*/ 113683 w 113683"/>
                  <a:gd name="connsiteY4" fmla="*/ 56841 h 113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83" h="113682">
                    <a:moveTo>
                      <a:pt x="113683" y="56841"/>
                    </a:moveTo>
                    <a:cubicBezTo>
                      <a:pt x="113683" y="88156"/>
                      <a:pt x="88305" y="113682"/>
                      <a:pt x="56842" y="113682"/>
                    </a:cubicBezTo>
                    <a:cubicBezTo>
                      <a:pt x="25378" y="113682"/>
                      <a:pt x="0" y="88304"/>
                      <a:pt x="0" y="56841"/>
                    </a:cubicBezTo>
                    <a:cubicBezTo>
                      <a:pt x="0" y="25378"/>
                      <a:pt x="25378" y="0"/>
                      <a:pt x="56842" y="0"/>
                    </a:cubicBezTo>
                    <a:cubicBezTo>
                      <a:pt x="88305" y="0"/>
                      <a:pt x="113683" y="25378"/>
                      <a:pt x="113683" y="56841"/>
                    </a:cubicBezTo>
                  </a:path>
                </a:pathLst>
              </a:custGeom>
              <a:solidFill>
                <a:srgbClr val="2978FF">
                  <a:alpha val="50000"/>
                </a:srgbClr>
              </a:solidFill>
              <a:ln w="14828" cap="flat">
                <a:noFill/>
                <a:prstDash val="solid"/>
                <a:miter/>
              </a:ln>
            </p:spPr>
            <p:txBody>
              <a:bodyPr rtlCol="0" anchor="ctr"/>
              <a:lstStyle/>
              <a:p>
                <a:endParaRPr lang="en-DK"/>
              </a:p>
            </p:txBody>
          </p:sp>
          <p:sp>
            <p:nvSpPr>
              <p:cNvPr id="237" name="Freeform 236">
                <a:extLst>
                  <a:ext uri="{FF2B5EF4-FFF2-40B4-BE49-F238E27FC236}">
                    <a16:creationId xmlns:a16="http://schemas.microsoft.com/office/drawing/2014/main" id="{42DA24D9-D9A5-49C7-2F47-0B6B02A95BA0}"/>
                  </a:ext>
                </a:extLst>
              </p:cNvPr>
              <p:cNvSpPr/>
              <p:nvPr/>
            </p:nvSpPr>
            <p:spPr>
              <a:xfrm>
                <a:off x="4954886" y="5333427"/>
                <a:ext cx="123775" cy="123922"/>
              </a:xfrm>
              <a:custGeom>
                <a:avLst/>
                <a:gdLst>
                  <a:gd name="connsiteX0" fmla="*/ 61887 w 123775"/>
                  <a:gd name="connsiteY0" fmla="*/ 10240 h 123922"/>
                  <a:gd name="connsiteX1" fmla="*/ 10240 w 123775"/>
                  <a:gd name="connsiteY1" fmla="*/ 61887 h 123922"/>
                  <a:gd name="connsiteX2" fmla="*/ 61887 w 123775"/>
                  <a:gd name="connsiteY2" fmla="*/ 113534 h 123922"/>
                  <a:gd name="connsiteX3" fmla="*/ 113535 w 123775"/>
                  <a:gd name="connsiteY3" fmla="*/ 61887 h 123922"/>
                  <a:gd name="connsiteX4" fmla="*/ 61887 w 123775"/>
                  <a:gd name="connsiteY4" fmla="*/ 10240 h 123922"/>
                  <a:gd name="connsiteX5" fmla="*/ 61887 w 123775"/>
                  <a:gd name="connsiteY5" fmla="*/ 123923 h 123922"/>
                  <a:gd name="connsiteX6" fmla="*/ 0 w 123775"/>
                  <a:gd name="connsiteY6" fmla="*/ 62036 h 123922"/>
                  <a:gd name="connsiteX7" fmla="*/ 61887 w 123775"/>
                  <a:gd name="connsiteY7" fmla="*/ 0 h 123922"/>
                  <a:gd name="connsiteX8" fmla="*/ 123775 w 123775"/>
                  <a:gd name="connsiteY8" fmla="*/ 62036 h 123922"/>
                  <a:gd name="connsiteX9" fmla="*/ 61887 w 123775"/>
                  <a:gd name="connsiteY9" fmla="*/ 123923 h 12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 h="123922">
                    <a:moveTo>
                      <a:pt x="61887" y="10240"/>
                    </a:moveTo>
                    <a:cubicBezTo>
                      <a:pt x="33393" y="10240"/>
                      <a:pt x="10240" y="33392"/>
                      <a:pt x="10240" y="61887"/>
                    </a:cubicBezTo>
                    <a:cubicBezTo>
                      <a:pt x="10240" y="90382"/>
                      <a:pt x="33393" y="113534"/>
                      <a:pt x="61887" y="113534"/>
                    </a:cubicBezTo>
                    <a:cubicBezTo>
                      <a:pt x="90383" y="113534"/>
                      <a:pt x="113535" y="90382"/>
                      <a:pt x="113535" y="61887"/>
                    </a:cubicBezTo>
                    <a:cubicBezTo>
                      <a:pt x="113535" y="33392"/>
                      <a:pt x="90383" y="10240"/>
                      <a:pt x="61887" y="10240"/>
                    </a:cubicBezTo>
                    <a:moveTo>
                      <a:pt x="61887" y="123923"/>
                    </a:moveTo>
                    <a:cubicBezTo>
                      <a:pt x="27753" y="123923"/>
                      <a:pt x="0" y="96170"/>
                      <a:pt x="0" y="62036"/>
                    </a:cubicBezTo>
                    <a:cubicBezTo>
                      <a:pt x="0" y="27901"/>
                      <a:pt x="27753" y="0"/>
                      <a:pt x="61887" y="0"/>
                    </a:cubicBezTo>
                    <a:cubicBezTo>
                      <a:pt x="96022" y="0"/>
                      <a:pt x="123775" y="27753"/>
                      <a:pt x="123775" y="62036"/>
                    </a:cubicBezTo>
                    <a:cubicBezTo>
                      <a:pt x="123775" y="96318"/>
                      <a:pt x="96022" y="123923"/>
                      <a:pt x="61887" y="123923"/>
                    </a:cubicBezTo>
                  </a:path>
                </a:pathLst>
              </a:custGeom>
              <a:solidFill>
                <a:srgbClr val="FFFFFF"/>
              </a:solidFill>
              <a:ln w="14828" cap="flat">
                <a:noFill/>
                <a:prstDash val="solid"/>
                <a:miter/>
              </a:ln>
            </p:spPr>
            <p:txBody>
              <a:bodyPr rtlCol="0" anchor="ctr"/>
              <a:lstStyle/>
              <a:p>
                <a:endParaRPr lang="en-DK"/>
              </a:p>
            </p:txBody>
          </p:sp>
        </p:grpSp>
        <p:sp>
          <p:nvSpPr>
            <p:cNvPr id="53" name="Freeform 52">
              <a:extLst>
                <a:ext uri="{FF2B5EF4-FFF2-40B4-BE49-F238E27FC236}">
                  <a16:creationId xmlns:a16="http://schemas.microsoft.com/office/drawing/2014/main" id="{A87E58CF-731A-6783-5F5C-8BA5AD23570D}"/>
                </a:ext>
              </a:extLst>
            </p:cNvPr>
            <p:cNvSpPr/>
            <p:nvPr/>
          </p:nvSpPr>
          <p:spPr>
            <a:xfrm rot="-2497802">
              <a:off x="4737011" y="5352937"/>
              <a:ext cx="10240" cy="113979"/>
            </a:xfrm>
            <a:custGeom>
              <a:avLst/>
              <a:gdLst>
                <a:gd name="connsiteX0" fmla="*/ 0 w 10240"/>
                <a:gd name="connsiteY0" fmla="*/ 0 h 113979"/>
                <a:gd name="connsiteX1" fmla="*/ 10240 w 10240"/>
                <a:gd name="connsiteY1" fmla="*/ 0 h 113979"/>
                <a:gd name="connsiteX2" fmla="*/ 10240 w 10240"/>
                <a:gd name="connsiteY2" fmla="*/ 113979 h 113979"/>
                <a:gd name="connsiteX3" fmla="*/ 0 w 10240"/>
                <a:gd name="connsiteY3" fmla="*/ 113979 h 113979"/>
              </a:gdLst>
              <a:ahLst/>
              <a:cxnLst>
                <a:cxn ang="0">
                  <a:pos x="connsiteX0" y="connsiteY0"/>
                </a:cxn>
                <a:cxn ang="0">
                  <a:pos x="connsiteX1" y="connsiteY1"/>
                </a:cxn>
                <a:cxn ang="0">
                  <a:pos x="connsiteX2" y="connsiteY2"/>
                </a:cxn>
                <a:cxn ang="0">
                  <a:pos x="connsiteX3" y="connsiteY3"/>
                </a:cxn>
              </a:cxnLst>
              <a:rect l="l" t="t" r="r" b="b"/>
              <a:pathLst>
                <a:path w="10240" h="113979">
                  <a:moveTo>
                    <a:pt x="0" y="0"/>
                  </a:moveTo>
                  <a:lnTo>
                    <a:pt x="10240" y="0"/>
                  </a:lnTo>
                  <a:lnTo>
                    <a:pt x="10240" y="113979"/>
                  </a:lnTo>
                  <a:lnTo>
                    <a:pt x="0" y="113979"/>
                  </a:lnTo>
                  <a:close/>
                </a:path>
              </a:pathLst>
            </a:custGeom>
            <a:solidFill>
              <a:srgbClr val="FFFFFF"/>
            </a:solidFill>
            <a:ln w="14828" cap="flat">
              <a:noFill/>
              <a:prstDash val="solid"/>
              <a:miter/>
            </a:ln>
          </p:spPr>
          <p:txBody>
            <a:bodyPr rtlCol="0" anchor="ctr"/>
            <a:lstStyle/>
            <a:p>
              <a:endParaRPr lang="en-DK"/>
            </a:p>
          </p:txBody>
        </p:sp>
        <p:sp>
          <p:nvSpPr>
            <p:cNvPr id="54" name="Freeform 53">
              <a:extLst>
                <a:ext uri="{FF2B5EF4-FFF2-40B4-BE49-F238E27FC236}">
                  <a16:creationId xmlns:a16="http://schemas.microsoft.com/office/drawing/2014/main" id="{C38A06DA-2D07-50AD-9A4A-388874198B53}"/>
                </a:ext>
              </a:extLst>
            </p:cNvPr>
            <p:cNvSpPr/>
            <p:nvPr/>
          </p:nvSpPr>
          <p:spPr>
            <a:xfrm rot="-3778200">
              <a:off x="4942246" y="5531608"/>
              <a:ext cx="10240" cy="56544"/>
            </a:xfrm>
            <a:custGeom>
              <a:avLst/>
              <a:gdLst>
                <a:gd name="connsiteX0" fmla="*/ 0 w 10240"/>
                <a:gd name="connsiteY0" fmla="*/ 0 h 56544"/>
                <a:gd name="connsiteX1" fmla="*/ 10240 w 10240"/>
                <a:gd name="connsiteY1" fmla="*/ 0 h 56544"/>
                <a:gd name="connsiteX2" fmla="*/ 10240 w 10240"/>
                <a:gd name="connsiteY2" fmla="*/ 56544 h 56544"/>
                <a:gd name="connsiteX3" fmla="*/ 0 w 10240"/>
                <a:gd name="connsiteY3" fmla="*/ 56544 h 56544"/>
              </a:gdLst>
              <a:ahLst/>
              <a:cxnLst>
                <a:cxn ang="0">
                  <a:pos x="connsiteX0" y="connsiteY0"/>
                </a:cxn>
                <a:cxn ang="0">
                  <a:pos x="connsiteX1" y="connsiteY1"/>
                </a:cxn>
                <a:cxn ang="0">
                  <a:pos x="connsiteX2" y="connsiteY2"/>
                </a:cxn>
                <a:cxn ang="0">
                  <a:pos x="connsiteX3" y="connsiteY3"/>
                </a:cxn>
              </a:cxnLst>
              <a:rect l="l" t="t" r="r" b="b"/>
              <a:pathLst>
                <a:path w="10240" h="56544">
                  <a:moveTo>
                    <a:pt x="0" y="0"/>
                  </a:moveTo>
                  <a:lnTo>
                    <a:pt x="10240" y="0"/>
                  </a:lnTo>
                  <a:lnTo>
                    <a:pt x="10240" y="56544"/>
                  </a:lnTo>
                  <a:lnTo>
                    <a:pt x="0" y="56544"/>
                  </a:lnTo>
                  <a:close/>
                </a:path>
              </a:pathLst>
            </a:custGeom>
            <a:solidFill>
              <a:srgbClr val="FFFFFF"/>
            </a:solidFill>
            <a:ln w="14828" cap="flat">
              <a:noFill/>
              <a:prstDash val="solid"/>
              <a:miter/>
            </a:ln>
          </p:spPr>
          <p:txBody>
            <a:bodyPr rtlCol="0" anchor="ctr"/>
            <a:lstStyle/>
            <a:p>
              <a:endParaRPr lang="en-DK"/>
            </a:p>
          </p:txBody>
        </p:sp>
        <p:sp>
          <p:nvSpPr>
            <p:cNvPr id="55" name="Freeform 54">
              <a:extLst>
                <a:ext uri="{FF2B5EF4-FFF2-40B4-BE49-F238E27FC236}">
                  <a16:creationId xmlns:a16="http://schemas.microsoft.com/office/drawing/2014/main" id="{4F7BEDFC-21EF-0331-AA53-372D007AE2BB}"/>
                </a:ext>
              </a:extLst>
            </p:cNvPr>
            <p:cNvSpPr/>
            <p:nvPr/>
          </p:nvSpPr>
          <p:spPr>
            <a:xfrm rot="-3379800">
              <a:off x="4710032" y="5622541"/>
              <a:ext cx="102404" cy="10240"/>
            </a:xfrm>
            <a:custGeom>
              <a:avLst/>
              <a:gdLst>
                <a:gd name="connsiteX0" fmla="*/ 0 w 102404"/>
                <a:gd name="connsiteY0" fmla="*/ 0 h 10240"/>
                <a:gd name="connsiteX1" fmla="*/ 102404 w 102404"/>
                <a:gd name="connsiteY1" fmla="*/ 0 h 10240"/>
                <a:gd name="connsiteX2" fmla="*/ 102404 w 102404"/>
                <a:gd name="connsiteY2" fmla="*/ 10240 h 10240"/>
                <a:gd name="connsiteX3" fmla="*/ 0 w 102404"/>
                <a:gd name="connsiteY3" fmla="*/ 10240 h 10240"/>
              </a:gdLst>
              <a:ahLst/>
              <a:cxnLst>
                <a:cxn ang="0">
                  <a:pos x="connsiteX0" y="connsiteY0"/>
                </a:cxn>
                <a:cxn ang="0">
                  <a:pos x="connsiteX1" y="connsiteY1"/>
                </a:cxn>
                <a:cxn ang="0">
                  <a:pos x="connsiteX2" y="connsiteY2"/>
                </a:cxn>
                <a:cxn ang="0">
                  <a:pos x="connsiteX3" y="connsiteY3"/>
                </a:cxn>
              </a:cxnLst>
              <a:rect l="l" t="t" r="r" b="b"/>
              <a:pathLst>
                <a:path w="102404" h="10240">
                  <a:moveTo>
                    <a:pt x="0" y="0"/>
                  </a:moveTo>
                  <a:lnTo>
                    <a:pt x="102404" y="0"/>
                  </a:lnTo>
                  <a:lnTo>
                    <a:pt x="102404" y="10240"/>
                  </a:lnTo>
                  <a:lnTo>
                    <a:pt x="0" y="10240"/>
                  </a:lnTo>
                  <a:close/>
                </a:path>
              </a:pathLst>
            </a:custGeom>
            <a:solidFill>
              <a:srgbClr val="FFFFFF"/>
            </a:solidFill>
            <a:ln w="14828" cap="flat">
              <a:noFill/>
              <a:prstDash val="solid"/>
              <a:miter/>
            </a:ln>
          </p:spPr>
          <p:txBody>
            <a:bodyPr rtlCol="0" anchor="ctr"/>
            <a:lstStyle/>
            <a:p>
              <a:endParaRPr lang="en-DK"/>
            </a:p>
          </p:txBody>
        </p:sp>
        <p:sp>
          <p:nvSpPr>
            <p:cNvPr id="56" name="Freeform 55">
              <a:extLst>
                <a:ext uri="{FF2B5EF4-FFF2-40B4-BE49-F238E27FC236}">
                  <a16:creationId xmlns:a16="http://schemas.microsoft.com/office/drawing/2014/main" id="{2BEEE40F-60F0-B4D2-C73D-66B794C43B75}"/>
                </a:ext>
              </a:extLst>
            </p:cNvPr>
            <p:cNvSpPr/>
            <p:nvPr/>
          </p:nvSpPr>
          <p:spPr>
            <a:xfrm rot="-1892401">
              <a:off x="4899709" y="5438693"/>
              <a:ext cx="75393" cy="10388"/>
            </a:xfrm>
            <a:custGeom>
              <a:avLst/>
              <a:gdLst>
                <a:gd name="connsiteX0" fmla="*/ 0 w 75393"/>
                <a:gd name="connsiteY0" fmla="*/ 0 h 10388"/>
                <a:gd name="connsiteX1" fmla="*/ 75393 w 75393"/>
                <a:gd name="connsiteY1" fmla="*/ 0 h 10388"/>
                <a:gd name="connsiteX2" fmla="*/ 75393 w 75393"/>
                <a:gd name="connsiteY2" fmla="*/ 10389 h 10388"/>
                <a:gd name="connsiteX3" fmla="*/ 0 w 75393"/>
                <a:gd name="connsiteY3" fmla="*/ 10389 h 10388"/>
              </a:gdLst>
              <a:ahLst/>
              <a:cxnLst>
                <a:cxn ang="0">
                  <a:pos x="connsiteX0" y="connsiteY0"/>
                </a:cxn>
                <a:cxn ang="0">
                  <a:pos x="connsiteX1" y="connsiteY1"/>
                </a:cxn>
                <a:cxn ang="0">
                  <a:pos x="connsiteX2" y="connsiteY2"/>
                </a:cxn>
                <a:cxn ang="0">
                  <a:pos x="connsiteX3" y="connsiteY3"/>
                </a:cxn>
              </a:cxnLst>
              <a:rect l="l" t="t" r="r" b="b"/>
              <a:pathLst>
                <a:path w="75393" h="10388">
                  <a:moveTo>
                    <a:pt x="0" y="0"/>
                  </a:moveTo>
                  <a:lnTo>
                    <a:pt x="75393" y="0"/>
                  </a:lnTo>
                  <a:lnTo>
                    <a:pt x="75393" y="10389"/>
                  </a:lnTo>
                  <a:lnTo>
                    <a:pt x="0" y="10389"/>
                  </a:lnTo>
                  <a:close/>
                </a:path>
              </a:pathLst>
            </a:custGeom>
            <a:solidFill>
              <a:srgbClr val="FFFFFF"/>
            </a:solidFill>
            <a:ln w="14828" cap="flat">
              <a:noFill/>
              <a:prstDash val="solid"/>
              <a:miter/>
            </a:ln>
          </p:spPr>
          <p:txBody>
            <a:bodyPr rtlCol="0" anchor="ctr"/>
            <a:lstStyle/>
            <a:p>
              <a:endParaRPr lang="en-DK"/>
            </a:p>
          </p:txBody>
        </p:sp>
        <p:sp>
          <p:nvSpPr>
            <p:cNvPr id="57" name="Freeform 56">
              <a:extLst>
                <a:ext uri="{FF2B5EF4-FFF2-40B4-BE49-F238E27FC236}">
                  <a16:creationId xmlns:a16="http://schemas.microsoft.com/office/drawing/2014/main" id="{1B53121F-9057-884C-F362-6E5D319CB467}"/>
                </a:ext>
              </a:extLst>
            </p:cNvPr>
            <p:cNvSpPr/>
            <p:nvPr/>
          </p:nvSpPr>
          <p:spPr>
            <a:xfrm rot="-1105800">
              <a:off x="4835248" y="5286548"/>
              <a:ext cx="59809" cy="10388"/>
            </a:xfrm>
            <a:custGeom>
              <a:avLst/>
              <a:gdLst>
                <a:gd name="connsiteX0" fmla="*/ 0 w 59809"/>
                <a:gd name="connsiteY0" fmla="*/ 0 h 10388"/>
                <a:gd name="connsiteX1" fmla="*/ 59810 w 59809"/>
                <a:gd name="connsiteY1" fmla="*/ 0 h 10388"/>
                <a:gd name="connsiteX2" fmla="*/ 59810 w 59809"/>
                <a:gd name="connsiteY2" fmla="*/ 10389 h 10388"/>
                <a:gd name="connsiteX3" fmla="*/ 0 w 59809"/>
                <a:gd name="connsiteY3" fmla="*/ 10389 h 10388"/>
              </a:gdLst>
              <a:ahLst/>
              <a:cxnLst>
                <a:cxn ang="0">
                  <a:pos x="connsiteX0" y="connsiteY0"/>
                </a:cxn>
                <a:cxn ang="0">
                  <a:pos x="connsiteX1" y="connsiteY1"/>
                </a:cxn>
                <a:cxn ang="0">
                  <a:pos x="connsiteX2" y="connsiteY2"/>
                </a:cxn>
                <a:cxn ang="0">
                  <a:pos x="connsiteX3" y="connsiteY3"/>
                </a:cxn>
              </a:cxnLst>
              <a:rect l="l" t="t" r="r" b="b"/>
              <a:pathLst>
                <a:path w="59809" h="10388">
                  <a:moveTo>
                    <a:pt x="0" y="0"/>
                  </a:moveTo>
                  <a:lnTo>
                    <a:pt x="59810" y="0"/>
                  </a:lnTo>
                  <a:lnTo>
                    <a:pt x="59810" y="10389"/>
                  </a:lnTo>
                  <a:lnTo>
                    <a:pt x="0" y="10389"/>
                  </a:lnTo>
                  <a:close/>
                </a:path>
              </a:pathLst>
            </a:custGeom>
            <a:solidFill>
              <a:srgbClr val="FFFFFF"/>
            </a:solidFill>
            <a:ln w="14828" cap="flat">
              <a:noFill/>
              <a:prstDash val="solid"/>
              <a:miter/>
            </a:ln>
          </p:spPr>
          <p:txBody>
            <a:bodyPr rtlCol="0" anchor="ctr"/>
            <a:lstStyle/>
            <a:p>
              <a:endParaRPr lang="en-DK"/>
            </a:p>
          </p:txBody>
        </p:sp>
        <p:sp>
          <p:nvSpPr>
            <p:cNvPr id="58" name="Freeform 57">
              <a:extLst>
                <a:ext uri="{FF2B5EF4-FFF2-40B4-BE49-F238E27FC236}">
                  <a16:creationId xmlns:a16="http://schemas.microsoft.com/office/drawing/2014/main" id="{3DBE500F-820A-FC55-016E-027775A434CB}"/>
                </a:ext>
              </a:extLst>
            </p:cNvPr>
            <p:cNvSpPr/>
            <p:nvPr/>
          </p:nvSpPr>
          <p:spPr>
            <a:xfrm>
              <a:off x="4831703" y="5465810"/>
              <a:ext cx="57732" cy="57731"/>
            </a:xfrm>
            <a:custGeom>
              <a:avLst/>
              <a:gdLst>
                <a:gd name="connsiteX0" fmla="*/ 52538 w 57732"/>
                <a:gd name="connsiteY0" fmla="*/ 57732 h 57731"/>
                <a:gd name="connsiteX1" fmla="*/ 47343 w 57732"/>
                <a:gd name="connsiteY1" fmla="*/ 52537 h 57731"/>
                <a:gd name="connsiteX2" fmla="*/ 5195 w 57732"/>
                <a:gd name="connsiteY2" fmla="*/ 10389 h 57731"/>
                <a:gd name="connsiteX3" fmla="*/ 0 w 57732"/>
                <a:gd name="connsiteY3" fmla="*/ 5194 h 57731"/>
                <a:gd name="connsiteX4" fmla="*/ 5195 w 57732"/>
                <a:gd name="connsiteY4" fmla="*/ 0 h 57731"/>
                <a:gd name="connsiteX5" fmla="*/ 57732 w 57732"/>
                <a:gd name="connsiteY5" fmla="*/ 52537 h 57731"/>
                <a:gd name="connsiteX6" fmla="*/ 52538 w 57732"/>
                <a:gd name="connsiteY6" fmla="*/ 57732 h 57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32" h="57731">
                  <a:moveTo>
                    <a:pt x="52538" y="57732"/>
                  </a:moveTo>
                  <a:cubicBezTo>
                    <a:pt x="49718" y="57732"/>
                    <a:pt x="47343" y="55357"/>
                    <a:pt x="47343" y="52537"/>
                  </a:cubicBezTo>
                  <a:cubicBezTo>
                    <a:pt x="47343" y="29237"/>
                    <a:pt x="28495" y="10389"/>
                    <a:pt x="5195" y="10389"/>
                  </a:cubicBezTo>
                  <a:cubicBezTo>
                    <a:pt x="2375" y="10389"/>
                    <a:pt x="0" y="8014"/>
                    <a:pt x="0" y="5194"/>
                  </a:cubicBezTo>
                  <a:cubicBezTo>
                    <a:pt x="0" y="2374"/>
                    <a:pt x="2375" y="0"/>
                    <a:pt x="5195" y="0"/>
                  </a:cubicBezTo>
                  <a:cubicBezTo>
                    <a:pt x="34135" y="0"/>
                    <a:pt x="57732" y="23597"/>
                    <a:pt x="57732" y="52537"/>
                  </a:cubicBezTo>
                  <a:cubicBezTo>
                    <a:pt x="57732" y="55357"/>
                    <a:pt x="55506" y="57732"/>
                    <a:pt x="52538" y="57732"/>
                  </a:cubicBezTo>
                </a:path>
              </a:pathLst>
            </a:custGeom>
            <a:solidFill>
              <a:srgbClr val="FFFFFF"/>
            </a:solidFill>
            <a:ln w="14828" cap="flat">
              <a:noFill/>
              <a:prstDash val="solid"/>
              <a:miter/>
            </a:ln>
          </p:spPr>
          <p:txBody>
            <a:bodyPr rtlCol="0" anchor="ctr"/>
            <a:lstStyle/>
            <a:p>
              <a:endParaRPr lang="en-DK"/>
            </a:p>
          </p:txBody>
        </p:sp>
        <p:sp>
          <p:nvSpPr>
            <p:cNvPr id="59" name="Freeform 58">
              <a:extLst>
                <a:ext uri="{FF2B5EF4-FFF2-40B4-BE49-F238E27FC236}">
                  <a16:creationId xmlns:a16="http://schemas.microsoft.com/office/drawing/2014/main" id="{ADD8C6D0-AD4D-370E-4BCA-804DE96348F9}"/>
                </a:ext>
              </a:extLst>
            </p:cNvPr>
            <p:cNvSpPr/>
            <p:nvPr/>
          </p:nvSpPr>
          <p:spPr>
            <a:xfrm rot="-2329800">
              <a:off x="4965284" y="5297135"/>
              <a:ext cx="10388" cy="57286"/>
            </a:xfrm>
            <a:custGeom>
              <a:avLst/>
              <a:gdLst>
                <a:gd name="connsiteX0" fmla="*/ 0 w 10388"/>
                <a:gd name="connsiteY0" fmla="*/ 0 h 57286"/>
                <a:gd name="connsiteX1" fmla="*/ 10389 w 10388"/>
                <a:gd name="connsiteY1" fmla="*/ 0 h 57286"/>
                <a:gd name="connsiteX2" fmla="*/ 10389 w 10388"/>
                <a:gd name="connsiteY2" fmla="*/ 57286 h 57286"/>
                <a:gd name="connsiteX3" fmla="*/ 0 w 10388"/>
                <a:gd name="connsiteY3" fmla="*/ 57286 h 57286"/>
              </a:gdLst>
              <a:ahLst/>
              <a:cxnLst>
                <a:cxn ang="0">
                  <a:pos x="connsiteX0" y="connsiteY0"/>
                </a:cxn>
                <a:cxn ang="0">
                  <a:pos x="connsiteX1" y="connsiteY1"/>
                </a:cxn>
                <a:cxn ang="0">
                  <a:pos x="connsiteX2" y="connsiteY2"/>
                </a:cxn>
                <a:cxn ang="0">
                  <a:pos x="connsiteX3" y="connsiteY3"/>
                </a:cxn>
              </a:cxnLst>
              <a:rect l="l" t="t" r="r" b="b"/>
              <a:pathLst>
                <a:path w="10388" h="57286">
                  <a:moveTo>
                    <a:pt x="0" y="0"/>
                  </a:moveTo>
                  <a:lnTo>
                    <a:pt x="10389" y="0"/>
                  </a:lnTo>
                  <a:lnTo>
                    <a:pt x="10389" y="57286"/>
                  </a:lnTo>
                  <a:lnTo>
                    <a:pt x="0" y="57286"/>
                  </a:lnTo>
                  <a:close/>
                </a:path>
              </a:pathLst>
            </a:custGeom>
            <a:solidFill>
              <a:srgbClr val="FFFFFF"/>
            </a:solidFill>
            <a:ln w="14828" cap="flat">
              <a:noFill/>
              <a:prstDash val="solid"/>
              <a:miter/>
            </a:ln>
          </p:spPr>
          <p:txBody>
            <a:bodyPr rtlCol="0" anchor="ctr"/>
            <a:lstStyle/>
            <a:p>
              <a:endParaRPr lang="en-DK"/>
            </a:p>
          </p:txBody>
        </p:sp>
        <p:grpSp>
          <p:nvGrpSpPr>
            <p:cNvPr id="60" name="Graphic 3">
              <a:extLst>
                <a:ext uri="{FF2B5EF4-FFF2-40B4-BE49-F238E27FC236}">
                  <a16:creationId xmlns:a16="http://schemas.microsoft.com/office/drawing/2014/main" id="{D160EADA-4C49-EF9A-BB70-9CB2C648FFA9}"/>
                </a:ext>
              </a:extLst>
            </p:cNvPr>
            <p:cNvGrpSpPr/>
            <p:nvPr/>
          </p:nvGrpSpPr>
          <p:grpSpPr>
            <a:xfrm>
              <a:off x="2753197" y="4979469"/>
              <a:ext cx="4474466" cy="1425628"/>
              <a:chOff x="2753197" y="4979469"/>
              <a:chExt cx="4474466" cy="1425628"/>
            </a:xfrm>
          </p:grpSpPr>
          <p:sp>
            <p:nvSpPr>
              <p:cNvPr id="188" name="Freeform 187">
                <a:extLst>
                  <a:ext uri="{FF2B5EF4-FFF2-40B4-BE49-F238E27FC236}">
                    <a16:creationId xmlns:a16="http://schemas.microsoft.com/office/drawing/2014/main" id="{EC13059B-2F9D-0015-95DC-3D9F5A82093F}"/>
                  </a:ext>
                </a:extLst>
              </p:cNvPr>
              <p:cNvSpPr/>
              <p:nvPr/>
            </p:nvSpPr>
            <p:spPr>
              <a:xfrm>
                <a:off x="5609827" y="6289338"/>
                <a:ext cx="1617836" cy="115759"/>
              </a:xfrm>
              <a:custGeom>
                <a:avLst/>
                <a:gdLst>
                  <a:gd name="connsiteX0" fmla="*/ 1617837 w 1617836"/>
                  <a:gd name="connsiteY0" fmla="*/ 73166 h 115759"/>
                  <a:gd name="connsiteX1" fmla="*/ 1601660 w 1617836"/>
                  <a:gd name="connsiteY1" fmla="*/ 55654 h 115759"/>
                  <a:gd name="connsiteX2" fmla="*/ 1595130 w 1617836"/>
                  <a:gd name="connsiteY2" fmla="*/ 53576 h 115759"/>
                  <a:gd name="connsiteX3" fmla="*/ 1586670 w 1617836"/>
                  <a:gd name="connsiteY3" fmla="*/ 44968 h 115759"/>
                  <a:gd name="connsiteX4" fmla="*/ 1596465 w 1617836"/>
                  <a:gd name="connsiteY4" fmla="*/ 37844 h 115759"/>
                  <a:gd name="connsiteX5" fmla="*/ 1608784 w 1617836"/>
                  <a:gd name="connsiteY5" fmla="*/ 44672 h 115759"/>
                  <a:gd name="connsiteX6" fmla="*/ 1616352 w 1617836"/>
                  <a:gd name="connsiteY6" fmla="*/ 39477 h 115759"/>
                  <a:gd name="connsiteX7" fmla="*/ 1596762 w 1617836"/>
                  <a:gd name="connsiteY7" fmla="*/ 29088 h 115759"/>
                  <a:gd name="connsiteX8" fmla="*/ 1576281 w 1617836"/>
                  <a:gd name="connsiteY8" fmla="*/ 45265 h 115759"/>
                  <a:gd name="connsiteX9" fmla="*/ 1591123 w 1617836"/>
                  <a:gd name="connsiteY9" fmla="*/ 62629 h 115759"/>
                  <a:gd name="connsiteX10" fmla="*/ 1597059 w 1617836"/>
                  <a:gd name="connsiteY10" fmla="*/ 64559 h 115759"/>
                  <a:gd name="connsiteX11" fmla="*/ 1607448 w 1617836"/>
                  <a:gd name="connsiteY11" fmla="*/ 73760 h 115759"/>
                  <a:gd name="connsiteX12" fmla="*/ 1597059 w 1617836"/>
                  <a:gd name="connsiteY12" fmla="*/ 81774 h 115759"/>
                  <a:gd name="connsiteX13" fmla="*/ 1581921 w 1617836"/>
                  <a:gd name="connsiteY13" fmla="*/ 72424 h 115759"/>
                  <a:gd name="connsiteX14" fmla="*/ 1573610 w 1617836"/>
                  <a:gd name="connsiteY14" fmla="*/ 77025 h 115759"/>
                  <a:gd name="connsiteX15" fmla="*/ 1596910 w 1617836"/>
                  <a:gd name="connsiteY15" fmla="*/ 90827 h 115759"/>
                  <a:gd name="connsiteX16" fmla="*/ 1617540 w 1617836"/>
                  <a:gd name="connsiteY16" fmla="*/ 73018 h 115759"/>
                  <a:gd name="connsiteX17" fmla="*/ 1563370 w 1617836"/>
                  <a:gd name="connsiteY17" fmla="*/ 75096 h 115759"/>
                  <a:gd name="connsiteX18" fmla="*/ 1554465 w 1617836"/>
                  <a:gd name="connsiteY18" fmla="*/ 70050 h 115759"/>
                  <a:gd name="connsiteX19" fmla="*/ 1535913 w 1617836"/>
                  <a:gd name="connsiteY19" fmla="*/ 81477 h 115759"/>
                  <a:gd name="connsiteX20" fmla="*/ 1515136 w 1617836"/>
                  <a:gd name="connsiteY20" fmla="*/ 60106 h 115759"/>
                  <a:gd name="connsiteX21" fmla="*/ 1535913 w 1617836"/>
                  <a:gd name="connsiteY21" fmla="*/ 38735 h 115759"/>
                  <a:gd name="connsiteX22" fmla="*/ 1554465 w 1617836"/>
                  <a:gd name="connsiteY22" fmla="*/ 50163 h 115759"/>
                  <a:gd name="connsiteX23" fmla="*/ 1563370 w 1617836"/>
                  <a:gd name="connsiteY23" fmla="*/ 45117 h 115759"/>
                  <a:gd name="connsiteX24" fmla="*/ 1535913 w 1617836"/>
                  <a:gd name="connsiteY24" fmla="*/ 29237 h 115759"/>
                  <a:gd name="connsiteX25" fmla="*/ 1504747 w 1617836"/>
                  <a:gd name="connsiteY25" fmla="*/ 60106 h 115759"/>
                  <a:gd name="connsiteX26" fmla="*/ 1535913 w 1617836"/>
                  <a:gd name="connsiteY26" fmla="*/ 90976 h 115759"/>
                  <a:gd name="connsiteX27" fmla="*/ 1563370 w 1617836"/>
                  <a:gd name="connsiteY27" fmla="*/ 75096 h 115759"/>
                  <a:gd name="connsiteX28" fmla="*/ 1478923 w 1617836"/>
                  <a:gd name="connsiteY28" fmla="*/ 89788 h 115759"/>
                  <a:gd name="connsiteX29" fmla="*/ 1489164 w 1617836"/>
                  <a:gd name="connsiteY29" fmla="*/ 89788 h 115759"/>
                  <a:gd name="connsiteX30" fmla="*/ 1489164 w 1617836"/>
                  <a:gd name="connsiteY30" fmla="*/ 30424 h 115759"/>
                  <a:gd name="connsiteX31" fmla="*/ 1478923 w 1617836"/>
                  <a:gd name="connsiteY31" fmla="*/ 30424 h 115759"/>
                  <a:gd name="connsiteX32" fmla="*/ 1478923 w 1617836"/>
                  <a:gd name="connsiteY32" fmla="*/ 89788 h 115759"/>
                  <a:gd name="connsiteX33" fmla="*/ 1491241 w 1617836"/>
                  <a:gd name="connsiteY33" fmla="*/ 7272 h 115759"/>
                  <a:gd name="connsiteX34" fmla="*/ 1484118 w 1617836"/>
                  <a:gd name="connsiteY34" fmla="*/ 0 h 115759"/>
                  <a:gd name="connsiteX35" fmla="*/ 1476697 w 1617836"/>
                  <a:gd name="connsiteY35" fmla="*/ 7272 h 115759"/>
                  <a:gd name="connsiteX36" fmla="*/ 1484118 w 1617836"/>
                  <a:gd name="connsiteY36" fmla="*/ 14544 h 115759"/>
                  <a:gd name="connsiteX37" fmla="*/ 1491241 w 1617836"/>
                  <a:gd name="connsiteY37" fmla="*/ 7272 h 115759"/>
                  <a:gd name="connsiteX38" fmla="*/ 1465418 w 1617836"/>
                  <a:gd name="connsiteY38" fmla="*/ 88898 h 115759"/>
                  <a:gd name="connsiteX39" fmla="*/ 1465418 w 1617836"/>
                  <a:gd name="connsiteY39" fmla="*/ 79696 h 115759"/>
                  <a:gd name="connsiteX40" fmla="*/ 1458146 w 1617836"/>
                  <a:gd name="connsiteY40" fmla="*/ 80884 h 115759"/>
                  <a:gd name="connsiteX41" fmla="*/ 1448351 w 1617836"/>
                  <a:gd name="connsiteY41" fmla="*/ 70792 h 115759"/>
                  <a:gd name="connsiteX42" fmla="*/ 1448351 w 1617836"/>
                  <a:gd name="connsiteY42" fmla="*/ 39626 h 115759"/>
                  <a:gd name="connsiteX43" fmla="*/ 1465418 w 1617836"/>
                  <a:gd name="connsiteY43" fmla="*/ 39626 h 115759"/>
                  <a:gd name="connsiteX44" fmla="*/ 1465418 w 1617836"/>
                  <a:gd name="connsiteY44" fmla="*/ 30276 h 115759"/>
                  <a:gd name="connsiteX45" fmla="*/ 1448351 w 1617836"/>
                  <a:gd name="connsiteY45" fmla="*/ 30276 h 115759"/>
                  <a:gd name="connsiteX46" fmla="*/ 1448351 w 1617836"/>
                  <a:gd name="connsiteY46" fmla="*/ 13802 h 115759"/>
                  <a:gd name="connsiteX47" fmla="*/ 1438110 w 1617836"/>
                  <a:gd name="connsiteY47" fmla="*/ 13802 h 115759"/>
                  <a:gd name="connsiteX48" fmla="*/ 1438110 w 1617836"/>
                  <a:gd name="connsiteY48" fmla="*/ 30276 h 115759"/>
                  <a:gd name="connsiteX49" fmla="*/ 1425495 w 1617836"/>
                  <a:gd name="connsiteY49" fmla="*/ 30276 h 115759"/>
                  <a:gd name="connsiteX50" fmla="*/ 1425495 w 1617836"/>
                  <a:gd name="connsiteY50" fmla="*/ 39626 h 115759"/>
                  <a:gd name="connsiteX51" fmla="*/ 1438110 w 1617836"/>
                  <a:gd name="connsiteY51" fmla="*/ 39626 h 115759"/>
                  <a:gd name="connsiteX52" fmla="*/ 1438110 w 1617836"/>
                  <a:gd name="connsiteY52" fmla="*/ 71979 h 115759"/>
                  <a:gd name="connsiteX53" fmla="*/ 1456216 w 1617836"/>
                  <a:gd name="connsiteY53" fmla="*/ 90085 h 115759"/>
                  <a:gd name="connsiteX54" fmla="*/ 1465418 w 1617836"/>
                  <a:gd name="connsiteY54" fmla="*/ 88601 h 115759"/>
                  <a:gd name="connsiteX55" fmla="*/ 1403382 w 1617836"/>
                  <a:gd name="connsiteY55" fmla="*/ 60106 h 115759"/>
                  <a:gd name="connsiteX56" fmla="*/ 1383198 w 1617836"/>
                  <a:gd name="connsiteY56" fmla="*/ 81626 h 115759"/>
                  <a:gd name="connsiteX57" fmla="*/ 1362865 w 1617836"/>
                  <a:gd name="connsiteY57" fmla="*/ 60106 h 115759"/>
                  <a:gd name="connsiteX58" fmla="*/ 1383198 w 1617836"/>
                  <a:gd name="connsiteY58" fmla="*/ 38587 h 115759"/>
                  <a:gd name="connsiteX59" fmla="*/ 1403382 w 1617836"/>
                  <a:gd name="connsiteY59" fmla="*/ 60106 h 115759"/>
                  <a:gd name="connsiteX60" fmla="*/ 1352625 w 1617836"/>
                  <a:gd name="connsiteY60" fmla="*/ 60106 h 115759"/>
                  <a:gd name="connsiteX61" fmla="*/ 1381713 w 1617836"/>
                  <a:gd name="connsiteY61" fmla="*/ 90976 h 115759"/>
                  <a:gd name="connsiteX62" fmla="*/ 1402640 w 1617836"/>
                  <a:gd name="connsiteY62" fmla="*/ 80735 h 115759"/>
                  <a:gd name="connsiteX63" fmla="*/ 1402640 w 1617836"/>
                  <a:gd name="connsiteY63" fmla="*/ 89937 h 115759"/>
                  <a:gd name="connsiteX64" fmla="*/ 1412880 w 1617836"/>
                  <a:gd name="connsiteY64" fmla="*/ 89937 h 115759"/>
                  <a:gd name="connsiteX65" fmla="*/ 1412880 w 1617836"/>
                  <a:gd name="connsiteY65" fmla="*/ 30572 h 115759"/>
                  <a:gd name="connsiteX66" fmla="*/ 1402640 w 1617836"/>
                  <a:gd name="connsiteY66" fmla="*/ 30572 h 115759"/>
                  <a:gd name="connsiteX67" fmla="*/ 1402640 w 1617836"/>
                  <a:gd name="connsiteY67" fmla="*/ 39774 h 115759"/>
                  <a:gd name="connsiteX68" fmla="*/ 1381713 w 1617836"/>
                  <a:gd name="connsiteY68" fmla="*/ 29385 h 115759"/>
                  <a:gd name="connsiteX69" fmla="*/ 1352625 w 1617836"/>
                  <a:gd name="connsiteY69" fmla="*/ 60255 h 115759"/>
                  <a:gd name="connsiteX70" fmla="*/ 1250369 w 1617836"/>
                  <a:gd name="connsiteY70" fmla="*/ 89788 h 115759"/>
                  <a:gd name="connsiteX71" fmla="*/ 1260609 w 1617836"/>
                  <a:gd name="connsiteY71" fmla="*/ 89788 h 115759"/>
                  <a:gd name="connsiteX72" fmla="*/ 1260609 w 1617836"/>
                  <a:gd name="connsiteY72" fmla="*/ 60403 h 115759"/>
                  <a:gd name="connsiteX73" fmla="*/ 1276935 w 1617836"/>
                  <a:gd name="connsiteY73" fmla="*/ 38735 h 115759"/>
                  <a:gd name="connsiteX74" fmla="*/ 1288511 w 1617836"/>
                  <a:gd name="connsiteY74" fmla="*/ 55060 h 115759"/>
                  <a:gd name="connsiteX75" fmla="*/ 1288511 w 1617836"/>
                  <a:gd name="connsiteY75" fmla="*/ 89937 h 115759"/>
                  <a:gd name="connsiteX76" fmla="*/ 1298751 w 1617836"/>
                  <a:gd name="connsiteY76" fmla="*/ 89937 h 115759"/>
                  <a:gd name="connsiteX77" fmla="*/ 1298751 w 1617836"/>
                  <a:gd name="connsiteY77" fmla="*/ 60552 h 115759"/>
                  <a:gd name="connsiteX78" fmla="*/ 1315077 w 1617836"/>
                  <a:gd name="connsiteY78" fmla="*/ 38883 h 115759"/>
                  <a:gd name="connsiteX79" fmla="*/ 1326801 w 1617836"/>
                  <a:gd name="connsiteY79" fmla="*/ 55209 h 115759"/>
                  <a:gd name="connsiteX80" fmla="*/ 1326801 w 1617836"/>
                  <a:gd name="connsiteY80" fmla="*/ 90085 h 115759"/>
                  <a:gd name="connsiteX81" fmla="*/ 1337042 w 1617836"/>
                  <a:gd name="connsiteY81" fmla="*/ 90085 h 115759"/>
                  <a:gd name="connsiteX82" fmla="*/ 1337042 w 1617836"/>
                  <a:gd name="connsiteY82" fmla="*/ 53576 h 115759"/>
                  <a:gd name="connsiteX83" fmla="*/ 1316264 w 1617836"/>
                  <a:gd name="connsiteY83" fmla="*/ 29534 h 115759"/>
                  <a:gd name="connsiteX84" fmla="*/ 1296822 w 1617836"/>
                  <a:gd name="connsiteY84" fmla="*/ 42297 h 115759"/>
                  <a:gd name="connsiteX85" fmla="*/ 1278567 w 1617836"/>
                  <a:gd name="connsiteY85" fmla="*/ 29534 h 115759"/>
                  <a:gd name="connsiteX86" fmla="*/ 1260609 w 1617836"/>
                  <a:gd name="connsiteY86" fmla="*/ 39922 h 115759"/>
                  <a:gd name="connsiteX87" fmla="*/ 1260609 w 1617836"/>
                  <a:gd name="connsiteY87" fmla="*/ 30721 h 115759"/>
                  <a:gd name="connsiteX88" fmla="*/ 1250369 w 1617836"/>
                  <a:gd name="connsiteY88" fmla="*/ 30721 h 115759"/>
                  <a:gd name="connsiteX89" fmla="*/ 1250369 w 1617836"/>
                  <a:gd name="connsiteY89" fmla="*/ 90085 h 115759"/>
                  <a:gd name="connsiteX90" fmla="*/ 1205994 w 1617836"/>
                  <a:gd name="connsiteY90" fmla="*/ 89788 h 115759"/>
                  <a:gd name="connsiteX91" fmla="*/ 1216234 w 1617836"/>
                  <a:gd name="connsiteY91" fmla="*/ 89788 h 115759"/>
                  <a:gd name="connsiteX92" fmla="*/ 1216234 w 1617836"/>
                  <a:gd name="connsiteY92" fmla="*/ 60403 h 115759"/>
                  <a:gd name="connsiteX93" fmla="*/ 1231966 w 1617836"/>
                  <a:gd name="connsiteY93" fmla="*/ 39922 h 115759"/>
                  <a:gd name="connsiteX94" fmla="*/ 1237606 w 1617836"/>
                  <a:gd name="connsiteY94" fmla="*/ 40813 h 115759"/>
                  <a:gd name="connsiteX95" fmla="*/ 1237606 w 1617836"/>
                  <a:gd name="connsiteY95" fmla="*/ 30424 h 115759"/>
                  <a:gd name="connsiteX96" fmla="*/ 1233005 w 1617836"/>
                  <a:gd name="connsiteY96" fmla="*/ 29831 h 115759"/>
                  <a:gd name="connsiteX97" fmla="*/ 1216383 w 1617836"/>
                  <a:gd name="connsiteY97" fmla="*/ 42000 h 115759"/>
                  <a:gd name="connsiteX98" fmla="*/ 1216383 w 1617836"/>
                  <a:gd name="connsiteY98" fmla="*/ 30424 h 115759"/>
                  <a:gd name="connsiteX99" fmla="*/ 1206142 w 1617836"/>
                  <a:gd name="connsiteY99" fmla="*/ 30424 h 115759"/>
                  <a:gd name="connsiteX100" fmla="*/ 1206142 w 1617836"/>
                  <a:gd name="connsiteY100" fmla="*/ 89788 h 115759"/>
                  <a:gd name="connsiteX101" fmla="*/ 1138318 w 1617836"/>
                  <a:gd name="connsiteY101" fmla="*/ 60106 h 115759"/>
                  <a:gd name="connsiteX102" fmla="*/ 1158948 w 1617836"/>
                  <a:gd name="connsiteY102" fmla="*/ 38735 h 115759"/>
                  <a:gd name="connsiteX103" fmla="*/ 1179428 w 1617836"/>
                  <a:gd name="connsiteY103" fmla="*/ 60106 h 115759"/>
                  <a:gd name="connsiteX104" fmla="*/ 1158948 w 1617836"/>
                  <a:gd name="connsiteY104" fmla="*/ 81477 h 115759"/>
                  <a:gd name="connsiteX105" fmla="*/ 1138318 w 1617836"/>
                  <a:gd name="connsiteY105" fmla="*/ 60106 h 115759"/>
                  <a:gd name="connsiteX106" fmla="*/ 1189966 w 1617836"/>
                  <a:gd name="connsiteY106" fmla="*/ 60106 h 115759"/>
                  <a:gd name="connsiteX107" fmla="*/ 1158948 w 1617836"/>
                  <a:gd name="connsiteY107" fmla="*/ 29237 h 115759"/>
                  <a:gd name="connsiteX108" fmla="*/ 1127781 w 1617836"/>
                  <a:gd name="connsiteY108" fmla="*/ 60106 h 115759"/>
                  <a:gd name="connsiteX109" fmla="*/ 1158948 w 1617836"/>
                  <a:gd name="connsiteY109" fmla="*/ 90976 h 115759"/>
                  <a:gd name="connsiteX110" fmla="*/ 1189966 w 1617836"/>
                  <a:gd name="connsiteY110" fmla="*/ 60106 h 115759"/>
                  <a:gd name="connsiteX111" fmla="*/ 1093349 w 1617836"/>
                  <a:gd name="connsiteY111" fmla="*/ 89788 h 115759"/>
                  <a:gd name="connsiteX112" fmla="*/ 1103590 w 1617836"/>
                  <a:gd name="connsiteY112" fmla="*/ 89788 h 115759"/>
                  <a:gd name="connsiteX113" fmla="*/ 1103590 w 1617836"/>
                  <a:gd name="connsiteY113" fmla="*/ 39774 h 115759"/>
                  <a:gd name="connsiteX114" fmla="*/ 1120806 w 1617836"/>
                  <a:gd name="connsiteY114" fmla="*/ 39774 h 115759"/>
                  <a:gd name="connsiteX115" fmla="*/ 1120806 w 1617836"/>
                  <a:gd name="connsiteY115" fmla="*/ 30424 h 115759"/>
                  <a:gd name="connsiteX116" fmla="*/ 1103590 w 1617836"/>
                  <a:gd name="connsiteY116" fmla="*/ 30424 h 115759"/>
                  <a:gd name="connsiteX117" fmla="*/ 1103590 w 1617836"/>
                  <a:gd name="connsiteY117" fmla="*/ 19442 h 115759"/>
                  <a:gd name="connsiteX118" fmla="*/ 1113385 w 1617836"/>
                  <a:gd name="connsiteY118" fmla="*/ 9350 h 115759"/>
                  <a:gd name="connsiteX119" fmla="*/ 1120806 w 1617836"/>
                  <a:gd name="connsiteY119" fmla="*/ 10537 h 115759"/>
                  <a:gd name="connsiteX120" fmla="*/ 1120806 w 1617836"/>
                  <a:gd name="connsiteY120" fmla="*/ 1484 h 115759"/>
                  <a:gd name="connsiteX121" fmla="*/ 1111604 w 1617836"/>
                  <a:gd name="connsiteY121" fmla="*/ 0 h 115759"/>
                  <a:gd name="connsiteX122" fmla="*/ 1093498 w 1617836"/>
                  <a:gd name="connsiteY122" fmla="*/ 18403 h 115759"/>
                  <a:gd name="connsiteX123" fmla="*/ 1093498 w 1617836"/>
                  <a:gd name="connsiteY123" fmla="*/ 30424 h 115759"/>
                  <a:gd name="connsiteX124" fmla="*/ 1080883 w 1617836"/>
                  <a:gd name="connsiteY124" fmla="*/ 30424 h 115759"/>
                  <a:gd name="connsiteX125" fmla="*/ 1080883 w 1617836"/>
                  <a:gd name="connsiteY125" fmla="*/ 39774 h 115759"/>
                  <a:gd name="connsiteX126" fmla="*/ 1093498 w 1617836"/>
                  <a:gd name="connsiteY126" fmla="*/ 39774 h 115759"/>
                  <a:gd name="connsiteX127" fmla="*/ 1093498 w 1617836"/>
                  <a:gd name="connsiteY127" fmla="*/ 89788 h 115759"/>
                  <a:gd name="connsiteX128" fmla="*/ 1017956 w 1617836"/>
                  <a:gd name="connsiteY128" fmla="*/ 89788 h 115759"/>
                  <a:gd name="connsiteX129" fmla="*/ 1028197 w 1617836"/>
                  <a:gd name="connsiteY129" fmla="*/ 89788 h 115759"/>
                  <a:gd name="connsiteX130" fmla="*/ 1028197 w 1617836"/>
                  <a:gd name="connsiteY130" fmla="*/ 60403 h 115759"/>
                  <a:gd name="connsiteX131" fmla="*/ 1045412 w 1617836"/>
                  <a:gd name="connsiteY131" fmla="*/ 38735 h 115759"/>
                  <a:gd name="connsiteX132" fmla="*/ 1059363 w 1617836"/>
                  <a:gd name="connsiteY132" fmla="*/ 54912 h 115759"/>
                  <a:gd name="connsiteX133" fmla="*/ 1059363 w 1617836"/>
                  <a:gd name="connsiteY133" fmla="*/ 89937 h 115759"/>
                  <a:gd name="connsiteX134" fmla="*/ 1069455 w 1617836"/>
                  <a:gd name="connsiteY134" fmla="*/ 89937 h 115759"/>
                  <a:gd name="connsiteX135" fmla="*/ 1069455 w 1617836"/>
                  <a:gd name="connsiteY135" fmla="*/ 53428 h 115759"/>
                  <a:gd name="connsiteX136" fmla="*/ 1047045 w 1617836"/>
                  <a:gd name="connsiteY136" fmla="*/ 29385 h 115759"/>
                  <a:gd name="connsiteX137" fmla="*/ 1028197 w 1617836"/>
                  <a:gd name="connsiteY137" fmla="*/ 39774 h 115759"/>
                  <a:gd name="connsiteX138" fmla="*/ 1028197 w 1617836"/>
                  <a:gd name="connsiteY138" fmla="*/ 30572 h 115759"/>
                  <a:gd name="connsiteX139" fmla="*/ 1017956 w 1617836"/>
                  <a:gd name="connsiteY139" fmla="*/ 30572 h 115759"/>
                  <a:gd name="connsiteX140" fmla="*/ 1017956 w 1617836"/>
                  <a:gd name="connsiteY140" fmla="*/ 89937 h 115759"/>
                  <a:gd name="connsiteX141" fmla="*/ 987680 w 1617836"/>
                  <a:gd name="connsiteY141" fmla="*/ 89788 h 115759"/>
                  <a:gd name="connsiteX142" fmla="*/ 997921 w 1617836"/>
                  <a:gd name="connsiteY142" fmla="*/ 89788 h 115759"/>
                  <a:gd name="connsiteX143" fmla="*/ 997921 w 1617836"/>
                  <a:gd name="connsiteY143" fmla="*/ 30424 h 115759"/>
                  <a:gd name="connsiteX144" fmla="*/ 987680 w 1617836"/>
                  <a:gd name="connsiteY144" fmla="*/ 30424 h 115759"/>
                  <a:gd name="connsiteX145" fmla="*/ 987680 w 1617836"/>
                  <a:gd name="connsiteY145" fmla="*/ 89788 h 115759"/>
                  <a:gd name="connsiteX146" fmla="*/ 999998 w 1617836"/>
                  <a:gd name="connsiteY146" fmla="*/ 7272 h 115759"/>
                  <a:gd name="connsiteX147" fmla="*/ 992875 w 1617836"/>
                  <a:gd name="connsiteY147" fmla="*/ 0 h 115759"/>
                  <a:gd name="connsiteX148" fmla="*/ 985602 w 1617836"/>
                  <a:gd name="connsiteY148" fmla="*/ 7272 h 115759"/>
                  <a:gd name="connsiteX149" fmla="*/ 992875 w 1617836"/>
                  <a:gd name="connsiteY149" fmla="*/ 14544 h 115759"/>
                  <a:gd name="connsiteX150" fmla="*/ 999998 w 1617836"/>
                  <a:gd name="connsiteY150" fmla="*/ 7272 h 115759"/>
                  <a:gd name="connsiteX151" fmla="*/ 920301 w 1617836"/>
                  <a:gd name="connsiteY151" fmla="*/ 60106 h 115759"/>
                  <a:gd name="connsiteX152" fmla="*/ 940931 w 1617836"/>
                  <a:gd name="connsiteY152" fmla="*/ 38735 h 115759"/>
                  <a:gd name="connsiteX153" fmla="*/ 961560 w 1617836"/>
                  <a:gd name="connsiteY153" fmla="*/ 60106 h 115759"/>
                  <a:gd name="connsiteX154" fmla="*/ 940931 w 1617836"/>
                  <a:gd name="connsiteY154" fmla="*/ 81477 h 115759"/>
                  <a:gd name="connsiteX155" fmla="*/ 920301 w 1617836"/>
                  <a:gd name="connsiteY155" fmla="*/ 60106 h 115759"/>
                  <a:gd name="connsiteX156" fmla="*/ 971949 w 1617836"/>
                  <a:gd name="connsiteY156" fmla="*/ 60106 h 115759"/>
                  <a:gd name="connsiteX157" fmla="*/ 940931 w 1617836"/>
                  <a:gd name="connsiteY157" fmla="*/ 29237 h 115759"/>
                  <a:gd name="connsiteX158" fmla="*/ 909764 w 1617836"/>
                  <a:gd name="connsiteY158" fmla="*/ 60106 h 115759"/>
                  <a:gd name="connsiteX159" fmla="*/ 940931 w 1617836"/>
                  <a:gd name="connsiteY159" fmla="*/ 90976 h 115759"/>
                  <a:gd name="connsiteX160" fmla="*/ 971949 w 1617836"/>
                  <a:gd name="connsiteY160" fmla="*/ 60106 h 115759"/>
                  <a:gd name="connsiteX161" fmla="*/ 884089 w 1617836"/>
                  <a:gd name="connsiteY161" fmla="*/ 89788 h 115759"/>
                  <a:gd name="connsiteX162" fmla="*/ 894329 w 1617836"/>
                  <a:gd name="connsiteY162" fmla="*/ 89788 h 115759"/>
                  <a:gd name="connsiteX163" fmla="*/ 894329 w 1617836"/>
                  <a:gd name="connsiteY163" fmla="*/ 30424 h 115759"/>
                  <a:gd name="connsiteX164" fmla="*/ 884089 w 1617836"/>
                  <a:gd name="connsiteY164" fmla="*/ 30424 h 115759"/>
                  <a:gd name="connsiteX165" fmla="*/ 884089 w 1617836"/>
                  <a:gd name="connsiteY165" fmla="*/ 89788 h 115759"/>
                  <a:gd name="connsiteX166" fmla="*/ 896407 w 1617836"/>
                  <a:gd name="connsiteY166" fmla="*/ 7272 h 115759"/>
                  <a:gd name="connsiteX167" fmla="*/ 889283 w 1617836"/>
                  <a:gd name="connsiteY167" fmla="*/ 0 h 115759"/>
                  <a:gd name="connsiteX168" fmla="*/ 882011 w 1617836"/>
                  <a:gd name="connsiteY168" fmla="*/ 7272 h 115759"/>
                  <a:gd name="connsiteX169" fmla="*/ 889283 w 1617836"/>
                  <a:gd name="connsiteY169" fmla="*/ 14544 h 115759"/>
                  <a:gd name="connsiteX170" fmla="*/ 896407 w 1617836"/>
                  <a:gd name="connsiteY170" fmla="*/ 7272 h 115759"/>
                  <a:gd name="connsiteX171" fmla="*/ 819975 w 1617836"/>
                  <a:gd name="connsiteY171" fmla="*/ 79845 h 115759"/>
                  <a:gd name="connsiteX172" fmla="*/ 819975 w 1617836"/>
                  <a:gd name="connsiteY172" fmla="*/ 51202 h 115759"/>
                  <a:gd name="connsiteX173" fmla="*/ 839714 w 1617836"/>
                  <a:gd name="connsiteY173" fmla="*/ 51202 h 115759"/>
                  <a:gd name="connsiteX174" fmla="*/ 856632 w 1617836"/>
                  <a:gd name="connsiteY174" fmla="*/ 65598 h 115759"/>
                  <a:gd name="connsiteX175" fmla="*/ 839714 w 1617836"/>
                  <a:gd name="connsiteY175" fmla="*/ 79845 h 115759"/>
                  <a:gd name="connsiteX176" fmla="*/ 820123 w 1617836"/>
                  <a:gd name="connsiteY176" fmla="*/ 79845 h 115759"/>
                  <a:gd name="connsiteX177" fmla="*/ 819975 w 1617836"/>
                  <a:gd name="connsiteY177" fmla="*/ 41703 h 115759"/>
                  <a:gd name="connsiteX178" fmla="*/ 819975 w 1617836"/>
                  <a:gd name="connsiteY178" fmla="*/ 15435 h 115759"/>
                  <a:gd name="connsiteX179" fmla="*/ 836597 w 1617836"/>
                  <a:gd name="connsiteY179" fmla="*/ 15435 h 115759"/>
                  <a:gd name="connsiteX180" fmla="*/ 850993 w 1617836"/>
                  <a:gd name="connsiteY180" fmla="*/ 28643 h 115759"/>
                  <a:gd name="connsiteX181" fmla="*/ 836597 w 1617836"/>
                  <a:gd name="connsiteY181" fmla="*/ 41703 h 115759"/>
                  <a:gd name="connsiteX182" fmla="*/ 819975 w 1617836"/>
                  <a:gd name="connsiteY182" fmla="*/ 41703 h 115759"/>
                  <a:gd name="connsiteX183" fmla="*/ 808992 w 1617836"/>
                  <a:gd name="connsiteY183" fmla="*/ 89788 h 115759"/>
                  <a:gd name="connsiteX184" fmla="*/ 839120 w 1617836"/>
                  <a:gd name="connsiteY184" fmla="*/ 89788 h 115759"/>
                  <a:gd name="connsiteX185" fmla="*/ 867318 w 1617836"/>
                  <a:gd name="connsiteY185" fmla="*/ 65300 h 115759"/>
                  <a:gd name="connsiteX186" fmla="*/ 852774 w 1617836"/>
                  <a:gd name="connsiteY186" fmla="*/ 45117 h 115759"/>
                  <a:gd name="connsiteX187" fmla="*/ 861827 w 1617836"/>
                  <a:gd name="connsiteY187" fmla="*/ 27901 h 115759"/>
                  <a:gd name="connsiteX188" fmla="*/ 836597 w 1617836"/>
                  <a:gd name="connsiteY188" fmla="*/ 5640 h 115759"/>
                  <a:gd name="connsiteX189" fmla="*/ 808992 w 1617836"/>
                  <a:gd name="connsiteY189" fmla="*/ 5640 h 115759"/>
                  <a:gd name="connsiteX190" fmla="*/ 808992 w 1617836"/>
                  <a:gd name="connsiteY190" fmla="*/ 89937 h 115759"/>
                  <a:gd name="connsiteX191" fmla="*/ 701246 w 1617836"/>
                  <a:gd name="connsiteY191" fmla="*/ 66933 h 115759"/>
                  <a:gd name="connsiteX192" fmla="*/ 714603 w 1617836"/>
                  <a:gd name="connsiteY192" fmla="*/ 49866 h 115759"/>
                  <a:gd name="connsiteX193" fmla="*/ 716087 w 1617836"/>
                  <a:gd name="connsiteY193" fmla="*/ 48975 h 115759"/>
                  <a:gd name="connsiteX194" fmla="*/ 737161 w 1617836"/>
                  <a:gd name="connsiteY194" fmla="*/ 69456 h 115759"/>
                  <a:gd name="connsiteX195" fmla="*/ 716977 w 1617836"/>
                  <a:gd name="connsiteY195" fmla="*/ 81774 h 115759"/>
                  <a:gd name="connsiteX196" fmla="*/ 701097 w 1617836"/>
                  <a:gd name="connsiteY196" fmla="*/ 66933 h 115759"/>
                  <a:gd name="connsiteX197" fmla="*/ 709112 w 1617836"/>
                  <a:gd name="connsiteY197" fmla="*/ 23449 h 115759"/>
                  <a:gd name="connsiteX198" fmla="*/ 720539 w 1617836"/>
                  <a:gd name="connsiteY198" fmla="*/ 13060 h 115759"/>
                  <a:gd name="connsiteX199" fmla="*/ 731521 w 1617836"/>
                  <a:gd name="connsiteY199" fmla="*/ 24488 h 115759"/>
                  <a:gd name="connsiteX200" fmla="*/ 719352 w 1617836"/>
                  <a:gd name="connsiteY200" fmla="*/ 37844 h 115759"/>
                  <a:gd name="connsiteX201" fmla="*/ 718758 w 1617836"/>
                  <a:gd name="connsiteY201" fmla="*/ 38142 h 115759"/>
                  <a:gd name="connsiteX202" fmla="*/ 709260 w 1617836"/>
                  <a:gd name="connsiteY202" fmla="*/ 23597 h 115759"/>
                  <a:gd name="connsiteX203" fmla="*/ 758384 w 1617836"/>
                  <a:gd name="connsiteY203" fmla="*/ 89788 h 115759"/>
                  <a:gd name="connsiteX204" fmla="*/ 771741 w 1617836"/>
                  <a:gd name="connsiteY204" fmla="*/ 89788 h 115759"/>
                  <a:gd name="connsiteX205" fmla="*/ 749925 w 1617836"/>
                  <a:gd name="connsiteY205" fmla="*/ 68417 h 115759"/>
                  <a:gd name="connsiteX206" fmla="*/ 765063 w 1617836"/>
                  <a:gd name="connsiteY206" fmla="*/ 49124 h 115759"/>
                  <a:gd name="connsiteX207" fmla="*/ 753190 w 1617836"/>
                  <a:gd name="connsiteY207" fmla="*/ 49124 h 115759"/>
                  <a:gd name="connsiteX208" fmla="*/ 743246 w 1617836"/>
                  <a:gd name="connsiteY208" fmla="*/ 61887 h 115759"/>
                  <a:gd name="connsiteX209" fmla="*/ 725288 w 1617836"/>
                  <a:gd name="connsiteY209" fmla="*/ 44375 h 115759"/>
                  <a:gd name="connsiteX210" fmla="*/ 741613 w 1617836"/>
                  <a:gd name="connsiteY210" fmla="*/ 23746 h 115759"/>
                  <a:gd name="connsiteX211" fmla="*/ 720836 w 1617836"/>
                  <a:gd name="connsiteY211" fmla="*/ 4155 h 115759"/>
                  <a:gd name="connsiteX212" fmla="*/ 699316 w 1617836"/>
                  <a:gd name="connsiteY212" fmla="*/ 23301 h 115759"/>
                  <a:gd name="connsiteX213" fmla="*/ 709557 w 1617836"/>
                  <a:gd name="connsiteY213" fmla="*/ 42446 h 115759"/>
                  <a:gd name="connsiteX214" fmla="*/ 708963 w 1617836"/>
                  <a:gd name="connsiteY214" fmla="*/ 42742 h 115759"/>
                  <a:gd name="connsiteX215" fmla="*/ 691005 w 1617836"/>
                  <a:gd name="connsiteY215" fmla="*/ 66785 h 115759"/>
                  <a:gd name="connsiteX216" fmla="*/ 716829 w 1617836"/>
                  <a:gd name="connsiteY216" fmla="*/ 90976 h 115759"/>
                  <a:gd name="connsiteX217" fmla="*/ 743988 w 1617836"/>
                  <a:gd name="connsiteY217" fmla="*/ 75838 h 115759"/>
                  <a:gd name="connsiteX218" fmla="*/ 758384 w 1617836"/>
                  <a:gd name="connsiteY218" fmla="*/ 89788 h 115759"/>
                  <a:gd name="connsiteX219" fmla="*/ 597803 w 1617836"/>
                  <a:gd name="connsiteY219" fmla="*/ 59513 h 115759"/>
                  <a:gd name="connsiteX220" fmla="*/ 617838 w 1617836"/>
                  <a:gd name="connsiteY220" fmla="*/ 38735 h 115759"/>
                  <a:gd name="connsiteX221" fmla="*/ 637874 w 1617836"/>
                  <a:gd name="connsiteY221" fmla="*/ 59513 h 115759"/>
                  <a:gd name="connsiteX222" fmla="*/ 617838 w 1617836"/>
                  <a:gd name="connsiteY222" fmla="*/ 80290 h 115759"/>
                  <a:gd name="connsiteX223" fmla="*/ 597803 w 1617836"/>
                  <a:gd name="connsiteY223" fmla="*/ 59513 h 115759"/>
                  <a:gd name="connsiteX224" fmla="*/ 647224 w 1617836"/>
                  <a:gd name="connsiteY224" fmla="*/ 86523 h 115759"/>
                  <a:gd name="connsiteX225" fmla="*/ 647224 w 1617836"/>
                  <a:gd name="connsiteY225" fmla="*/ 30424 h 115759"/>
                  <a:gd name="connsiteX226" fmla="*/ 636983 w 1617836"/>
                  <a:gd name="connsiteY226" fmla="*/ 30424 h 115759"/>
                  <a:gd name="connsiteX227" fmla="*/ 636983 w 1617836"/>
                  <a:gd name="connsiteY227" fmla="*/ 39626 h 115759"/>
                  <a:gd name="connsiteX228" fmla="*/ 616354 w 1617836"/>
                  <a:gd name="connsiteY228" fmla="*/ 29237 h 115759"/>
                  <a:gd name="connsiteX229" fmla="*/ 587265 w 1617836"/>
                  <a:gd name="connsiteY229" fmla="*/ 59513 h 115759"/>
                  <a:gd name="connsiteX230" fmla="*/ 616354 w 1617836"/>
                  <a:gd name="connsiteY230" fmla="*/ 89788 h 115759"/>
                  <a:gd name="connsiteX231" fmla="*/ 636983 w 1617836"/>
                  <a:gd name="connsiteY231" fmla="*/ 79400 h 115759"/>
                  <a:gd name="connsiteX232" fmla="*/ 636983 w 1617836"/>
                  <a:gd name="connsiteY232" fmla="*/ 86078 h 115759"/>
                  <a:gd name="connsiteX233" fmla="*/ 617096 w 1617836"/>
                  <a:gd name="connsiteY233" fmla="*/ 106558 h 115759"/>
                  <a:gd name="connsiteX234" fmla="*/ 596318 w 1617836"/>
                  <a:gd name="connsiteY234" fmla="*/ 96615 h 115759"/>
                  <a:gd name="connsiteX235" fmla="*/ 589195 w 1617836"/>
                  <a:gd name="connsiteY235" fmla="*/ 103739 h 115759"/>
                  <a:gd name="connsiteX236" fmla="*/ 617096 w 1617836"/>
                  <a:gd name="connsiteY236" fmla="*/ 115760 h 115759"/>
                  <a:gd name="connsiteX237" fmla="*/ 647075 w 1617836"/>
                  <a:gd name="connsiteY237" fmla="*/ 86375 h 115759"/>
                  <a:gd name="connsiteX238" fmla="*/ 521667 w 1617836"/>
                  <a:gd name="connsiteY238" fmla="*/ 89788 h 115759"/>
                  <a:gd name="connsiteX239" fmla="*/ 531908 w 1617836"/>
                  <a:gd name="connsiteY239" fmla="*/ 89788 h 115759"/>
                  <a:gd name="connsiteX240" fmla="*/ 531908 w 1617836"/>
                  <a:gd name="connsiteY240" fmla="*/ 60403 h 115759"/>
                  <a:gd name="connsiteX241" fmla="*/ 549124 w 1617836"/>
                  <a:gd name="connsiteY241" fmla="*/ 38735 h 115759"/>
                  <a:gd name="connsiteX242" fmla="*/ 563074 w 1617836"/>
                  <a:gd name="connsiteY242" fmla="*/ 54912 h 115759"/>
                  <a:gd name="connsiteX243" fmla="*/ 563074 w 1617836"/>
                  <a:gd name="connsiteY243" fmla="*/ 89937 h 115759"/>
                  <a:gd name="connsiteX244" fmla="*/ 573166 w 1617836"/>
                  <a:gd name="connsiteY244" fmla="*/ 89937 h 115759"/>
                  <a:gd name="connsiteX245" fmla="*/ 573166 w 1617836"/>
                  <a:gd name="connsiteY245" fmla="*/ 53428 h 115759"/>
                  <a:gd name="connsiteX246" fmla="*/ 550756 w 1617836"/>
                  <a:gd name="connsiteY246" fmla="*/ 29385 h 115759"/>
                  <a:gd name="connsiteX247" fmla="*/ 531908 w 1617836"/>
                  <a:gd name="connsiteY247" fmla="*/ 39774 h 115759"/>
                  <a:gd name="connsiteX248" fmla="*/ 531908 w 1617836"/>
                  <a:gd name="connsiteY248" fmla="*/ 30572 h 115759"/>
                  <a:gd name="connsiteX249" fmla="*/ 521667 w 1617836"/>
                  <a:gd name="connsiteY249" fmla="*/ 30572 h 115759"/>
                  <a:gd name="connsiteX250" fmla="*/ 521667 w 1617836"/>
                  <a:gd name="connsiteY250" fmla="*/ 89937 h 115759"/>
                  <a:gd name="connsiteX251" fmla="*/ 492430 w 1617836"/>
                  <a:gd name="connsiteY251" fmla="*/ 89788 h 115759"/>
                  <a:gd name="connsiteX252" fmla="*/ 502671 w 1617836"/>
                  <a:gd name="connsiteY252" fmla="*/ 89788 h 115759"/>
                  <a:gd name="connsiteX253" fmla="*/ 502671 w 1617836"/>
                  <a:gd name="connsiteY253" fmla="*/ 30424 h 115759"/>
                  <a:gd name="connsiteX254" fmla="*/ 492430 w 1617836"/>
                  <a:gd name="connsiteY254" fmla="*/ 30424 h 115759"/>
                  <a:gd name="connsiteX255" fmla="*/ 492430 w 1617836"/>
                  <a:gd name="connsiteY255" fmla="*/ 89788 h 115759"/>
                  <a:gd name="connsiteX256" fmla="*/ 504897 w 1617836"/>
                  <a:gd name="connsiteY256" fmla="*/ 7272 h 115759"/>
                  <a:gd name="connsiteX257" fmla="*/ 497773 w 1617836"/>
                  <a:gd name="connsiteY257" fmla="*/ 0 h 115759"/>
                  <a:gd name="connsiteX258" fmla="*/ 490501 w 1617836"/>
                  <a:gd name="connsiteY258" fmla="*/ 7272 h 115759"/>
                  <a:gd name="connsiteX259" fmla="*/ 497773 w 1617836"/>
                  <a:gd name="connsiteY259" fmla="*/ 14544 h 115759"/>
                  <a:gd name="connsiteX260" fmla="*/ 504897 w 1617836"/>
                  <a:gd name="connsiteY260" fmla="*/ 7272 h 115759"/>
                  <a:gd name="connsiteX261" fmla="*/ 479221 w 1617836"/>
                  <a:gd name="connsiteY261" fmla="*/ 75096 h 115759"/>
                  <a:gd name="connsiteX262" fmla="*/ 470317 w 1617836"/>
                  <a:gd name="connsiteY262" fmla="*/ 70050 h 115759"/>
                  <a:gd name="connsiteX263" fmla="*/ 451765 w 1617836"/>
                  <a:gd name="connsiteY263" fmla="*/ 81477 h 115759"/>
                  <a:gd name="connsiteX264" fmla="*/ 430988 w 1617836"/>
                  <a:gd name="connsiteY264" fmla="*/ 60106 h 115759"/>
                  <a:gd name="connsiteX265" fmla="*/ 451765 w 1617836"/>
                  <a:gd name="connsiteY265" fmla="*/ 38735 h 115759"/>
                  <a:gd name="connsiteX266" fmla="*/ 470317 w 1617836"/>
                  <a:gd name="connsiteY266" fmla="*/ 50163 h 115759"/>
                  <a:gd name="connsiteX267" fmla="*/ 479221 w 1617836"/>
                  <a:gd name="connsiteY267" fmla="*/ 45117 h 115759"/>
                  <a:gd name="connsiteX268" fmla="*/ 451765 w 1617836"/>
                  <a:gd name="connsiteY268" fmla="*/ 29237 h 115759"/>
                  <a:gd name="connsiteX269" fmla="*/ 420599 w 1617836"/>
                  <a:gd name="connsiteY269" fmla="*/ 60106 h 115759"/>
                  <a:gd name="connsiteX270" fmla="*/ 451765 w 1617836"/>
                  <a:gd name="connsiteY270" fmla="*/ 90976 h 115759"/>
                  <a:gd name="connsiteX271" fmla="*/ 479221 w 1617836"/>
                  <a:gd name="connsiteY271" fmla="*/ 75096 h 115759"/>
                  <a:gd name="connsiteX272" fmla="*/ 355001 w 1617836"/>
                  <a:gd name="connsiteY272" fmla="*/ 89788 h 115759"/>
                  <a:gd name="connsiteX273" fmla="*/ 365241 w 1617836"/>
                  <a:gd name="connsiteY273" fmla="*/ 89788 h 115759"/>
                  <a:gd name="connsiteX274" fmla="*/ 365241 w 1617836"/>
                  <a:gd name="connsiteY274" fmla="*/ 60403 h 115759"/>
                  <a:gd name="connsiteX275" fmla="*/ 382457 w 1617836"/>
                  <a:gd name="connsiteY275" fmla="*/ 38735 h 115759"/>
                  <a:gd name="connsiteX276" fmla="*/ 396408 w 1617836"/>
                  <a:gd name="connsiteY276" fmla="*/ 54912 h 115759"/>
                  <a:gd name="connsiteX277" fmla="*/ 396408 w 1617836"/>
                  <a:gd name="connsiteY277" fmla="*/ 89937 h 115759"/>
                  <a:gd name="connsiteX278" fmla="*/ 406500 w 1617836"/>
                  <a:gd name="connsiteY278" fmla="*/ 89937 h 115759"/>
                  <a:gd name="connsiteX279" fmla="*/ 406500 w 1617836"/>
                  <a:gd name="connsiteY279" fmla="*/ 53428 h 115759"/>
                  <a:gd name="connsiteX280" fmla="*/ 384089 w 1617836"/>
                  <a:gd name="connsiteY280" fmla="*/ 29385 h 115759"/>
                  <a:gd name="connsiteX281" fmla="*/ 365241 w 1617836"/>
                  <a:gd name="connsiteY281" fmla="*/ 39774 h 115759"/>
                  <a:gd name="connsiteX282" fmla="*/ 365241 w 1617836"/>
                  <a:gd name="connsiteY282" fmla="*/ 30572 h 115759"/>
                  <a:gd name="connsiteX283" fmla="*/ 355001 w 1617836"/>
                  <a:gd name="connsiteY283" fmla="*/ 30572 h 115759"/>
                  <a:gd name="connsiteX284" fmla="*/ 355001 w 1617836"/>
                  <a:gd name="connsiteY284" fmla="*/ 89937 h 115759"/>
                  <a:gd name="connsiteX285" fmla="*/ 311516 w 1617836"/>
                  <a:gd name="connsiteY285" fmla="*/ 38290 h 115759"/>
                  <a:gd name="connsiteX286" fmla="*/ 329622 w 1617836"/>
                  <a:gd name="connsiteY286" fmla="*/ 53873 h 115759"/>
                  <a:gd name="connsiteX287" fmla="*/ 291926 w 1617836"/>
                  <a:gd name="connsiteY287" fmla="*/ 53873 h 115759"/>
                  <a:gd name="connsiteX288" fmla="*/ 311368 w 1617836"/>
                  <a:gd name="connsiteY288" fmla="*/ 38290 h 115759"/>
                  <a:gd name="connsiteX289" fmla="*/ 281092 w 1617836"/>
                  <a:gd name="connsiteY289" fmla="*/ 60106 h 115759"/>
                  <a:gd name="connsiteX290" fmla="*/ 311813 w 1617836"/>
                  <a:gd name="connsiteY290" fmla="*/ 90976 h 115759"/>
                  <a:gd name="connsiteX291" fmla="*/ 338527 w 1617836"/>
                  <a:gd name="connsiteY291" fmla="*/ 76876 h 115759"/>
                  <a:gd name="connsiteX292" fmla="*/ 330513 w 1617836"/>
                  <a:gd name="connsiteY292" fmla="*/ 71237 h 115759"/>
                  <a:gd name="connsiteX293" fmla="*/ 311961 w 1617836"/>
                  <a:gd name="connsiteY293" fmla="*/ 81626 h 115759"/>
                  <a:gd name="connsiteX294" fmla="*/ 291481 w 1617836"/>
                  <a:gd name="connsiteY294" fmla="*/ 62184 h 115759"/>
                  <a:gd name="connsiteX295" fmla="*/ 340160 w 1617836"/>
                  <a:gd name="connsiteY295" fmla="*/ 62184 h 115759"/>
                  <a:gd name="connsiteX296" fmla="*/ 340160 w 1617836"/>
                  <a:gd name="connsiteY296" fmla="*/ 59067 h 115759"/>
                  <a:gd name="connsiteX297" fmla="*/ 311961 w 1617836"/>
                  <a:gd name="connsiteY297" fmla="*/ 29237 h 115759"/>
                  <a:gd name="connsiteX298" fmla="*/ 281092 w 1617836"/>
                  <a:gd name="connsiteY298" fmla="*/ 60106 h 115759"/>
                  <a:gd name="connsiteX299" fmla="*/ 215790 w 1617836"/>
                  <a:gd name="connsiteY299" fmla="*/ 66933 h 115759"/>
                  <a:gd name="connsiteX300" fmla="*/ 237607 w 1617836"/>
                  <a:gd name="connsiteY300" fmla="*/ 90976 h 115759"/>
                  <a:gd name="connsiteX301" fmla="*/ 255862 w 1617836"/>
                  <a:gd name="connsiteY301" fmla="*/ 80735 h 115759"/>
                  <a:gd name="connsiteX302" fmla="*/ 255862 w 1617836"/>
                  <a:gd name="connsiteY302" fmla="*/ 89937 h 115759"/>
                  <a:gd name="connsiteX303" fmla="*/ 266102 w 1617836"/>
                  <a:gd name="connsiteY303" fmla="*/ 89937 h 115759"/>
                  <a:gd name="connsiteX304" fmla="*/ 266102 w 1617836"/>
                  <a:gd name="connsiteY304" fmla="*/ 30572 h 115759"/>
                  <a:gd name="connsiteX305" fmla="*/ 255862 w 1617836"/>
                  <a:gd name="connsiteY305" fmla="*/ 30572 h 115759"/>
                  <a:gd name="connsiteX306" fmla="*/ 255862 w 1617836"/>
                  <a:gd name="connsiteY306" fmla="*/ 59958 h 115759"/>
                  <a:gd name="connsiteX307" fmla="*/ 239388 w 1617836"/>
                  <a:gd name="connsiteY307" fmla="*/ 81626 h 115759"/>
                  <a:gd name="connsiteX308" fmla="*/ 226031 w 1617836"/>
                  <a:gd name="connsiteY308" fmla="*/ 65300 h 115759"/>
                  <a:gd name="connsiteX309" fmla="*/ 226031 w 1617836"/>
                  <a:gd name="connsiteY309" fmla="*/ 30424 h 115759"/>
                  <a:gd name="connsiteX310" fmla="*/ 215790 w 1617836"/>
                  <a:gd name="connsiteY310" fmla="*/ 30424 h 115759"/>
                  <a:gd name="connsiteX311" fmla="*/ 215790 w 1617836"/>
                  <a:gd name="connsiteY311" fmla="*/ 66933 h 115759"/>
                  <a:gd name="connsiteX312" fmla="*/ 188186 w 1617836"/>
                  <a:gd name="connsiteY312" fmla="*/ 60106 h 115759"/>
                  <a:gd name="connsiteX313" fmla="*/ 168002 w 1617836"/>
                  <a:gd name="connsiteY313" fmla="*/ 81626 h 115759"/>
                  <a:gd name="connsiteX314" fmla="*/ 147669 w 1617836"/>
                  <a:gd name="connsiteY314" fmla="*/ 60106 h 115759"/>
                  <a:gd name="connsiteX315" fmla="*/ 168002 w 1617836"/>
                  <a:gd name="connsiteY315" fmla="*/ 38587 h 115759"/>
                  <a:gd name="connsiteX316" fmla="*/ 188186 w 1617836"/>
                  <a:gd name="connsiteY316" fmla="*/ 60106 h 115759"/>
                  <a:gd name="connsiteX317" fmla="*/ 187296 w 1617836"/>
                  <a:gd name="connsiteY317" fmla="*/ 114573 h 115759"/>
                  <a:gd name="connsiteX318" fmla="*/ 197536 w 1617836"/>
                  <a:gd name="connsiteY318" fmla="*/ 114573 h 115759"/>
                  <a:gd name="connsiteX319" fmla="*/ 197536 w 1617836"/>
                  <a:gd name="connsiteY319" fmla="*/ 30424 h 115759"/>
                  <a:gd name="connsiteX320" fmla="*/ 187296 w 1617836"/>
                  <a:gd name="connsiteY320" fmla="*/ 30424 h 115759"/>
                  <a:gd name="connsiteX321" fmla="*/ 187296 w 1617836"/>
                  <a:gd name="connsiteY321" fmla="*/ 39626 h 115759"/>
                  <a:gd name="connsiteX322" fmla="*/ 166369 w 1617836"/>
                  <a:gd name="connsiteY322" fmla="*/ 29237 h 115759"/>
                  <a:gd name="connsiteX323" fmla="*/ 137281 w 1617836"/>
                  <a:gd name="connsiteY323" fmla="*/ 60106 h 115759"/>
                  <a:gd name="connsiteX324" fmla="*/ 166369 w 1617836"/>
                  <a:gd name="connsiteY324" fmla="*/ 90976 h 115759"/>
                  <a:gd name="connsiteX325" fmla="*/ 187296 w 1617836"/>
                  <a:gd name="connsiteY325" fmla="*/ 80735 h 115759"/>
                  <a:gd name="connsiteX326" fmla="*/ 187296 w 1617836"/>
                  <a:gd name="connsiteY326" fmla="*/ 114721 h 115759"/>
                  <a:gd name="connsiteX327" fmla="*/ 98100 w 1617836"/>
                  <a:gd name="connsiteY327" fmla="*/ 38290 h 115759"/>
                  <a:gd name="connsiteX328" fmla="*/ 116206 w 1617836"/>
                  <a:gd name="connsiteY328" fmla="*/ 53873 h 115759"/>
                  <a:gd name="connsiteX329" fmla="*/ 78510 w 1617836"/>
                  <a:gd name="connsiteY329" fmla="*/ 53873 h 115759"/>
                  <a:gd name="connsiteX330" fmla="*/ 97951 w 1617836"/>
                  <a:gd name="connsiteY330" fmla="*/ 38290 h 115759"/>
                  <a:gd name="connsiteX331" fmla="*/ 67527 w 1617836"/>
                  <a:gd name="connsiteY331" fmla="*/ 60106 h 115759"/>
                  <a:gd name="connsiteX332" fmla="*/ 98249 w 1617836"/>
                  <a:gd name="connsiteY332" fmla="*/ 90976 h 115759"/>
                  <a:gd name="connsiteX333" fmla="*/ 124962 w 1617836"/>
                  <a:gd name="connsiteY333" fmla="*/ 76876 h 115759"/>
                  <a:gd name="connsiteX334" fmla="*/ 116948 w 1617836"/>
                  <a:gd name="connsiteY334" fmla="*/ 71237 h 115759"/>
                  <a:gd name="connsiteX335" fmla="*/ 98397 w 1617836"/>
                  <a:gd name="connsiteY335" fmla="*/ 81626 h 115759"/>
                  <a:gd name="connsiteX336" fmla="*/ 77916 w 1617836"/>
                  <a:gd name="connsiteY336" fmla="*/ 62184 h 115759"/>
                  <a:gd name="connsiteX337" fmla="*/ 126595 w 1617836"/>
                  <a:gd name="connsiteY337" fmla="*/ 62184 h 115759"/>
                  <a:gd name="connsiteX338" fmla="*/ 126595 w 1617836"/>
                  <a:gd name="connsiteY338" fmla="*/ 59067 h 115759"/>
                  <a:gd name="connsiteX339" fmla="*/ 98397 w 1617836"/>
                  <a:gd name="connsiteY339" fmla="*/ 29237 h 115759"/>
                  <a:gd name="connsiteX340" fmla="*/ 67527 w 1617836"/>
                  <a:gd name="connsiteY340" fmla="*/ 60106 h 115759"/>
                  <a:gd name="connsiteX341" fmla="*/ 148 w 1617836"/>
                  <a:gd name="connsiteY341" fmla="*/ 75986 h 115759"/>
                  <a:gd name="connsiteX342" fmla="*/ 29682 w 1617836"/>
                  <a:gd name="connsiteY342" fmla="*/ 91124 h 115759"/>
                  <a:gd name="connsiteX343" fmla="*/ 56545 w 1617836"/>
                  <a:gd name="connsiteY343" fmla="*/ 67675 h 115759"/>
                  <a:gd name="connsiteX344" fmla="*/ 36954 w 1617836"/>
                  <a:gd name="connsiteY344" fmla="*/ 43336 h 115759"/>
                  <a:gd name="connsiteX345" fmla="*/ 26714 w 1617836"/>
                  <a:gd name="connsiteY345" fmla="*/ 39477 h 115759"/>
                  <a:gd name="connsiteX346" fmla="*/ 13950 w 1617836"/>
                  <a:gd name="connsiteY346" fmla="*/ 25972 h 115759"/>
                  <a:gd name="connsiteX347" fmla="*/ 29089 w 1617836"/>
                  <a:gd name="connsiteY347" fmla="*/ 14396 h 115759"/>
                  <a:gd name="connsiteX348" fmla="*/ 45859 w 1617836"/>
                  <a:gd name="connsiteY348" fmla="*/ 22707 h 115759"/>
                  <a:gd name="connsiteX349" fmla="*/ 53873 w 1617836"/>
                  <a:gd name="connsiteY349" fmla="*/ 15583 h 115759"/>
                  <a:gd name="connsiteX350" fmla="*/ 29237 w 1617836"/>
                  <a:gd name="connsiteY350" fmla="*/ 4007 h 115759"/>
                  <a:gd name="connsiteX351" fmla="*/ 2968 w 1617836"/>
                  <a:gd name="connsiteY351" fmla="*/ 26417 h 115759"/>
                  <a:gd name="connsiteX352" fmla="*/ 22113 w 1617836"/>
                  <a:gd name="connsiteY352" fmla="*/ 49718 h 115759"/>
                  <a:gd name="connsiteX353" fmla="*/ 33244 w 1617836"/>
                  <a:gd name="connsiteY353" fmla="*/ 54022 h 115759"/>
                  <a:gd name="connsiteX354" fmla="*/ 45414 w 1617836"/>
                  <a:gd name="connsiteY354" fmla="*/ 68269 h 115759"/>
                  <a:gd name="connsiteX355" fmla="*/ 29830 w 1617836"/>
                  <a:gd name="connsiteY355" fmla="*/ 80884 h 115759"/>
                  <a:gd name="connsiteX356" fmla="*/ 8904 w 1617836"/>
                  <a:gd name="connsiteY356" fmla="*/ 69308 h 115759"/>
                  <a:gd name="connsiteX357" fmla="*/ 0 w 1617836"/>
                  <a:gd name="connsiteY357" fmla="*/ 75986 h 11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Lst>
                <a:rect l="l" t="t" r="r" b="b"/>
                <a:pathLst>
                  <a:path w="1617836" h="115759">
                    <a:moveTo>
                      <a:pt x="1617837" y="73166"/>
                    </a:moveTo>
                    <a:cubicBezTo>
                      <a:pt x="1617837" y="64113"/>
                      <a:pt x="1611900" y="58770"/>
                      <a:pt x="1601660" y="55654"/>
                    </a:cubicBezTo>
                    <a:lnTo>
                      <a:pt x="1595130" y="53576"/>
                    </a:lnTo>
                    <a:cubicBezTo>
                      <a:pt x="1588599" y="51498"/>
                      <a:pt x="1586670" y="48530"/>
                      <a:pt x="1586670" y="44968"/>
                    </a:cubicBezTo>
                    <a:cubicBezTo>
                      <a:pt x="1586670" y="40516"/>
                      <a:pt x="1591568" y="37844"/>
                      <a:pt x="1596465" y="37844"/>
                    </a:cubicBezTo>
                    <a:cubicBezTo>
                      <a:pt x="1602105" y="37844"/>
                      <a:pt x="1606260" y="40813"/>
                      <a:pt x="1608784" y="44672"/>
                    </a:cubicBezTo>
                    <a:lnTo>
                      <a:pt x="1616352" y="39477"/>
                    </a:lnTo>
                    <a:cubicBezTo>
                      <a:pt x="1612494" y="32799"/>
                      <a:pt x="1605519" y="29088"/>
                      <a:pt x="1596762" y="29088"/>
                    </a:cubicBezTo>
                    <a:cubicBezTo>
                      <a:pt x="1585334" y="29088"/>
                      <a:pt x="1576430" y="35173"/>
                      <a:pt x="1576281" y="45265"/>
                    </a:cubicBezTo>
                    <a:cubicBezTo>
                      <a:pt x="1576281" y="53576"/>
                      <a:pt x="1581327" y="59809"/>
                      <a:pt x="1591123" y="62629"/>
                    </a:cubicBezTo>
                    <a:lnTo>
                      <a:pt x="1597059" y="64559"/>
                    </a:lnTo>
                    <a:cubicBezTo>
                      <a:pt x="1604776" y="66933"/>
                      <a:pt x="1607448" y="69604"/>
                      <a:pt x="1607448" y="73760"/>
                    </a:cubicBezTo>
                    <a:cubicBezTo>
                      <a:pt x="1607448" y="78806"/>
                      <a:pt x="1602847" y="81774"/>
                      <a:pt x="1597059" y="81774"/>
                    </a:cubicBezTo>
                    <a:cubicBezTo>
                      <a:pt x="1590529" y="81774"/>
                      <a:pt x="1584147" y="78509"/>
                      <a:pt x="1581921" y="72424"/>
                    </a:cubicBezTo>
                    <a:lnTo>
                      <a:pt x="1573610" y="77025"/>
                    </a:lnTo>
                    <a:cubicBezTo>
                      <a:pt x="1577172" y="86226"/>
                      <a:pt x="1586225" y="90827"/>
                      <a:pt x="1596910" y="90827"/>
                    </a:cubicBezTo>
                    <a:cubicBezTo>
                      <a:pt x="1608784" y="90827"/>
                      <a:pt x="1617540" y="84446"/>
                      <a:pt x="1617540" y="73018"/>
                    </a:cubicBezTo>
                    <a:moveTo>
                      <a:pt x="1563370" y="75096"/>
                    </a:moveTo>
                    <a:lnTo>
                      <a:pt x="1554465" y="70050"/>
                    </a:lnTo>
                    <a:cubicBezTo>
                      <a:pt x="1551200" y="76876"/>
                      <a:pt x="1544521" y="81477"/>
                      <a:pt x="1535913" y="81477"/>
                    </a:cubicBezTo>
                    <a:cubicBezTo>
                      <a:pt x="1523595" y="81477"/>
                      <a:pt x="1515136" y="71979"/>
                      <a:pt x="1515136" y="60106"/>
                    </a:cubicBezTo>
                    <a:cubicBezTo>
                      <a:pt x="1515136" y="48233"/>
                      <a:pt x="1523595" y="38735"/>
                      <a:pt x="1535913" y="38735"/>
                    </a:cubicBezTo>
                    <a:cubicBezTo>
                      <a:pt x="1544521" y="38735"/>
                      <a:pt x="1551051" y="43336"/>
                      <a:pt x="1554465" y="50163"/>
                    </a:cubicBezTo>
                    <a:lnTo>
                      <a:pt x="1563370" y="45117"/>
                    </a:lnTo>
                    <a:cubicBezTo>
                      <a:pt x="1558175" y="35618"/>
                      <a:pt x="1548231" y="29237"/>
                      <a:pt x="1535913" y="29237"/>
                    </a:cubicBezTo>
                    <a:cubicBezTo>
                      <a:pt x="1517956" y="29237"/>
                      <a:pt x="1504747" y="42891"/>
                      <a:pt x="1504747" y="60106"/>
                    </a:cubicBezTo>
                    <a:cubicBezTo>
                      <a:pt x="1504747" y="77322"/>
                      <a:pt x="1517956" y="90976"/>
                      <a:pt x="1535913" y="90976"/>
                    </a:cubicBezTo>
                    <a:cubicBezTo>
                      <a:pt x="1548083" y="90976"/>
                      <a:pt x="1558175" y="84594"/>
                      <a:pt x="1563370" y="75096"/>
                    </a:cubicBezTo>
                    <a:moveTo>
                      <a:pt x="1478923" y="89788"/>
                    </a:moveTo>
                    <a:lnTo>
                      <a:pt x="1489164" y="89788"/>
                    </a:lnTo>
                    <a:lnTo>
                      <a:pt x="1489164" y="30424"/>
                    </a:lnTo>
                    <a:lnTo>
                      <a:pt x="1478923" y="30424"/>
                    </a:lnTo>
                    <a:lnTo>
                      <a:pt x="1478923" y="89788"/>
                    </a:lnTo>
                    <a:close/>
                    <a:moveTo>
                      <a:pt x="1491241" y="7272"/>
                    </a:moveTo>
                    <a:cubicBezTo>
                      <a:pt x="1491241" y="3414"/>
                      <a:pt x="1488125" y="0"/>
                      <a:pt x="1484118" y="0"/>
                    </a:cubicBezTo>
                    <a:cubicBezTo>
                      <a:pt x="1480110" y="0"/>
                      <a:pt x="1476697" y="3265"/>
                      <a:pt x="1476697" y="7272"/>
                    </a:cubicBezTo>
                    <a:cubicBezTo>
                      <a:pt x="1476697" y="11279"/>
                      <a:pt x="1479962" y="14544"/>
                      <a:pt x="1484118" y="14544"/>
                    </a:cubicBezTo>
                    <a:cubicBezTo>
                      <a:pt x="1488273" y="14544"/>
                      <a:pt x="1491241" y="11279"/>
                      <a:pt x="1491241" y="7272"/>
                    </a:cubicBezTo>
                    <a:moveTo>
                      <a:pt x="1465418" y="88898"/>
                    </a:moveTo>
                    <a:lnTo>
                      <a:pt x="1465418" y="79696"/>
                    </a:lnTo>
                    <a:cubicBezTo>
                      <a:pt x="1463488" y="80439"/>
                      <a:pt x="1460669" y="80884"/>
                      <a:pt x="1458146" y="80884"/>
                    </a:cubicBezTo>
                    <a:cubicBezTo>
                      <a:pt x="1451764" y="80884"/>
                      <a:pt x="1448351" y="78361"/>
                      <a:pt x="1448351" y="70792"/>
                    </a:cubicBezTo>
                    <a:lnTo>
                      <a:pt x="1448351" y="39626"/>
                    </a:lnTo>
                    <a:lnTo>
                      <a:pt x="1465418" y="39626"/>
                    </a:lnTo>
                    <a:lnTo>
                      <a:pt x="1465418" y="30276"/>
                    </a:lnTo>
                    <a:lnTo>
                      <a:pt x="1448351" y="30276"/>
                    </a:lnTo>
                    <a:lnTo>
                      <a:pt x="1448351" y="13802"/>
                    </a:lnTo>
                    <a:lnTo>
                      <a:pt x="1438110" y="13802"/>
                    </a:lnTo>
                    <a:lnTo>
                      <a:pt x="1438110" y="30276"/>
                    </a:lnTo>
                    <a:lnTo>
                      <a:pt x="1425495" y="30276"/>
                    </a:lnTo>
                    <a:lnTo>
                      <a:pt x="1425495" y="39626"/>
                    </a:lnTo>
                    <a:lnTo>
                      <a:pt x="1438110" y="39626"/>
                    </a:lnTo>
                    <a:lnTo>
                      <a:pt x="1438110" y="71979"/>
                    </a:lnTo>
                    <a:cubicBezTo>
                      <a:pt x="1438110" y="84297"/>
                      <a:pt x="1445976" y="90085"/>
                      <a:pt x="1456216" y="90085"/>
                    </a:cubicBezTo>
                    <a:cubicBezTo>
                      <a:pt x="1459927" y="90085"/>
                      <a:pt x="1462895" y="89491"/>
                      <a:pt x="1465418" y="88601"/>
                    </a:cubicBezTo>
                    <a:moveTo>
                      <a:pt x="1403382" y="60106"/>
                    </a:moveTo>
                    <a:cubicBezTo>
                      <a:pt x="1403382" y="72128"/>
                      <a:pt x="1395219" y="81626"/>
                      <a:pt x="1383198" y="81626"/>
                    </a:cubicBezTo>
                    <a:cubicBezTo>
                      <a:pt x="1371176" y="81626"/>
                      <a:pt x="1362865" y="72128"/>
                      <a:pt x="1362865" y="60106"/>
                    </a:cubicBezTo>
                    <a:cubicBezTo>
                      <a:pt x="1362865" y="48085"/>
                      <a:pt x="1371176" y="38587"/>
                      <a:pt x="1383198" y="38587"/>
                    </a:cubicBezTo>
                    <a:cubicBezTo>
                      <a:pt x="1395219" y="38587"/>
                      <a:pt x="1403382" y="48085"/>
                      <a:pt x="1403382" y="60106"/>
                    </a:cubicBezTo>
                    <a:moveTo>
                      <a:pt x="1352625" y="60106"/>
                    </a:moveTo>
                    <a:cubicBezTo>
                      <a:pt x="1352625" y="77025"/>
                      <a:pt x="1365091" y="90976"/>
                      <a:pt x="1381713" y="90976"/>
                    </a:cubicBezTo>
                    <a:cubicBezTo>
                      <a:pt x="1390618" y="90976"/>
                      <a:pt x="1398633" y="86375"/>
                      <a:pt x="1402640" y="80735"/>
                    </a:cubicBezTo>
                    <a:lnTo>
                      <a:pt x="1402640" y="89937"/>
                    </a:lnTo>
                    <a:lnTo>
                      <a:pt x="1412880" y="89937"/>
                    </a:lnTo>
                    <a:lnTo>
                      <a:pt x="1412880" y="30572"/>
                    </a:lnTo>
                    <a:lnTo>
                      <a:pt x="1402640" y="30572"/>
                    </a:lnTo>
                    <a:lnTo>
                      <a:pt x="1402640" y="39774"/>
                    </a:lnTo>
                    <a:cubicBezTo>
                      <a:pt x="1398781" y="34134"/>
                      <a:pt x="1390618" y="29385"/>
                      <a:pt x="1381713" y="29385"/>
                    </a:cubicBezTo>
                    <a:cubicBezTo>
                      <a:pt x="1365091" y="29385"/>
                      <a:pt x="1352625" y="43187"/>
                      <a:pt x="1352625" y="60255"/>
                    </a:cubicBezTo>
                    <a:moveTo>
                      <a:pt x="1250369" y="89788"/>
                    </a:moveTo>
                    <a:lnTo>
                      <a:pt x="1260609" y="89788"/>
                    </a:lnTo>
                    <a:lnTo>
                      <a:pt x="1260609" y="60403"/>
                    </a:lnTo>
                    <a:cubicBezTo>
                      <a:pt x="1260609" y="47046"/>
                      <a:pt x="1267437" y="38735"/>
                      <a:pt x="1276935" y="38735"/>
                    </a:cubicBezTo>
                    <a:cubicBezTo>
                      <a:pt x="1284652" y="38735"/>
                      <a:pt x="1288511" y="45414"/>
                      <a:pt x="1288511" y="55060"/>
                    </a:cubicBezTo>
                    <a:lnTo>
                      <a:pt x="1288511" y="89937"/>
                    </a:lnTo>
                    <a:lnTo>
                      <a:pt x="1298751" y="89937"/>
                    </a:lnTo>
                    <a:lnTo>
                      <a:pt x="1298751" y="60552"/>
                    </a:lnTo>
                    <a:cubicBezTo>
                      <a:pt x="1298751" y="47194"/>
                      <a:pt x="1305430" y="38883"/>
                      <a:pt x="1315077" y="38883"/>
                    </a:cubicBezTo>
                    <a:cubicBezTo>
                      <a:pt x="1322794" y="38883"/>
                      <a:pt x="1326801" y="45562"/>
                      <a:pt x="1326801" y="55209"/>
                    </a:cubicBezTo>
                    <a:lnTo>
                      <a:pt x="1326801" y="90085"/>
                    </a:lnTo>
                    <a:lnTo>
                      <a:pt x="1337042" y="90085"/>
                    </a:lnTo>
                    <a:lnTo>
                      <a:pt x="1337042" y="53576"/>
                    </a:lnTo>
                    <a:cubicBezTo>
                      <a:pt x="1337042" y="39032"/>
                      <a:pt x="1329176" y="29534"/>
                      <a:pt x="1316264" y="29534"/>
                    </a:cubicBezTo>
                    <a:cubicBezTo>
                      <a:pt x="1307507" y="29534"/>
                      <a:pt x="1299939" y="34431"/>
                      <a:pt x="1296822" y="42297"/>
                    </a:cubicBezTo>
                    <a:cubicBezTo>
                      <a:pt x="1293854" y="34431"/>
                      <a:pt x="1287472" y="29534"/>
                      <a:pt x="1278567" y="29534"/>
                    </a:cubicBezTo>
                    <a:cubicBezTo>
                      <a:pt x="1270553" y="29534"/>
                      <a:pt x="1264023" y="33541"/>
                      <a:pt x="1260609" y="39922"/>
                    </a:cubicBezTo>
                    <a:lnTo>
                      <a:pt x="1260609" y="30721"/>
                    </a:lnTo>
                    <a:lnTo>
                      <a:pt x="1250369" y="30721"/>
                    </a:lnTo>
                    <a:lnTo>
                      <a:pt x="1250369" y="90085"/>
                    </a:lnTo>
                    <a:close/>
                    <a:moveTo>
                      <a:pt x="1205994" y="89788"/>
                    </a:moveTo>
                    <a:lnTo>
                      <a:pt x="1216234" y="89788"/>
                    </a:lnTo>
                    <a:lnTo>
                      <a:pt x="1216234" y="60403"/>
                    </a:lnTo>
                    <a:cubicBezTo>
                      <a:pt x="1216234" y="46452"/>
                      <a:pt x="1224397" y="39922"/>
                      <a:pt x="1231966" y="39922"/>
                    </a:cubicBezTo>
                    <a:cubicBezTo>
                      <a:pt x="1234044" y="39922"/>
                      <a:pt x="1235676" y="40219"/>
                      <a:pt x="1237606" y="40813"/>
                    </a:cubicBezTo>
                    <a:lnTo>
                      <a:pt x="1237606" y="30424"/>
                    </a:lnTo>
                    <a:cubicBezTo>
                      <a:pt x="1235973" y="29979"/>
                      <a:pt x="1234489" y="29831"/>
                      <a:pt x="1233005" y="29831"/>
                    </a:cubicBezTo>
                    <a:cubicBezTo>
                      <a:pt x="1226178" y="29831"/>
                      <a:pt x="1218758" y="34283"/>
                      <a:pt x="1216383" y="42000"/>
                    </a:cubicBezTo>
                    <a:lnTo>
                      <a:pt x="1216383" y="30424"/>
                    </a:lnTo>
                    <a:lnTo>
                      <a:pt x="1206142" y="30424"/>
                    </a:lnTo>
                    <a:lnTo>
                      <a:pt x="1206142" y="89788"/>
                    </a:lnTo>
                    <a:close/>
                    <a:moveTo>
                      <a:pt x="1138318" y="60106"/>
                    </a:moveTo>
                    <a:cubicBezTo>
                      <a:pt x="1138318" y="48233"/>
                      <a:pt x="1146629" y="38735"/>
                      <a:pt x="1158948" y="38735"/>
                    </a:cubicBezTo>
                    <a:cubicBezTo>
                      <a:pt x="1171266" y="38735"/>
                      <a:pt x="1179428" y="48233"/>
                      <a:pt x="1179428" y="60106"/>
                    </a:cubicBezTo>
                    <a:cubicBezTo>
                      <a:pt x="1179428" y="71979"/>
                      <a:pt x="1171266" y="81477"/>
                      <a:pt x="1158948" y="81477"/>
                    </a:cubicBezTo>
                    <a:cubicBezTo>
                      <a:pt x="1146629" y="81477"/>
                      <a:pt x="1138318" y="71979"/>
                      <a:pt x="1138318" y="60106"/>
                    </a:cubicBezTo>
                    <a:moveTo>
                      <a:pt x="1189966" y="60106"/>
                    </a:moveTo>
                    <a:cubicBezTo>
                      <a:pt x="1189966" y="43039"/>
                      <a:pt x="1176757" y="29237"/>
                      <a:pt x="1158948" y="29237"/>
                    </a:cubicBezTo>
                    <a:cubicBezTo>
                      <a:pt x="1141138" y="29237"/>
                      <a:pt x="1127781" y="43039"/>
                      <a:pt x="1127781" y="60106"/>
                    </a:cubicBezTo>
                    <a:cubicBezTo>
                      <a:pt x="1127781" y="77174"/>
                      <a:pt x="1140989" y="90976"/>
                      <a:pt x="1158948" y="90976"/>
                    </a:cubicBezTo>
                    <a:cubicBezTo>
                      <a:pt x="1176905" y="90976"/>
                      <a:pt x="1189966" y="77174"/>
                      <a:pt x="1189966" y="60106"/>
                    </a:cubicBezTo>
                    <a:moveTo>
                      <a:pt x="1093349" y="89788"/>
                    </a:moveTo>
                    <a:lnTo>
                      <a:pt x="1103590" y="89788"/>
                    </a:lnTo>
                    <a:lnTo>
                      <a:pt x="1103590" y="39774"/>
                    </a:lnTo>
                    <a:lnTo>
                      <a:pt x="1120806" y="39774"/>
                    </a:lnTo>
                    <a:lnTo>
                      <a:pt x="1120806" y="30424"/>
                    </a:lnTo>
                    <a:lnTo>
                      <a:pt x="1103590" y="30424"/>
                    </a:lnTo>
                    <a:lnTo>
                      <a:pt x="1103590" y="19442"/>
                    </a:lnTo>
                    <a:cubicBezTo>
                      <a:pt x="1103590" y="11873"/>
                      <a:pt x="1106855" y="9350"/>
                      <a:pt x="1113385" y="9350"/>
                    </a:cubicBezTo>
                    <a:cubicBezTo>
                      <a:pt x="1115760" y="9350"/>
                      <a:pt x="1118876" y="9795"/>
                      <a:pt x="1120806" y="10537"/>
                    </a:cubicBezTo>
                    <a:lnTo>
                      <a:pt x="1120806" y="1484"/>
                    </a:lnTo>
                    <a:cubicBezTo>
                      <a:pt x="1118134" y="594"/>
                      <a:pt x="1115166" y="0"/>
                      <a:pt x="1111604" y="0"/>
                    </a:cubicBezTo>
                    <a:cubicBezTo>
                      <a:pt x="1101215" y="0"/>
                      <a:pt x="1093498" y="6085"/>
                      <a:pt x="1093498" y="18403"/>
                    </a:cubicBezTo>
                    <a:lnTo>
                      <a:pt x="1093498" y="30424"/>
                    </a:lnTo>
                    <a:lnTo>
                      <a:pt x="1080883" y="30424"/>
                    </a:lnTo>
                    <a:lnTo>
                      <a:pt x="1080883" y="39774"/>
                    </a:lnTo>
                    <a:lnTo>
                      <a:pt x="1093498" y="39774"/>
                    </a:lnTo>
                    <a:lnTo>
                      <a:pt x="1093498" y="89788"/>
                    </a:lnTo>
                    <a:close/>
                    <a:moveTo>
                      <a:pt x="1017956" y="89788"/>
                    </a:moveTo>
                    <a:lnTo>
                      <a:pt x="1028197" y="89788"/>
                    </a:lnTo>
                    <a:lnTo>
                      <a:pt x="1028197" y="60403"/>
                    </a:lnTo>
                    <a:cubicBezTo>
                      <a:pt x="1028197" y="46452"/>
                      <a:pt x="1035766" y="38735"/>
                      <a:pt x="1045412" y="38735"/>
                    </a:cubicBezTo>
                    <a:cubicBezTo>
                      <a:pt x="1053724" y="38735"/>
                      <a:pt x="1059363" y="44968"/>
                      <a:pt x="1059363" y="54912"/>
                    </a:cubicBezTo>
                    <a:lnTo>
                      <a:pt x="1059363" y="89937"/>
                    </a:lnTo>
                    <a:lnTo>
                      <a:pt x="1069455" y="89937"/>
                    </a:lnTo>
                    <a:lnTo>
                      <a:pt x="1069455" y="53428"/>
                    </a:lnTo>
                    <a:cubicBezTo>
                      <a:pt x="1069455" y="38735"/>
                      <a:pt x="1060402" y="29385"/>
                      <a:pt x="1047045" y="29385"/>
                    </a:cubicBezTo>
                    <a:cubicBezTo>
                      <a:pt x="1039328" y="29385"/>
                      <a:pt x="1032204" y="32650"/>
                      <a:pt x="1028197" y="39774"/>
                    </a:cubicBezTo>
                    <a:lnTo>
                      <a:pt x="1028197" y="30572"/>
                    </a:lnTo>
                    <a:lnTo>
                      <a:pt x="1017956" y="30572"/>
                    </a:lnTo>
                    <a:lnTo>
                      <a:pt x="1017956" y="89937"/>
                    </a:lnTo>
                    <a:close/>
                    <a:moveTo>
                      <a:pt x="987680" y="89788"/>
                    </a:moveTo>
                    <a:lnTo>
                      <a:pt x="997921" y="89788"/>
                    </a:lnTo>
                    <a:lnTo>
                      <a:pt x="997921" y="30424"/>
                    </a:lnTo>
                    <a:lnTo>
                      <a:pt x="987680" y="30424"/>
                    </a:lnTo>
                    <a:lnTo>
                      <a:pt x="987680" y="89788"/>
                    </a:lnTo>
                    <a:close/>
                    <a:moveTo>
                      <a:pt x="999998" y="7272"/>
                    </a:moveTo>
                    <a:cubicBezTo>
                      <a:pt x="999998" y="3414"/>
                      <a:pt x="996882" y="0"/>
                      <a:pt x="992875" y="0"/>
                    </a:cubicBezTo>
                    <a:cubicBezTo>
                      <a:pt x="988867" y="0"/>
                      <a:pt x="985602" y="3265"/>
                      <a:pt x="985602" y="7272"/>
                    </a:cubicBezTo>
                    <a:cubicBezTo>
                      <a:pt x="985602" y="11279"/>
                      <a:pt x="988867" y="14544"/>
                      <a:pt x="992875" y="14544"/>
                    </a:cubicBezTo>
                    <a:cubicBezTo>
                      <a:pt x="996882" y="14544"/>
                      <a:pt x="999998" y="11279"/>
                      <a:pt x="999998" y="7272"/>
                    </a:cubicBezTo>
                    <a:moveTo>
                      <a:pt x="920301" y="60106"/>
                    </a:moveTo>
                    <a:cubicBezTo>
                      <a:pt x="920301" y="48233"/>
                      <a:pt x="928612" y="38735"/>
                      <a:pt x="940931" y="38735"/>
                    </a:cubicBezTo>
                    <a:cubicBezTo>
                      <a:pt x="953249" y="38735"/>
                      <a:pt x="961560" y="48233"/>
                      <a:pt x="961560" y="60106"/>
                    </a:cubicBezTo>
                    <a:cubicBezTo>
                      <a:pt x="961560" y="71979"/>
                      <a:pt x="953397" y="81477"/>
                      <a:pt x="940931" y="81477"/>
                    </a:cubicBezTo>
                    <a:cubicBezTo>
                      <a:pt x="928464" y="81477"/>
                      <a:pt x="920301" y="71979"/>
                      <a:pt x="920301" y="60106"/>
                    </a:cubicBezTo>
                    <a:moveTo>
                      <a:pt x="971949" y="60106"/>
                    </a:moveTo>
                    <a:cubicBezTo>
                      <a:pt x="971949" y="43039"/>
                      <a:pt x="958740" y="29237"/>
                      <a:pt x="940931" y="29237"/>
                    </a:cubicBezTo>
                    <a:cubicBezTo>
                      <a:pt x="923121" y="29237"/>
                      <a:pt x="909764" y="43039"/>
                      <a:pt x="909764" y="60106"/>
                    </a:cubicBezTo>
                    <a:cubicBezTo>
                      <a:pt x="909764" y="77174"/>
                      <a:pt x="922972" y="90976"/>
                      <a:pt x="940931" y="90976"/>
                    </a:cubicBezTo>
                    <a:cubicBezTo>
                      <a:pt x="958888" y="90976"/>
                      <a:pt x="971949" y="77174"/>
                      <a:pt x="971949" y="60106"/>
                    </a:cubicBezTo>
                    <a:moveTo>
                      <a:pt x="884089" y="89788"/>
                    </a:moveTo>
                    <a:lnTo>
                      <a:pt x="894329" y="89788"/>
                    </a:lnTo>
                    <a:lnTo>
                      <a:pt x="894329" y="30424"/>
                    </a:lnTo>
                    <a:lnTo>
                      <a:pt x="884089" y="30424"/>
                    </a:lnTo>
                    <a:lnTo>
                      <a:pt x="884089" y="89788"/>
                    </a:lnTo>
                    <a:close/>
                    <a:moveTo>
                      <a:pt x="896407" y="7272"/>
                    </a:moveTo>
                    <a:cubicBezTo>
                      <a:pt x="896407" y="3414"/>
                      <a:pt x="893290" y="0"/>
                      <a:pt x="889283" y="0"/>
                    </a:cubicBezTo>
                    <a:cubicBezTo>
                      <a:pt x="885276" y="0"/>
                      <a:pt x="882011" y="3265"/>
                      <a:pt x="882011" y="7272"/>
                    </a:cubicBezTo>
                    <a:cubicBezTo>
                      <a:pt x="882011" y="11279"/>
                      <a:pt x="885276" y="14544"/>
                      <a:pt x="889283" y="14544"/>
                    </a:cubicBezTo>
                    <a:cubicBezTo>
                      <a:pt x="893290" y="14544"/>
                      <a:pt x="896407" y="11279"/>
                      <a:pt x="896407" y="7272"/>
                    </a:cubicBezTo>
                    <a:moveTo>
                      <a:pt x="819975" y="79845"/>
                    </a:moveTo>
                    <a:lnTo>
                      <a:pt x="819975" y="51202"/>
                    </a:lnTo>
                    <a:lnTo>
                      <a:pt x="839714" y="51202"/>
                    </a:lnTo>
                    <a:cubicBezTo>
                      <a:pt x="850845" y="51202"/>
                      <a:pt x="856632" y="57435"/>
                      <a:pt x="856632" y="65598"/>
                    </a:cubicBezTo>
                    <a:cubicBezTo>
                      <a:pt x="856632" y="73760"/>
                      <a:pt x="850993" y="79845"/>
                      <a:pt x="839714" y="79845"/>
                    </a:cubicBezTo>
                    <a:lnTo>
                      <a:pt x="820123" y="79845"/>
                    </a:lnTo>
                    <a:close/>
                    <a:moveTo>
                      <a:pt x="819975" y="41703"/>
                    </a:moveTo>
                    <a:lnTo>
                      <a:pt x="819975" y="15435"/>
                    </a:lnTo>
                    <a:lnTo>
                      <a:pt x="836597" y="15435"/>
                    </a:lnTo>
                    <a:cubicBezTo>
                      <a:pt x="845650" y="15435"/>
                      <a:pt x="850993" y="21520"/>
                      <a:pt x="850993" y="28643"/>
                    </a:cubicBezTo>
                    <a:cubicBezTo>
                      <a:pt x="850993" y="35767"/>
                      <a:pt x="845650" y="41703"/>
                      <a:pt x="836597" y="41703"/>
                    </a:cubicBezTo>
                    <a:lnTo>
                      <a:pt x="819975" y="41703"/>
                    </a:lnTo>
                    <a:close/>
                    <a:moveTo>
                      <a:pt x="808992" y="89788"/>
                    </a:moveTo>
                    <a:lnTo>
                      <a:pt x="839120" y="89788"/>
                    </a:lnTo>
                    <a:cubicBezTo>
                      <a:pt x="856187" y="89788"/>
                      <a:pt x="867318" y="79251"/>
                      <a:pt x="867318" y="65300"/>
                    </a:cubicBezTo>
                    <a:cubicBezTo>
                      <a:pt x="867318" y="54022"/>
                      <a:pt x="860936" y="48085"/>
                      <a:pt x="852774" y="45117"/>
                    </a:cubicBezTo>
                    <a:cubicBezTo>
                      <a:pt x="858117" y="41852"/>
                      <a:pt x="861827" y="36212"/>
                      <a:pt x="861827" y="27901"/>
                    </a:cubicBezTo>
                    <a:cubicBezTo>
                      <a:pt x="861827" y="16029"/>
                      <a:pt x="852329" y="5640"/>
                      <a:pt x="836597" y="5640"/>
                    </a:cubicBezTo>
                    <a:lnTo>
                      <a:pt x="808992" y="5640"/>
                    </a:lnTo>
                    <a:lnTo>
                      <a:pt x="808992" y="89937"/>
                    </a:lnTo>
                    <a:close/>
                    <a:moveTo>
                      <a:pt x="701246" y="66933"/>
                    </a:moveTo>
                    <a:cubicBezTo>
                      <a:pt x="701246" y="58919"/>
                      <a:pt x="706440" y="54170"/>
                      <a:pt x="714603" y="49866"/>
                    </a:cubicBezTo>
                    <a:lnTo>
                      <a:pt x="716087" y="48975"/>
                    </a:lnTo>
                    <a:lnTo>
                      <a:pt x="737161" y="69456"/>
                    </a:lnTo>
                    <a:cubicBezTo>
                      <a:pt x="730186" y="77767"/>
                      <a:pt x="724546" y="81774"/>
                      <a:pt x="716977" y="81774"/>
                    </a:cubicBezTo>
                    <a:cubicBezTo>
                      <a:pt x="708814" y="81774"/>
                      <a:pt x="701097" y="76283"/>
                      <a:pt x="701097" y="66933"/>
                    </a:cubicBezTo>
                    <a:moveTo>
                      <a:pt x="709112" y="23449"/>
                    </a:moveTo>
                    <a:cubicBezTo>
                      <a:pt x="709112" y="16919"/>
                      <a:pt x="714454" y="13060"/>
                      <a:pt x="720539" y="13060"/>
                    </a:cubicBezTo>
                    <a:cubicBezTo>
                      <a:pt x="727218" y="13060"/>
                      <a:pt x="731521" y="17809"/>
                      <a:pt x="731521" y="24488"/>
                    </a:cubicBezTo>
                    <a:cubicBezTo>
                      <a:pt x="731521" y="31166"/>
                      <a:pt x="726030" y="34283"/>
                      <a:pt x="719352" y="37844"/>
                    </a:cubicBezTo>
                    <a:lnTo>
                      <a:pt x="718758" y="38142"/>
                    </a:lnTo>
                    <a:cubicBezTo>
                      <a:pt x="713267" y="33096"/>
                      <a:pt x="709260" y="29237"/>
                      <a:pt x="709260" y="23597"/>
                    </a:cubicBezTo>
                    <a:moveTo>
                      <a:pt x="758384" y="89788"/>
                    </a:moveTo>
                    <a:lnTo>
                      <a:pt x="771741" y="89788"/>
                    </a:lnTo>
                    <a:lnTo>
                      <a:pt x="749925" y="68417"/>
                    </a:lnTo>
                    <a:lnTo>
                      <a:pt x="765063" y="49124"/>
                    </a:lnTo>
                    <a:lnTo>
                      <a:pt x="753190" y="49124"/>
                    </a:lnTo>
                    <a:lnTo>
                      <a:pt x="743246" y="61887"/>
                    </a:lnTo>
                    <a:lnTo>
                      <a:pt x="725288" y="44375"/>
                    </a:lnTo>
                    <a:cubicBezTo>
                      <a:pt x="733451" y="40071"/>
                      <a:pt x="741613" y="34134"/>
                      <a:pt x="741613" y="23746"/>
                    </a:cubicBezTo>
                    <a:cubicBezTo>
                      <a:pt x="741613" y="13357"/>
                      <a:pt x="733302" y="4155"/>
                      <a:pt x="720836" y="4155"/>
                    </a:cubicBezTo>
                    <a:cubicBezTo>
                      <a:pt x="708369" y="4155"/>
                      <a:pt x="699316" y="12021"/>
                      <a:pt x="699316" y="23301"/>
                    </a:cubicBezTo>
                    <a:cubicBezTo>
                      <a:pt x="699316" y="31315"/>
                      <a:pt x="704510" y="37548"/>
                      <a:pt x="709557" y="42446"/>
                    </a:cubicBezTo>
                    <a:lnTo>
                      <a:pt x="708963" y="42742"/>
                    </a:lnTo>
                    <a:cubicBezTo>
                      <a:pt x="700058" y="47788"/>
                      <a:pt x="691005" y="54615"/>
                      <a:pt x="691005" y="66785"/>
                    </a:cubicBezTo>
                    <a:cubicBezTo>
                      <a:pt x="691005" y="80735"/>
                      <a:pt x="701394" y="90976"/>
                      <a:pt x="716829" y="90976"/>
                    </a:cubicBezTo>
                    <a:cubicBezTo>
                      <a:pt x="727811" y="90976"/>
                      <a:pt x="735232" y="86078"/>
                      <a:pt x="743988" y="75838"/>
                    </a:cubicBezTo>
                    <a:lnTo>
                      <a:pt x="758384" y="89788"/>
                    </a:lnTo>
                    <a:close/>
                    <a:moveTo>
                      <a:pt x="597803" y="59513"/>
                    </a:moveTo>
                    <a:cubicBezTo>
                      <a:pt x="597803" y="47640"/>
                      <a:pt x="605965" y="38735"/>
                      <a:pt x="617838" y="38735"/>
                    </a:cubicBezTo>
                    <a:cubicBezTo>
                      <a:pt x="629711" y="38735"/>
                      <a:pt x="637874" y="47640"/>
                      <a:pt x="637874" y="59513"/>
                    </a:cubicBezTo>
                    <a:cubicBezTo>
                      <a:pt x="637874" y="71385"/>
                      <a:pt x="629711" y="80290"/>
                      <a:pt x="617838" y="80290"/>
                    </a:cubicBezTo>
                    <a:cubicBezTo>
                      <a:pt x="605965" y="80290"/>
                      <a:pt x="597803" y="71534"/>
                      <a:pt x="597803" y="59513"/>
                    </a:cubicBezTo>
                    <a:moveTo>
                      <a:pt x="647224" y="86523"/>
                    </a:moveTo>
                    <a:lnTo>
                      <a:pt x="647224" y="30424"/>
                    </a:lnTo>
                    <a:lnTo>
                      <a:pt x="636983" y="30424"/>
                    </a:lnTo>
                    <a:lnTo>
                      <a:pt x="636983" y="39626"/>
                    </a:lnTo>
                    <a:cubicBezTo>
                      <a:pt x="632976" y="33689"/>
                      <a:pt x="625110" y="29237"/>
                      <a:pt x="616354" y="29237"/>
                    </a:cubicBezTo>
                    <a:cubicBezTo>
                      <a:pt x="599880" y="29237"/>
                      <a:pt x="587265" y="42594"/>
                      <a:pt x="587265" y="59513"/>
                    </a:cubicBezTo>
                    <a:cubicBezTo>
                      <a:pt x="587265" y="76431"/>
                      <a:pt x="599880" y="89788"/>
                      <a:pt x="616354" y="89788"/>
                    </a:cubicBezTo>
                    <a:cubicBezTo>
                      <a:pt x="625110" y="89788"/>
                      <a:pt x="632976" y="85336"/>
                      <a:pt x="636983" y="79400"/>
                    </a:cubicBezTo>
                    <a:lnTo>
                      <a:pt x="636983" y="86078"/>
                    </a:lnTo>
                    <a:cubicBezTo>
                      <a:pt x="636983" y="100326"/>
                      <a:pt x="627188" y="106558"/>
                      <a:pt x="617096" y="106558"/>
                    </a:cubicBezTo>
                    <a:cubicBezTo>
                      <a:pt x="607895" y="106558"/>
                      <a:pt x="601068" y="102700"/>
                      <a:pt x="596318" y="96615"/>
                    </a:cubicBezTo>
                    <a:lnTo>
                      <a:pt x="589195" y="103739"/>
                    </a:lnTo>
                    <a:cubicBezTo>
                      <a:pt x="594240" y="110417"/>
                      <a:pt x="604332" y="115760"/>
                      <a:pt x="617096" y="115760"/>
                    </a:cubicBezTo>
                    <a:cubicBezTo>
                      <a:pt x="634015" y="115760"/>
                      <a:pt x="647075" y="106113"/>
                      <a:pt x="647075" y="86375"/>
                    </a:cubicBezTo>
                    <a:moveTo>
                      <a:pt x="521667" y="89788"/>
                    </a:moveTo>
                    <a:lnTo>
                      <a:pt x="531908" y="89788"/>
                    </a:lnTo>
                    <a:lnTo>
                      <a:pt x="531908" y="60403"/>
                    </a:lnTo>
                    <a:cubicBezTo>
                      <a:pt x="531908" y="46452"/>
                      <a:pt x="539476" y="38735"/>
                      <a:pt x="549124" y="38735"/>
                    </a:cubicBezTo>
                    <a:cubicBezTo>
                      <a:pt x="557435" y="38735"/>
                      <a:pt x="563074" y="44968"/>
                      <a:pt x="563074" y="54912"/>
                    </a:cubicBezTo>
                    <a:lnTo>
                      <a:pt x="563074" y="89937"/>
                    </a:lnTo>
                    <a:lnTo>
                      <a:pt x="573166" y="89937"/>
                    </a:lnTo>
                    <a:lnTo>
                      <a:pt x="573166" y="53428"/>
                    </a:lnTo>
                    <a:cubicBezTo>
                      <a:pt x="573166" y="38735"/>
                      <a:pt x="564113" y="29385"/>
                      <a:pt x="550756" y="29385"/>
                    </a:cubicBezTo>
                    <a:cubicBezTo>
                      <a:pt x="543039" y="29385"/>
                      <a:pt x="535915" y="32650"/>
                      <a:pt x="531908" y="39774"/>
                    </a:cubicBezTo>
                    <a:lnTo>
                      <a:pt x="531908" y="30572"/>
                    </a:lnTo>
                    <a:lnTo>
                      <a:pt x="521667" y="30572"/>
                    </a:lnTo>
                    <a:lnTo>
                      <a:pt x="521667" y="89937"/>
                    </a:lnTo>
                    <a:close/>
                    <a:moveTo>
                      <a:pt x="492430" y="89788"/>
                    </a:moveTo>
                    <a:lnTo>
                      <a:pt x="502671" y="89788"/>
                    </a:lnTo>
                    <a:lnTo>
                      <a:pt x="502671" y="30424"/>
                    </a:lnTo>
                    <a:lnTo>
                      <a:pt x="492430" y="30424"/>
                    </a:lnTo>
                    <a:lnTo>
                      <a:pt x="492430" y="89788"/>
                    </a:lnTo>
                    <a:close/>
                    <a:moveTo>
                      <a:pt x="504897" y="7272"/>
                    </a:moveTo>
                    <a:cubicBezTo>
                      <a:pt x="504897" y="3414"/>
                      <a:pt x="501780" y="0"/>
                      <a:pt x="497773" y="0"/>
                    </a:cubicBezTo>
                    <a:cubicBezTo>
                      <a:pt x="493766" y="0"/>
                      <a:pt x="490501" y="3265"/>
                      <a:pt x="490501" y="7272"/>
                    </a:cubicBezTo>
                    <a:cubicBezTo>
                      <a:pt x="490501" y="11279"/>
                      <a:pt x="493766" y="14544"/>
                      <a:pt x="497773" y="14544"/>
                    </a:cubicBezTo>
                    <a:cubicBezTo>
                      <a:pt x="501780" y="14544"/>
                      <a:pt x="504897" y="11279"/>
                      <a:pt x="504897" y="7272"/>
                    </a:cubicBezTo>
                    <a:moveTo>
                      <a:pt x="479221" y="75096"/>
                    </a:moveTo>
                    <a:lnTo>
                      <a:pt x="470317" y="70050"/>
                    </a:lnTo>
                    <a:cubicBezTo>
                      <a:pt x="467051" y="76876"/>
                      <a:pt x="460373" y="81477"/>
                      <a:pt x="451765" y="81477"/>
                    </a:cubicBezTo>
                    <a:cubicBezTo>
                      <a:pt x="439447" y="81477"/>
                      <a:pt x="430988" y="71979"/>
                      <a:pt x="430988" y="60106"/>
                    </a:cubicBezTo>
                    <a:cubicBezTo>
                      <a:pt x="430988" y="48233"/>
                      <a:pt x="439447" y="38735"/>
                      <a:pt x="451765" y="38735"/>
                    </a:cubicBezTo>
                    <a:cubicBezTo>
                      <a:pt x="460373" y="38735"/>
                      <a:pt x="466903" y="43336"/>
                      <a:pt x="470317" y="50163"/>
                    </a:cubicBezTo>
                    <a:lnTo>
                      <a:pt x="479221" y="45117"/>
                    </a:lnTo>
                    <a:cubicBezTo>
                      <a:pt x="474027" y="35618"/>
                      <a:pt x="464083" y="29237"/>
                      <a:pt x="451765" y="29237"/>
                    </a:cubicBezTo>
                    <a:cubicBezTo>
                      <a:pt x="433807" y="29237"/>
                      <a:pt x="420599" y="42891"/>
                      <a:pt x="420599" y="60106"/>
                    </a:cubicBezTo>
                    <a:cubicBezTo>
                      <a:pt x="420599" y="77322"/>
                      <a:pt x="433807" y="90976"/>
                      <a:pt x="451765" y="90976"/>
                    </a:cubicBezTo>
                    <a:cubicBezTo>
                      <a:pt x="463935" y="90976"/>
                      <a:pt x="474027" y="84594"/>
                      <a:pt x="479221" y="75096"/>
                    </a:cubicBezTo>
                    <a:moveTo>
                      <a:pt x="355001" y="89788"/>
                    </a:moveTo>
                    <a:lnTo>
                      <a:pt x="365241" y="89788"/>
                    </a:lnTo>
                    <a:lnTo>
                      <a:pt x="365241" y="60403"/>
                    </a:lnTo>
                    <a:cubicBezTo>
                      <a:pt x="365241" y="46452"/>
                      <a:pt x="372810" y="38735"/>
                      <a:pt x="382457" y="38735"/>
                    </a:cubicBezTo>
                    <a:cubicBezTo>
                      <a:pt x="390768" y="38735"/>
                      <a:pt x="396408" y="44968"/>
                      <a:pt x="396408" y="54912"/>
                    </a:cubicBezTo>
                    <a:lnTo>
                      <a:pt x="396408" y="89937"/>
                    </a:lnTo>
                    <a:lnTo>
                      <a:pt x="406500" y="89937"/>
                    </a:lnTo>
                    <a:lnTo>
                      <a:pt x="406500" y="53428"/>
                    </a:lnTo>
                    <a:cubicBezTo>
                      <a:pt x="406500" y="38735"/>
                      <a:pt x="397298" y="29385"/>
                      <a:pt x="384089" y="29385"/>
                    </a:cubicBezTo>
                    <a:cubicBezTo>
                      <a:pt x="376372" y="29385"/>
                      <a:pt x="369248" y="32650"/>
                      <a:pt x="365241" y="39774"/>
                    </a:cubicBezTo>
                    <a:lnTo>
                      <a:pt x="365241" y="30572"/>
                    </a:lnTo>
                    <a:lnTo>
                      <a:pt x="355001" y="30572"/>
                    </a:lnTo>
                    <a:lnTo>
                      <a:pt x="355001" y="89937"/>
                    </a:lnTo>
                    <a:close/>
                    <a:moveTo>
                      <a:pt x="311516" y="38290"/>
                    </a:moveTo>
                    <a:cubicBezTo>
                      <a:pt x="320569" y="38290"/>
                      <a:pt x="328287" y="44078"/>
                      <a:pt x="329622" y="53873"/>
                    </a:cubicBezTo>
                    <a:lnTo>
                      <a:pt x="291926" y="53873"/>
                    </a:lnTo>
                    <a:cubicBezTo>
                      <a:pt x="293855" y="44078"/>
                      <a:pt x="302463" y="38290"/>
                      <a:pt x="311368" y="38290"/>
                    </a:cubicBezTo>
                    <a:moveTo>
                      <a:pt x="281092" y="60106"/>
                    </a:moveTo>
                    <a:cubicBezTo>
                      <a:pt x="281092" y="77619"/>
                      <a:pt x="293410" y="90976"/>
                      <a:pt x="311813" y="90976"/>
                    </a:cubicBezTo>
                    <a:cubicBezTo>
                      <a:pt x="324131" y="90976"/>
                      <a:pt x="333184" y="85484"/>
                      <a:pt x="338527" y="76876"/>
                    </a:cubicBezTo>
                    <a:lnTo>
                      <a:pt x="330513" y="71237"/>
                    </a:lnTo>
                    <a:cubicBezTo>
                      <a:pt x="326803" y="77470"/>
                      <a:pt x="321163" y="81626"/>
                      <a:pt x="311961" y="81626"/>
                    </a:cubicBezTo>
                    <a:cubicBezTo>
                      <a:pt x="300237" y="81626"/>
                      <a:pt x="291777" y="73315"/>
                      <a:pt x="291481" y="62184"/>
                    </a:cubicBezTo>
                    <a:lnTo>
                      <a:pt x="340160" y="62184"/>
                    </a:lnTo>
                    <a:cubicBezTo>
                      <a:pt x="340160" y="60848"/>
                      <a:pt x="340160" y="60106"/>
                      <a:pt x="340160" y="59067"/>
                    </a:cubicBezTo>
                    <a:cubicBezTo>
                      <a:pt x="340160" y="40071"/>
                      <a:pt x="327396" y="29237"/>
                      <a:pt x="311961" y="29237"/>
                    </a:cubicBezTo>
                    <a:cubicBezTo>
                      <a:pt x="293855" y="29237"/>
                      <a:pt x="281092" y="42742"/>
                      <a:pt x="281092" y="60106"/>
                    </a:cubicBezTo>
                    <a:moveTo>
                      <a:pt x="215790" y="66933"/>
                    </a:moveTo>
                    <a:cubicBezTo>
                      <a:pt x="215790" y="81626"/>
                      <a:pt x="224547" y="90976"/>
                      <a:pt x="237607" y="90976"/>
                    </a:cubicBezTo>
                    <a:cubicBezTo>
                      <a:pt x="245028" y="90976"/>
                      <a:pt x="252003" y="87562"/>
                      <a:pt x="255862" y="80735"/>
                    </a:cubicBezTo>
                    <a:lnTo>
                      <a:pt x="255862" y="89937"/>
                    </a:lnTo>
                    <a:lnTo>
                      <a:pt x="266102" y="89937"/>
                    </a:lnTo>
                    <a:lnTo>
                      <a:pt x="266102" y="30572"/>
                    </a:lnTo>
                    <a:lnTo>
                      <a:pt x="255862" y="30572"/>
                    </a:lnTo>
                    <a:lnTo>
                      <a:pt x="255862" y="59958"/>
                    </a:lnTo>
                    <a:cubicBezTo>
                      <a:pt x="255862" y="73611"/>
                      <a:pt x="248590" y="81626"/>
                      <a:pt x="239388" y="81626"/>
                    </a:cubicBezTo>
                    <a:cubicBezTo>
                      <a:pt x="231225" y="81626"/>
                      <a:pt x="226031" y="75393"/>
                      <a:pt x="226031" y="65300"/>
                    </a:cubicBezTo>
                    <a:lnTo>
                      <a:pt x="226031" y="30424"/>
                    </a:lnTo>
                    <a:lnTo>
                      <a:pt x="215790" y="30424"/>
                    </a:lnTo>
                    <a:lnTo>
                      <a:pt x="215790" y="66933"/>
                    </a:lnTo>
                    <a:close/>
                    <a:moveTo>
                      <a:pt x="188186" y="60106"/>
                    </a:moveTo>
                    <a:cubicBezTo>
                      <a:pt x="188186" y="72128"/>
                      <a:pt x="180023" y="81626"/>
                      <a:pt x="168002" y="81626"/>
                    </a:cubicBezTo>
                    <a:cubicBezTo>
                      <a:pt x="155980" y="81626"/>
                      <a:pt x="147669" y="72128"/>
                      <a:pt x="147669" y="60106"/>
                    </a:cubicBezTo>
                    <a:cubicBezTo>
                      <a:pt x="147669" y="48085"/>
                      <a:pt x="155980" y="38587"/>
                      <a:pt x="168002" y="38587"/>
                    </a:cubicBezTo>
                    <a:cubicBezTo>
                      <a:pt x="180023" y="38587"/>
                      <a:pt x="188186" y="48085"/>
                      <a:pt x="188186" y="60106"/>
                    </a:cubicBezTo>
                    <a:moveTo>
                      <a:pt x="187296" y="114573"/>
                    </a:moveTo>
                    <a:lnTo>
                      <a:pt x="197536" y="114573"/>
                    </a:lnTo>
                    <a:lnTo>
                      <a:pt x="197536" y="30424"/>
                    </a:lnTo>
                    <a:lnTo>
                      <a:pt x="187296" y="30424"/>
                    </a:lnTo>
                    <a:lnTo>
                      <a:pt x="187296" y="39626"/>
                    </a:lnTo>
                    <a:cubicBezTo>
                      <a:pt x="183437" y="33986"/>
                      <a:pt x="175274" y="29237"/>
                      <a:pt x="166369" y="29237"/>
                    </a:cubicBezTo>
                    <a:cubicBezTo>
                      <a:pt x="149747" y="29237"/>
                      <a:pt x="137281" y="43039"/>
                      <a:pt x="137281" y="60106"/>
                    </a:cubicBezTo>
                    <a:cubicBezTo>
                      <a:pt x="137281" y="77174"/>
                      <a:pt x="149747" y="90976"/>
                      <a:pt x="166369" y="90976"/>
                    </a:cubicBezTo>
                    <a:cubicBezTo>
                      <a:pt x="175274" y="90976"/>
                      <a:pt x="183288" y="86375"/>
                      <a:pt x="187296" y="80735"/>
                    </a:cubicBezTo>
                    <a:lnTo>
                      <a:pt x="187296" y="114721"/>
                    </a:lnTo>
                    <a:close/>
                    <a:moveTo>
                      <a:pt x="98100" y="38290"/>
                    </a:moveTo>
                    <a:cubicBezTo>
                      <a:pt x="107153" y="38290"/>
                      <a:pt x="114871" y="44078"/>
                      <a:pt x="116206" y="53873"/>
                    </a:cubicBezTo>
                    <a:lnTo>
                      <a:pt x="78510" y="53873"/>
                    </a:lnTo>
                    <a:cubicBezTo>
                      <a:pt x="80439" y="44078"/>
                      <a:pt x="89047" y="38290"/>
                      <a:pt x="97951" y="38290"/>
                    </a:cubicBezTo>
                    <a:moveTo>
                      <a:pt x="67527" y="60106"/>
                    </a:moveTo>
                    <a:cubicBezTo>
                      <a:pt x="67527" y="77619"/>
                      <a:pt x="79845" y="90976"/>
                      <a:pt x="98249" y="90976"/>
                    </a:cubicBezTo>
                    <a:cubicBezTo>
                      <a:pt x="110567" y="90976"/>
                      <a:pt x="119620" y="85484"/>
                      <a:pt x="124962" y="76876"/>
                    </a:cubicBezTo>
                    <a:lnTo>
                      <a:pt x="116948" y="71237"/>
                    </a:lnTo>
                    <a:cubicBezTo>
                      <a:pt x="113238" y="77470"/>
                      <a:pt x="107599" y="81626"/>
                      <a:pt x="98397" y="81626"/>
                    </a:cubicBezTo>
                    <a:cubicBezTo>
                      <a:pt x="86672" y="81626"/>
                      <a:pt x="78213" y="73315"/>
                      <a:pt x="77916" y="62184"/>
                    </a:cubicBezTo>
                    <a:lnTo>
                      <a:pt x="126595" y="62184"/>
                    </a:lnTo>
                    <a:cubicBezTo>
                      <a:pt x="126595" y="60848"/>
                      <a:pt x="126595" y="60106"/>
                      <a:pt x="126595" y="59067"/>
                    </a:cubicBezTo>
                    <a:cubicBezTo>
                      <a:pt x="126595" y="40071"/>
                      <a:pt x="113832" y="29237"/>
                      <a:pt x="98397" y="29237"/>
                    </a:cubicBezTo>
                    <a:cubicBezTo>
                      <a:pt x="80290" y="29237"/>
                      <a:pt x="67527" y="42742"/>
                      <a:pt x="67527" y="60106"/>
                    </a:cubicBezTo>
                    <a:moveTo>
                      <a:pt x="148" y="75986"/>
                    </a:moveTo>
                    <a:cubicBezTo>
                      <a:pt x="4601" y="84594"/>
                      <a:pt x="15732" y="91124"/>
                      <a:pt x="29682" y="91124"/>
                    </a:cubicBezTo>
                    <a:cubicBezTo>
                      <a:pt x="45414" y="91124"/>
                      <a:pt x="56545" y="82071"/>
                      <a:pt x="56545" y="67675"/>
                    </a:cubicBezTo>
                    <a:cubicBezTo>
                      <a:pt x="56545" y="55209"/>
                      <a:pt x="49421" y="48085"/>
                      <a:pt x="36954" y="43336"/>
                    </a:cubicBezTo>
                    <a:lnTo>
                      <a:pt x="26714" y="39477"/>
                    </a:lnTo>
                    <a:cubicBezTo>
                      <a:pt x="18106" y="36212"/>
                      <a:pt x="13950" y="33096"/>
                      <a:pt x="13950" y="25972"/>
                    </a:cubicBezTo>
                    <a:cubicBezTo>
                      <a:pt x="13950" y="18848"/>
                      <a:pt x="20778" y="14396"/>
                      <a:pt x="29089" y="14396"/>
                    </a:cubicBezTo>
                    <a:cubicBezTo>
                      <a:pt x="36361" y="14396"/>
                      <a:pt x="41555" y="17661"/>
                      <a:pt x="45859" y="22707"/>
                    </a:cubicBezTo>
                    <a:lnTo>
                      <a:pt x="53873" y="15583"/>
                    </a:lnTo>
                    <a:cubicBezTo>
                      <a:pt x="48679" y="8905"/>
                      <a:pt x="39922" y="4007"/>
                      <a:pt x="29237" y="4007"/>
                    </a:cubicBezTo>
                    <a:cubicBezTo>
                      <a:pt x="14099" y="4007"/>
                      <a:pt x="2968" y="12615"/>
                      <a:pt x="2968" y="26417"/>
                    </a:cubicBezTo>
                    <a:cubicBezTo>
                      <a:pt x="2968" y="37993"/>
                      <a:pt x="8904" y="44820"/>
                      <a:pt x="22113" y="49718"/>
                    </a:cubicBezTo>
                    <a:lnTo>
                      <a:pt x="33244" y="54022"/>
                    </a:lnTo>
                    <a:cubicBezTo>
                      <a:pt x="41110" y="56990"/>
                      <a:pt x="45414" y="61442"/>
                      <a:pt x="45414" y="68269"/>
                    </a:cubicBezTo>
                    <a:cubicBezTo>
                      <a:pt x="45414" y="76135"/>
                      <a:pt x="38587" y="80884"/>
                      <a:pt x="29830" y="80884"/>
                    </a:cubicBezTo>
                    <a:cubicBezTo>
                      <a:pt x="20332" y="80884"/>
                      <a:pt x="13505" y="76431"/>
                      <a:pt x="8904" y="69308"/>
                    </a:cubicBezTo>
                    <a:lnTo>
                      <a:pt x="0" y="75986"/>
                    </a:lnTo>
                    <a:close/>
                  </a:path>
                </a:pathLst>
              </a:custGeom>
              <a:solidFill>
                <a:srgbClr val="FFFFFF"/>
              </a:solidFill>
              <a:ln w="14828" cap="flat">
                <a:noFill/>
                <a:prstDash val="solid"/>
                <a:miter/>
              </a:ln>
            </p:spPr>
            <p:txBody>
              <a:bodyPr rtlCol="0" anchor="ctr"/>
              <a:lstStyle/>
              <a:p>
                <a:endParaRPr lang="en-DK"/>
              </a:p>
            </p:txBody>
          </p:sp>
          <p:sp>
            <p:nvSpPr>
              <p:cNvPr id="189" name="Freeform 188">
                <a:extLst>
                  <a:ext uri="{FF2B5EF4-FFF2-40B4-BE49-F238E27FC236}">
                    <a16:creationId xmlns:a16="http://schemas.microsoft.com/office/drawing/2014/main" id="{7A02707B-E3F2-2CCD-FDE0-D79C0CFE718F}"/>
                  </a:ext>
                </a:extLst>
              </p:cNvPr>
              <p:cNvSpPr/>
              <p:nvPr/>
            </p:nvSpPr>
            <p:spPr>
              <a:xfrm>
                <a:off x="5955181" y="6126087"/>
                <a:ext cx="930690" cy="91272"/>
              </a:xfrm>
              <a:custGeom>
                <a:avLst/>
                <a:gdLst>
                  <a:gd name="connsiteX0" fmla="*/ 879191 w 930690"/>
                  <a:gd name="connsiteY0" fmla="*/ 89788 h 91272"/>
                  <a:gd name="connsiteX1" fmla="*/ 889432 w 930690"/>
                  <a:gd name="connsiteY1" fmla="*/ 89788 h 91272"/>
                  <a:gd name="connsiteX2" fmla="*/ 889432 w 930690"/>
                  <a:gd name="connsiteY2" fmla="*/ 60403 h 91272"/>
                  <a:gd name="connsiteX3" fmla="*/ 906648 w 930690"/>
                  <a:gd name="connsiteY3" fmla="*/ 38735 h 91272"/>
                  <a:gd name="connsiteX4" fmla="*/ 920598 w 930690"/>
                  <a:gd name="connsiteY4" fmla="*/ 54912 h 91272"/>
                  <a:gd name="connsiteX5" fmla="*/ 920598 w 930690"/>
                  <a:gd name="connsiteY5" fmla="*/ 89937 h 91272"/>
                  <a:gd name="connsiteX6" fmla="*/ 930690 w 930690"/>
                  <a:gd name="connsiteY6" fmla="*/ 89937 h 91272"/>
                  <a:gd name="connsiteX7" fmla="*/ 930690 w 930690"/>
                  <a:gd name="connsiteY7" fmla="*/ 53428 h 91272"/>
                  <a:gd name="connsiteX8" fmla="*/ 908280 w 930690"/>
                  <a:gd name="connsiteY8" fmla="*/ 29534 h 91272"/>
                  <a:gd name="connsiteX9" fmla="*/ 889432 w 930690"/>
                  <a:gd name="connsiteY9" fmla="*/ 39774 h 91272"/>
                  <a:gd name="connsiteX10" fmla="*/ 889432 w 930690"/>
                  <a:gd name="connsiteY10" fmla="*/ 30721 h 91272"/>
                  <a:gd name="connsiteX11" fmla="*/ 879191 w 930690"/>
                  <a:gd name="connsiteY11" fmla="*/ 30721 h 91272"/>
                  <a:gd name="connsiteX12" fmla="*/ 879191 w 930690"/>
                  <a:gd name="connsiteY12" fmla="*/ 90085 h 91272"/>
                  <a:gd name="connsiteX13" fmla="*/ 812851 w 930690"/>
                  <a:gd name="connsiteY13" fmla="*/ 60106 h 91272"/>
                  <a:gd name="connsiteX14" fmla="*/ 833481 w 930690"/>
                  <a:gd name="connsiteY14" fmla="*/ 38735 h 91272"/>
                  <a:gd name="connsiteX15" fmla="*/ 854110 w 930690"/>
                  <a:gd name="connsiteY15" fmla="*/ 60106 h 91272"/>
                  <a:gd name="connsiteX16" fmla="*/ 833481 w 930690"/>
                  <a:gd name="connsiteY16" fmla="*/ 81477 h 91272"/>
                  <a:gd name="connsiteX17" fmla="*/ 812851 w 930690"/>
                  <a:gd name="connsiteY17" fmla="*/ 60106 h 91272"/>
                  <a:gd name="connsiteX18" fmla="*/ 864499 w 930690"/>
                  <a:gd name="connsiteY18" fmla="*/ 60106 h 91272"/>
                  <a:gd name="connsiteX19" fmla="*/ 833481 w 930690"/>
                  <a:gd name="connsiteY19" fmla="*/ 29237 h 91272"/>
                  <a:gd name="connsiteX20" fmla="*/ 802463 w 930690"/>
                  <a:gd name="connsiteY20" fmla="*/ 60106 h 91272"/>
                  <a:gd name="connsiteX21" fmla="*/ 833481 w 930690"/>
                  <a:gd name="connsiteY21" fmla="*/ 90976 h 91272"/>
                  <a:gd name="connsiteX22" fmla="*/ 864499 w 930690"/>
                  <a:gd name="connsiteY22" fmla="*/ 60106 h 91272"/>
                  <a:gd name="connsiteX23" fmla="*/ 777826 w 930690"/>
                  <a:gd name="connsiteY23" fmla="*/ 89788 h 91272"/>
                  <a:gd name="connsiteX24" fmla="*/ 788067 w 930690"/>
                  <a:gd name="connsiteY24" fmla="*/ 89788 h 91272"/>
                  <a:gd name="connsiteX25" fmla="*/ 788067 w 930690"/>
                  <a:gd name="connsiteY25" fmla="*/ 30424 h 91272"/>
                  <a:gd name="connsiteX26" fmla="*/ 777826 w 930690"/>
                  <a:gd name="connsiteY26" fmla="*/ 30424 h 91272"/>
                  <a:gd name="connsiteX27" fmla="*/ 777826 w 930690"/>
                  <a:gd name="connsiteY27" fmla="*/ 89788 h 91272"/>
                  <a:gd name="connsiteX28" fmla="*/ 790144 w 930690"/>
                  <a:gd name="connsiteY28" fmla="*/ 7272 h 91272"/>
                  <a:gd name="connsiteX29" fmla="*/ 783021 w 930690"/>
                  <a:gd name="connsiteY29" fmla="*/ 0 h 91272"/>
                  <a:gd name="connsiteX30" fmla="*/ 775600 w 930690"/>
                  <a:gd name="connsiteY30" fmla="*/ 7272 h 91272"/>
                  <a:gd name="connsiteX31" fmla="*/ 783021 w 930690"/>
                  <a:gd name="connsiteY31" fmla="*/ 14544 h 91272"/>
                  <a:gd name="connsiteX32" fmla="*/ 790144 w 930690"/>
                  <a:gd name="connsiteY32" fmla="*/ 7272 h 91272"/>
                  <a:gd name="connsiteX33" fmla="*/ 765360 w 930690"/>
                  <a:gd name="connsiteY33" fmla="*/ 88898 h 91272"/>
                  <a:gd name="connsiteX34" fmla="*/ 765360 w 930690"/>
                  <a:gd name="connsiteY34" fmla="*/ 79696 h 91272"/>
                  <a:gd name="connsiteX35" fmla="*/ 758087 w 930690"/>
                  <a:gd name="connsiteY35" fmla="*/ 80884 h 91272"/>
                  <a:gd name="connsiteX36" fmla="*/ 748292 w 930690"/>
                  <a:gd name="connsiteY36" fmla="*/ 70792 h 91272"/>
                  <a:gd name="connsiteX37" fmla="*/ 748292 w 930690"/>
                  <a:gd name="connsiteY37" fmla="*/ 39626 h 91272"/>
                  <a:gd name="connsiteX38" fmla="*/ 765360 w 930690"/>
                  <a:gd name="connsiteY38" fmla="*/ 39626 h 91272"/>
                  <a:gd name="connsiteX39" fmla="*/ 765360 w 930690"/>
                  <a:gd name="connsiteY39" fmla="*/ 30276 h 91272"/>
                  <a:gd name="connsiteX40" fmla="*/ 748292 w 930690"/>
                  <a:gd name="connsiteY40" fmla="*/ 30276 h 91272"/>
                  <a:gd name="connsiteX41" fmla="*/ 748292 w 930690"/>
                  <a:gd name="connsiteY41" fmla="*/ 13802 h 91272"/>
                  <a:gd name="connsiteX42" fmla="*/ 738052 w 930690"/>
                  <a:gd name="connsiteY42" fmla="*/ 13802 h 91272"/>
                  <a:gd name="connsiteX43" fmla="*/ 738052 w 930690"/>
                  <a:gd name="connsiteY43" fmla="*/ 30276 h 91272"/>
                  <a:gd name="connsiteX44" fmla="*/ 725437 w 930690"/>
                  <a:gd name="connsiteY44" fmla="*/ 30276 h 91272"/>
                  <a:gd name="connsiteX45" fmla="*/ 725437 w 930690"/>
                  <a:gd name="connsiteY45" fmla="*/ 39626 h 91272"/>
                  <a:gd name="connsiteX46" fmla="*/ 738052 w 930690"/>
                  <a:gd name="connsiteY46" fmla="*/ 39626 h 91272"/>
                  <a:gd name="connsiteX47" fmla="*/ 738052 w 930690"/>
                  <a:gd name="connsiteY47" fmla="*/ 71979 h 91272"/>
                  <a:gd name="connsiteX48" fmla="*/ 756158 w 930690"/>
                  <a:gd name="connsiteY48" fmla="*/ 90085 h 91272"/>
                  <a:gd name="connsiteX49" fmla="*/ 765360 w 930690"/>
                  <a:gd name="connsiteY49" fmla="*/ 88601 h 91272"/>
                  <a:gd name="connsiteX50" fmla="*/ 704511 w 930690"/>
                  <a:gd name="connsiteY50" fmla="*/ 60106 h 91272"/>
                  <a:gd name="connsiteX51" fmla="*/ 684327 w 930690"/>
                  <a:gd name="connsiteY51" fmla="*/ 81626 h 91272"/>
                  <a:gd name="connsiteX52" fmla="*/ 663994 w 930690"/>
                  <a:gd name="connsiteY52" fmla="*/ 60106 h 91272"/>
                  <a:gd name="connsiteX53" fmla="*/ 684327 w 930690"/>
                  <a:gd name="connsiteY53" fmla="*/ 38587 h 91272"/>
                  <a:gd name="connsiteX54" fmla="*/ 704511 w 930690"/>
                  <a:gd name="connsiteY54" fmla="*/ 60106 h 91272"/>
                  <a:gd name="connsiteX55" fmla="*/ 653754 w 930690"/>
                  <a:gd name="connsiteY55" fmla="*/ 60106 h 91272"/>
                  <a:gd name="connsiteX56" fmla="*/ 682843 w 930690"/>
                  <a:gd name="connsiteY56" fmla="*/ 90976 h 91272"/>
                  <a:gd name="connsiteX57" fmla="*/ 703768 w 930690"/>
                  <a:gd name="connsiteY57" fmla="*/ 80735 h 91272"/>
                  <a:gd name="connsiteX58" fmla="*/ 703768 w 930690"/>
                  <a:gd name="connsiteY58" fmla="*/ 89788 h 91272"/>
                  <a:gd name="connsiteX59" fmla="*/ 714009 w 930690"/>
                  <a:gd name="connsiteY59" fmla="*/ 89788 h 91272"/>
                  <a:gd name="connsiteX60" fmla="*/ 714009 w 930690"/>
                  <a:gd name="connsiteY60" fmla="*/ 30424 h 91272"/>
                  <a:gd name="connsiteX61" fmla="*/ 703768 w 930690"/>
                  <a:gd name="connsiteY61" fmla="*/ 30424 h 91272"/>
                  <a:gd name="connsiteX62" fmla="*/ 703768 w 930690"/>
                  <a:gd name="connsiteY62" fmla="*/ 39477 h 91272"/>
                  <a:gd name="connsiteX63" fmla="*/ 682843 w 930690"/>
                  <a:gd name="connsiteY63" fmla="*/ 29237 h 91272"/>
                  <a:gd name="connsiteX64" fmla="*/ 653754 w 930690"/>
                  <a:gd name="connsiteY64" fmla="*/ 60106 h 91272"/>
                  <a:gd name="connsiteX65" fmla="*/ 615315 w 930690"/>
                  <a:gd name="connsiteY65" fmla="*/ 89788 h 91272"/>
                  <a:gd name="connsiteX66" fmla="*/ 625556 w 930690"/>
                  <a:gd name="connsiteY66" fmla="*/ 89788 h 91272"/>
                  <a:gd name="connsiteX67" fmla="*/ 625556 w 930690"/>
                  <a:gd name="connsiteY67" fmla="*/ 60403 h 91272"/>
                  <a:gd name="connsiteX68" fmla="*/ 641287 w 930690"/>
                  <a:gd name="connsiteY68" fmla="*/ 39922 h 91272"/>
                  <a:gd name="connsiteX69" fmla="*/ 646927 w 930690"/>
                  <a:gd name="connsiteY69" fmla="*/ 40813 h 91272"/>
                  <a:gd name="connsiteX70" fmla="*/ 646927 w 930690"/>
                  <a:gd name="connsiteY70" fmla="*/ 30424 h 91272"/>
                  <a:gd name="connsiteX71" fmla="*/ 642326 w 930690"/>
                  <a:gd name="connsiteY71" fmla="*/ 29831 h 91272"/>
                  <a:gd name="connsiteX72" fmla="*/ 625704 w 930690"/>
                  <a:gd name="connsiteY72" fmla="*/ 42000 h 91272"/>
                  <a:gd name="connsiteX73" fmla="*/ 625704 w 930690"/>
                  <a:gd name="connsiteY73" fmla="*/ 30572 h 91272"/>
                  <a:gd name="connsiteX74" fmla="*/ 615464 w 930690"/>
                  <a:gd name="connsiteY74" fmla="*/ 30572 h 91272"/>
                  <a:gd name="connsiteX75" fmla="*/ 615464 w 930690"/>
                  <a:gd name="connsiteY75" fmla="*/ 89937 h 91272"/>
                  <a:gd name="connsiteX76" fmla="*/ 571831 w 930690"/>
                  <a:gd name="connsiteY76" fmla="*/ 38290 h 91272"/>
                  <a:gd name="connsiteX77" fmla="*/ 589937 w 930690"/>
                  <a:gd name="connsiteY77" fmla="*/ 53873 h 91272"/>
                  <a:gd name="connsiteX78" fmla="*/ 552240 w 930690"/>
                  <a:gd name="connsiteY78" fmla="*/ 53873 h 91272"/>
                  <a:gd name="connsiteX79" fmla="*/ 571682 w 930690"/>
                  <a:gd name="connsiteY79" fmla="*/ 38290 h 91272"/>
                  <a:gd name="connsiteX80" fmla="*/ 541258 w 930690"/>
                  <a:gd name="connsiteY80" fmla="*/ 60106 h 91272"/>
                  <a:gd name="connsiteX81" fmla="*/ 571979 w 930690"/>
                  <a:gd name="connsiteY81" fmla="*/ 90976 h 91272"/>
                  <a:gd name="connsiteX82" fmla="*/ 598693 w 930690"/>
                  <a:gd name="connsiteY82" fmla="*/ 76876 h 91272"/>
                  <a:gd name="connsiteX83" fmla="*/ 590679 w 930690"/>
                  <a:gd name="connsiteY83" fmla="*/ 71237 h 91272"/>
                  <a:gd name="connsiteX84" fmla="*/ 572127 w 930690"/>
                  <a:gd name="connsiteY84" fmla="*/ 81626 h 91272"/>
                  <a:gd name="connsiteX85" fmla="*/ 551646 w 930690"/>
                  <a:gd name="connsiteY85" fmla="*/ 62184 h 91272"/>
                  <a:gd name="connsiteX86" fmla="*/ 600325 w 930690"/>
                  <a:gd name="connsiteY86" fmla="*/ 62184 h 91272"/>
                  <a:gd name="connsiteX87" fmla="*/ 600325 w 930690"/>
                  <a:gd name="connsiteY87" fmla="*/ 59067 h 91272"/>
                  <a:gd name="connsiteX88" fmla="*/ 572127 w 930690"/>
                  <a:gd name="connsiteY88" fmla="*/ 29237 h 91272"/>
                  <a:gd name="connsiteX89" fmla="*/ 541258 w 930690"/>
                  <a:gd name="connsiteY89" fmla="*/ 60106 h 91272"/>
                  <a:gd name="connsiteX90" fmla="*/ 475511 w 930690"/>
                  <a:gd name="connsiteY90" fmla="*/ 89788 h 91272"/>
                  <a:gd name="connsiteX91" fmla="*/ 485752 w 930690"/>
                  <a:gd name="connsiteY91" fmla="*/ 89788 h 91272"/>
                  <a:gd name="connsiteX92" fmla="*/ 485752 w 930690"/>
                  <a:gd name="connsiteY92" fmla="*/ 60403 h 91272"/>
                  <a:gd name="connsiteX93" fmla="*/ 502967 w 930690"/>
                  <a:gd name="connsiteY93" fmla="*/ 38735 h 91272"/>
                  <a:gd name="connsiteX94" fmla="*/ 516918 w 930690"/>
                  <a:gd name="connsiteY94" fmla="*/ 54912 h 91272"/>
                  <a:gd name="connsiteX95" fmla="*/ 516918 w 930690"/>
                  <a:gd name="connsiteY95" fmla="*/ 89937 h 91272"/>
                  <a:gd name="connsiteX96" fmla="*/ 527010 w 930690"/>
                  <a:gd name="connsiteY96" fmla="*/ 89937 h 91272"/>
                  <a:gd name="connsiteX97" fmla="*/ 527010 w 930690"/>
                  <a:gd name="connsiteY97" fmla="*/ 53428 h 91272"/>
                  <a:gd name="connsiteX98" fmla="*/ 504600 w 930690"/>
                  <a:gd name="connsiteY98" fmla="*/ 29534 h 91272"/>
                  <a:gd name="connsiteX99" fmla="*/ 485752 w 930690"/>
                  <a:gd name="connsiteY99" fmla="*/ 39774 h 91272"/>
                  <a:gd name="connsiteX100" fmla="*/ 485752 w 930690"/>
                  <a:gd name="connsiteY100" fmla="*/ 30721 h 91272"/>
                  <a:gd name="connsiteX101" fmla="*/ 475511 w 930690"/>
                  <a:gd name="connsiteY101" fmla="*/ 30721 h 91272"/>
                  <a:gd name="connsiteX102" fmla="*/ 475511 w 930690"/>
                  <a:gd name="connsiteY102" fmla="*/ 90085 h 91272"/>
                  <a:gd name="connsiteX103" fmla="*/ 432026 w 930690"/>
                  <a:gd name="connsiteY103" fmla="*/ 38290 h 91272"/>
                  <a:gd name="connsiteX104" fmla="*/ 450133 w 930690"/>
                  <a:gd name="connsiteY104" fmla="*/ 53873 h 91272"/>
                  <a:gd name="connsiteX105" fmla="*/ 412436 w 930690"/>
                  <a:gd name="connsiteY105" fmla="*/ 53873 h 91272"/>
                  <a:gd name="connsiteX106" fmla="*/ 431878 w 930690"/>
                  <a:gd name="connsiteY106" fmla="*/ 38290 h 91272"/>
                  <a:gd name="connsiteX107" fmla="*/ 401454 w 930690"/>
                  <a:gd name="connsiteY107" fmla="*/ 60106 h 91272"/>
                  <a:gd name="connsiteX108" fmla="*/ 432175 w 930690"/>
                  <a:gd name="connsiteY108" fmla="*/ 90976 h 91272"/>
                  <a:gd name="connsiteX109" fmla="*/ 458889 w 930690"/>
                  <a:gd name="connsiteY109" fmla="*/ 76876 h 91272"/>
                  <a:gd name="connsiteX110" fmla="*/ 450875 w 930690"/>
                  <a:gd name="connsiteY110" fmla="*/ 71237 h 91272"/>
                  <a:gd name="connsiteX111" fmla="*/ 432324 w 930690"/>
                  <a:gd name="connsiteY111" fmla="*/ 81626 h 91272"/>
                  <a:gd name="connsiteX112" fmla="*/ 411843 w 930690"/>
                  <a:gd name="connsiteY112" fmla="*/ 62184 h 91272"/>
                  <a:gd name="connsiteX113" fmla="*/ 460522 w 930690"/>
                  <a:gd name="connsiteY113" fmla="*/ 62184 h 91272"/>
                  <a:gd name="connsiteX114" fmla="*/ 460522 w 930690"/>
                  <a:gd name="connsiteY114" fmla="*/ 59067 h 91272"/>
                  <a:gd name="connsiteX115" fmla="*/ 432324 w 930690"/>
                  <a:gd name="connsiteY115" fmla="*/ 29237 h 91272"/>
                  <a:gd name="connsiteX116" fmla="*/ 401454 w 930690"/>
                  <a:gd name="connsiteY116" fmla="*/ 60106 h 91272"/>
                  <a:gd name="connsiteX117" fmla="*/ 387503 w 930690"/>
                  <a:gd name="connsiteY117" fmla="*/ 79400 h 91272"/>
                  <a:gd name="connsiteX118" fmla="*/ 387503 w 930690"/>
                  <a:gd name="connsiteY118" fmla="*/ 41703 h 91272"/>
                  <a:gd name="connsiteX119" fmla="*/ 352923 w 930690"/>
                  <a:gd name="connsiteY119" fmla="*/ 41703 h 91272"/>
                  <a:gd name="connsiteX120" fmla="*/ 352923 w 930690"/>
                  <a:gd name="connsiteY120" fmla="*/ 51944 h 91272"/>
                  <a:gd name="connsiteX121" fmla="*/ 376817 w 930690"/>
                  <a:gd name="connsiteY121" fmla="*/ 51944 h 91272"/>
                  <a:gd name="connsiteX122" fmla="*/ 376817 w 930690"/>
                  <a:gd name="connsiteY122" fmla="*/ 74502 h 91272"/>
                  <a:gd name="connsiteX123" fmla="*/ 354407 w 930690"/>
                  <a:gd name="connsiteY123" fmla="*/ 80735 h 91272"/>
                  <a:gd name="connsiteX124" fmla="*/ 320124 w 930690"/>
                  <a:gd name="connsiteY124" fmla="*/ 47640 h 91272"/>
                  <a:gd name="connsiteX125" fmla="*/ 353072 w 930690"/>
                  <a:gd name="connsiteY125" fmla="*/ 14544 h 91272"/>
                  <a:gd name="connsiteX126" fmla="*/ 377411 w 930690"/>
                  <a:gd name="connsiteY126" fmla="*/ 23746 h 91272"/>
                  <a:gd name="connsiteX127" fmla="*/ 384683 w 930690"/>
                  <a:gd name="connsiteY127" fmla="*/ 15731 h 91272"/>
                  <a:gd name="connsiteX128" fmla="*/ 352923 w 930690"/>
                  <a:gd name="connsiteY128" fmla="*/ 4007 h 91272"/>
                  <a:gd name="connsiteX129" fmla="*/ 308993 w 930690"/>
                  <a:gd name="connsiteY129" fmla="*/ 47640 h 91272"/>
                  <a:gd name="connsiteX130" fmla="*/ 354407 w 930690"/>
                  <a:gd name="connsiteY130" fmla="*/ 91272 h 91272"/>
                  <a:gd name="connsiteX131" fmla="*/ 387503 w 930690"/>
                  <a:gd name="connsiteY131" fmla="*/ 79400 h 91272"/>
                  <a:gd name="connsiteX132" fmla="*/ 263728 w 930690"/>
                  <a:gd name="connsiteY132" fmla="*/ 61590 h 91272"/>
                  <a:gd name="connsiteX133" fmla="*/ 294004 w 930690"/>
                  <a:gd name="connsiteY133" fmla="*/ 61590 h 91272"/>
                  <a:gd name="connsiteX134" fmla="*/ 294004 w 930690"/>
                  <a:gd name="connsiteY134" fmla="*/ 51350 h 91272"/>
                  <a:gd name="connsiteX135" fmla="*/ 263728 w 930690"/>
                  <a:gd name="connsiteY135" fmla="*/ 51350 h 91272"/>
                  <a:gd name="connsiteX136" fmla="*/ 263728 w 930690"/>
                  <a:gd name="connsiteY136" fmla="*/ 61590 h 91272"/>
                  <a:gd name="connsiteX137" fmla="*/ 258830 w 930690"/>
                  <a:gd name="connsiteY137" fmla="*/ 88898 h 91272"/>
                  <a:gd name="connsiteX138" fmla="*/ 258830 w 930690"/>
                  <a:gd name="connsiteY138" fmla="*/ 79696 h 91272"/>
                  <a:gd name="connsiteX139" fmla="*/ 251558 w 930690"/>
                  <a:gd name="connsiteY139" fmla="*/ 80884 h 91272"/>
                  <a:gd name="connsiteX140" fmla="*/ 241763 w 930690"/>
                  <a:gd name="connsiteY140" fmla="*/ 70792 h 91272"/>
                  <a:gd name="connsiteX141" fmla="*/ 241763 w 930690"/>
                  <a:gd name="connsiteY141" fmla="*/ 39626 h 91272"/>
                  <a:gd name="connsiteX142" fmla="*/ 258830 w 930690"/>
                  <a:gd name="connsiteY142" fmla="*/ 39626 h 91272"/>
                  <a:gd name="connsiteX143" fmla="*/ 258830 w 930690"/>
                  <a:gd name="connsiteY143" fmla="*/ 30276 h 91272"/>
                  <a:gd name="connsiteX144" fmla="*/ 241763 w 930690"/>
                  <a:gd name="connsiteY144" fmla="*/ 30276 h 91272"/>
                  <a:gd name="connsiteX145" fmla="*/ 241763 w 930690"/>
                  <a:gd name="connsiteY145" fmla="*/ 13802 h 91272"/>
                  <a:gd name="connsiteX146" fmla="*/ 231522 w 930690"/>
                  <a:gd name="connsiteY146" fmla="*/ 13802 h 91272"/>
                  <a:gd name="connsiteX147" fmla="*/ 231522 w 930690"/>
                  <a:gd name="connsiteY147" fmla="*/ 30276 h 91272"/>
                  <a:gd name="connsiteX148" fmla="*/ 218907 w 930690"/>
                  <a:gd name="connsiteY148" fmla="*/ 30276 h 91272"/>
                  <a:gd name="connsiteX149" fmla="*/ 218907 w 930690"/>
                  <a:gd name="connsiteY149" fmla="*/ 39626 h 91272"/>
                  <a:gd name="connsiteX150" fmla="*/ 231522 w 930690"/>
                  <a:gd name="connsiteY150" fmla="*/ 39626 h 91272"/>
                  <a:gd name="connsiteX151" fmla="*/ 231522 w 930690"/>
                  <a:gd name="connsiteY151" fmla="*/ 71979 h 91272"/>
                  <a:gd name="connsiteX152" fmla="*/ 249629 w 930690"/>
                  <a:gd name="connsiteY152" fmla="*/ 90085 h 91272"/>
                  <a:gd name="connsiteX153" fmla="*/ 258830 w 930690"/>
                  <a:gd name="connsiteY153" fmla="*/ 88601 h 91272"/>
                  <a:gd name="connsiteX154" fmla="*/ 151528 w 930690"/>
                  <a:gd name="connsiteY154" fmla="*/ 89788 h 91272"/>
                  <a:gd name="connsiteX155" fmla="*/ 164292 w 930690"/>
                  <a:gd name="connsiteY155" fmla="*/ 89788 h 91272"/>
                  <a:gd name="connsiteX156" fmla="*/ 182398 w 930690"/>
                  <a:gd name="connsiteY156" fmla="*/ 67378 h 91272"/>
                  <a:gd name="connsiteX157" fmla="*/ 200504 w 930690"/>
                  <a:gd name="connsiteY157" fmla="*/ 89788 h 91272"/>
                  <a:gd name="connsiteX158" fmla="*/ 213119 w 930690"/>
                  <a:gd name="connsiteY158" fmla="*/ 89788 h 91272"/>
                  <a:gd name="connsiteX159" fmla="*/ 188928 w 930690"/>
                  <a:gd name="connsiteY159" fmla="*/ 59809 h 91272"/>
                  <a:gd name="connsiteX160" fmla="*/ 211190 w 930690"/>
                  <a:gd name="connsiteY160" fmla="*/ 30424 h 91272"/>
                  <a:gd name="connsiteX161" fmla="*/ 198723 w 930690"/>
                  <a:gd name="connsiteY161" fmla="*/ 30424 h 91272"/>
                  <a:gd name="connsiteX162" fmla="*/ 182398 w 930690"/>
                  <a:gd name="connsiteY162" fmla="*/ 51795 h 91272"/>
                  <a:gd name="connsiteX163" fmla="*/ 166073 w 930690"/>
                  <a:gd name="connsiteY163" fmla="*/ 30424 h 91272"/>
                  <a:gd name="connsiteX164" fmla="*/ 153754 w 930690"/>
                  <a:gd name="connsiteY164" fmla="*/ 30424 h 91272"/>
                  <a:gd name="connsiteX165" fmla="*/ 176016 w 930690"/>
                  <a:gd name="connsiteY165" fmla="*/ 59809 h 91272"/>
                  <a:gd name="connsiteX166" fmla="*/ 151677 w 930690"/>
                  <a:gd name="connsiteY166" fmla="*/ 89788 h 91272"/>
                  <a:gd name="connsiteX167" fmla="*/ 119026 w 930690"/>
                  <a:gd name="connsiteY167" fmla="*/ 38290 h 91272"/>
                  <a:gd name="connsiteX168" fmla="*/ 137132 w 930690"/>
                  <a:gd name="connsiteY168" fmla="*/ 53873 h 91272"/>
                  <a:gd name="connsiteX169" fmla="*/ 99436 w 930690"/>
                  <a:gd name="connsiteY169" fmla="*/ 53873 h 91272"/>
                  <a:gd name="connsiteX170" fmla="*/ 118878 w 930690"/>
                  <a:gd name="connsiteY170" fmla="*/ 38290 h 91272"/>
                  <a:gd name="connsiteX171" fmla="*/ 88453 w 930690"/>
                  <a:gd name="connsiteY171" fmla="*/ 60106 h 91272"/>
                  <a:gd name="connsiteX172" fmla="*/ 119175 w 930690"/>
                  <a:gd name="connsiteY172" fmla="*/ 90976 h 91272"/>
                  <a:gd name="connsiteX173" fmla="*/ 145889 w 930690"/>
                  <a:gd name="connsiteY173" fmla="*/ 76876 h 91272"/>
                  <a:gd name="connsiteX174" fmla="*/ 137875 w 930690"/>
                  <a:gd name="connsiteY174" fmla="*/ 71237 h 91272"/>
                  <a:gd name="connsiteX175" fmla="*/ 119323 w 930690"/>
                  <a:gd name="connsiteY175" fmla="*/ 81626 h 91272"/>
                  <a:gd name="connsiteX176" fmla="*/ 98842 w 930690"/>
                  <a:gd name="connsiteY176" fmla="*/ 62184 h 91272"/>
                  <a:gd name="connsiteX177" fmla="*/ 147521 w 930690"/>
                  <a:gd name="connsiteY177" fmla="*/ 62184 h 91272"/>
                  <a:gd name="connsiteX178" fmla="*/ 147521 w 930690"/>
                  <a:gd name="connsiteY178" fmla="*/ 59067 h 91272"/>
                  <a:gd name="connsiteX179" fmla="*/ 119323 w 930690"/>
                  <a:gd name="connsiteY179" fmla="*/ 29237 h 91272"/>
                  <a:gd name="connsiteX180" fmla="*/ 88453 w 930690"/>
                  <a:gd name="connsiteY180" fmla="*/ 60106 h 91272"/>
                  <a:gd name="connsiteX181" fmla="*/ 71831 w 930690"/>
                  <a:gd name="connsiteY181" fmla="*/ 89788 h 91272"/>
                  <a:gd name="connsiteX182" fmla="*/ 71831 w 930690"/>
                  <a:gd name="connsiteY182" fmla="*/ 5491 h 91272"/>
                  <a:gd name="connsiteX183" fmla="*/ 60997 w 930690"/>
                  <a:gd name="connsiteY183" fmla="*/ 5491 h 91272"/>
                  <a:gd name="connsiteX184" fmla="*/ 60997 w 930690"/>
                  <a:gd name="connsiteY184" fmla="*/ 71089 h 91272"/>
                  <a:gd name="connsiteX185" fmla="*/ 9647 w 930690"/>
                  <a:gd name="connsiteY185" fmla="*/ 5491 h 91272"/>
                  <a:gd name="connsiteX186" fmla="*/ 0 w 930690"/>
                  <a:gd name="connsiteY186" fmla="*/ 5491 h 91272"/>
                  <a:gd name="connsiteX187" fmla="*/ 0 w 930690"/>
                  <a:gd name="connsiteY187" fmla="*/ 89788 h 91272"/>
                  <a:gd name="connsiteX188" fmla="*/ 10982 w 930690"/>
                  <a:gd name="connsiteY188" fmla="*/ 89788 h 91272"/>
                  <a:gd name="connsiteX189" fmla="*/ 10982 w 930690"/>
                  <a:gd name="connsiteY189" fmla="*/ 24191 h 91272"/>
                  <a:gd name="connsiteX190" fmla="*/ 62333 w 930690"/>
                  <a:gd name="connsiteY190" fmla="*/ 89788 h 91272"/>
                  <a:gd name="connsiteX191" fmla="*/ 71831 w 930690"/>
                  <a:gd name="connsiteY191" fmla="*/ 89788 h 9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Lst>
                <a:rect l="l" t="t" r="r" b="b"/>
                <a:pathLst>
                  <a:path w="930690" h="91272">
                    <a:moveTo>
                      <a:pt x="879191" y="89788"/>
                    </a:moveTo>
                    <a:lnTo>
                      <a:pt x="889432" y="89788"/>
                    </a:lnTo>
                    <a:lnTo>
                      <a:pt x="889432" y="60403"/>
                    </a:lnTo>
                    <a:cubicBezTo>
                      <a:pt x="889432" y="46452"/>
                      <a:pt x="897001" y="38735"/>
                      <a:pt x="906648" y="38735"/>
                    </a:cubicBezTo>
                    <a:cubicBezTo>
                      <a:pt x="914959" y="38735"/>
                      <a:pt x="920598" y="44968"/>
                      <a:pt x="920598" y="54912"/>
                    </a:cubicBezTo>
                    <a:lnTo>
                      <a:pt x="920598" y="89937"/>
                    </a:lnTo>
                    <a:lnTo>
                      <a:pt x="930690" y="89937"/>
                    </a:lnTo>
                    <a:lnTo>
                      <a:pt x="930690" y="53428"/>
                    </a:lnTo>
                    <a:cubicBezTo>
                      <a:pt x="930690" y="38735"/>
                      <a:pt x="921637" y="29534"/>
                      <a:pt x="908280" y="29534"/>
                    </a:cubicBezTo>
                    <a:cubicBezTo>
                      <a:pt x="900563" y="29534"/>
                      <a:pt x="893439" y="32799"/>
                      <a:pt x="889432" y="39774"/>
                    </a:cubicBezTo>
                    <a:lnTo>
                      <a:pt x="889432" y="30721"/>
                    </a:lnTo>
                    <a:lnTo>
                      <a:pt x="879191" y="30721"/>
                    </a:lnTo>
                    <a:lnTo>
                      <a:pt x="879191" y="90085"/>
                    </a:lnTo>
                    <a:close/>
                    <a:moveTo>
                      <a:pt x="812851" y="60106"/>
                    </a:moveTo>
                    <a:cubicBezTo>
                      <a:pt x="812851" y="48233"/>
                      <a:pt x="821162" y="38735"/>
                      <a:pt x="833481" y="38735"/>
                    </a:cubicBezTo>
                    <a:cubicBezTo>
                      <a:pt x="845799" y="38735"/>
                      <a:pt x="854110" y="48233"/>
                      <a:pt x="854110" y="60106"/>
                    </a:cubicBezTo>
                    <a:cubicBezTo>
                      <a:pt x="854110" y="71979"/>
                      <a:pt x="845947" y="81477"/>
                      <a:pt x="833481" y="81477"/>
                    </a:cubicBezTo>
                    <a:cubicBezTo>
                      <a:pt x="821014" y="81477"/>
                      <a:pt x="812851" y="71979"/>
                      <a:pt x="812851" y="60106"/>
                    </a:cubicBezTo>
                    <a:moveTo>
                      <a:pt x="864499" y="60106"/>
                    </a:moveTo>
                    <a:cubicBezTo>
                      <a:pt x="864499" y="43039"/>
                      <a:pt x="851290" y="29237"/>
                      <a:pt x="833481" y="29237"/>
                    </a:cubicBezTo>
                    <a:cubicBezTo>
                      <a:pt x="815671" y="29237"/>
                      <a:pt x="802463" y="43039"/>
                      <a:pt x="802463" y="60106"/>
                    </a:cubicBezTo>
                    <a:cubicBezTo>
                      <a:pt x="802463" y="77174"/>
                      <a:pt x="815671" y="90976"/>
                      <a:pt x="833481" y="90976"/>
                    </a:cubicBezTo>
                    <a:cubicBezTo>
                      <a:pt x="851290" y="90976"/>
                      <a:pt x="864499" y="77174"/>
                      <a:pt x="864499" y="60106"/>
                    </a:cubicBezTo>
                    <a:moveTo>
                      <a:pt x="777826" y="89788"/>
                    </a:moveTo>
                    <a:lnTo>
                      <a:pt x="788067" y="89788"/>
                    </a:lnTo>
                    <a:lnTo>
                      <a:pt x="788067" y="30424"/>
                    </a:lnTo>
                    <a:lnTo>
                      <a:pt x="777826" y="30424"/>
                    </a:lnTo>
                    <a:lnTo>
                      <a:pt x="777826" y="89788"/>
                    </a:lnTo>
                    <a:close/>
                    <a:moveTo>
                      <a:pt x="790144" y="7272"/>
                    </a:moveTo>
                    <a:cubicBezTo>
                      <a:pt x="790144" y="3414"/>
                      <a:pt x="787028" y="0"/>
                      <a:pt x="783021" y="0"/>
                    </a:cubicBezTo>
                    <a:cubicBezTo>
                      <a:pt x="779013" y="0"/>
                      <a:pt x="775600" y="3265"/>
                      <a:pt x="775600" y="7272"/>
                    </a:cubicBezTo>
                    <a:cubicBezTo>
                      <a:pt x="775600" y="11279"/>
                      <a:pt x="778865" y="14544"/>
                      <a:pt x="783021" y="14544"/>
                    </a:cubicBezTo>
                    <a:cubicBezTo>
                      <a:pt x="787176" y="14544"/>
                      <a:pt x="790144" y="11279"/>
                      <a:pt x="790144" y="7272"/>
                    </a:cubicBezTo>
                    <a:moveTo>
                      <a:pt x="765360" y="88898"/>
                    </a:moveTo>
                    <a:lnTo>
                      <a:pt x="765360" y="79696"/>
                    </a:lnTo>
                    <a:cubicBezTo>
                      <a:pt x="763430" y="80439"/>
                      <a:pt x="760610" y="80884"/>
                      <a:pt x="758087" y="80884"/>
                    </a:cubicBezTo>
                    <a:cubicBezTo>
                      <a:pt x="751706" y="80884"/>
                      <a:pt x="748292" y="78361"/>
                      <a:pt x="748292" y="70792"/>
                    </a:cubicBezTo>
                    <a:lnTo>
                      <a:pt x="748292" y="39626"/>
                    </a:lnTo>
                    <a:lnTo>
                      <a:pt x="765360" y="39626"/>
                    </a:lnTo>
                    <a:lnTo>
                      <a:pt x="765360" y="30276"/>
                    </a:lnTo>
                    <a:lnTo>
                      <a:pt x="748292" y="30276"/>
                    </a:lnTo>
                    <a:lnTo>
                      <a:pt x="748292" y="13802"/>
                    </a:lnTo>
                    <a:lnTo>
                      <a:pt x="738052" y="13802"/>
                    </a:lnTo>
                    <a:lnTo>
                      <a:pt x="738052" y="30276"/>
                    </a:lnTo>
                    <a:lnTo>
                      <a:pt x="725437" y="30276"/>
                    </a:lnTo>
                    <a:lnTo>
                      <a:pt x="725437" y="39626"/>
                    </a:lnTo>
                    <a:lnTo>
                      <a:pt x="738052" y="39626"/>
                    </a:lnTo>
                    <a:lnTo>
                      <a:pt x="738052" y="71979"/>
                    </a:lnTo>
                    <a:cubicBezTo>
                      <a:pt x="738052" y="84297"/>
                      <a:pt x="745918" y="90085"/>
                      <a:pt x="756158" y="90085"/>
                    </a:cubicBezTo>
                    <a:cubicBezTo>
                      <a:pt x="759868" y="90085"/>
                      <a:pt x="762836" y="89491"/>
                      <a:pt x="765360" y="88601"/>
                    </a:cubicBezTo>
                    <a:moveTo>
                      <a:pt x="704511" y="60106"/>
                    </a:moveTo>
                    <a:cubicBezTo>
                      <a:pt x="704511" y="72128"/>
                      <a:pt x="696348" y="81626"/>
                      <a:pt x="684327" y="81626"/>
                    </a:cubicBezTo>
                    <a:cubicBezTo>
                      <a:pt x="672305" y="81626"/>
                      <a:pt x="663994" y="72128"/>
                      <a:pt x="663994" y="60106"/>
                    </a:cubicBezTo>
                    <a:cubicBezTo>
                      <a:pt x="663994" y="48085"/>
                      <a:pt x="672305" y="38587"/>
                      <a:pt x="684327" y="38587"/>
                    </a:cubicBezTo>
                    <a:cubicBezTo>
                      <a:pt x="696348" y="38587"/>
                      <a:pt x="704511" y="48085"/>
                      <a:pt x="704511" y="60106"/>
                    </a:cubicBezTo>
                    <a:moveTo>
                      <a:pt x="653754" y="60106"/>
                    </a:moveTo>
                    <a:cubicBezTo>
                      <a:pt x="653754" y="77025"/>
                      <a:pt x="666220" y="90976"/>
                      <a:pt x="682843" y="90976"/>
                    </a:cubicBezTo>
                    <a:cubicBezTo>
                      <a:pt x="691747" y="90976"/>
                      <a:pt x="699761" y="86375"/>
                      <a:pt x="703768" y="80735"/>
                    </a:cubicBezTo>
                    <a:lnTo>
                      <a:pt x="703768" y="89788"/>
                    </a:lnTo>
                    <a:lnTo>
                      <a:pt x="714009" y="89788"/>
                    </a:lnTo>
                    <a:lnTo>
                      <a:pt x="714009" y="30424"/>
                    </a:lnTo>
                    <a:lnTo>
                      <a:pt x="703768" y="30424"/>
                    </a:lnTo>
                    <a:lnTo>
                      <a:pt x="703768" y="39477"/>
                    </a:lnTo>
                    <a:cubicBezTo>
                      <a:pt x="699910" y="33838"/>
                      <a:pt x="691747" y="29237"/>
                      <a:pt x="682843" y="29237"/>
                    </a:cubicBezTo>
                    <a:cubicBezTo>
                      <a:pt x="666220" y="29237"/>
                      <a:pt x="653754" y="43039"/>
                      <a:pt x="653754" y="60106"/>
                    </a:cubicBezTo>
                    <a:moveTo>
                      <a:pt x="615315" y="89788"/>
                    </a:moveTo>
                    <a:lnTo>
                      <a:pt x="625556" y="89788"/>
                    </a:lnTo>
                    <a:lnTo>
                      <a:pt x="625556" y="60403"/>
                    </a:lnTo>
                    <a:cubicBezTo>
                      <a:pt x="625556" y="46452"/>
                      <a:pt x="633718" y="39922"/>
                      <a:pt x="641287" y="39922"/>
                    </a:cubicBezTo>
                    <a:cubicBezTo>
                      <a:pt x="643365" y="39922"/>
                      <a:pt x="644998" y="40219"/>
                      <a:pt x="646927" y="40813"/>
                    </a:cubicBezTo>
                    <a:lnTo>
                      <a:pt x="646927" y="30424"/>
                    </a:lnTo>
                    <a:cubicBezTo>
                      <a:pt x="645295" y="29979"/>
                      <a:pt x="643810" y="29831"/>
                      <a:pt x="642326" y="29831"/>
                    </a:cubicBezTo>
                    <a:cubicBezTo>
                      <a:pt x="635499" y="29831"/>
                      <a:pt x="628079" y="34283"/>
                      <a:pt x="625704" y="42000"/>
                    </a:cubicBezTo>
                    <a:lnTo>
                      <a:pt x="625704" y="30572"/>
                    </a:lnTo>
                    <a:lnTo>
                      <a:pt x="615464" y="30572"/>
                    </a:lnTo>
                    <a:lnTo>
                      <a:pt x="615464" y="89937"/>
                    </a:lnTo>
                    <a:close/>
                    <a:moveTo>
                      <a:pt x="571831" y="38290"/>
                    </a:moveTo>
                    <a:cubicBezTo>
                      <a:pt x="580884" y="38290"/>
                      <a:pt x="588601" y="44078"/>
                      <a:pt x="589937" y="53873"/>
                    </a:cubicBezTo>
                    <a:lnTo>
                      <a:pt x="552240" y="53873"/>
                    </a:lnTo>
                    <a:cubicBezTo>
                      <a:pt x="554170" y="44078"/>
                      <a:pt x="562777" y="38290"/>
                      <a:pt x="571682" y="38290"/>
                    </a:cubicBezTo>
                    <a:moveTo>
                      <a:pt x="541258" y="60106"/>
                    </a:moveTo>
                    <a:cubicBezTo>
                      <a:pt x="541258" y="77619"/>
                      <a:pt x="553576" y="90976"/>
                      <a:pt x="571979" y="90976"/>
                    </a:cubicBezTo>
                    <a:cubicBezTo>
                      <a:pt x="584297" y="90976"/>
                      <a:pt x="593350" y="85484"/>
                      <a:pt x="598693" y="76876"/>
                    </a:cubicBezTo>
                    <a:lnTo>
                      <a:pt x="590679" y="71237"/>
                    </a:lnTo>
                    <a:cubicBezTo>
                      <a:pt x="586968" y="77619"/>
                      <a:pt x="581329" y="81626"/>
                      <a:pt x="572127" y="81626"/>
                    </a:cubicBezTo>
                    <a:cubicBezTo>
                      <a:pt x="560403" y="81626"/>
                      <a:pt x="551943" y="73315"/>
                      <a:pt x="551646" y="62184"/>
                    </a:cubicBezTo>
                    <a:lnTo>
                      <a:pt x="600325" y="62184"/>
                    </a:lnTo>
                    <a:cubicBezTo>
                      <a:pt x="600325" y="60848"/>
                      <a:pt x="600325" y="60106"/>
                      <a:pt x="600325" y="59067"/>
                    </a:cubicBezTo>
                    <a:cubicBezTo>
                      <a:pt x="600325" y="40071"/>
                      <a:pt x="587562" y="29237"/>
                      <a:pt x="572127" y="29237"/>
                    </a:cubicBezTo>
                    <a:cubicBezTo>
                      <a:pt x="554021" y="29237"/>
                      <a:pt x="541258" y="42742"/>
                      <a:pt x="541258" y="60106"/>
                    </a:cubicBezTo>
                    <a:moveTo>
                      <a:pt x="475511" y="89788"/>
                    </a:moveTo>
                    <a:lnTo>
                      <a:pt x="485752" y="89788"/>
                    </a:lnTo>
                    <a:lnTo>
                      <a:pt x="485752" y="60403"/>
                    </a:lnTo>
                    <a:cubicBezTo>
                      <a:pt x="485752" y="46452"/>
                      <a:pt x="493321" y="38735"/>
                      <a:pt x="502967" y="38735"/>
                    </a:cubicBezTo>
                    <a:cubicBezTo>
                      <a:pt x="511278" y="38735"/>
                      <a:pt x="516918" y="44968"/>
                      <a:pt x="516918" y="54912"/>
                    </a:cubicBezTo>
                    <a:lnTo>
                      <a:pt x="516918" y="89937"/>
                    </a:lnTo>
                    <a:lnTo>
                      <a:pt x="527010" y="89937"/>
                    </a:lnTo>
                    <a:lnTo>
                      <a:pt x="527010" y="53428"/>
                    </a:lnTo>
                    <a:cubicBezTo>
                      <a:pt x="527010" y="38735"/>
                      <a:pt x="517808" y="29534"/>
                      <a:pt x="504600" y="29534"/>
                    </a:cubicBezTo>
                    <a:cubicBezTo>
                      <a:pt x="496883" y="29534"/>
                      <a:pt x="489759" y="32799"/>
                      <a:pt x="485752" y="39774"/>
                    </a:cubicBezTo>
                    <a:lnTo>
                      <a:pt x="485752" y="30721"/>
                    </a:lnTo>
                    <a:lnTo>
                      <a:pt x="475511" y="30721"/>
                    </a:lnTo>
                    <a:lnTo>
                      <a:pt x="475511" y="90085"/>
                    </a:lnTo>
                    <a:close/>
                    <a:moveTo>
                      <a:pt x="432026" y="38290"/>
                    </a:moveTo>
                    <a:cubicBezTo>
                      <a:pt x="441080" y="38290"/>
                      <a:pt x="448797" y="44078"/>
                      <a:pt x="450133" y="53873"/>
                    </a:cubicBezTo>
                    <a:lnTo>
                      <a:pt x="412436" y="53873"/>
                    </a:lnTo>
                    <a:cubicBezTo>
                      <a:pt x="414365" y="44078"/>
                      <a:pt x="422974" y="38290"/>
                      <a:pt x="431878" y="38290"/>
                    </a:cubicBezTo>
                    <a:moveTo>
                      <a:pt x="401454" y="60106"/>
                    </a:moveTo>
                    <a:cubicBezTo>
                      <a:pt x="401454" y="77619"/>
                      <a:pt x="413772" y="90976"/>
                      <a:pt x="432175" y="90976"/>
                    </a:cubicBezTo>
                    <a:cubicBezTo>
                      <a:pt x="444493" y="90976"/>
                      <a:pt x="453546" y="85484"/>
                      <a:pt x="458889" y="76876"/>
                    </a:cubicBezTo>
                    <a:lnTo>
                      <a:pt x="450875" y="71237"/>
                    </a:lnTo>
                    <a:cubicBezTo>
                      <a:pt x="447165" y="77619"/>
                      <a:pt x="441525" y="81626"/>
                      <a:pt x="432324" y="81626"/>
                    </a:cubicBezTo>
                    <a:cubicBezTo>
                      <a:pt x="420599" y="81626"/>
                      <a:pt x="412139" y="73315"/>
                      <a:pt x="411843" y="62184"/>
                    </a:cubicBezTo>
                    <a:lnTo>
                      <a:pt x="460522" y="62184"/>
                    </a:lnTo>
                    <a:cubicBezTo>
                      <a:pt x="460522" y="60848"/>
                      <a:pt x="460522" y="60106"/>
                      <a:pt x="460522" y="59067"/>
                    </a:cubicBezTo>
                    <a:cubicBezTo>
                      <a:pt x="460522" y="40071"/>
                      <a:pt x="447758" y="29237"/>
                      <a:pt x="432324" y="29237"/>
                    </a:cubicBezTo>
                    <a:cubicBezTo>
                      <a:pt x="414217" y="29237"/>
                      <a:pt x="401454" y="42742"/>
                      <a:pt x="401454" y="60106"/>
                    </a:cubicBezTo>
                    <a:moveTo>
                      <a:pt x="387503" y="79400"/>
                    </a:moveTo>
                    <a:lnTo>
                      <a:pt x="387503" y="41703"/>
                    </a:lnTo>
                    <a:lnTo>
                      <a:pt x="352923" y="41703"/>
                    </a:lnTo>
                    <a:lnTo>
                      <a:pt x="352923" y="51944"/>
                    </a:lnTo>
                    <a:lnTo>
                      <a:pt x="376817" y="51944"/>
                    </a:lnTo>
                    <a:lnTo>
                      <a:pt x="376817" y="74502"/>
                    </a:lnTo>
                    <a:cubicBezTo>
                      <a:pt x="371326" y="78954"/>
                      <a:pt x="362570" y="80735"/>
                      <a:pt x="354407" y="80735"/>
                    </a:cubicBezTo>
                    <a:cubicBezTo>
                      <a:pt x="333481" y="80735"/>
                      <a:pt x="320124" y="66191"/>
                      <a:pt x="320124" y="47640"/>
                    </a:cubicBezTo>
                    <a:cubicBezTo>
                      <a:pt x="320124" y="29088"/>
                      <a:pt x="333927" y="14544"/>
                      <a:pt x="353072" y="14544"/>
                    </a:cubicBezTo>
                    <a:cubicBezTo>
                      <a:pt x="363609" y="14544"/>
                      <a:pt x="371475" y="18403"/>
                      <a:pt x="377411" y="23746"/>
                    </a:cubicBezTo>
                    <a:lnTo>
                      <a:pt x="384683" y="15731"/>
                    </a:lnTo>
                    <a:cubicBezTo>
                      <a:pt x="376817" y="8311"/>
                      <a:pt x="366132" y="4007"/>
                      <a:pt x="352923" y="4007"/>
                    </a:cubicBezTo>
                    <a:cubicBezTo>
                      <a:pt x="327842" y="4007"/>
                      <a:pt x="308993" y="23152"/>
                      <a:pt x="308993" y="47640"/>
                    </a:cubicBezTo>
                    <a:cubicBezTo>
                      <a:pt x="308993" y="72128"/>
                      <a:pt x="327693" y="91272"/>
                      <a:pt x="354407" y="91272"/>
                    </a:cubicBezTo>
                    <a:cubicBezTo>
                      <a:pt x="367023" y="91272"/>
                      <a:pt x="379786" y="87414"/>
                      <a:pt x="387503" y="79400"/>
                    </a:cubicBezTo>
                    <a:moveTo>
                      <a:pt x="263728" y="61590"/>
                    </a:moveTo>
                    <a:lnTo>
                      <a:pt x="294004" y="61590"/>
                    </a:lnTo>
                    <a:lnTo>
                      <a:pt x="294004" y="51350"/>
                    </a:lnTo>
                    <a:lnTo>
                      <a:pt x="263728" y="51350"/>
                    </a:lnTo>
                    <a:lnTo>
                      <a:pt x="263728" y="61590"/>
                    </a:lnTo>
                    <a:close/>
                    <a:moveTo>
                      <a:pt x="258830" y="88898"/>
                    </a:moveTo>
                    <a:lnTo>
                      <a:pt x="258830" y="79696"/>
                    </a:lnTo>
                    <a:cubicBezTo>
                      <a:pt x="256901" y="80439"/>
                      <a:pt x="254081" y="80884"/>
                      <a:pt x="251558" y="80884"/>
                    </a:cubicBezTo>
                    <a:cubicBezTo>
                      <a:pt x="245176" y="80884"/>
                      <a:pt x="241763" y="78361"/>
                      <a:pt x="241763" y="70792"/>
                    </a:cubicBezTo>
                    <a:lnTo>
                      <a:pt x="241763" y="39626"/>
                    </a:lnTo>
                    <a:lnTo>
                      <a:pt x="258830" y="39626"/>
                    </a:lnTo>
                    <a:lnTo>
                      <a:pt x="258830" y="30276"/>
                    </a:lnTo>
                    <a:lnTo>
                      <a:pt x="241763" y="30276"/>
                    </a:lnTo>
                    <a:lnTo>
                      <a:pt x="241763" y="13802"/>
                    </a:lnTo>
                    <a:lnTo>
                      <a:pt x="231522" y="13802"/>
                    </a:lnTo>
                    <a:lnTo>
                      <a:pt x="231522" y="30276"/>
                    </a:lnTo>
                    <a:lnTo>
                      <a:pt x="218907" y="30276"/>
                    </a:lnTo>
                    <a:lnTo>
                      <a:pt x="218907" y="39626"/>
                    </a:lnTo>
                    <a:lnTo>
                      <a:pt x="231522" y="39626"/>
                    </a:lnTo>
                    <a:lnTo>
                      <a:pt x="231522" y="71979"/>
                    </a:lnTo>
                    <a:cubicBezTo>
                      <a:pt x="231522" y="84297"/>
                      <a:pt x="239388" y="90085"/>
                      <a:pt x="249629" y="90085"/>
                    </a:cubicBezTo>
                    <a:cubicBezTo>
                      <a:pt x="253339" y="90085"/>
                      <a:pt x="256307" y="89491"/>
                      <a:pt x="258830" y="88601"/>
                    </a:cubicBezTo>
                    <a:moveTo>
                      <a:pt x="151528" y="89788"/>
                    </a:moveTo>
                    <a:lnTo>
                      <a:pt x="164292" y="89788"/>
                    </a:lnTo>
                    <a:lnTo>
                      <a:pt x="182398" y="67378"/>
                    </a:lnTo>
                    <a:lnTo>
                      <a:pt x="200504" y="89788"/>
                    </a:lnTo>
                    <a:lnTo>
                      <a:pt x="213119" y="89788"/>
                    </a:lnTo>
                    <a:lnTo>
                      <a:pt x="188928" y="59809"/>
                    </a:lnTo>
                    <a:lnTo>
                      <a:pt x="211190" y="30424"/>
                    </a:lnTo>
                    <a:lnTo>
                      <a:pt x="198723" y="30424"/>
                    </a:lnTo>
                    <a:lnTo>
                      <a:pt x="182398" y="51795"/>
                    </a:lnTo>
                    <a:lnTo>
                      <a:pt x="166073" y="30424"/>
                    </a:lnTo>
                    <a:lnTo>
                      <a:pt x="153754" y="30424"/>
                    </a:lnTo>
                    <a:lnTo>
                      <a:pt x="176016" y="59809"/>
                    </a:lnTo>
                    <a:lnTo>
                      <a:pt x="151677" y="89788"/>
                    </a:lnTo>
                    <a:close/>
                    <a:moveTo>
                      <a:pt x="119026" y="38290"/>
                    </a:moveTo>
                    <a:cubicBezTo>
                      <a:pt x="128079" y="38290"/>
                      <a:pt x="135797" y="44078"/>
                      <a:pt x="137132" y="53873"/>
                    </a:cubicBezTo>
                    <a:lnTo>
                      <a:pt x="99436" y="53873"/>
                    </a:lnTo>
                    <a:cubicBezTo>
                      <a:pt x="101365" y="44078"/>
                      <a:pt x="109973" y="38290"/>
                      <a:pt x="118878" y="38290"/>
                    </a:cubicBezTo>
                    <a:moveTo>
                      <a:pt x="88453" y="60106"/>
                    </a:moveTo>
                    <a:cubicBezTo>
                      <a:pt x="88453" y="77619"/>
                      <a:pt x="100772" y="90976"/>
                      <a:pt x="119175" y="90976"/>
                    </a:cubicBezTo>
                    <a:cubicBezTo>
                      <a:pt x="131493" y="90976"/>
                      <a:pt x="140546" y="85484"/>
                      <a:pt x="145889" y="76876"/>
                    </a:cubicBezTo>
                    <a:lnTo>
                      <a:pt x="137875" y="71237"/>
                    </a:lnTo>
                    <a:cubicBezTo>
                      <a:pt x="134164" y="77619"/>
                      <a:pt x="128525" y="81626"/>
                      <a:pt x="119323" y="81626"/>
                    </a:cubicBezTo>
                    <a:cubicBezTo>
                      <a:pt x="107599" y="81626"/>
                      <a:pt x="99139" y="73315"/>
                      <a:pt x="98842" y="62184"/>
                    </a:cubicBezTo>
                    <a:lnTo>
                      <a:pt x="147521" y="62184"/>
                    </a:lnTo>
                    <a:cubicBezTo>
                      <a:pt x="147521" y="60848"/>
                      <a:pt x="147521" y="60106"/>
                      <a:pt x="147521" y="59067"/>
                    </a:cubicBezTo>
                    <a:cubicBezTo>
                      <a:pt x="147521" y="40071"/>
                      <a:pt x="134758" y="29237"/>
                      <a:pt x="119323" y="29237"/>
                    </a:cubicBezTo>
                    <a:cubicBezTo>
                      <a:pt x="101217" y="29237"/>
                      <a:pt x="88453" y="42742"/>
                      <a:pt x="88453" y="60106"/>
                    </a:cubicBezTo>
                    <a:moveTo>
                      <a:pt x="71831" y="89788"/>
                    </a:moveTo>
                    <a:lnTo>
                      <a:pt x="71831" y="5491"/>
                    </a:lnTo>
                    <a:lnTo>
                      <a:pt x="60997" y="5491"/>
                    </a:lnTo>
                    <a:lnTo>
                      <a:pt x="60997" y="71089"/>
                    </a:lnTo>
                    <a:lnTo>
                      <a:pt x="9647" y="5491"/>
                    </a:lnTo>
                    <a:lnTo>
                      <a:pt x="0" y="5491"/>
                    </a:lnTo>
                    <a:lnTo>
                      <a:pt x="0" y="89788"/>
                    </a:lnTo>
                    <a:lnTo>
                      <a:pt x="10982" y="89788"/>
                    </a:lnTo>
                    <a:lnTo>
                      <a:pt x="10982" y="24191"/>
                    </a:lnTo>
                    <a:lnTo>
                      <a:pt x="62333" y="89788"/>
                    </a:lnTo>
                    <a:lnTo>
                      <a:pt x="71831" y="89788"/>
                    </a:lnTo>
                    <a:close/>
                  </a:path>
                </a:pathLst>
              </a:custGeom>
              <a:solidFill>
                <a:srgbClr val="FFFFFF"/>
              </a:solidFill>
              <a:ln w="14828" cap="flat">
                <a:noFill/>
                <a:prstDash val="solid"/>
                <a:miter/>
              </a:ln>
            </p:spPr>
            <p:txBody>
              <a:bodyPr rtlCol="0" anchor="ctr"/>
              <a:lstStyle/>
              <a:p>
                <a:endParaRPr lang="en-DK"/>
              </a:p>
            </p:txBody>
          </p:sp>
          <p:sp>
            <p:nvSpPr>
              <p:cNvPr id="190" name="Freeform 189">
                <a:extLst>
                  <a:ext uri="{FF2B5EF4-FFF2-40B4-BE49-F238E27FC236}">
                    <a16:creationId xmlns:a16="http://schemas.microsoft.com/office/drawing/2014/main" id="{89C7989D-0A3F-0F0B-808C-F2A890255C20}"/>
                  </a:ext>
                </a:extLst>
              </p:cNvPr>
              <p:cNvSpPr/>
              <p:nvPr/>
            </p:nvSpPr>
            <p:spPr>
              <a:xfrm>
                <a:off x="2768038" y="4994310"/>
                <a:ext cx="1007122" cy="1007112"/>
              </a:xfrm>
              <a:custGeom>
                <a:avLst/>
                <a:gdLst>
                  <a:gd name="connsiteX0" fmla="*/ 503561 w 1007122"/>
                  <a:gd name="connsiteY0" fmla="*/ 1007112 h 1007112"/>
                  <a:gd name="connsiteX1" fmla="*/ 1007122 w 1007122"/>
                  <a:gd name="connsiteY1" fmla="*/ 503556 h 1007112"/>
                  <a:gd name="connsiteX2" fmla="*/ 503561 w 1007122"/>
                  <a:gd name="connsiteY2" fmla="*/ 0 h 1007112"/>
                  <a:gd name="connsiteX3" fmla="*/ 0 w 1007122"/>
                  <a:gd name="connsiteY3" fmla="*/ 503556 h 1007112"/>
                  <a:gd name="connsiteX4" fmla="*/ 503561 w 1007122"/>
                  <a:gd name="connsiteY4" fmla="*/ 1007112 h 100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122" h="1007112">
                    <a:moveTo>
                      <a:pt x="503561" y="1007112"/>
                    </a:moveTo>
                    <a:cubicBezTo>
                      <a:pt x="781685" y="1007112"/>
                      <a:pt x="1007122" y="781677"/>
                      <a:pt x="1007122" y="503556"/>
                    </a:cubicBezTo>
                    <a:cubicBezTo>
                      <a:pt x="1007122" y="225435"/>
                      <a:pt x="781685" y="0"/>
                      <a:pt x="503561" y="0"/>
                    </a:cubicBezTo>
                    <a:cubicBezTo>
                      <a:pt x="225438" y="0"/>
                      <a:pt x="0" y="225435"/>
                      <a:pt x="0" y="503556"/>
                    </a:cubicBezTo>
                    <a:cubicBezTo>
                      <a:pt x="0" y="781677"/>
                      <a:pt x="225438" y="1007112"/>
                      <a:pt x="503561" y="1007112"/>
                    </a:cubicBezTo>
                  </a:path>
                </a:pathLst>
              </a:custGeom>
              <a:solidFill>
                <a:srgbClr val="001965"/>
              </a:solidFill>
              <a:ln w="14828" cap="flat">
                <a:noFill/>
                <a:prstDash val="solid"/>
                <a:miter/>
              </a:ln>
            </p:spPr>
            <p:txBody>
              <a:bodyPr rtlCol="0" anchor="ctr"/>
              <a:lstStyle/>
              <a:p>
                <a:endParaRPr lang="en-DK"/>
              </a:p>
            </p:txBody>
          </p:sp>
          <p:sp>
            <p:nvSpPr>
              <p:cNvPr id="191" name="Freeform 190">
                <a:extLst>
                  <a:ext uri="{FF2B5EF4-FFF2-40B4-BE49-F238E27FC236}">
                    <a16:creationId xmlns:a16="http://schemas.microsoft.com/office/drawing/2014/main" id="{7E4912AE-0348-B7F8-8D05-C76AA4720DD6}"/>
                  </a:ext>
                </a:extLst>
              </p:cNvPr>
              <p:cNvSpPr/>
              <p:nvPr/>
            </p:nvSpPr>
            <p:spPr>
              <a:xfrm>
                <a:off x="2753197" y="4979469"/>
                <a:ext cx="1036804" cy="1036794"/>
              </a:xfrm>
              <a:custGeom>
                <a:avLst/>
                <a:gdLst>
                  <a:gd name="connsiteX0" fmla="*/ 518402 w 1036804"/>
                  <a:gd name="connsiteY0" fmla="*/ 1021953 h 1036794"/>
                  <a:gd name="connsiteX1" fmla="*/ 518402 w 1036804"/>
                  <a:gd name="connsiteY1" fmla="*/ 1007112 h 1036794"/>
                  <a:gd name="connsiteX2" fmla="*/ 1007122 w 1036804"/>
                  <a:gd name="connsiteY2" fmla="*/ 518397 h 1036794"/>
                  <a:gd name="connsiteX3" fmla="*/ 518402 w 1036804"/>
                  <a:gd name="connsiteY3" fmla="*/ 29682 h 1036794"/>
                  <a:gd name="connsiteX4" fmla="*/ 29682 w 1036804"/>
                  <a:gd name="connsiteY4" fmla="*/ 518397 h 1036794"/>
                  <a:gd name="connsiteX5" fmla="*/ 518402 w 1036804"/>
                  <a:gd name="connsiteY5" fmla="*/ 1007112 h 1036794"/>
                  <a:gd name="connsiteX6" fmla="*/ 518402 w 1036804"/>
                  <a:gd name="connsiteY6" fmla="*/ 1036794 h 1036794"/>
                  <a:gd name="connsiteX7" fmla="*/ 0 w 1036804"/>
                  <a:gd name="connsiteY7" fmla="*/ 518397 h 1036794"/>
                  <a:gd name="connsiteX8" fmla="*/ 518402 w 1036804"/>
                  <a:gd name="connsiteY8" fmla="*/ 0 h 1036794"/>
                  <a:gd name="connsiteX9" fmla="*/ 1036805 w 1036804"/>
                  <a:gd name="connsiteY9" fmla="*/ 518397 h 1036794"/>
                  <a:gd name="connsiteX10" fmla="*/ 518402 w 1036804"/>
                  <a:gd name="connsiteY10" fmla="*/ 1036794 h 1036794"/>
                  <a:gd name="connsiteX11" fmla="*/ 518402 w 1036804"/>
                  <a:gd name="connsiteY11" fmla="*/ 1021953 h 1036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6804" h="1036794">
                    <a:moveTo>
                      <a:pt x="518402" y="1021953"/>
                    </a:moveTo>
                    <a:lnTo>
                      <a:pt x="518402" y="1007112"/>
                    </a:lnTo>
                    <a:cubicBezTo>
                      <a:pt x="788363" y="1006667"/>
                      <a:pt x="1006677" y="788355"/>
                      <a:pt x="1007122" y="518397"/>
                    </a:cubicBezTo>
                    <a:cubicBezTo>
                      <a:pt x="1006677" y="248439"/>
                      <a:pt x="788363" y="30127"/>
                      <a:pt x="518402" y="29682"/>
                    </a:cubicBezTo>
                    <a:cubicBezTo>
                      <a:pt x="248441" y="30127"/>
                      <a:pt x="30128" y="248439"/>
                      <a:pt x="29682" y="518397"/>
                    </a:cubicBezTo>
                    <a:cubicBezTo>
                      <a:pt x="30128" y="788355"/>
                      <a:pt x="248441" y="1006667"/>
                      <a:pt x="518402" y="1007112"/>
                    </a:cubicBezTo>
                    <a:lnTo>
                      <a:pt x="518402" y="1036794"/>
                    </a:lnTo>
                    <a:cubicBezTo>
                      <a:pt x="232116" y="1036794"/>
                      <a:pt x="0" y="804680"/>
                      <a:pt x="0" y="518397"/>
                    </a:cubicBezTo>
                    <a:cubicBezTo>
                      <a:pt x="0" y="232114"/>
                      <a:pt x="232116" y="0"/>
                      <a:pt x="518402" y="0"/>
                    </a:cubicBezTo>
                    <a:cubicBezTo>
                      <a:pt x="804689" y="0"/>
                      <a:pt x="1036805" y="232114"/>
                      <a:pt x="1036805" y="518397"/>
                    </a:cubicBezTo>
                    <a:cubicBezTo>
                      <a:pt x="1036805" y="804680"/>
                      <a:pt x="804689" y="1036794"/>
                      <a:pt x="518402" y="1036794"/>
                    </a:cubicBezTo>
                    <a:lnTo>
                      <a:pt x="518402" y="1021953"/>
                    </a:lnTo>
                    <a:close/>
                  </a:path>
                </a:pathLst>
              </a:custGeom>
              <a:gradFill>
                <a:gsLst>
                  <a:gs pos="0">
                    <a:schemeClr val="accent1"/>
                  </a:gs>
                  <a:gs pos="100000">
                    <a:srgbClr val="E229E2"/>
                  </a:gs>
                </a:gsLst>
                <a:lin ang="0" scaled="1"/>
              </a:gradFill>
              <a:ln w="14828" cap="flat">
                <a:noFill/>
                <a:prstDash val="solid"/>
                <a:miter/>
              </a:ln>
            </p:spPr>
            <p:txBody>
              <a:bodyPr rtlCol="0" anchor="ctr"/>
              <a:lstStyle/>
              <a:p>
                <a:endParaRPr lang="en-DK"/>
              </a:p>
            </p:txBody>
          </p:sp>
          <p:sp>
            <p:nvSpPr>
              <p:cNvPr id="192" name="Freeform 191">
                <a:extLst>
                  <a:ext uri="{FF2B5EF4-FFF2-40B4-BE49-F238E27FC236}">
                    <a16:creationId xmlns:a16="http://schemas.microsoft.com/office/drawing/2014/main" id="{5CEFB038-B3D6-0E4C-32D7-ED0F1E88588C}"/>
                  </a:ext>
                </a:extLst>
              </p:cNvPr>
              <p:cNvSpPr/>
              <p:nvPr/>
            </p:nvSpPr>
            <p:spPr>
              <a:xfrm>
                <a:off x="3061299" y="5291427"/>
                <a:ext cx="66636" cy="333329"/>
              </a:xfrm>
              <a:custGeom>
                <a:avLst/>
                <a:gdLst>
                  <a:gd name="connsiteX0" fmla="*/ 66637 w 66636"/>
                  <a:gd name="connsiteY0" fmla="*/ 33392 h 333329"/>
                  <a:gd name="connsiteX1" fmla="*/ 66637 w 66636"/>
                  <a:gd name="connsiteY1" fmla="*/ 0 h 333329"/>
                  <a:gd name="connsiteX2" fmla="*/ 0 w 66636"/>
                  <a:gd name="connsiteY2" fmla="*/ 0 h 333329"/>
                  <a:gd name="connsiteX3" fmla="*/ 0 w 66636"/>
                  <a:gd name="connsiteY3" fmla="*/ 33392 h 333329"/>
                  <a:gd name="connsiteX4" fmla="*/ 16622 w 66636"/>
                  <a:gd name="connsiteY4" fmla="*/ 33392 h 333329"/>
                  <a:gd name="connsiteX5" fmla="*/ 16622 w 66636"/>
                  <a:gd name="connsiteY5" fmla="*/ 66636 h 333329"/>
                  <a:gd name="connsiteX6" fmla="*/ 0 w 66636"/>
                  <a:gd name="connsiteY6" fmla="*/ 66636 h 333329"/>
                  <a:gd name="connsiteX7" fmla="*/ 0 w 66636"/>
                  <a:gd name="connsiteY7" fmla="*/ 249923 h 333329"/>
                  <a:gd name="connsiteX8" fmla="*/ 16622 w 66636"/>
                  <a:gd name="connsiteY8" fmla="*/ 249923 h 333329"/>
                  <a:gd name="connsiteX9" fmla="*/ 16622 w 66636"/>
                  <a:gd name="connsiteY9" fmla="*/ 333329 h 333329"/>
                  <a:gd name="connsiteX10" fmla="*/ 49866 w 66636"/>
                  <a:gd name="connsiteY10" fmla="*/ 333329 h 333329"/>
                  <a:gd name="connsiteX11" fmla="*/ 49866 w 66636"/>
                  <a:gd name="connsiteY11" fmla="*/ 249923 h 333329"/>
                  <a:gd name="connsiteX12" fmla="*/ 66637 w 66636"/>
                  <a:gd name="connsiteY12" fmla="*/ 249923 h 333329"/>
                  <a:gd name="connsiteX13" fmla="*/ 66637 w 66636"/>
                  <a:gd name="connsiteY13" fmla="*/ 66636 h 333329"/>
                  <a:gd name="connsiteX14" fmla="*/ 49866 w 66636"/>
                  <a:gd name="connsiteY14" fmla="*/ 66636 h 333329"/>
                  <a:gd name="connsiteX15" fmla="*/ 49866 w 66636"/>
                  <a:gd name="connsiteY15" fmla="*/ 33392 h 333329"/>
                  <a:gd name="connsiteX16" fmla="*/ 66637 w 66636"/>
                  <a:gd name="connsiteY16" fmla="*/ 33392 h 333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636" h="333329">
                    <a:moveTo>
                      <a:pt x="66637" y="33392"/>
                    </a:moveTo>
                    <a:lnTo>
                      <a:pt x="66637" y="0"/>
                    </a:lnTo>
                    <a:lnTo>
                      <a:pt x="0" y="0"/>
                    </a:lnTo>
                    <a:lnTo>
                      <a:pt x="0" y="33392"/>
                    </a:lnTo>
                    <a:lnTo>
                      <a:pt x="16622" y="33392"/>
                    </a:lnTo>
                    <a:lnTo>
                      <a:pt x="16622" y="66636"/>
                    </a:lnTo>
                    <a:lnTo>
                      <a:pt x="0" y="66636"/>
                    </a:lnTo>
                    <a:lnTo>
                      <a:pt x="0" y="249923"/>
                    </a:lnTo>
                    <a:lnTo>
                      <a:pt x="16622" y="249923"/>
                    </a:lnTo>
                    <a:lnTo>
                      <a:pt x="16622" y="333329"/>
                    </a:lnTo>
                    <a:lnTo>
                      <a:pt x="49866" y="333329"/>
                    </a:lnTo>
                    <a:lnTo>
                      <a:pt x="49866" y="249923"/>
                    </a:lnTo>
                    <a:lnTo>
                      <a:pt x="66637" y="249923"/>
                    </a:lnTo>
                    <a:lnTo>
                      <a:pt x="66637" y="66636"/>
                    </a:lnTo>
                    <a:lnTo>
                      <a:pt x="49866" y="66636"/>
                    </a:lnTo>
                    <a:lnTo>
                      <a:pt x="49866" y="33392"/>
                    </a:lnTo>
                    <a:lnTo>
                      <a:pt x="66637" y="33392"/>
                    </a:lnTo>
                    <a:close/>
                  </a:path>
                </a:pathLst>
              </a:custGeom>
              <a:solidFill>
                <a:srgbClr val="2978FF">
                  <a:alpha val="50000"/>
                </a:srgbClr>
              </a:solidFill>
              <a:ln w="14828" cap="flat">
                <a:noFill/>
                <a:prstDash val="solid"/>
                <a:miter/>
              </a:ln>
            </p:spPr>
            <p:txBody>
              <a:bodyPr rtlCol="0" anchor="ctr"/>
              <a:lstStyle/>
              <a:p>
                <a:endParaRPr lang="en-DK"/>
              </a:p>
            </p:txBody>
          </p:sp>
          <p:sp>
            <p:nvSpPr>
              <p:cNvPr id="193" name="Freeform 192">
                <a:extLst>
                  <a:ext uri="{FF2B5EF4-FFF2-40B4-BE49-F238E27FC236}">
                    <a16:creationId xmlns:a16="http://schemas.microsoft.com/office/drawing/2014/main" id="{12FE087F-D44E-443A-B307-1119FDD08C6C}"/>
                  </a:ext>
                </a:extLst>
              </p:cNvPr>
              <p:cNvSpPr/>
              <p:nvPr/>
            </p:nvSpPr>
            <p:spPr>
              <a:xfrm>
                <a:off x="3056699" y="5286827"/>
                <a:ext cx="75838" cy="342531"/>
              </a:xfrm>
              <a:custGeom>
                <a:avLst/>
                <a:gdLst>
                  <a:gd name="connsiteX0" fmla="*/ 25824 w 75838"/>
                  <a:gd name="connsiteY0" fmla="*/ 333330 h 342531"/>
                  <a:gd name="connsiteX1" fmla="*/ 50015 w 75838"/>
                  <a:gd name="connsiteY1" fmla="*/ 333330 h 342531"/>
                  <a:gd name="connsiteX2" fmla="*/ 50015 w 75838"/>
                  <a:gd name="connsiteY2" fmla="*/ 254672 h 342531"/>
                  <a:gd name="connsiteX3" fmla="*/ 54615 w 75838"/>
                  <a:gd name="connsiteY3" fmla="*/ 250071 h 342531"/>
                  <a:gd name="connsiteX4" fmla="*/ 66637 w 75838"/>
                  <a:gd name="connsiteY4" fmla="*/ 250071 h 342531"/>
                  <a:gd name="connsiteX5" fmla="*/ 66637 w 75838"/>
                  <a:gd name="connsiteY5" fmla="*/ 75986 h 342531"/>
                  <a:gd name="connsiteX6" fmla="*/ 54615 w 75838"/>
                  <a:gd name="connsiteY6" fmla="*/ 75986 h 342531"/>
                  <a:gd name="connsiteX7" fmla="*/ 50015 w 75838"/>
                  <a:gd name="connsiteY7" fmla="*/ 71386 h 342531"/>
                  <a:gd name="connsiteX8" fmla="*/ 50015 w 75838"/>
                  <a:gd name="connsiteY8" fmla="*/ 37993 h 342531"/>
                  <a:gd name="connsiteX9" fmla="*/ 54615 w 75838"/>
                  <a:gd name="connsiteY9" fmla="*/ 33392 h 342531"/>
                  <a:gd name="connsiteX10" fmla="*/ 66637 w 75838"/>
                  <a:gd name="connsiteY10" fmla="*/ 33392 h 342531"/>
                  <a:gd name="connsiteX11" fmla="*/ 66637 w 75838"/>
                  <a:gd name="connsiteY11" fmla="*/ 9350 h 342531"/>
                  <a:gd name="connsiteX12" fmla="*/ 9201 w 75838"/>
                  <a:gd name="connsiteY12" fmla="*/ 9350 h 342531"/>
                  <a:gd name="connsiteX13" fmla="*/ 9201 w 75838"/>
                  <a:gd name="connsiteY13" fmla="*/ 33392 h 342531"/>
                  <a:gd name="connsiteX14" fmla="*/ 21223 w 75838"/>
                  <a:gd name="connsiteY14" fmla="*/ 33392 h 342531"/>
                  <a:gd name="connsiteX15" fmla="*/ 25824 w 75838"/>
                  <a:gd name="connsiteY15" fmla="*/ 37993 h 342531"/>
                  <a:gd name="connsiteX16" fmla="*/ 25824 w 75838"/>
                  <a:gd name="connsiteY16" fmla="*/ 71386 h 342531"/>
                  <a:gd name="connsiteX17" fmla="*/ 21223 w 75838"/>
                  <a:gd name="connsiteY17" fmla="*/ 75986 h 342531"/>
                  <a:gd name="connsiteX18" fmla="*/ 9201 w 75838"/>
                  <a:gd name="connsiteY18" fmla="*/ 75986 h 342531"/>
                  <a:gd name="connsiteX19" fmla="*/ 9201 w 75838"/>
                  <a:gd name="connsiteY19" fmla="*/ 250071 h 342531"/>
                  <a:gd name="connsiteX20" fmla="*/ 21223 w 75838"/>
                  <a:gd name="connsiteY20" fmla="*/ 250071 h 342531"/>
                  <a:gd name="connsiteX21" fmla="*/ 25824 w 75838"/>
                  <a:gd name="connsiteY21" fmla="*/ 254672 h 342531"/>
                  <a:gd name="connsiteX22" fmla="*/ 25824 w 75838"/>
                  <a:gd name="connsiteY22" fmla="*/ 333330 h 342531"/>
                  <a:gd name="connsiteX23" fmla="*/ 54467 w 75838"/>
                  <a:gd name="connsiteY23" fmla="*/ 342531 h 342531"/>
                  <a:gd name="connsiteX24" fmla="*/ 21223 w 75838"/>
                  <a:gd name="connsiteY24" fmla="*/ 342531 h 342531"/>
                  <a:gd name="connsiteX25" fmla="*/ 16622 w 75838"/>
                  <a:gd name="connsiteY25" fmla="*/ 337930 h 342531"/>
                  <a:gd name="connsiteX26" fmla="*/ 16622 w 75838"/>
                  <a:gd name="connsiteY26" fmla="*/ 259273 h 342531"/>
                  <a:gd name="connsiteX27" fmla="*/ 4601 w 75838"/>
                  <a:gd name="connsiteY27" fmla="*/ 259273 h 342531"/>
                  <a:gd name="connsiteX28" fmla="*/ 0 w 75838"/>
                  <a:gd name="connsiteY28" fmla="*/ 254672 h 342531"/>
                  <a:gd name="connsiteX29" fmla="*/ 0 w 75838"/>
                  <a:gd name="connsiteY29" fmla="*/ 71386 h 342531"/>
                  <a:gd name="connsiteX30" fmla="*/ 4601 w 75838"/>
                  <a:gd name="connsiteY30" fmla="*/ 66785 h 342531"/>
                  <a:gd name="connsiteX31" fmla="*/ 16622 w 75838"/>
                  <a:gd name="connsiteY31" fmla="*/ 66785 h 342531"/>
                  <a:gd name="connsiteX32" fmla="*/ 16622 w 75838"/>
                  <a:gd name="connsiteY32" fmla="*/ 42594 h 342531"/>
                  <a:gd name="connsiteX33" fmla="*/ 4601 w 75838"/>
                  <a:gd name="connsiteY33" fmla="*/ 42594 h 342531"/>
                  <a:gd name="connsiteX34" fmla="*/ 0 w 75838"/>
                  <a:gd name="connsiteY34" fmla="*/ 37993 h 342531"/>
                  <a:gd name="connsiteX35" fmla="*/ 0 w 75838"/>
                  <a:gd name="connsiteY35" fmla="*/ 4601 h 342531"/>
                  <a:gd name="connsiteX36" fmla="*/ 4601 w 75838"/>
                  <a:gd name="connsiteY36" fmla="*/ 0 h 342531"/>
                  <a:gd name="connsiteX37" fmla="*/ 71238 w 75838"/>
                  <a:gd name="connsiteY37" fmla="*/ 0 h 342531"/>
                  <a:gd name="connsiteX38" fmla="*/ 75838 w 75838"/>
                  <a:gd name="connsiteY38" fmla="*/ 4601 h 342531"/>
                  <a:gd name="connsiteX39" fmla="*/ 75838 w 75838"/>
                  <a:gd name="connsiteY39" fmla="*/ 37993 h 342531"/>
                  <a:gd name="connsiteX40" fmla="*/ 71238 w 75838"/>
                  <a:gd name="connsiteY40" fmla="*/ 42594 h 342531"/>
                  <a:gd name="connsiteX41" fmla="*/ 59216 w 75838"/>
                  <a:gd name="connsiteY41" fmla="*/ 42594 h 342531"/>
                  <a:gd name="connsiteX42" fmla="*/ 59216 w 75838"/>
                  <a:gd name="connsiteY42" fmla="*/ 66785 h 342531"/>
                  <a:gd name="connsiteX43" fmla="*/ 71238 w 75838"/>
                  <a:gd name="connsiteY43" fmla="*/ 66785 h 342531"/>
                  <a:gd name="connsiteX44" fmla="*/ 75838 w 75838"/>
                  <a:gd name="connsiteY44" fmla="*/ 71386 h 342531"/>
                  <a:gd name="connsiteX45" fmla="*/ 75838 w 75838"/>
                  <a:gd name="connsiteY45" fmla="*/ 254672 h 342531"/>
                  <a:gd name="connsiteX46" fmla="*/ 71238 w 75838"/>
                  <a:gd name="connsiteY46" fmla="*/ 259273 h 342531"/>
                  <a:gd name="connsiteX47" fmla="*/ 59216 w 75838"/>
                  <a:gd name="connsiteY47" fmla="*/ 259273 h 342531"/>
                  <a:gd name="connsiteX48" fmla="*/ 59216 w 75838"/>
                  <a:gd name="connsiteY48" fmla="*/ 337930 h 342531"/>
                  <a:gd name="connsiteX49" fmla="*/ 54615 w 75838"/>
                  <a:gd name="connsiteY49" fmla="*/ 342531 h 34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5838" h="342531">
                    <a:moveTo>
                      <a:pt x="25824" y="333330"/>
                    </a:moveTo>
                    <a:lnTo>
                      <a:pt x="50015" y="333330"/>
                    </a:lnTo>
                    <a:lnTo>
                      <a:pt x="50015" y="254672"/>
                    </a:lnTo>
                    <a:cubicBezTo>
                      <a:pt x="50015" y="252149"/>
                      <a:pt x="52092" y="250071"/>
                      <a:pt x="54615" y="250071"/>
                    </a:cubicBezTo>
                    <a:lnTo>
                      <a:pt x="66637" y="250071"/>
                    </a:lnTo>
                    <a:lnTo>
                      <a:pt x="66637" y="75986"/>
                    </a:lnTo>
                    <a:lnTo>
                      <a:pt x="54615" y="75986"/>
                    </a:lnTo>
                    <a:cubicBezTo>
                      <a:pt x="52092" y="75986"/>
                      <a:pt x="50015" y="73908"/>
                      <a:pt x="50015" y="71386"/>
                    </a:cubicBezTo>
                    <a:lnTo>
                      <a:pt x="50015" y="37993"/>
                    </a:lnTo>
                    <a:cubicBezTo>
                      <a:pt x="50015" y="35470"/>
                      <a:pt x="52092" y="33392"/>
                      <a:pt x="54615" y="33392"/>
                    </a:cubicBezTo>
                    <a:lnTo>
                      <a:pt x="66637" y="33392"/>
                    </a:lnTo>
                    <a:lnTo>
                      <a:pt x="66637" y="9350"/>
                    </a:lnTo>
                    <a:lnTo>
                      <a:pt x="9201" y="9350"/>
                    </a:lnTo>
                    <a:lnTo>
                      <a:pt x="9201" y="33392"/>
                    </a:lnTo>
                    <a:lnTo>
                      <a:pt x="21223" y="33392"/>
                    </a:lnTo>
                    <a:cubicBezTo>
                      <a:pt x="23746" y="33392"/>
                      <a:pt x="25824" y="35470"/>
                      <a:pt x="25824" y="37993"/>
                    </a:cubicBezTo>
                    <a:lnTo>
                      <a:pt x="25824" y="71386"/>
                    </a:lnTo>
                    <a:cubicBezTo>
                      <a:pt x="25824" y="73908"/>
                      <a:pt x="23746" y="75986"/>
                      <a:pt x="21223" y="75986"/>
                    </a:cubicBezTo>
                    <a:lnTo>
                      <a:pt x="9201" y="75986"/>
                    </a:lnTo>
                    <a:lnTo>
                      <a:pt x="9201" y="250071"/>
                    </a:lnTo>
                    <a:lnTo>
                      <a:pt x="21223" y="250071"/>
                    </a:lnTo>
                    <a:cubicBezTo>
                      <a:pt x="23746" y="250071"/>
                      <a:pt x="25824" y="252149"/>
                      <a:pt x="25824" y="254672"/>
                    </a:cubicBezTo>
                    <a:lnTo>
                      <a:pt x="25824" y="333330"/>
                    </a:lnTo>
                    <a:close/>
                    <a:moveTo>
                      <a:pt x="54467" y="342531"/>
                    </a:moveTo>
                    <a:lnTo>
                      <a:pt x="21223" y="342531"/>
                    </a:lnTo>
                    <a:cubicBezTo>
                      <a:pt x="18700" y="342531"/>
                      <a:pt x="16622" y="340453"/>
                      <a:pt x="16622" y="337930"/>
                    </a:cubicBezTo>
                    <a:lnTo>
                      <a:pt x="16622" y="259273"/>
                    </a:lnTo>
                    <a:lnTo>
                      <a:pt x="4601" y="259273"/>
                    </a:lnTo>
                    <a:cubicBezTo>
                      <a:pt x="2078" y="259273"/>
                      <a:pt x="0" y="257195"/>
                      <a:pt x="0" y="254672"/>
                    </a:cubicBezTo>
                    <a:lnTo>
                      <a:pt x="0" y="71386"/>
                    </a:lnTo>
                    <a:cubicBezTo>
                      <a:pt x="0" y="68862"/>
                      <a:pt x="2078" y="66785"/>
                      <a:pt x="4601" y="66785"/>
                    </a:cubicBezTo>
                    <a:lnTo>
                      <a:pt x="16622" y="66785"/>
                    </a:lnTo>
                    <a:lnTo>
                      <a:pt x="16622" y="42594"/>
                    </a:lnTo>
                    <a:lnTo>
                      <a:pt x="4601" y="42594"/>
                    </a:lnTo>
                    <a:cubicBezTo>
                      <a:pt x="2078" y="42594"/>
                      <a:pt x="0" y="40516"/>
                      <a:pt x="0" y="37993"/>
                    </a:cubicBezTo>
                    <a:lnTo>
                      <a:pt x="0" y="4601"/>
                    </a:lnTo>
                    <a:cubicBezTo>
                      <a:pt x="0" y="2078"/>
                      <a:pt x="2078" y="0"/>
                      <a:pt x="4601" y="0"/>
                    </a:cubicBezTo>
                    <a:lnTo>
                      <a:pt x="71238" y="0"/>
                    </a:lnTo>
                    <a:cubicBezTo>
                      <a:pt x="73761" y="0"/>
                      <a:pt x="75838" y="2078"/>
                      <a:pt x="75838" y="4601"/>
                    </a:cubicBezTo>
                    <a:lnTo>
                      <a:pt x="75838" y="37993"/>
                    </a:lnTo>
                    <a:cubicBezTo>
                      <a:pt x="75838" y="40516"/>
                      <a:pt x="73761" y="42594"/>
                      <a:pt x="71238" y="42594"/>
                    </a:cubicBezTo>
                    <a:lnTo>
                      <a:pt x="59216" y="42594"/>
                    </a:lnTo>
                    <a:lnTo>
                      <a:pt x="59216" y="66785"/>
                    </a:lnTo>
                    <a:lnTo>
                      <a:pt x="71238" y="66785"/>
                    </a:lnTo>
                    <a:cubicBezTo>
                      <a:pt x="73761" y="66785"/>
                      <a:pt x="75838" y="68862"/>
                      <a:pt x="75838" y="71386"/>
                    </a:cubicBezTo>
                    <a:lnTo>
                      <a:pt x="75838" y="254672"/>
                    </a:lnTo>
                    <a:cubicBezTo>
                      <a:pt x="75838" y="257195"/>
                      <a:pt x="73761" y="259273"/>
                      <a:pt x="71238" y="259273"/>
                    </a:cubicBezTo>
                    <a:lnTo>
                      <a:pt x="59216" y="259273"/>
                    </a:lnTo>
                    <a:lnTo>
                      <a:pt x="59216" y="337930"/>
                    </a:lnTo>
                    <a:cubicBezTo>
                      <a:pt x="59216" y="340453"/>
                      <a:pt x="57139" y="342531"/>
                      <a:pt x="54615" y="342531"/>
                    </a:cubicBezTo>
                  </a:path>
                </a:pathLst>
              </a:custGeom>
              <a:solidFill>
                <a:srgbClr val="FFFFFF"/>
              </a:solidFill>
              <a:ln w="14828" cap="flat">
                <a:noFill/>
                <a:prstDash val="solid"/>
                <a:miter/>
              </a:ln>
            </p:spPr>
            <p:txBody>
              <a:bodyPr rtlCol="0" anchor="ctr"/>
              <a:lstStyle/>
              <a:p>
                <a:endParaRPr lang="en-DK"/>
              </a:p>
            </p:txBody>
          </p:sp>
          <p:sp>
            <p:nvSpPr>
              <p:cNvPr id="194" name="Freeform 193">
                <a:extLst>
                  <a:ext uri="{FF2B5EF4-FFF2-40B4-BE49-F238E27FC236}">
                    <a16:creationId xmlns:a16="http://schemas.microsoft.com/office/drawing/2014/main" id="{CD3DCE31-C964-BA3A-4138-399345A85D23}"/>
                  </a:ext>
                </a:extLst>
              </p:cNvPr>
              <p:cNvSpPr/>
              <p:nvPr/>
            </p:nvSpPr>
            <p:spPr>
              <a:xfrm>
                <a:off x="3023306" y="5653400"/>
                <a:ext cx="159097" cy="9201"/>
              </a:xfrm>
              <a:custGeom>
                <a:avLst/>
                <a:gdLst>
                  <a:gd name="connsiteX0" fmla="*/ 154497 w 159097"/>
                  <a:gd name="connsiteY0" fmla="*/ 9201 h 9201"/>
                  <a:gd name="connsiteX1" fmla="*/ 4601 w 159097"/>
                  <a:gd name="connsiteY1" fmla="*/ 9201 h 9201"/>
                  <a:gd name="connsiteX2" fmla="*/ 0 w 159097"/>
                  <a:gd name="connsiteY2" fmla="*/ 4601 h 9201"/>
                  <a:gd name="connsiteX3" fmla="*/ 4601 w 159097"/>
                  <a:gd name="connsiteY3" fmla="*/ 0 h 9201"/>
                  <a:gd name="connsiteX4" fmla="*/ 154497 w 159097"/>
                  <a:gd name="connsiteY4" fmla="*/ 0 h 9201"/>
                  <a:gd name="connsiteX5" fmla="*/ 159097 w 159097"/>
                  <a:gd name="connsiteY5" fmla="*/ 4601 h 9201"/>
                  <a:gd name="connsiteX6" fmla="*/ 154497 w 159097"/>
                  <a:gd name="connsiteY6" fmla="*/ 9201 h 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097" h="9201">
                    <a:moveTo>
                      <a:pt x="154497" y="9201"/>
                    </a:moveTo>
                    <a:lnTo>
                      <a:pt x="4601" y="9201"/>
                    </a:lnTo>
                    <a:cubicBezTo>
                      <a:pt x="2078" y="9201"/>
                      <a:pt x="0" y="7124"/>
                      <a:pt x="0" y="4601"/>
                    </a:cubicBezTo>
                    <a:cubicBezTo>
                      <a:pt x="0" y="2078"/>
                      <a:pt x="2078" y="0"/>
                      <a:pt x="4601" y="0"/>
                    </a:cubicBezTo>
                    <a:lnTo>
                      <a:pt x="154497" y="0"/>
                    </a:lnTo>
                    <a:cubicBezTo>
                      <a:pt x="157020" y="0"/>
                      <a:pt x="159097" y="2078"/>
                      <a:pt x="159097" y="4601"/>
                    </a:cubicBezTo>
                    <a:cubicBezTo>
                      <a:pt x="159097" y="7124"/>
                      <a:pt x="157020" y="9201"/>
                      <a:pt x="154497" y="9201"/>
                    </a:cubicBezTo>
                  </a:path>
                </a:pathLst>
              </a:custGeom>
              <a:solidFill>
                <a:srgbClr val="FFFFFF"/>
              </a:solidFill>
              <a:ln w="14828" cap="flat">
                <a:noFill/>
                <a:prstDash val="solid"/>
                <a:miter/>
              </a:ln>
            </p:spPr>
            <p:txBody>
              <a:bodyPr rtlCol="0" anchor="ctr"/>
              <a:lstStyle/>
              <a:p>
                <a:endParaRPr lang="en-DK"/>
              </a:p>
            </p:txBody>
          </p:sp>
          <p:sp>
            <p:nvSpPr>
              <p:cNvPr id="195" name="Freeform 194">
                <a:extLst>
                  <a:ext uri="{FF2B5EF4-FFF2-40B4-BE49-F238E27FC236}">
                    <a16:creationId xmlns:a16="http://schemas.microsoft.com/office/drawing/2014/main" id="{D9A0CD4A-607E-B60F-A421-26E13008342E}"/>
                  </a:ext>
                </a:extLst>
              </p:cNvPr>
              <p:cNvSpPr/>
              <p:nvPr/>
            </p:nvSpPr>
            <p:spPr>
              <a:xfrm>
                <a:off x="3061151" y="5708015"/>
                <a:ext cx="66636" cy="33243"/>
              </a:xfrm>
              <a:custGeom>
                <a:avLst/>
                <a:gdLst>
                  <a:gd name="connsiteX0" fmla="*/ 0 w 66636"/>
                  <a:gd name="connsiteY0" fmla="*/ 0 h 33243"/>
                  <a:gd name="connsiteX1" fmla="*/ 66637 w 66636"/>
                  <a:gd name="connsiteY1" fmla="*/ 0 h 33243"/>
                  <a:gd name="connsiteX2" fmla="*/ 66637 w 66636"/>
                  <a:gd name="connsiteY2" fmla="*/ 33244 h 33243"/>
                  <a:gd name="connsiteX3" fmla="*/ 0 w 66636"/>
                  <a:gd name="connsiteY3" fmla="*/ 33244 h 33243"/>
                </a:gdLst>
                <a:ahLst/>
                <a:cxnLst>
                  <a:cxn ang="0">
                    <a:pos x="connsiteX0" y="connsiteY0"/>
                  </a:cxn>
                  <a:cxn ang="0">
                    <a:pos x="connsiteX1" y="connsiteY1"/>
                  </a:cxn>
                  <a:cxn ang="0">
                    <a:pos x="connsiteX2" y="connsiteY2"/>
                  </a:cxn>
                  <a:cxn ang="0">
                    <a:pos x="connsiteX3" y="connsiteY3"/>
                  </a:cxn>
                </a:cxnLst>
                <a:rect l="l" t="t" r="r" b="b"/>
                <a:pathLst>
                  <a:path w="66636" h="33243">
                    <a:moveTo>
                      <a:pt x="0" y="0"/>
                    </a:moveTo>
                    <a:lnTo>
                      <a:pt x="66637" y="0"/>
                    </a:lnTo>
                    <a:lnTo>
                      <a:pt x="66637" y="33244"/>
                    </a:lnTo>
                    <a:lnTo>
                      <a:pt x="0" y="33244"/>
                    </a:lnTo>
                    <a:close/>
                  </a:path>
                </a:pathLst>
              </a:custGeom>
              <a:solidFill>
                <a:srgbClr val="2978FF">
                  <a:alpha val="50000"/>
                </a:srgbClr>
              </a:solidFill>
              <a:ln w="14828" cap="flat">
                <a:noFill/>
                <a:prstDash val="solid"/>
                <a:miter/>
              </a:ln>
            </p:spPr>
            <p:txBody>
              <a:bodyPr rtlCol="0" anchor="ctr"/>
              <a:lstStyle/>
              <a:p>
                <a:endParaRPr lang="en-DK"/>
              </a:p>
            </p:txBody>
          </p:sp>
          <p:sp>
            <p:nvSpPr>
              <p:cNvPr id="196" name="Freeform 195">
                <a:extLst>
                  <a:ext uri="{FF2B5EF4-FFF2-40B4-BE49-F238E27FC236}">
                    <a16:creationId xmlns:a16="http://schemas.microsoft.com/office/drawing/2014/main" id="{65124498-F9A1-DFDF-CB53-4F18A3329B6B}"/>
                  </a:ext>
                </a:extLst>
              </p:cNvPr>
              <p:cNvSpPr/>
              <p:nvPr/>
            </p:nvSpPr>
            <p:spPr>
              <a:xfrm>
                <a:off x="3056699" y="5703414"/>
                <a:ext cx="75838" cy="42445"/>
              </a:xfrm>
              <a:custGeom>
                <a:avLst/>
                <a:gdLst>
                  <a:gd name="connsiteX0" fmla="*/ 9053 w 75838"/>
                  <a:gd name="connsiteY0" fmla="*/ 33244 h 42445"/>
                  <a:gd name="connsiteX1" fmla="*/ 66488 w 75838"/>
                  <a:gd name="connsiteY1" fmla="*/ 33244 h 42445"/>
                  <a:gd name="connsiteX2" fmla="*/ 66488 w 75838"/>
                  <a:gd name="connsiteY2" fmla="*/ 9201 h 42445"/>
                  <a:gd name="connsiteX3" fmla="*/ 9053 w 75838"/>
                  <a:gd name="connsiteY3" fmla="*/ 9201 h 42445"/>
                  <a:gd name="connsiteX4" fmla="*/ 9053 w 75838"/>
                  <a:gd name="connsiteY4" fmla="*/ 33244 h 42445"/>
                  <a:gd name="connsiteX5" fmla="*/ 71238 w 75838"/>
                  <a:gd name="connsiteY5" fmla="*/ 42445 h 42445"/>
                  <a:gd name="connsiteX6" fmla="*/ 4601 w 75838"/>
                  <a:gd name="connsiteY6" fmla="*/ 42445 h 42445"/>
                  <a:gd name="connsiteX7" fmla="*/ 0 w 75838"/>
                  <a:gd name="connsiteY7" fmla="*/ 37845 h 42445"/>
                  <a:gd name="connsiteX8" fmla="*/ 0 w 75838"/>
                  <a:gd name="connsiteY8" fmla="*/ 4601 h 42445"/>
                  <a:gd name="connsiteX9" fmla="*/ 4601 w 75838"/>
                  <a:gd name="connsiteY9" fmla="*/ 0 h 42445"/>
                  <a:gd name="connsiteX10" fmla="*/ 71238 w 75838"/>
                  <a:gd name="connsiteY10" fmla="*/ 0 h 42445"/>
                  <a:gd name="connsiteX11" fmla="*/ 75838 w 75838"/>
                  <a:gd name="connsiteY11" fmla="*/ 4601 h 42445"/>
                  <a:gd name="connsiteX12" fmla="*/ 75838 w 75838"/>
                  <a:gd name="connsiteY12" fmla="*/ 37845 h 42445"/>
                  <a:gd name="connsiteX13" fmla="*/ 71238 w 75838"/>
                  <a:gd name="connsiteY13" fmla="*/ 42445 h 4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838" h="42445">
                    <a:moveTo>
                      <a:pt x="9053" y="33244"/>
                    </a:moveTo>
                    <a:lnTo>
                      <a:pt x="66488" y="33244"/>
                    </a:lnTo>
                    <a:lnTo>
                      <a:pt x="66488" y="9201"/>
                    </a:lnTo>
                    <a:lnTo>
                      <a:pt x="9053" y="9201"/>
                    </a:lnTo>
                    <a:lnTo>
                      <a:pt x="9053" y="33244"/>
                    </a:lnTo>
                    <a:close/>
                    <a:moveTo>
                      <a:pt x="71238" y="42445"/>
                    </a:moveTo>
                    <a:lnTo>
                      <a:pt x="4601" y="42445"/>
                    </a:lnTo>
                    <a:cubicBezTo>
                      <a:pt x="2078" y="42445"/>
                      <a:pt x="0" y="40368"/>
                      <a:pt x="0" y="37845"/>
                    </a:cubicBezTo>
                    <a:lnTo>
                      <a:pt x="0" y="4601"/>
                    </a:lnTo>
                    <a:cubicBezTo>
                      <a:pt x="0" y="2078"/>
                      <a:pt x="2078" y="0"/>
                      <a:pt x="4601" y="0"/>
                    </a:cubicBezTo>
                    <a:lnTo>
                      <a:pt x="71238" y="0"/>
                    </a:lnTo>
                    <a:cubicBezTo>
                      <a:pt x="73761" y="0"/>
                      <a:pt x="75838" y="2078"/>
                      <a:pt x="75838" y="4601"/>
                    </a:cubicBezTo>
                    <a:lnTo>
                      <a:pt x="75838" y="37845"/>
                    </a:lnTo>
                    <a:cubicBezTo>
                      <a:pt x="75838" y="40368"/>
                      <a:pt x="73761" y="42445"/>
                      <a:pt x="71238" y="42445"/>
                    </a:cubicBezTo>
                  </a:path>
                </a:pathLst>
              </a:custGeom>
              <a:solidFill>
                <a:srgbClr val="FFFFFF"/>
              </a:solidFill>
              <a:ln w="14828" cap="flat">
                <a:noFill/>
                <a:prstDash val="solid"/>
                <a:miter/>
              </a:ln>
            </p:spPr>
            <p:txBody>
              <a:bodyPr rtlCol="0" anchor="ctr"/>
              <a:lstStyle/>
              <a:p>
                <a:endParaRPr lang="en-DK"/>
              </a:p>
            </p:txBody>
          </p:sp>
          <p:sp>
            <p:nvSpPr>
              <p:cNvPr id="197" name="Freeform 196">
                <a:extLst>
                  <a:ext uri="{FF2B5EF4-FFF2-40B4-BE49-F238E27FC236}">
                    <a16:creationId xmlns:a16="http://schemas.microsoft.com/office/drawing/2014/main" id="{4CEB2A00-881A-9AEA-2128-C52D6F017E3B}"/>
                  </a:ext>
                </a:extLst>
              </p:cNvPr>
              <p:cNvSpPr/>
              <p:nvPr/>
            </p:nvSpPr>
            <p:spPr>
              <a:xfrm>
                <a:off x="3144410" y="5358064"/>
                <a:ext cx="83407" cy="83406"/>
              </a:xfrm>
              <a:custGeom>
                <a:avLst/>
                <a:gdLst>
                  <a:gd name="connsiteX0" fmla="*/ 83407 w 83407"/>
                  <a:gd name="connsiteY0" fmla="*/ 41703 h 83406"/>
                  <a:gd name="connsiteX1" fmla="*/ 41704 w 83407"/>
                  <a:gd name="connsiteY1" fmla="*/ 0 h 83406"/>
                  <a:gd name="connsiteX2" fmla="*/ 0 w 83407"/>
                  <a:gd name="connsiteY2" fmla="*/ 41703 h 83406"/>
                  <a:gd name="connsiteX3" fmla="*/ 41704 w 83407"/>
                  <a:gd name="connsiteY3" fmla="*/ 83407 h 83406"/>
                  <a:gd name="connsiteX4" fmla="*/ 83407 w 83407"/>
                  <a:gd name="connsiteY4" fmla="*/ 41703 h 83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07" h="83406">
                    <a:moveTo>
                      <a:pt x="83407" y="41703"/>
                    </a:moveTo>
                    <a:cubicBezTo>
                      <a:pt x="83407" y="18700"/>
                      <a:pt x="64708" y="0"/>
                      <a:pt x="41704" y="0"/>
                    </a:cubicBezTo>
                    <a:cubicBezTo>
                      <a:pt x="18700" y="0"/>
                      <a:pt x="0" y="18700"/>
                      <a:pt x="0" y="41703"/>
                    </a:cubicBezTo>
                    <a:cubicBezTo>
                      <a:pt x="0" y="64707"/>
                      <a:pt x="18700" y="83407"/>
                      <a:pt x="41704" y="83407"/>
                    </a:cubicBezTo>
                    <a:cubicBezTo>
                      <a:pt x="64708" y="83407"/>
                      <a:pt x="83407" y="64707"/>
                      <a:pt x="83407" y="41703"/>
                    </a:cubicBezTo>
                  </a:path>
                </a:pathLst>
              </a:custGeom>
              <a:solidFill>
                <a:srgbClr val="2978FF">
                  <a:alpha val="50000"/>
                </a:srgbClr>
              </a:solidFill>
              <a:ln w="14828" cap="flat">
                <a:noFill/>
                <a:prstDash val="solid"/>
                <a:miter/>
              </a:ln>
            </p:spPr>
            <p:txBody>
              <a:bodyPr rtlCol="0" anchor="ctr"/>
              <a:lstStyle/>
              <a:p>
                <a:endParaRPr lang="en-DK"/>
              </a:p>
            </p:txBody>
          </p:sp>
          <p:sp>
            <p:nvSpPr>
              <p:cNvPr id="198" name="Freeform 197">
                <a:extLst>
                  <a:ext uri="{FF2B5EF4-FFF2-40B4-BE49-F238E27FC236}">
                    <a16:creationId xmlns:a16="http://schemas.microsoft.com/office/drawing/2014/main" id="{232425A1-5D64-32A5-16DB-CDF493A553D9}"/>
                  </a:ext>
                </a:extLst>
              </p:cNvPr>
              <p:cNvSpPr/>
              <p:nvPr/>
            </p:nvSpPr>
            <p:spPr>
              <a:xfrm>
                <a:off x="3139809" y="5353463"/>
                <a:ext cx="92608" cy="92608"/>
              </a:xfrm>
              <a:custGeom>
                <a:avLst/>
                <a:gdLst>
                  <a:gd name="connsiteX0" fmla="*/ 46304 w 92608"/>
                  <a:gd name="connsiteY0" fmla="*/ 9201 h 92608"/>
                  <a:gd name="connsiteX1" fmla="*/ 9201 w 92608"/>
                  <a:gd name="connsiteY1" fmla="*/ 46304 h 92608"/>
                  <a:gd name="connsiteX2" fmla="*/ 46304 w 92608"/>
                  <a:gd name="connsiteY2" fmla="*/ 83407 h 92608"/>
                  <a:gd name="connsiteX3" fmla="*/ 83407 w 92608"/>
                  <a:gd name="connsiteY3" fmla="*/ 46304 h 92608"/>
                  <a:gd name="connsiteX4" fmla="*/ 46304 w 92608"/>
                  <a:gd name="connsiteY4" fmla="*/ 9201 h 92608"/>
                  <a:gd name="connsiteX5" fmla="*/ 46304 w 92608"/>
                  <a:gd name="connsiteY5" fmla="*/ 92608 h 92608"/>
                  <a:gd name="connsiteX6" fmla="*/ 0 w 92608"/>
                  <a:gd name="connsiteY6" fmla="*/ 46304 h 92608"/>
                  <a:gd name="connsiteX7" fmla="*/ 46304 w 92608"/>
                  <a:gd name="connsiteY7" fmla="*/ 0 h 92608"/>
                  <a:gd name="connsiteX8" fmla="*/ 92609 w 92608"/>
                  <a:gd name="connsiteY8" fmla="*/ 46304 h 92608"/>
                  <a:gd name="connsiteX9" fmla="*/ 46304 w 92608"/>
                  <a:gd name="connsiteY9" fmla="*/ 92608 h 9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08" h="92608">
                    <a:moveTo>
                      <a:pt x="46304" y="9201"/>
                    </a:moveTo>
                    <a:cubicBezTo>
                      <a:pt x="25824" y="9201"/>
                      <a:pt x="9201" y="25823"/>
                      <a:pt x="9201" y="46304"/>
                    </a:cubicBezTo>
                    <a:cubicBezTo>
                      <a:pt x="9201" y="66785"/>
                      <a:pt x="25824" y="83407"/>
                      <a:pt x="46304" y="83407"/>
                    </a:cubicBezTo>
                    <a:cubicBezTo>
                      <a:pt x="66785" y="83407"/>
                      <a:pt x="83407" y="66785"/>
                      <a:pt x="83407" y="46304"/>
                    </a:cubicBezTo>
                    <a:cubicBezTo>
                      <a:pt x="83407" y="25823"/>
                      <a:pt x="66785" y="9201"/>
                      <a:pt x="46304" y="9201"/>
                    </a:cubicBezTo>
                    <a:moveTo>
                      <a:pt x="46304" y="92608"/>
                    </a:moveTo>
                    <a:cubicBezTo>
                      <a:pt x="20778" y="92608"/>
                      <a:pt x="0" y="71831"/>
                      <a:pt x="0" y="46304"/>
                    </a:cubicBezTo>
                    <a:cubicBezTo>
                      <a:pt x="0" y="20777"/>
                      <a:pt x="20778" y="0"/>
                      <a:pt x="46304" y="0"/>
                    </a:cubicBezTo>
                    <a:cubicBezTo>
                      <a:pt x="71831" y="0"/>
                      <a:pt x="92609" y="20777"/>
                      <a:pt x="92609" y="46304"/>
                    </a:cubicBezTo>
                    <a:cubicBezTo>
                      <a:pt x="92609" y="71831"/>
                      <a:pt x="71831" y="92608"/>
                      <a:pt x="46304" y="92608"/>
                    </a:cubicBezTo>
                  </a:path>
                </a:pathLst>
              </a:custGeom>
              <a:solidFill>
                <a:srgbClr val="FFFFFF"/>
              </a:solidFill>
              <a:ln w="14828" cap="flat">
                <a:noFill/>
                <a:prstDash val="solid"/>
                <a:miter/>
              </a:ln>
            </p:spPr>
            <p:txBody>
              <a:bodyPr rtlCol="0" anchor="ctr"/>
              <a:lstStyle/>
              <a:p>
                <a:endParaRPr lang="en-DK"/>
              </a:p>
            </p:txBody>
          </p:sp>
          <p:sp>
            <p:nvSpPr>
              <p:cNvPr id="199" name="Freeform 198">
                <a:extLst>
                  <a:ext uri="{FF2B5EF4-FFF2-40B4-BE49-F238E27FC236}">
                    <a16:creationId xmlns:a16="http://schemas.microsoft.com/office/drawing/2014/main" id="{88BDA2A3-3DF8-A798-0649-DCC545DFBA47}"/>
                  </a:ext>
                </a:extLst>
              </p:cNvPr>
              <p:cNvSpPr/>
              <p:nvPr/>
            </p:nvSpPr>
            <p:spPr>
              <a:xfrm>
                <a:off x="2989913" y="5372094"/>
                <a:ext cx="392400" cy="407157"/>
              </a:xfrm>
              <a:custGeom>
                <a:avLst/>
                <a:gdLst>
                  <a:gd name="connsiteX0" fmla="*/ 387800 w 392400"/>
                  <a:gd name="connsiteY0" fmla="*/ 407158 h 407157"/>
                  <a:gd name="connsiteX1" fmla="*/ 4601 w 392400"/>
                  <a:gd name="connsiteY1" fmla="*/ 407158 h 407157"/>
                  <a:gd name="connsiteX2" fmla="*/ 0 w 392400"/>
                  <a:gd name="connsiteY2" fmla="*/ 402557 h 407157"/>
                  <a:gd name="connsiteX3" fmla="*/ 0 w 392400"/>
                  <a:gd name="connsiteY3" fmla="*/ 385935 h 407157"/>
                  <a:gd name="connsiteX4" fmla="*/ 21223 w 392400"/>
                  <a:gd name="connsiteY4" fmla="*/ 364713 h 407157"/>
                  <a:gd name="connsiteX5" fmla="*/ 199911 w 392400"/>
                  <a:gd name="connsiteY5" fmla="*/ 364713 h 407157"/>
                  <a:gd name="connsiteX6" fmla="*/ 199911 w 392400"/>
                  <a:gd name="connsiteY6" fmla="*/ 319299 h 407157"/>
                  <a:gd name="connsiteX7" fmla="*/ 204511 w 392400"/>
                  <a:gd name="connsiteY7" fmla="*/ 314698 h 407157"/>
                  <a:gd name="connsiteX8" fmla="*/ 333184 w 392400"/>
                  <a:gd name="connsiteY8" fmla="*/ 186026 h 407157"/>
                  <a:gd name="connsiteX9" fmla="*/ 227070 w 392400"/>
                  <a:gd name="connsiteY9" fmla="*/ 59284 h 407157"/>
                  <a:gd name="connsiteX10" fmla="*/ 223360 w 392400"/>
                  <a:gd name="connsiteY10" fmla="*/ 53941 h 407157"/>
                  <a:gd name="connsiteX11" fmla="*/ 228703 w 392400"/>
                  <a:gd name="connsiteY11" fmla="*/ 50231 h 407157"/>
                  <a:gd name="connsiteX12" fmla="*/ 342386 w 392400"/>
                  <a:gd name="connsiteY12" fmla="*/ 186026 h 407157"/>
                  <a:gd name="connsiteX13" fmla="*/ 209112 w 392400"/>
                  <a:gd name="connsiteY13" fmla="*/ 323751 h 407157"/>
                  <a:gd name="connsiteX14" fmla="*/ 209112 w 392400"/>
                  <a:gd name="connsiteY14" fmla="*/ 369165 h 407157"/>
                  <a:gd name="connsiteX15" fmla="*/ 204511 w 392400"/>
                  <a:gd name="connsiteY15" fmla="*/ 373766 h 407157"/>
                  <a:gd name="connsiteX16" fmla="*/ 21223 w 392400"/>
                  <a:gd name="connsiteY16" fmla="*/ 373766 h 407157"/>
                  <a:gd name="connsiteX17" fmla="*/ 9201 w 392400"/>
                  <a:gd name="connsiteY17" fmla="*/ 385787 h 407157"/>
                  <a:gd name="connsiteX18" fmla="*/ 9201 w 392400"/>
                  <a:gd name="connsiteY18" fmla="*/ 397808 h 407157"/>
                  <a:gd name="connsiteX19" fmla="*/ 383199 w 392400"/>
                  <a:gd name="connsiteY19" fmla="*/ 397808 h 407157"/>
                  <a:gd name="connsiteX20" fmla="*/ 383199 w 392400"/>
                  <a:gd name="connsiteY20" fmla="*/ 385787 h 407157"/>
                  <a:gd name="connsiteX21" fmla="*/ 371178 w 392400"/>
                  <a:gd name="connsiteY21" fmla="*/ 373766 h 407157"/>
                  <a:gd name="connsiteX22" fmla="*/ 329474 w 392400"/>
                  <a:gd name="connsiteY22" fmla="*/ 373766 h 407157"/>
                  <a:gd name="connsiteX23" fmla="*/ 324873 w 392400"/>
                  <a:gd name="connsiteY23" fmla="*/ 369165 h 407157"/>
                  <a:gd name="connsiteX24" fmla="*/ 324873 w 392400"/>
                  <a:gd name="connsiteY24" fmla="*/ 319744 h 407157"/>
                  <a:gd name="connsiteX25" fmla="*/ 326358 w 392400"/>
                  <a:gd name="connsiteY25" fmla="*/ 316331 h 407157"/>
                  <a:gd name="connsiteX26" fmla="*/ 383199 w 392400"/>
                  <a:gd name="connsiteY26" fmla="*/ 185878 h 407157"/>
                  <a:gd name="connsiteX27" fmla="*/ 230187 w 392400"/>
                  <a:gd name="connsiteY27" fmla="*/ 9121 h 407157"/>
                  <a:gd name="connsiteX28" fmla="*/ 226328 w 392400"/>
                  <a:gd name="connsiteY28" fmla="*/ 3927 h 407157"/>
                  <a:gd name="connsiteX29" fmla="*/ 231522 w 392400"/>
                  <a:gd name="connsiteY29" fmla="*/ 68 h 407157"/>
                  <a:gd name="connsiteX30" fmla="*/ 392401 w 392400"/>
                  <a:gd name="connsiteY30" fmla="*/ 186026 h 407157"/>
                  <a:gd name="connsiteX31" fmla="*/ 334075 w 392400"/>
                  <a:gd name="connsiteY31" fmla="*/ 321822 h 407157"/>
                  <a:gd name="connsiteX32" fmla="*/ 334075 w 392400"/>
                  <a:gd name="connsiteY32" fmla="*/ 364713 h 407157"/>
                  <a:gd name="connsiteX33" fmla="*/ 371178 w 392400"/>
                  <a:gd name="connsiteY33" fmla="*/ 364713 h 407157"/>
                  <a:gd name="connsiteX34" fmla="*/ 392401 w 392400"/>
                  <a:gd name="connsiteY34" fmla="*/ 385935 h 407157"/>
                  <a:gd name="connsiteX35" fmla="*/ 392401 w 392400"/>
                  <a:gd name="connsiteY35" fmla="*/ 402557 h 407157"/>
                  <a:gd name="connsiteX36" fmla="*/ 387800 w 392400"/>
                  <a:gd name="connsiteY36" fmla="*/ 407158 h 407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92400" h="407157">
                    <a:moveTo>
                      <a:pt x="387800" y="407158"/>
                    </a:moveTo>
                    <a:lnTo>
                      <a:pt x="4601" y="407158"/>
                    </a:lnTo>
                    <a:cubicBezTo>
                      <a:pt x="2078" y="407158"/>
                      <a:pt x="0" y="405080"/>
                      <a:pt x="0" y="402557"/>
                    </a:cubicBezTo>
                    <a:lnTo>
                      <a:pt x="0" y="385935"/>
                    </a:lnTo>
                    <a:cubicBezTo>
                      <a:pt x="0" y="374211"/>
                      <a:pt x="9498" y="364713"/>
                      <a:pt x="21223" y="364713"/>
                    </a:cubicBezTo>
                    <a:lnTo>
                      <a:pt x="199911" y="364713"/>
                    </a:lnTo>
                    <a:lnTo>
                      <a:pt x="199911" y="319299"/>
                    </a:lnTo>
                    <a:cubicBezTo>
                      <a:pt x="199911" y="316776"/>
                      <a:pt x="201988" y="314698"/>
                      <a:pt x="204511" y="314698"/>
                    </a:cubicBezTo>
                    <a:cubicBezTo>
                      <a:pt x="275452" y="314698"/>
                      <a:pt x="333184" y="256967"/>
                      <a:pt x="333184" y="186026"/>
                    </a:cubicBezTo>
                    <a:cubicBezTo>
                      <a:pt x="333184" y="123397"/>
                      <a:pt x="288513" y="70267"/>
                      <a:pt x="227070" y="59284"/>
                    </a:cubicBezTo>
                    <a:cubicBezTo>
                      <a:pt x="224547" y="58839"/>
                      <a:pt x="222915" y="56464"/>
                      <a:pt x="223360" y="53941"/>
                    </a:cubicBezTo>
                    <a:cubicBezTo>
                      <a:pt x="223805" y="51418"/>
                      <a:pt x="226180" y="49786"/>
                      <a:pt x="228703" y="50231"/>
                    </a:cubicBezTo>
                    <a:cubicBezTo>
                      <a:pt x="294597" y="61807"/>
                      <a:pt x="342386" y="118945"/>
                      <a:pt x="342386" y="186026"/>
                    </a:cubicBezTo>
                    <a:cubicBezTo>
                      <a:pt x="342386" y="260528"/>
                      <a:pt x="283021" y="321377"/>
                      <a:pt x="209112" y="323751"/>
                    </a:cubicBezTo>
                    <a:lnTo>
                      <a:pt x="209112" y="369165"/>
                    </a:lnTo>
                    <a:cubicBezTo>
                      <a:pt x="209112" y="371688"/>
                      <a:pt x="207034" y="373766"/>
                      <a:pt x="204511" y="373766"/>
                    </a:cubicBezTo>
                    <a:lnTo>
                      <a:pt x="21223" y="373766"/>
                    </a:lnTo>
                    <a:cubicBezTo>
                      <a:pt x="14544" y="373766"/>
                      <a:pt x="9201" y="379108"/>
                      <a:pt x="9201" y="385787"/>
                    </a:cubicBezTo>
                    <a:lnTo>
                      <a:pt x="9201" y="397808"/>
                    </a:lnTo>
                    <a:lnTo>
                      <a:pt x="383199" y="397808"/>
                    </a:lnTo>
                    <a:lnTo>
                      <a:pt x="383199" y="385787"/>
                    </a:lnTo>
                    <a:cubicBezTo>
                      <a:pt x="383199" y="379108"/>
                      <a:pt x="377857" y="373766"/>
                      <a:pt x="371178" y="373766"/>
                    </a:cubicBezTo>
                    <a:lnTo>
                      <a:pt x="329474" y="373766"/>
                    </a:lnTo>
                    <a:cubicBezTo>
                      <a:pt x="326951" y="373766"/>
                      <a:pt x="324873" y="371688"/>
                      <a:pt x="324873" y="369165"/>
                    </a:cubicBezTo>
                    <a:lnTo>
                      <a:pt x="324873" y="319744"/>
                    </a:lnTo>
                    <a:cubicBezTo>
                      <a:pt x="324873" y="318409"/>
                      <a:pt x="325467" y="317221"/>
                      <a:pt x="326358" y="316331"/>
                    </a:cubicBezTo>
                    <a:cubicBezTo>
                      <a:pt x="363015" y="282048"/>
                      <a:pt x="383199" y="235744"/>
                      <a:pt x="383199" y="185878"/>
                    </a:cubicBezTo>
                    <a:cubicBezTo>
                      <a:pt x="383199" y="97574"/>
                      <a:pt x="317453" y="21588"/>
                      <a:pt x="230187" y="9121"/>
                    </a:cubicBezTo>
                    <a:cubicBezTo>
                      <a:pt x="227664" y="8825"/>
                      <a:pt x="225883" y="6450"/>
                      <a:pt x="226328" y="3927"/>
                    </a:cubicBezTo>
                    <a:cubicBezTo>
                      <a:pt x="226773" y="1404"/>
                      <a:pt x="228999" y="-377"/>
                      <a:pt x="231522" y="68"/>
                    </a:cubicBezTo>
                    <a:cubicBezTo>
                      <a:pt x="323241" y="13277"/>
                      <a:pt x="392401" y="93270"/>
                      <a:pt x="392401" y="186026"/>
                    </a:cubicBezTo>
                    <a:cubicBezTo>
                      <a:pt x="392401" y="237822"/>
                      <a:pt x="371772" y="285907"/>
                      <a:pt x="334075" y="321822"/>
                    </a:cubicBezTo>
                    <a:lnTo>
                      <a:pt x="334075" y="364713"/>
                    </a:lnTo>
                    <a:lnTo>
                      <a:pt x="371178" y="364713"/>
                    </a:lnTo>
                    <a:cubicBezTo>
                      <a:pt x="382902" y="364713"/>
                      <a:pt x="392401" y="374211"/>
                      <a:pt x="392401" y="385935"/>
                    </a:cubicBezTo>
                    <a:lnTo>
                      <a:pt x="392401" y="402557"/>
                    </a:lnTo>
                    <a:cubicBezTo>
                      <a:pt x="392401" y="405080"/>
                      <a:pt x="390323" y="407158"/>
                      <a:pt x="387800" y="407158"/>
                    </a:cubicBezTo>
                  </a:path>
                </a:pathLst>
              </a:custGeom>
              <a:solidFill>
                <a:srgbClr val="FFFFFF"/>
              </a:solidFill>
              <a:ln w="14828" cap="flat">
                <a:noFill/>
                <a:prstDash val="solid"/>
                <a:miter/>
              </a:ln>
            </p:spPr>
            <p:txBody>
              <a:bodyPr rtlCol="0" anchor="ctr"/>
              <a:lstStyle/>
              <a:p>
                <a:endParaRPr lang="en-DK"/>
              </a:p>
            </p:txBody>
          </p:sp>
          <p:sp>
            <p:nvSpPr>
              <p:cNvPr id="200" name="Freeform 199">
                <a:extLst>
                  <a:ext uri="{FF2B5EF4-FFF2-40B4-BE49-F238E27FC236}">
                    <a16:creationId xmlns:a16="http://schemas.microsoft.com/office/drawing/2014/main" id="{E60DF694-CF5C-D994-7FAF-C973F3AF5C1E}"/>
                  </a:ext>
                </a:extLst>
              </p:cNvPr>
              <p:cNvSpPr/>
              <p:nvPr/>
            </p:nvSpPr>
            <p:spPr>
              <a:xfrm>
                <a:off x="3267295" y="5300629"/>
                <a:ext cx="361827" cy="361824"/>
              </a:xfrm>
              <a:custGeom>
                <a:avLst/>
                <a:gdLst>
                  <a:gd name="connsiteX0" fmla="*/ 361828 w 361827"/>
                  <a:gd name="connsiteY0" fmla="*/ 180912 h 361824"/>
                  <a:gd name="connsiteX1" fmla="*/ 180914 w 361827"/>
                  <a:gd name="connsiteY1" fmla="*/ 361824 h 361824"/>
                  <a:gd name="connsiteX2" fmla="*/ 0 w 361827"/>
                  <a:gd name="connsiteY2" fmla="*/ 180912 h 361824"/>
                  <a:gd name="connsiteX3" fmla="*/ 180914 w 361827"/>
                  <a:gd name="connsiteY3" fmla="*/ 0 h 361824"/>
                  <a:gd name="connsiteX4" fmla="*/ 361828 w 361827"/>
                  <a:gd name="connsiteY4" fmla="*/ 180912 h 361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827" h="361824">
                    <a:moveTo>
                      <a:pt x="361828" y="180912"/>
                    </a:moveTo>
                    <a:cubicBezTo>
                      <a:pt x="361828" y="280792"/>
                      <a:pt x="280795" y="361824"/>
                      <a:pt x="180914" y="361824"/>
                    </a:cubicBezTo>
                    <a:cubicBezTo>
                      <a:pt x="81033" y="361824"/>
                      <a:pt x="0" y="280792"/>
                      <a:pt x="0" y="180912"/>
                    </a:cubicBezTo>
                    <a:cubicBezTo>
                      <a:pt x="0" y="81032"/>
                      <a:pt x="81033" y="0"/>
                      <a:pt x="180914" y="0"/>
                    </a:cubicBezTo>
                    <a:cubicBezTo>
                      <a:pt x="280795" y="0"/>
                      <a:pt x="361828" y="81032"/>
                      <a:pt x="361828" y="180912"/>
                    </a:cubicBezTo>
                  </a:path>
                </a:pathLst>
              </a:custGeom>
              <a:solidFill>
                <a:srgbClr val="001965"/>
              </a:solidFill>
              <a:ln w="14828" cap="flat">
                <a:noFill/>
                <a:prstDash val="solid"/>
                <a:miter/>
              </a:ln>
            </p:spPr>
            <p:txBody>
              <a:bodyPr rtlCol="0" anchor="ctr"/>
              <a:lstStyle/>
              <a:p>
                <a:endParaRPr lang="en-DK"/>
              </a:p>
            </p:txBody>
          </p:sp>
          <p:sp>
            <p:nvSpPr>
              <p:cNvPr id="201" name="Freeform 200">
                <a:extLst>
                  <a:ext uri="{FF2B5EF4-FFF2-40B4-BE49-F238E27FC236}">
                    <a16:creationId xmlns:a16="http://schemas.microsoft.com/office/drawing/2014/main" id="{37558E66-1A43-174C-975C-33407D3CB79F}"/>
                  </a:ext>
                </a:extLst>
              </p:cNvPr>
              <p:cNvSpPr/>
              <p:nvPr/>
            </p:nvSpPr>
            <p:spPr>
              <a:xfrm>
                <a:off x="3289854" y="5321703"/>
                <a:ext cx="317007" cy="319972"/>
              </a:xfrm>
              <a:custGeom>
                <a:avLst/>
                <a:gdLst>
                  <a:gd name="connsiteX0" fmla="*/ 158504 w 317007"/>
                  <a:gd name="connsiteY0" fmla="*/ 9053 h 319972"/>
                  <a:gd name="connsiteX1" fmla="*/ 9201 w 317007"/>
                  <a:gd name="connsiteY1" fmla="*/ 159838 h 319972"/>
                  <a:gd name="connsiteX2" fmla="*/ 158504 w 317007"/>
                  <a:gd name="connsiteY2" fmla="*/ 310623 h 319972"/>
                  <a:gd name="connsiteX3" fmla="*/ 307806 w 317007"/>
                  <a:gd name="connsiteY3" fmla="*/ 159838 h 319972"/>
                  <a:gd name="connsiteX4" fmla="*/ 158504 w 317007"/>
                  <a:gd name="connsiteY4" fmla="*/ 9053 h 319972"/>
                  <a:gd name="connsiteX5" fmla="*/ 158504 w 317007"/>
                  <a:gd name="connsiteY5" fmla="*/ 319973 h 319972"/>
                  <a:gd name="connsiteX6" fmla="*/ 0 w 317007"/>
                  <a:gd name="connsiteY6" fmla="*/ 159986 h 319972"/>
                  <a:gd name="connsiteX7" fmla="*/ 158504 w 317007"/>
                  <a:gd name="connsiteY7" fmla="*/ 0 h 319972"/>
                  <a:gd name="connsiteX8" fmla="*/ 317007 w 317007"/>
                  <a:gd name="connsiteY8" fmla="*/ 159986 h 319972"/>
                  <a:gd name="connsiteX9" fmla="*/ 158504 w 317007"/>
                  <a:gd name="connsiteY9" fmla="*/ 319973 h 31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007" h="319972">
                    <a:moveTo>
                      <a:pt x="158504" y="9053"/>
                    </a:moveTo>
                    <a:cubicBezTo>
                      <a:pt x="76135" y="9053"/>
                      <a:pt x="9201" y="76728"/>
                      <a:pt x="9201" y="159838"/>
                    </a:cubicBezTo>
                    <a:cubicBezTo>
                      <a:pt x="9201" y="242948"/>
                      <a:pt x="76135" y="310623"/>
                      <a:pt x="158504" y="310623"/>
                    </a:cubicBezTo>
                    <a:cubicBezTo>
                      <a:pt x="240872" y="310623"/>
                      <a:pt x="307806" y="242948"/>
                      <a:pt x="307806" y="159838"/>
                    </a:cubicBezTo>
                    <a:cubicBezTo>
                      <a:pt x="307806" y="76728"/>
                      <a:pt x="240872" y="9053"/>
                      <a:pt x="158504" y="9053"/>
                    </a:cubicBezTo>
                    <a:moveTo>
                      <a:pt x="158504" y="319973"/>
                    </a:moveTo>
                    <a:cubicBezTo>
                      <a:pt x="71089" y="319973"/>
                      <a:pt x="0" y="248142"/>
                      <a:pt x="0" y="159986"/>
                    </a:cubicBezTo>
                    <a:cubicBezTo>
                      <a:pt x="0" y="71831"/>
                      <a:pt x="71089" y="0"/>
                      <a:pt x="158504" y="0"/>
                    </a:cubicBezTo>
                    <a:cubicBezTo>
                      <a:pt x="245918" y="0"/>
                      <a:pt x="317007" y="71831"/>
                      <a:pt x="317007" y="159986"/>
                    </a:cubicBezTo>
                    <a:cubicBezTo>
                      <a:pt x="317007" y="248142"/>
                      <a:pt x="245918" y="319973"/>
                      <a:pt x="158504" y="319973"/>
                    </a:cubicBezTo>
                  </a:path>
                </a:pathLst>
              </a:custGeom>
              <a:solidFill>
                <a:srgbClr val="FFFFFF"/>
              </a:solidFill>
              <a:ln w="14828" cap="flat">
                <a:noFill/>
                <a:prstDash val="solid"/>
                <a:miter/>
              </a:ln>
            </p:spPr>
            <p:txBody>
              <a:bodyPr rtlCol="0" anchor="ctr"/>
              <a:lstStyle/>
              <a:p>
                <a:endParaRPr lang="en-DK"/>
              </a:p>
            </p:txBody>
          </p:sp>
          <p:sp>
            <p:nvSpPr>
              <p:cNvPr id="202" name="Freeform 201">
                <a:extLst>
                  <a:ext uri="{FF2B5EF4-FFF2-40B4-BE49-F238E27FC236}">
                    <a16:creationId xmlns:a16="http://schemas.microsoft.com/office/drawing/2014/main" id="{A022CEC6-F33D-4354-CBD0-948455DD73A8}"/>
                  </a:ext>
                </a:extLst>
              </p:cNvPr>
              <p:cNvSpPr/>
              <p:nvPr/>
            </p:nvSpPr>
            <p:spPr>
              <a:xfrm>
                <a:off x="3384540" y="5321406"/>
                <a:ext cx="127485" cy="62777"/>
              </a:xfrm>
              <a:custGeom>
                <a:avLst/>
                <a:gdLst>
                  <a:gd name="connsiteX0" fmla="*/ 119026 w 127485"/>
                  <a:gd name="connsiteY0" fmla="*/ 62778 h 62777"/>
                  <a:gd name="connsiteX1" fmla="*/ 64856 w 127485"/>
                  <a:gd name="connsiteY1" fmla="*/ 9350 h 62777"/>
                  <a:gd name="connsiteX2" fmla="*/ 64411 w 127485"/>
                  <a:gd name="connsiteY2" fmla="*/ 9350 h 62777"/>
                  <a:gd name="connsiteX3" fmla="*/ 62927 w 127485"/>
                  <a:gd name="connsiteY3" fmla="*/ 9350 h 62777"/>
                  <a:gd name="connsiteX4" fmla="*/ 62481 w 127485"/>
                  <a:gd name="connsiteY4" fmla="*/ 9350 h 62777"/>
                  <a:gd name="connsiteX5" fmla="*/ 62481 w 127485"/>
                  <a:gd name="connsiteY5" fmla="*/ 9350 h 62777"/>
                  <a:gd name="connsiteX6" fmla="*/ 8460 w 127485"/>
                  <a:gd name="connsiteY6" fmla="*/ 62778 h 62777"/>
                  <a:gd name="connsiteX7" fmla="*/ 0 w 127485"/>
                  <a:gd name="connsiteY7" fmla="*/ 59216 h 62777"/>
                  <a:gd name="connsiteX8" fmla="*/ 62333 w 127485"/>
                  <a:gd name="connsiteY8" fmla="*/ 0 h 62777"/>
                  <a:gd name="connsiteX9" fmla="*/ 62333 w 127485"/>
                  <a:gd name="connsiteY9" fmla="*/ 0 h 62777"/>
                  <a:gd name="connsiteX10" fmla="*/ 63224 w 127485"/>
                  <a:gd name="connsiteY10" fmla="*/ 0 h 62777"/>
                  <a:gd name="connsiteX11" fmla="*/ 64856 w 127485"/>
                  <a:gd name="connsiteY11" fmla="*/ 0 h 62777"/>
                  <a:gd name="connsiteX12" fmla="*/ 65450 w 127485"/>
                  <a:gd name="connsiteY12" fmla="*/ 0 h 62777"/>
                  <a:gd name="connsiteX13" fmla="*/ 127486 w 127485"/>
                  <a:gd name="connsiteY13" fmla="*/ 59067 h 62777"/>
                  <a:gd name="connsiteX14" fmla="*/ 119026 w 127485"/>
                  <a:gd name="connsiteY14" fmla="*/ 62629 h 62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7485" h="62777">
                    <a:moveTo>
                      <a:pt x="119026" y="62778"/>
                    </a:moveTo>
                    <a:cubicBezTo>
                      <a:pt x="105224" y="29385"/>
                      <a:pt x="85634" y="9943"/>
                      <a:pt x="64856" y="9350"/>
                    </a:cubicBezTo>
                    <a:cubicBezTo>
                      <a:pt x="64856" y="9350"/>
                      <a:pt x="64559" y="9350"/>
                      <a:pt x="64411" y="9350"/>
                    </a:cubicBezTo>
                    <a:lnTo>
                      <a:pt x="62927" y="9350"/>
                    </a:lnTo>
                    <a:cubicBezTo>
                      <a:pt x="62927" y="9350"/>
                      <a:pt x="62630" y="9350"/>
                      <a:pt x="62481" y="9350"/>
                    </a:cubicBezTo>
                    <a:lnTo>
                      <a:pt x="62481" y="9350"/>
                    </a:lnTo>
                    <a:cubicBezTo>
                      <a:pt x="41852" y="9943"/>
                      <a:pt x="22113" y="29534"/>
                      <a:pt x="8460" y="62778"/>
                    </a:cubicBezTo>
                    <a:lnTo>
                      <a:pt x="0" y="59216"/>
                    </a:lnTo>
                    <a:cubicBezTo>
                      <a:pt x="15138" y="22410"/>
                      <a:pt x="37845" y="742"/>
                      <a:pt x="62333" y="0"/>
                    </a:cubicBezTo>
                    <a:lnTo>
                      <a:pt x="62333" y="0"/>
                    </a:lnTo>
                    <a:cubicBezTo>
                      <a:pt x="62333" y="0"/>
                      <a:pt x="62927" y="0"/>
                      <a:pt x="63224" y="0"/>
                    </a:cubicBezTo>
                    <a:lnTo>
                      <a:pt x="64856" y="0"/>
                    </a:lnTo>
                    <a:cubicBezTo>
                      <a:pt x="64856" y="0"/>
                      <a:pt x="65301" y="0"/>
                      <a:pt x="65450" y="0"/>
                    </a:cubicBezTo>
                    <a:cubicBezTo>
                      <a:pt x="89492" y="742"/>
                      <a:pt x="112199" y="22262"/>
                      <a:pt x="127486" y="59067"/>
                    </a:cubicBezTo>
                    <a:lnTo>
                      <a:pt x="119026" y="62629"/>
                    </a:lnTo>
                    <a:close/>
                  </a:path>
                </a:pathLst>
              </a:custGeom>
              <a:solidFill>
                <a:srgbClr val="FFFFFF"/>
              </a:solidFill>
              <a:ln w="14828" cap="flat">
                <a:noFill/>
                <a:prstDash val="solid"/>
                <a:miter/>
              </a:ln>
            </p:spPr>
            <p:txBody>
              <a:bodyPr rtlCol="0" anchor="ctr"/>
              <a:lstStyle/>
              <a:p>
                <a:endParaRPr lang="en-DK"/>
              </a:p>
            </p:txBody>
          </p:sp>
          <p:sp>
            <p:nvSpPr>
              <p:cNvPr id="203" name="Freeform 202">
                <a:extLst>
                  <a:ext uri="{FF2B5EF4-FFF2-40B4-BE49-F238E27FC236}">
                    <a16:creationId xmlns:a16="http://schemas.microsoft.com/office/drawing/2014/main" id="{BAE5F629-2217-5CE2-F9C5-D06DEBDCBDD6}"/>
                  </a:ext>
                </a:extLst>
              </p:cNvPr>
              <p:cNvSpPr/>
              <p:nvPr/>
            </p:nvSpPr>
            <p:spPr>
              <a:xfrm>
                <a:off x="3384392" y="5578898"/>
                <a:ext cx="127485" cy="62777"/>
              </a:xfrm>
              <a:custGeom>
                <a:avLst/>
                <a:gdLst>
                  <a:gd name="connsiteX0" fmla="*/ 63817 w 127485"/>
                  <a:gd name="connsiteY0" fmla="*/ 62777 h 62777"/>
                  <a:gd name="connsiteX1" fmla="*/ 62630 w 127485"/>
                  <a:gd name="connsiteY1" fmla="*/ 62777 h 62777"/>
                  <a:gd name="connsiteX2" fmla="*/ 0 w 127485"/>
                  <a:gd name="connsiteY2" fmla="*/ 3562 h 62777"/>
                  <a:gd name="connsiteX3" fmla="*/ 8459 w 127485"/>
                  <a:gd name="connsiteY3" fmla="*/ 0 h 62777"/>
                  <a:gd name="connsiteX4" fmla="*/ 62778 w 127485"/>
                  <a:gd name="connsiteY4" fmla="*/ 53428 h 62777"/>
                  <a:gd name="connsiteX5" fmla="*/ 64559 w 127485"/>
                  <a:gd name="connsiteY5" fmla="*/ 53428 h 62777"/>
                  <a:gd name="connsiteX6" fmla="*/ 119026 w 127485"/>
                  <a:gd name="connsiteY6" fmla="*/ 0 h 62777"/>
                  <a:gd name="connsiteX7" fmla="*/ 127486 w 127485"/>
                  <a:gd name="connsiteY7" fmla="*/ 3562 h 62777"/>
                  <a:gd name="connsiteX8" fmla="*/ 64856 w 127485"/>
                  <a:gd name="connsiteY8" fmla="*/ 62777 h 62777"/>
                  <a:gd name="connsiteX9" fmla="*/ 63669 w 127485"/>
                  <a:gd name="connsiteY9" fmla="*/ 62777 h 62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485" h="62777">
                    <a:moveTo>
                      <a:pt x="63817" y="62777"/>
                    </a:moveTo>
                    <a:lnTo>
                      <a:pt x="62630" y="62777"/>
                    </a:lnTo>
                    <a:cubicBezTo>
                      <a:pt x="38142" y="62184"/>
                      <a:pt x="15286" y="40516"/>
                      <a:pt x="0" y="3562"/>
                    </a:cubicBezTo>
                    <a:lnTo>
                      <a:pt x="8459" y="0"/>
                    </a:lnTo>
                    <a:cubicBezTo>
                      <a:pt x="22262" y="33392"/>
                      <a:pt x="42001" y="52982"/>
                      <a:pt x="62778" y="53428"/>
                    </a:cubicBezTo>
                    <a:lnTo>
                      <a:pt x="64559" y="53428"/>
                    </a:lnTo>
                    <a:cubicBezTo>
                      <a:pt x="85337" y="52834"/>
                      <a:pt x="105224" y="33392"/>
                      <a:pt x="119026" y="0"/>
                    </a:cubicBezTo>
                    <a:lnTo>
                      <a:pt x="127486" y="3562"/>
                    </a:lnTo>
                    <a:cubicBezTo>
                      <a:pt x="112199" y="40516"/>
                      <a:pt x="89492" y="62035"/>
                      <a:pt x="64856" y="62777"/>
                    </a:cubicBezTo>
                    <a:lnTo>
                      <a:pt x="63669" y="62777"/>
                    </a:lnTo>
                    <a:close/>
                  </a:path>
                </a:pathLst>
              </a:custGeom>
              <a:solidFill>
                <a:srgbClr val="FFFFFF"/>
              </a:solidFill>
              <a:ln w="14828" cap="flat">
                <a:noFill/>
                <a:prstDash val="solid"/>
                <a:miter/>
              </a:ln>
            </p:spPr>
            <p:txBody>
              <a:bodyPr rtlCol="0" anchor="ctr"/>
              <a:lstStyle/>
              <a:p>
                <a:endParaRPr lang="en-DK"/>
              </a:p>
            </p:txBody>
          </p:sp>
        </p:grpSp>
        <p:sp>
          <p:nvSpPr>
            <p:cNvPr id="61" name="Freeform 60">
              <a:extLst>
                <a:ext uri="{FF2B5EF4-FFF2-40B4-BE49-F238E27FC236}">
                  <a16:creationId xmlns:a16="http://schemas.microsoft.com/office/drawing/2014/main" id="{1526099A-8073-F77A-6FEE-E02D64370F92}"/>
                </a:ext>
              </a:extLst>
            </p:cNvPr>
            <p:cNvSpPr/>
            <p:nvPr/>
          </p:nvSpPr>
          <p:spPr>
            <a:xfrm>
              <a:off x="3547051" y="5476940"/>
              <a:ext cx="55209" cy="9201"/>
            </a:xfrm>
            <a:custGeom>
              <a:avLst/>
              <a:gdLst>
                <a:gd name="connsiteX0" fmla="*/ 0 w 55209"/>
                <a:gd name="connsiteY0" fmla="*/ 0 h 9201"/>
                <a:gd name="connsiteX1" fmla="*/ 55209 w 55209"/>
                <a:gd name="connsiteY1" fmla="*/ 0 h 9201"/>
                <a:gd name="connsiteX2" fmla="*/ 55209 w 55209"/>
                <a:gd name="connsiteY2" fmla="*/ 9201 h 9201"/>
                <a:gd name="connsiteX3" fmla="*/ 0 w 55209"/>
                <a:gd name="connsiteY3" fmla="*/ 9201 h 9201"/>
              </a:gdLst>
              <a:ahLst/>
              <a:cxnLst>
                <a:cxn ang="0">
                  <a:pos x="connsiteX0" y="connsiteY0"/>
                </a:cxn>
                <a:cxn ang="0">
                  <a:pos x="connsiteX1" y="connsiteY1"/>
                </a:cxn>
                <a:cxn ang="0">
                  <a:pos x="connsiteX2" y="connsiteY2"/>
                </a:cxn>
                <a:cxn ang="0">
                  <a:pos x="connsiteX3" y="connsiteY3"/>
                </a:cxn>
              </a:cxnLst>
              <a:rect l="l" t="t" r="r" b="b"/>
              <a:pathLst>
                <a:path w="55209" h="9201">
                  <a:moveTo>
                    <a:pt x="0" y="0"/>
                  </a:moveTo>
                  <a:lnTo>
                    <a:pt x="55209" y="0"/>
                  </a:lnTo>
                  <a:lnTo>
                    <a:pt x="55209" y="9201"/>
                  </a:lnTo>
                  <a:lnTo>
                    <a:pt x="0" y="9201"/>
                  </a:lnTo>
                  <a:close/>
                </a:path>
              </a:pathLst>
            </a:custGeom>
            <a:solidFill>
              <a:srgbClr val="FFFFFF"/>
            </a:solidFill>
            <a:ln w="14828" cap="flat">
              <a:noFill/>
              <a:prstDash val="solid"/>
              <a:miter/>
            </a:ln>
          </p:spPr>
          <p:txBody>
            <a:bodyPr rtlCol="0" anchor="ctr"/>
            <a:lstStyle/>
            <a:p>
              <a:endParaRPr lang="en-DK"/>
            </a:p>
          </p:txBody>
        </p:sp>
        <p:sp>
          <p:nvSpPr>
            <p:cNvPr id="62" name="Freeform 61">
              <a:extLst>
                <a:ext uri="{FF2B5EF4-FFF2-40B4-BE49-F238E27FC236}">
                  <a16:creationId xmlns:a16="http://schemas.microsoft.com/office/drawing/2014/main" id="{9E010ECE-9394-04C1-9B14-B14F96DF9002}"/>
                </a:ext>
              </a:extLst>
            </p:cNvPr>
            <p:cNvSpPr/>
            <p:nvPr/>
          </p:nvSpPr>
          <p:spPr>
            <a:xfrm>
              <a:off x="3294454" y="5476940"/>
              <a:ext cx="55209" cy="9201"/>
            </a:xfrm>
            <a:custGeom>
              <a:avLst/>
              <a:gdLst>
                <a:gd name="connsiteX0" fmla="*/ 0 w 55209"/>
                <a:gd name="connsiteY0" fmla="*/ 0 h 9201"/>
                <a:gd name="connsiteX1" fmla="*/ 55209 w 55209"/>
                <a:gd name="connsiteY1" fmla="*/ 0 h 9201"/>
                <a:gd name="connsiteX2" fmla="*/ 55209 w 55209"/>
                <a:gd name="connsiteY2" fmla="*/ 9201 h 9201"/>
                <a:gd name="connsiteX3" fmla="*/ 0 w 55209"/>
                <a:gd name="connsiteY3" fmla="*/ 9201 h 9201"/>
              </a:gdLst>
              <a:ahLst/>
              <a:cxnLst>
                <a:cxn ang="0">
                  <a:pos x="connsiteX0" y="connsiteY0"/>
                </a:cxn>
                <a:cxn ang="0">
                  <a:pos x="connsiteX1" y="connsiteY1"/>
                </a:cxn>
                <a:cxn ang="0">
                  <a:pos x="connsiteX2" y="connsiteY2"/>
                </a:cxn>
                <a:cxn ang="0">
                  <a:pos x="connsiteX3" y="connsiteY3"/>
                </a:cxn>
              </a:cxnLst>
              <a:rect l="l" t="t" r="r" b="b"/>
              <a:pathLst>
                <a:path w="55209" h="9201">
                  <a:moveTo>
                    <a:pt x="0" y="0"/>
                  </a:moveTo>
                  <a:lnTo>
                    <a:pt x="55209" y="0"/>
                  </a:lnTo>
                  <a:lnTo>
                    <a:pt x="55209" y="9201"/>
                  </a:lnTo>
                  <a:lnTo>
                    <a:pt x="0" y="9201"/>
                  </a:lnTo>
                  <a:close/>
                </a:path>
              </a:pathLst>
            </a:custGeom>
            <a:solidFill>
              <a:srgbClr val="FFFFFF"/>
            </a:solidFill>
            <a:ln w="14828" cap="flat">
              <a:noFill/>
              <a:prstDash val="solid"/>
              <a:miter/>
            </a:ln>
          </p:spPr>
          <p:txBody>
            <a:bodyPr rtlCol="0" anchor="ctr"/>
            <a:lstStyle/>
            <a:p>
              <a:endParaRPr lang="en-DK"/>
            </a:p>
          </p:txBody>
        </p:sp>
        <p:grpSp>
          <p:nvGrpSpPr>
            <p:cNvPr id="63" name="Graphic 3">
              <a:extLst>
                <a:ext uri="{FF2B5EF4-FFF2-40B4-BE49-F238E27FC236}">
                  <a16:creationId xmlns:a16="http://schemas.microsoft.com/office/drawing/2014/main" id="{6283908C-0216-9803-C992-A934AB13C30D}"/>
                </a:ext>
              </a:extLst>
            </p:cNvPr>
            <p:cNvGrpSpPr/>
            <p:nvPr/>
          </p:nvGrpSpPr>
          <p:grpSpPr>
            <a:xfrm>
              <a:off x="3324137" y="5383293"/>
              <a:ext cx="248292" cy="196643"/>
              <a:chOff x="3324137" y="5383293"/>
              <a:chExt cx="248292" cy="196643"/>
            </a:xfrm>
            <a:solidFill>
              <a:srgbClr val="FFFFFF"/>
            </a:solidFill>
          </p:grpSpPr>
          <p:sp>
            <p:nvSpPr>
              <p:cNvPr id="184" name="Freeform 183">
                <a:extLst>
                  <a:ext uri="{FF2B5EF4-FFF2-40B4-BE49-F238E27FC236}">
                    <a16:creationId xmlns:a16="http://schemas.microsoft.com/office/drawing/2014/main" id="{5D12F37E-F708-A086-DABA-B4EC1CC6163F}"/>
                  </a:ext>
                </a:extLst>
              </p:cNvPr>
              <p:cNvSpPr/>
              <p:nvPr/>
            </p:nvSpPr>
            <p:spPr>
              <a:xfrm>
                <a:off x="3545864" y="5383442"/>
                <a:ext cx="26565" cy="15583"/>
              </a:xfrm>
              <a:custGeom>
                <a:avLst/>
                <a:gdLst>
                  <a:gd name="connsiteX0" fmla="*/ 2374 w 26565"/>
                  <a:gd name="connsiteY0" fmla="*/ 15583 h 15583"/>
                  <a:gd name="connsiteX1" fmla="*/ 0 w 26565"/>
                  <a:gd name="connsiteY1" fmla="*/ 6678 h 15583"/>
                  <a:gd name="connsiteX2" fmla="*/ 13357 w 26565"/>
                  <a:gd name="connsiteY2" fmla="*/ 2968 h 15583"/>
                  <a:gd name="connsiteX3" fmla="*/ 24043 w 26565"/>
                  <a:gd name="connsiteY3" fmla="*/ 0 h 15583"/>
                  <a:gd name="connsiteX4" fmla="*/ 26566 w 26565"/>
                  <a:gd name="connsiteY4" fmla="*/ 8904 h 15583"/>
                  <a:gd name="connsiteX5" fmla="*/ 16028 w 26565"/>
                  <a:gd name="connsiteY5" fmla="*/ 11873 h 15583"/>
                  <a:gd name="connsiteX6" fmla="*/ 2523 w 26565"/>
                  <a:gd name="connsiteY6" fmla="*/ 15583 h 15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65" h="15583">
                    <a:moveTo>
                      <a:pt x="2374" y="15583"/>
                    </a:moveTo>
                    <a:lnTo>
                      <a:pt x="0" y="6678"/>
                    </a:lnTo>
                    <a:cubicBezTo>
                      <a:pt x="4304" y="5491"/>
                      <a:pt x="8756" y="4304"/>
                      <a:pt x="13357" y="2968"/>
                    </a:cubicBezTo>
                    <a:cubicBezTo>
                      <a:pt x="16770" y="2078"/>
                      <a:pt x="20184" y="1039"/>
                      <a:pt x="24043" y="0"/>
                    </a:cubicBezTo>
                    <a:lnTo>
                      <a:pt x="26566" y="8904"/>
                    </a:lnTo>
                    <a:cubicBezTo>
                      <a:pt x="22855" y="9943"/>
                      <a:pt x="19293" y="10982"/>
                      <a:pt x="16028" y="11873"/>
                    </a:cubicBezTo>
                    <a:cubicBezTo>
                      <a:pt x="11279" y="13209"/>
                      <a:pt x="6975" y="14396"/>
                      <a:pt x="2523" y="15583"/>
                    </a:cubicBezTo>
                  </a:path>
                </a:pathLst>
              </a:custGeom>
              <a:solidFill>
                <a:srgbClr val="FFFFFF"/>
              </a:solidFill>
              <a:ln w="14828" cap="flat">
                <a:noFill/>
                <a:prstDash val="solid"/>
                <a:miter/>
              </a:ln>
            </p:spPr>
            <p:txBody>
              <a:bodyPr rtlCol="0" anchor="ctr"/>
              <a:lstStyle/>
              <a:p>
                <a:endParaRPr lang="en-DK"/>
              </a:p>
            </p:txBody>
          </p:sp>
          <p:sp>
            <p:nvSpPr>
              <p:cNvPr id="185" name="Freeform 184">
                <a:extLst>
                  <a:ext uri="{FF2B5EF4-FFF2-40B4-BE49-F238E27FC236}">
                    <a16:creationId xmlns:a16="http://schemas.microsoft.com/office/drawing/2014/main" id="{7982C719-E892-AAA7-F55D-2A924FD9E420}"/>
                  </a:ext>
                </a:extLst>
              </p:cNvPr>
              <p:cNvSpPr/>
              <p:nvPr/>
            </p:nvSpPr>
            <p:spPr>
              <a:xfrm>
                <a:off x="3324137" y="5383293"/>
                <a:ext cx="26417" cy="15731"/>
              </a:xfrm>
              <a:custGeom>
                <a:avLst/>
                <a:gdLst>
                  <a:gd name="connsiteX0" fmla="*/ 24191 w 26417"/>
                  <a:gd name="connsiteY0" fmla="*/ 15732 h 15731"/>
                  <a:gd name="connsiteX1" fmla="*/ 5046 w 26417"/>
                  <a:gd name="connsiteY1" fmla="*/ 10389 h 15731"/>
                  <a:gd name="connsiteX2" fmla="*/ 0 w 26417"/>
                  <a:gd name="connsiteY2" fmla="*/ 8905 h 15731"/>
                  <a:gd name="connsiteX3" fmla="*/ 2523 w 26417"/>
                  <a:gd name="connsiteY3" fmla="*/ 0 h 15731"/>
                  <a:gd name="connsiteX4" fmla="*/ 7421 w 26417"/>
                  <a:gd name="connsiteY4" fmla="*/ 1484 h 15731"/>
                  <a:gd name="connsiteX5" fmla="*/ 26417 w 26417"/>
                  <a:gd name="connsiteY5" fmla="*/ 6827 h 15731"/>
                  <a:gd name="connsiteX6" fmla="*/ 24043 w 26417"/>
                  <a:gd name="connsiteY6" fmla="*/ 15732 h 1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17" h="15731">
                    <a:moveTo>
                      <a:pt x="24191" y="15732"/>
                    </a:moveTo>
                    <a:cubicBezTo>
                      <a:pt x="18106" y="14099"/>
                      <a:pt x="11873" y="12318"/>
                      <a:pt x="5046" y="10389"/>
                    </a:cubicBezTo>
                    <a:lnTo>
                      <a:pt x="0" y="8905"/>
                    </a:lnTo>
                    <a:lnTo>
                      <a:pt x="2523" y="0"/>
                    </a:lnTo>
                    <a:lnTo>
                      <a:pt x="7421" y="1484"/>
                    </a:lnTo>
                    <a:cubicBezTo>
                      <a:pt x="14099" y="3414"/>
                      <a:pt x="20332" y="5194"/>
                      <a:pt x="26417" y="6827"/>
                    </a:cubicBezTo>
                    <a:lnTo>
                      <a:pt x="24043" y="15732"/>
                    </a:lnTo>
                    <a:close/>
                  </a:path>
                </a:pathLst>
              </a:custGeom>
              <a:solidFill>
                <a:srgbClr val="FFFFFF"/>
              </a:solidFill>
              <a:ln w="14828" cap="flat">
                <a:noFill/>
                <a:prstDash val="solid"/>
                <a:miter/>
              </a:ln>
            </p:spPr>
            <p:txBody>
              <a:bodyPr rtlCol="0" anchor="ctr"/>
              <a:lstStyle/>
              <a:p>
                <a:endParaRPr lang="en-DK"/>
              </a:p>
            </p:txBody>
          </p:sp>
          <p:sp>
            <p:nvSpPr>
              <p:cNvPr id="186" name="Freeform 185">
                <a:extLst>
                  <a:ext uri="{FF2B5EF4-FFF2-40B4-BE49-F238E27FC236}">
                    <a16:creationId xmlns:a16="http://schemas.microsoft.com/office/drawing/2014/main" id="{FA8C8706-A415-2F32-B97F-5961DE2A99DA}"/>
                  </a:ext>
                </a:extLst>
              </p:cNvPr>
              <p:cNvSpPr/>
              <p:nvPr/>
            </p:nvSpPr>
            <p:spPr>
              <a:xfrm>
                <a:off x="3545715" y="5564205"/>
                <a:ext cx="26565" cy="15731"/>
              </a:xfrm>
              <a:custGeom>
                <a:avLst/>
                <a:gdLst>
                  <a:gd name="connsiteX0" fmla="*/ 24043 w 26565"/>
                  <a:gd name="connsiteY0" fmla="*/ 15583 h 15731"/>
                  <a:gd name="connsiteX1" fmla="*/ 13060 w 26565"/>
                  <a:gd name="connsiteY1" fmla="*/ 12466 h 15731"/>
                  <a:gd name="connsiteX2" fmla="*/ 0 w 26565"/>
                  <a:gd name="connsiteY2" fmla="*/ 8905 h 15731"/>
                  <a:gd name="connsiteX3" fmla="*/ 2375 w 26565"/>
                  <a:gd name="connsiteY3" fmla="*/ 0 h 15731"/>
                  <a:gd name="connsiteX4" fmla="*/ 15583 w 26565"/>
                  <a:gd name="connsiteY4" fmla="*/ 3710 h 15731"/>
                  <a:gd name="connsiteX5" fmla="*/ 26566 w 26565"/>
                  <a:gd name="connsiteY5" fmla="*/ 6827 h 15731"/>
                  <a:gd name="connsiteX6" fmla="*/ 24043 w 26565"/>
                  <a:gd name="connsiteY6" fmla="*/ 15731 h 1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65" h="15731">
                    <a:moveTo>
                      <a:pt x="24043" y="15583"/>
                    </a:moveTo>
                    <a:cubicBezTo>
                      <a:pt x="20184" y="14544"/>
                      <a:pt x="16474" y="13505"/>
                      <a:pt x="13060" y="12466"/>
                    </a:cubicBezTo>
                    <a:cubicBezTo>
                      <a:pt x="8608" y="11131"/>
                      <a:pt x="4304" y="9943"/>
                      <a:pt x="0" y="8905"/>
                    </a:cubicBezTo>
                    <a:lnTo>
                      <a:pt x="2375" y="0"/>
                    </a:lnTo>
                    <a:cubicBezTo>
                      <a:pt x="6678" y="1187"/>
                      <a:pt x="10983" y="2375"/>
                      <a:pt x="15583" y="3710"/>
                    </a:cubicBezTo>
                    <a:cubicBezTo>
                      <a:pt x="18997" y="4749"/>
                      <a:pt x="22707" y="5640"/>
                      <a:pt x="26566" y="6827"/>
                    </a:cubicBezTo>
                    <a:lnTo>
                      <a:pt x="24043" y="15731"/>
                    </a:lnTo>
                    <a:close/>
                  </a:path>
                </a:pathLst>
              </a:custGeom>
              <a:solidFill>
                <a:srgbClr val="FFFFFF"/>
              </a:solidFill>
              <a:ln w="14828" cap="flat">
                <a:noFill/>
                <a:prstDash val="solid"/>
                <a:miter/>
              </a:ln>
            </p:spPr>
            <p:txBody>
              <a:bodyPr rtlCol="0" anchor="ctr"/>
              <a:lstStyle/>
              <a:p>
                <a:endParaRPr lang="en-DK"/>
              </a:p>
            </p:txBody>
          </p:sp>
          <p:sp>
            <p:nvSpPr>
              <p:cNvPr id="187" name="Freeform 186">
                <a:extLst>
                  <a:ext uri="{FF2B5EF4-FFF2-40B4-BE49-F238E27FC236}">
                    <a16:creationId xmlns:a16="http://schemas.microsoft.com/office/drawing/2014/main" id="{B20D2B72-C835-EEE8-342E-81CB15F3BB35}"/>
                  </a:ext>
                </a:extLst>
              </p:cNvPr>
              <p:cNvSpPr/>
              <p:nvPr/>
            </p:nvSpPr>
            <p:spPr>
              <a:xfrm>
                <a:off x="3324285" y="5564057"/>
                <a:ext cx="26565" cy="15731"/>
              </a:xfrm>
              <a:custGeom>
                <a:avLst/>
                <a:gdLst>
                  <a:gd name="connsiteX0" fmla="*/ 2523 w 26565"/>
                  <a:gd name="connsiteY0" fmla="*/ 15731 h 15731"/>
                  <a:gd name="connsiteX1" fmla="*/ 0 w 26565"/>
                  <a:gd name="connsiteY1" fmla="*/ 6827 h 15731"/>
                  <a:gd name="connsiteX2" fmla="*/ 5046 w 26565"/>
                  <a:gd name="connsiteY2" fmla="*/ 5343 h 15731"/>
                  <a:gd name="connsiteX3" fmla="*/ 24191 w 26565"/>
                  <a:gd name="connsiteY3" fmla="*/ 0 h 15731"/>
                  <a:gd name="connsiteX4" fmla="*/ 26566 w 26565"/>
                  <a:gd name="connsiteY4" fmla="*/ 8904 h 15731"/>
                  <a:gd name="connsiteX5" fmla="*/ 7569 w 26565"/>
                  <a:gd name="connsiteY5" fmla="*/ 14099 h 15731"/>
                  <a:gd name="connsiteX6" fmla="*/ 2672 w 26565"/>
                  <a:gd name="connsiteY6" fmla="*/ 15583 h 1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65" h="15731">
                    <a:moveTo>
                      <a:pt x="2523" y="15731"/>
                    </a:moveTo>
                    <a:lnTo>
                      <a:pt x="0" y="6827"/>
                    </a:lnTo>
                    <a:lnTo>
                      <a:pt x="5046" y="5343"/>
                    </a:lnTo>
                    <a:cubicBezTo>
                      <a:pt x="11873" y="3413"/>
                      <a:pt x="18106" y="1633"/>
                      <a:pt x="24191" y="0"/>
                    </a:cubicBezTo>
                    <a:lnTo>
                      <a:pt x="26566" y="8904"/>
                    </a:lnTo>
                    <a:cubicBezTo>
                      <a:pt x="20481" y="10537"/>
                      <a:pt x="14248" y="12318"/>
                      <a:pt x="7569" y="14099"/>
                    </a:cubicBezTo>
                    <a:lnTo>
                      <a:pt x="2672" y="15583"/>
                    </a:lnTo>
                    <a:close/>
                  </a:path>
                </a:pathLst>
              </a:custGeom>
              <a:solidFill>
                <a:srgbClr val="FFFFFF"/>
              </a:solidFill>
              <a:ln w="14828" cap="flat">
                <a:noFill/>
                <a:prstDash val="solid"/>
                <a:miter/>
              </a:ln>
            </p:spPr>
            <p:txBody>
              <a:bodyPr rtlCol="0" anchor="ctr"/>
              <a:lstStyle/>
              <a:p>
                <a:endParaRPr lang="en-DK"/>
              </a:p>
            </p:txBody>
          </p:sp>
        </p:grpSp>
        <p:sp>
          <p:nvSpPr>
            <p:cNvPr id="128" name="Freeform 127">
              <a:extLst>
                <a:ext uri="{FF2B5EF4-FFF2-40B4-BE49-F238E27FC236}">
                  <a16:creationId xmlns:a16="http://schemas.microsoft.com/office/drawing/2014/main" id="{66B19168-D830-0A03-E033-FC132C5E4419}"/>
                </a:ext>
              </a:extLst>
            </p:cNvPr>
            <p:cNvSpPr/>
            <p:nvPr/>
          </p:nvSpPr>
          <p:spPr>
            <a:xfrm>
              <a:off x="3443608" y="5580679"/>
              <a:ext cx="9201" cy="56395"/>
            </a:xfrm>
            <a:custGeom>
              <a:avLst/>
              <a:gdLst>
                <a:gd name="connsiteX0" fmla="*/ 0 w 9201"/>
                <a:gd name="connsiteY0" fmla="*/ 0 h 56395"/>
                <a:gd name="connsiteX1" fmla="*/ 9201 w 9201"/>
                <a:gd name="connsiteY1" fmla="*/ 0 h 56395"/>
                <a:gd name="connsiteX2" fmla="*/ 9201 w 9201"/>
                <a:gd name="connsiteY2" fmla="*/ 56396 h 56395"/>
                <a:gd name="connsiteX3" fmla="*/ 0 w 9201"/>
                <a:gd name="connsiteY3" fmla="*/ 56396 h 56395"/>
              </a:gdLst>
              <a:ahLst/>
              <a:cxnLst>
                <a:cxn ang="0">
                  <a:pos x="connsiteX0" y="connsiteY0"/>
                </a:cxn>
                <a:cxn ang="0">
                  <a:pos x="connsiteX1" y="connsiteY1"/>
                </a:cxn>
                <a:cxn ang="0">
                  <a:pos x="connsiteX2" y="connsiteY2"/>
                </a:cxn>
                <a:cxn ang="0">
                  <a:pos x="connsiteX3" y="connsiteY3"/>
                </a:cxn>
              </a:cxnLst>
              <a:rect l="l" t="t" r="r" b="b"/>
              <a:pathLst>
                <a:path w="9201" h="56395">
                  <a:moveTo>
                    <a:pt x="0" y="0"/>
                  </a:moveTo>
                  <a:lnTo>
                    <a:pt x="9201" y="0"/>
                  </a:lnTo>
                  <a:lnTo>
                    <a:pt x="9201" y="56396"/>
                  </a:lnTo>
                  <a:lnTo>
                    <a:pt x="0" y="56396"/>
                  </a:lnTo>
                  <a:close/>
                </a:path>
              </a:pathLst>
            </a:custGeom>
            <a:solidFill>
              <a:srgbClr val="FFFFFF"/>
            </a:solidFill>
            <a:ln w="14828" cap="flat">
              <a:noFill/>
              <a:prstDash val="solid"/>
              <a:miter/>
            </a:ln>
          </p:spPr>
          <p:txBody>
            <a:bodyPr rtlCol="0" anchor="ctr"/>
            <a:lstStyle/>
            <a:p>
              <a:endParaRPr lang="en-DK"/>
            </a:p>
          </p:txBody>
        </p:sp>
        <p:sp>
          <p:nvSpPr>
            <p:cNvPr id="129" name="Freeform 128">
              <a:extLst>
                <a:ext uri="{FF2B5EF4-FFF2-40B4-BE49-F238E27FC236}">
                  <a16:creationId xmlns:a16="http://schemas.microsoft.com/office/drawing/2014/main" id="{E6E725A2-3EB2-D400-217F-09EE05C80DA0}"/>
                </a:ext>
              </a:extLst>
            </p:cNvPr>
            <p:cNvSpPr/>
            <p:nvPr/>
          </p:nvSpPr>
          <p:spPr>
            <a:xfrm>
              <a:off x="3443608" y="5326155"/>
              <a:ext cx="9201" cy="56247"/>
            </a:xfrm>
            <a:custGeom>
              <a:avLst/>
              <a:gdLst>
                <a:gd name="connsiteX0" fmla="*/ 0 w 9201"/>
                <a:gd name="connsiteY0" fmla="*/ 0 h 56247"/>
                <a:gd name="connsiteX1" fmla="*/ 9201 w 9201"/>
                <a:gd name="connsiteY1" fmla="*/ 0 h 56247"/>
                <a:gd name="connsiteX2" fmla="*/ 9201 w 9201"/>
                <a:gd name="connsiteY2" fmla="*/ 56247 h 56247"/>
                <a:gd name="connsiteX3" fmla="*/ 0 w 9201"/>
                <a:gd name="connsiteY3" fmla="*/ 56247 h 56247"/>
              </a:gdLst>
              <a:ahLst/>
              <a:cxnLst>
                <a:cxn ang="0">
                  <a:pos x="connsiteX0" y="connsiteY0"/>
                </a:cxn>
                <a:cxn ang="0">
                  <a:pos x="connsiteX1" y="connsiteY1"/>
                </a:cxn>
                <a:cxn ang="0">
                  <a:pos x="connsiteX2" y="connsiteY2"/>
                </a:cxn>
                <a:cxn ang="0">
                  <a:pos x="connsiteX3" y="connsiteY3"/>
                </a:cxn>
              </a:cxnLst>
              <a:rect l="l" t="t" r="r" b="b"/>
              <a:pathLst>
                <a:path w="9201" h="56247">
                  <a:moveTo>
                    <a:pt x="0" y="0"/>
                  </a:moveTo>
                  <a:lnTo>
                    <a:pt x="9201" y="0"/>
                  </a:lnTo>
                  <a:lnTo>
                    <a:pt x="9201" y="56247"/>
                  </a:lnTo>
                  <a:lnTo>
                    <a:pt x="0" y="56247"/>
                  </a:lnTo>
                  <a:close/>
                </a:path>
              </a:pathLst>
            </a:custGeom>
            <a:solidFill>
              <a:srgbClr val="FFFFFF"/>
            </a:solidFill>
            <a:ln w="14828" cap="flat">
              <a:noFill/>
              <a:prstDash val="solid"/>
              <a:miter/>
            </a:ln>
          </p:spPr>
          <p:txBody>
            <a:bodyPr rtlCol="0" anchor="ctr"/>
            <a:lstStyle/>
            <a:p>
              <a:endParaRPr lang="en-DK"/>
            </a:p>
          </p:txBody>
        </p:sp>
        <p:grpSp>
          <p:nvGrpSpPr>
            <p:cNvPr id="130" name="Graphic 3">
              <a:extLst>
                <a:ext uri="{FF2B5EF4-FFF2-40B4-BE49-F238E27FC236}">
                  <a16:creationId xmlns:a16="http://schemas.microsoft.com/office/drawing/2014/main" id="{50AF72B8-DD1F-088C-438A-BDCF4B99E1EA}"/>
                </a:ext>
              </a:extLst>
            </p:cNvPr>
            <p:cNvGrpSpPr/>
            <p:nvPr/>
          </p:nvGrpSpPr>
          <p:grpSpPr>
            <a:xfrm>
              <a:off x="3360794" y="5393830"/>
              <a:ext cx="175125" cy="175569"/>
              <a:chOff x="3360794" y="5393830"/>
              <a:chExt cx="175125" cy="175569"/>
            </a:xfrm>
          </p:grpSpPr>
          <p:sp>
            <p:nvSpPr>
              <p:cNvPr id="182" name="Freeform 181">
                <a:extLst>
                  <a:ext uri="{FF2B5EF4-FFF2-40B4-BE49-F238E27FC236}">
                    <a16:creationId xmlns:a16="http://schemas.microsoft.com/office/drawing/2014/main" id="{2AD223EB-9707-C4AE-48FC-F8F24EE2CC54}"/>
                  </a:ext>
                </a:extLst>
              </p:cNvPr>
              <p:cNvSpPr/>
              <p:nvPr/>
            </p:nvSpPr>
            <p:spPr>
              <a:xfrm>
                <a:off x="3365247" y="5398431"/>
                <a:ext cx="165924" cy="166516"/>
              </a:xfrm>
              <a:custGeom>
                <a:avLst/>
                <a:gdLst>
                  <a:gd name="connsiteX0" fmla="*/ 0 w 165924"/>
                  <a:gd name="connsiteY0" fmla="*/ 0 h 166516"/>
                  <a:gd name="connsiteX1" fmla="*/ 165924 w 165924"/>
                  <a:gd name="connsiteY1" fmla="*/ 0 h 166516"/>
                  <a:gd name="connsiteX2" fmla="*/ 165924 w 165924"/>
                  <a:gd name="connsiteY2" fmla="*/ 166516 h 166516"/>
                  <a:gd name="connsiteX3" fmla="*/ 0 w 165924"/>
                  <a:gd name="connsiteY3" fmla="*/ 166516 h 166516"/>
                </a:gdLst>
                <a:ahLst/>
                <a:cxnLst>
                  <a:cxn ang="0">
                    <a:pos x="connsiteX0" y="connsiteY0"/>
                  </a:cxn>
                  <a:cxn ang="0">
                    <a:pos x="connsiteX1" y="connsiteY1"/>
                  </a:cxn>
                  <a:cxn ang="0">
                    <a:pos x="connsiteX2" y="connsiteY2"/>
                  </a:cxn>
                  <a:cxn ang="0">
                    <a:pos x="connsiteX3" y="connsiteY3"/>
                  </a:cxn>
                </a:cxnLst>
                <a:rect l="l" t="t" r="r" b="b"/>
                <a:pathLst>
                  <a:path w="165924" h="166516">
                    <a:moveTo>
                      <a:pt x="0" y="0"/>
                    </a:moveTo>
                    <a:lnTo>
                      <a:pt x="165924" y="0"/>
                    </a:lnTo>
                    <a:lnTo>
                      <a:pt x="165924" y="166516"/>
                    </a:lnTo>
                    <a:lnTo>
                      <a:pt x="0" y="166516"/>
                    </a:lnTo>
                    <a:close/>
                  </a:path>
                </a:pathLst>
              </a:custGeom>
              <a:solidFill>
                <a:srgbClr val="2978FF">
                  <a:alpha val="50000"/>
                </a:srgbClr>
              </a:solidFill>
              <a:ln w="14828" cap="flat">
                <a:noFill/>
                <a:prstDash val="solid"/>
                <a:miter/>
              </a:ln>
            </p:spPr>
            <p:txBody>
              <a:bodyPr rtlCol="0" anchor="ctr"/>
              <a:lstStyle/>
              <a:p>
                <a:endParaRPr lang="en-DK"/>
              </a:p>
            </p:txBody>
          </p:sp>
          <p:sp>
            <p:nvSpPr>
              <p:cNvPr id="183" name="Freeform 182">
                <a:extLst>
                  <a:ext uri="{FF2B5EF4-FFF2-40B4-BE49-F238E27FC236}">
                    <a16:creationId xmlns:a16="http://schemas.microsoft.com/office/drawing/2014/main" id="{1D640D6F-FF7B-C161-D4A9-7DBE53B5D6C6}"/>
                  </a:ext>
                </a:extLst>
              </p:cNvPr>
              <p:cNvSpPr/>
              <p:nvPr/>
            </p:nvSpPr>
            <p:spPr>
              <a:xfrm>
                <a:off x="3360794" y="5393830"/>
                <a:ext cx="175125" cy="175569"/>
              </a:xfrm>
              <a:custGeom>
                <a:avLst/>
                <a:gdLst>
                  <a:gd name="connsiteX0" fmla="*/ 9053 w 175125"/>
                  <a:gd name="connsiteY0" fmla="*/ 166368 h 175569"/>
                  <a:gd name="connsiteX1" fmla="*/ 165776 w 175125"/>
                  <a:gd name="connsiteY1" fmla="*/ 166368 h 175569"/>
                  <a:gd name="connsiteX2" fmla="*/ 165776 w 175125"/>
                  <a:gd name="connsiteY2" fmla="*/ 9053 h 175569"/>
                  <a:gd name="connsiteX3" fmla="*/ 9053 w 175125"/>
                  <a:gd name="connsiteY3" fmla="*/ 9053 h 175569"/>
                  <a:gd name="connsiteX4" fmla="*/ 9053 w 175125"/>
                  <a:gd name="connsiteY4" fmla="*/ 166368 h 175569"/>
                  <a:gd name="connsiteX5" fmla="*/ 170525 w 175125"/>
                  <a:gd name="connsiteY5" fmla="*/ 175569 h 175569"/>
                  <a:gd name="connsiteX6" fmla="*/ 4601 w 175125"/>
                  <a:gd name="connsiteY6" fmla="*/ 175569 h 175569"/>
                  <a:gd name="connsiteX7" fmla="*/ 0 w 175125"/>
                  <a:gd name="connsiteY7" fmla="*/ 170969 h 175569"/>
                  <a:gd name="connsiteX8" fmla="*/ 0 w 175125"/>
                  <a:gd name="connsiteY8" fmla="*/ 4601 h 175569"/>
                  <a:gd name="connsiteX9" fmla="*/ 4601 w 175125"/>
                  <a:gd name="connsiteY9" fmla="*/ 0 h 175569"/>
                  <a:gd name="connsiteX10" fmla="*/ 170525 w 175125"/>
                  <a:gd name="connsiteY10" fmla="*/ 0 h 175569"/>
                  <a:gd name="connsiteX11" fmla="*/ 175126 w 175125"/>
                  <a:gd name="connsiteY11" fmla="*/ 4601 h 175569"/>
                  <a:gd name="connsiteX12" fmla="*/ 175126 w 175125"/>
                  <a:gd name="connsiteY12" fmla="*/ 170969 h 175569"/>
                  <a:gd name="connsiteX13" fmla="*/ 170525 w 175125"/>
                  <a:gd name="connsiteY13" fmla="*/ 175569 h 17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5125" h="175569">
                    <a:moveTo>
                      <a:pt x="9053" y="166368"/>
                    </a:moveTo>
                    <a:lnTo>
                      <a:pt x="165776" y="166368"/>
                    </a:lnTo>
                    <a:lnTo>
                      <a:pt x="165776" y="9053"/>
                    </a:lnTo>
                    <a:lnTo>
                      <a:pt x="9053" y="9053"/>
                    </a:lnTo>
                    <a:lnTo>
                      <a:pt x="9053" y="166368"/>
                    </a:lnTo>
                    <a:close/>
                    <a:moveTo>
                      <a:pt x="170525" y="175569"/>
                    </a:moveTo>
                    <a:lnTo>
                      <a:pt x="4601" y="175569"/>
                    </a:lnTo>
                    <a:cubicBezTo>
                      <a:pt x="2078" y="175569"/>
                      <a:pt x="0" y="173492"/>
                      <a:pt x="0" y="170969"/>
                    </a:cubicBezTo>
                    <a:lnTo>
                      <a:pt x="0" y="4601"/>
                    </a:lnTo>
                    <a:cubicBezTo>
                      <a:pt x="0" y="2078"/>
                      <a:pt x="2078" y="0"/>
                      <a:pt x="4601" y="0"/>
                    </a:cubicBezTo>
                    <a:lnTo>
                      <a:pt x="170525" y="0"/>
                    </a:lnTo>
                    <a:cubicBezTo>
                      <a:pt x="173048" y="0"/>
                      <a:pt x="175126" y="2078"/>
                      <a:pt x="175126" y="4601"/>
                    </a:cubicBezTo>
                    <a:lnTo>
                      <a:pt x="175126" y="170969"/>
                    </a:lnTo>
                    <a:cubicBezTo>
                      <a:pt x="175126" y="173492"/>
                      <a:pt x="173048" y="175569"/>
                      <a:pt x="170525" y="175569"/>
                    </a:cubicBezTo>
                  </a:path>
                </a:pathLst>
              </a:custGeom>
              <a:solidFill>
                <a:srgbClr val="FFFFFF"/>
              </a:solidFill>
              <a:ln w="14828" cap="flat">
                <a:noFill/>
                <a:prstDash val="solid"/>
                <a:miter/>
              </a:ln>
            </p:spPr>
            <p:txBody>
              <a:bodyPr rtlCol="0" anchor="ctr"/>
              <a:lstStyle/>
              <a:p>
                <a:endParaRPr lang="en-DK"/>
              </a:p>
            </p:txBody>
          </p:sp>
        </p:grpSp>
        <p:sp>
          <p:nvSpPr>
            <p:cNvPr id="131" name="Freeform 130">
              <a:extLst>
                <a:ext uri="{FF2B5EF4-FFF2-40B4-BE49-F238E27FC236}">
                  <a16:creationId xmlns:a16="http://schemas.microsoft.com/office/drawing/2014/main" id="{FBFFCE80-828F-A3C5-867B-2B76771E64AF}"/>
                </a:ext>
              </a:extLst>
            </p:cNvPr>
            <p:cNvSpPr/>
            <p:nvPr/>
          </p:nvSpPr>
          <p:spPr>
            <a:xfrm>
              <a:off x="3413481" y="5495492"/>
              <a:ext cx="40961" cy="9201"/>
            </a:xfrm>
            <a:custGeom>
              <a:avLst/>
              <a:gdLst>
                <a:gd name="connsiteX0" fmla="*/ 0 w 40961"/>
                <a:gd name="connsiteY0" fmla="*/ 0 h 9201"/>
                <a:gd name="connsiteX1" fmla="*/ 40961 w 40961"/>
                <a:gd name="connsiteY1" fmla="*/ 0 h 9201"/>
                <a:gd name="connsiteX2" fmla="*/ 40961 w 40961"/>
                <a:gd name="connsiteY2" fmla="*/ 9201 h 9201"/>
                <a:gd name="connsiteX3" fmla="*/ 0 w 40961"/>
                <a:gd name="connsiteY3" fmla="*/ 9201 h 9201"/>
              </a:gdLst>
              <a:ahLst/>
              <a:cxnLst>
                <a:cxn ang="0">
                  <a:pos x="connsiteX0" y="connsiteY0"/>
                </a:cxn>
                <a:cxn ang="0">
                  <a:pos x="connsiteX1" y="connsiteY1"/>
                </a:cxn>
                <a:cxn ang="0">
                  <a:pos x="connsiteX2" y="connsiteY2"/>
                </a:cxn>
                <a:cxn ang="0">
                  <a:pos x="connsiteX3" y="connsiteY3"/>
                </a:cxn>
              </a:cxnLst>
              <a:rect l="l" t="t" r="r" b="b"/>
              <a:pathLst>
                <a:path w="40961" h="9201">
                  <a:moveTo>
                    <a:pt x="0" y="0"/>
                  </a:moveTo>
                  <a:lnTo>
                    <a:pt x="40961" y="0"/>
                  </a:lnTo>
                  <a:lnTo>
                    <a:pt x="40961" y="9201"/>
                  </a:lnTo>
                  <a:lnTo>
                    <a:pt x="0" y="9201"/>
                  </a:lnTo>
                  <a:close/>
                </a:path>
              </a:pathLst>
            </a:custGeom>
            <a:solidFill>
              <a:srgbClr val="FFFFFF"/>
            </a:solidFill>
            <a:ln w="14828" cap="flat">
              <a:noFill/>
              <a:prstDash val="solid"/>
              <a:miter/>
            </a:ln>
          </p:spPr>
          <p:txBody>
            <a:bodyPr rtlCol="0" anchor="ctr"/>
            <a:lstStyle/>
            <a:p>
              <a:endParaRPr lang="en-DK"/>
            </a:p>
          </p:txBody>
        </p:sp>
        <p:sp>
          <p:nvSpPr>
            <p:cNvPr id="132" name="Freeform 131">
              <a:extLst>
                <a:ext uri="{FF2B5EF4-FFF2-40B4-BE49-F238E27FC236}">
                  <a16:creationId xmlns:a16="http://schemas.microsoft.com/office/drawing/2014/main" id="{8313228F-C109-C1D9-B359-AD560C0403A1}"/>
                </a:ext>
              </a:extLst>
            </p:cNvPr>
            <p:cNvSpPr/>
            <p:nvPr/>
          </p:nvSpPr>
          <p:spPr>
            <a:xfrm>
              <a:off x="3399085" y="5445848"/>
              <a:ext cx="69308" cy="75763"/>
            </a:xfrm>
            <a:custGeom>
              <a:avLst/>
              <a:gdLst>
                <a:gd name="connsiteX0" fmla="*/ 60997 w 69308"/>
                <a:gd name="connsiteY0" fmla="*/ 75764 h 75763"/>
                <a:gd name="connsiteX1" fmla="*/ 34729 w 69308"/>
                <a:gd name="connsiteY1" fmla="*/ 15657 h 75763"/>
                <a:gd name="connsiteX2" fmla="*/ 8460 w 69308"/>
                <a:gd name="connsiteY2" fmla="*/ 75764 h 75763"/>
                <a:gd name="connsiteX3" fmla="*/ 0 w 69308"/>
                <a:gd name="connsiteY3" fmla="*/ 72053 h 75763"/>
                <a:gd name="connsiteX4" fmla="*/ 30424 w 69308"/>
                <a:gd name="connsiteY4" fmla="*/ 2449 h 75763"/>
                <a:gd name="connsiteX5" fmla="*/ 38884 w 69308"/>
                <a:gd name="connsiteY5" fmla="*/ 2449 h 75763"/>
                <a:gd name="connsiteX6" fmla="*/ 69309 w 69308"/>
                <a:gd name="connsiteY6" fmla="*/ 72053 h 75763"/>
                <a:gd name="connsiteX7" fmla="*/ 60849 w 69308"/>
                <a:gd name="connsiteY7" fmla="*/ 75764 h 75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08" h="75763">
                  <a:moveTo>
                    <a:pt x="60997" y="75764"/>
                  </a:moveTo>
                  <a:lnTo>
                    <a:pt x="34729" y="15657"/>
                  </a:lnTo>
                  <a:lnTo>
                    <a:pt x="8460" y="75764"/>
                  </a:lnTo>
                  <a:lnTo>
                    <a:pt x="0" y="72053"/>
                  </a:lnTo>
                  <a:lnTo>
                    <a:pt x="30424" y="2449"/>
                  </a:lnTo>
                  <a:cubicBezTo>
                    <a:pt x="31909" y="-816"/>
                    <a:pt x="37400" y="-816"/>
                    <a:pt x="38884" y="2449"/>
                  </a:cubicBezTo>
                  <a:lnTo>
                    <a:pt x="69309" y="72053"/>
                  </a:lnTo>
                  <a:lnTo>
                    <a:pt x="60849" y="75764"/>
                  </a:lnTo>
                  <a:close/>
                </a:path>
              </a:pathLst>
            </a:custGeom>
            <a:solidFill>
              <a:srgbClr val="FFFFFF"/>
            </a:solidFill>
            <a:ln w="14828" cap="flat">
              <a:noFill/>
              <a:prstDash val="solid"/>
              <a:miter/>
            </a:ln>
          </p:spPr>
          <p:txBody>
            <a:bodyPr rtlCol="0" anchor="ctr"/>
            <a:lstStyle/>
            <a:p>
              <a:endParaRPr lang="en-DK"/>
            </a:p>
          </p:txBody>
        </p:sp>
        <p:sp>
          <p:nvSpPr>
            <p:cNvPr id="133" name="Freeform 132">
              <a:extLst>
                <a:ext uri="{FF2B5EF4-FFF2-40B4-BE49-F238E27FC236}">
                  <a16:creationId xmlns:a16="http://schemas.microsoft.com/office/drawing/2014/main" id="{789D5613-E84D-5780-9E91-0F8E56093E0C}"/>
                </a:ext>
              </a:extLst>
            </p:cNvPr>
            <p:cNvSpPr/>
            <p:nvPr/>
          </p:nvSpPr>
          <p:spPr>
            <a:xfrm>
              <a:off x="3481602" y="5446516"/>
              <a:ext cx="9201" cy="75837"/>
            </a:xfrm>
            <a:custGeom>
              <a:avLst/>
              <a:gdLst>
                <a:gd name="connsiteX0" fmla="*/ 0 w 9201"/>
                <a:gd name="connsiteY0" fmla="*/ 0 h 75837"/>
                <a:gd name="connsiteX1" fmla="*/ 9202 w 9201"/>
                <a:gd name="connsiteY1" fmla="*/ 0 h 75837"/>
                <a:gd name="connsiteX2" fmla="*/ 9202 w 9201"/>
                <a:gd name="connsiteY2" fmla="*/ 75838 h 75837"/>
                <a:gd name="connsiteX3" fmla="*/ 0 w 9201"/>
                <a:gd name="connsiteY3" fmla="*/ 75838 h 75837"/>
              </a:gdLst>
              <a:ahLst/>
              <a:cxnLst>
                <a:cxn ang="0">
                  <a:pos x="connsiteX0" y="connsiteY0"/>
                </a:cxn>
                <a:cxn ang="0">
                  <a:pos x="connsiteX1" y="connsiteY1"/>
                </a:cxn>
                <a:cxn ang="0">
                  <a:pos x="connsiteX2" y="connsiteY2"/>
                </a:cxn>
                <a:cxn ang="0">
                  <a:pos x="connsiteX3" y="connsiteY3"/>
                </a:cxn>
              </a:cxnLst>
              <a:rect l="l" t="t" r="r" b="b"/>
              <a:pathLst>
                <a:path w="9201" h="75837">
                  <a:moveTo>
                    <a:pt x="0" y="0"/>
                  </a:moveTo>
                  <a:lnTo>
                    <a:pt x="9202" y="0"/>
                  </a:lnTo>
                  <a:lnTo>
                    <a:pt x="9202" y="75838"/>
                  </a:lnTo>
                  <a:lnTo>
                    <a:pt x="0" y="75838"/>
                  </a:lnTo>
                  <a:close/>
                </a:path>
              </a:pathLst>
            </a:custGeom>
            <a:solidFill>
              <a:srgbClr val="FFFFFF"/>
            </a:solidFill>
            <a:ln w="14828" cap="flat">
              <a:noFill/>
              <a:prstDash val="solid"/>
              <a:miter/>
            </a:ln>
          </p:spPr>
          <p:txBody>
            <a:bodyPr rtlCol="0" anchor="ctr"/>
            <a:lstStyle/>
            <a:p>
              <a:endParaRPr lang="en-DK"/>
            </a:p>
          </p:txBody>
        </p:sp>
        <p:grpSp>
          <p:nvGrpSpPr>
            <p:cNvPr id="134" name="Graphic 3">
              <a:extLst>
                <a:ext uri="{FF2B5EF4-FFF2-40B4-BE49-F238E27FC236}">
                  <a16:creationId xmlns:a16="http://schemas.microsoft.com/office/drawing/2014/main" id="{907B157A-14E3-9712-D279-A3BFDE49EE0D}"/>
                </a:ext>
              </a:extLst>
            </p:cNvPr>
            <p:cNvGrpSpPr/>
            <p:nvPr/>
          </p:nvGrpSpPr>
          <p:grpSpPr>
            <a:xfrm>
              <a:off x="1183148" y="1977129"/>
              <a:ext cx="5774999" cy="4428117"/>
              <a:chOff x="1183148" y="1977129"/>
              <a:chExt cx="5774999" cy="4428117"/>
            </a:xfrm>
          </p:grpSpPr>
          <p:sp>
            <p:nvSpPr>
              <p:cNvPr id="135" name="Freeform 134">
                <a:extLst>
                  <a:ext uri="{FF2B5EF4-FFF2-40B4-BE49-F238E27FC236}">
                    <a16:creationId xmlns:a16="http://schemas.microsoft.com/office/drawing/2014/main" id="{729FA540-C9F8-8C3D-DDAA-15571E6718EB}"/>
                  </a:ext>
                </a:extLst>
              </p:cNvPr>
              <p:cNvSpPr/>
              <p:nvPr/>
            </p:nvSpPr>
            <p:spPr>
              <a:xfrm>
                <a:off x="5936184" y="3407507"/>
                <a:ext cx="1007122" cy="1007112"/>
              </a:xfrm>
              <a:custGeom>
                <a:avLst/>
                <a:gdLst>
                  <a:gd name="connsiteX0" fmla="*/ 503561 w 1007122"/>
                  <a:gd name="connsiteY0" fmla="*/ 1007112 h 1007112"/>
                  <a:gd name="connsiteX1" fmla="*/ 1007122 w 1007122"/>
                  <a:gd name="connsiteY1" fmla="*/ 503556 h 1007112"/>
                  <a:gd name="connsiteX2" fmla="*/ 503561 w 1007122"/>
                  <a:gd name="connsiteY2" fmla="*/ 0 h 1007112"/>
                  <a:gd name="connsiteX3" fmla="*/ 0 w 1007122"/>
                  <a:gd name="connsiteY3" fmla="*/ 503556 h 1007112"/>
                  <a:gd name="connsiteX4" fmla="*/ 503561 w 1007122"/>
                  <a:gd name="connsiteY4" fmla="*/ 1007112 h 100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122" h="1007112">
                    <a:moveTo>
                      <a:pt x="503561" y="1007112"/>
                    </a:moveTo>
                    <a:cubicBezTo>
                      <a:pt x="781685" y="1007112"/>
                      <a:pt x="1007122" y="781677"/>
                      <a:pt x="1007122" y="503556"/>
                    </a:cubicBezTo>
                    <a:cubicBezTo>
                      <a:pt x="1007122" y="225435"/>
                      <a:pt x="781685" y="0"/>
                      <a:pt x="503561" y="0"/>
                    </a:cubicBezTo>
                    <a:cubicBezTo>
                      <a:pt x="225438" y="0"/>
                      <a:pt x="0" y="225435"/>
                      <a:pt x="0" y="503556"/>
                    </a:cubicBezTo>
                    <a:cubicBezTo>
                      <a:pt x="0" y="781677"/>
                      <a:pt x="225438" y="1007112"/>
                      <a:pt x="503561" y="1007112"/>
                    </a:cubicBezTo>
                  </a:path>
                </a:pathLst>
              </a:custGeom>
              <a:solidFill>
                <a:srgbClr val="001965"/>
              </a:solidFill>
              <a:ln w="14828" cap="flat">
                <a:noFill/>
                <a:prstDash val="solid"/>
                <a:miter/>
              </a:ln>
            </p:spPr>
            <p:txBody>
              <a:bodyPr rtlCol="0" anchor="ctr"/>
              <a:lstStyle/>
              <a:p>
                <a:endParaRPr lang="en-DK"/>
              </a:p>
            </p:txBody>
          </p:sp>
          <p:sp>
            <p:nvSpPr>
              <p:cNvPr id="136" name="Freeform 135">
                <a:extLst>
                  <a:ext uri="{FF2B5EF4-FFF2-40B4-BE49-F238E27FC236}">
                    <a16:creationId xmlns:a16="http://schemas.microsoft.com/office/drawing/2014/main" id="{FA22DAA4-D2FC-CD4D-171A-1ABC18873DE7}"/>
                  </a:ext>
                </a:extLst>
              </p:cNvPr>
              <p:cNvSpPr/>
              <p:nvPr/>
            </p:nvSpPr>
            <p:spPr>
              <a:xfrm>
                <a:off x="5921343" y="3392666"/>
                <a:ext cx="1036804" cy="1036794"/>
              </a:xfrm>
              <a:custGeom>
                <a:avLst/>
                <a:gdLst>
                  <a:gd name="connsiteX0" fmla="*/ 518402 w 1036804"/>
                  <a:gd name="connsiteY0" fmla="*/ 1021953 h 1036794"/>
                  <a:gd name="connsiteX1" fmla="*/ 518402 w 1036804"/>
                  <a:gd name="connsiteY1" fmla="*/ 1007112 h 1036794"/>
                  <a:gd name="connsiteX2" fmla="*/ 1007122 w 1036804"/>
                  <a:gd name="connsiteY2" fmla="*/ 518397 h 1036794"/>
                  <a:gd name="connsiteX3" fmla="*/ 518402 w 1036804"/>
                  <a:gd name="connsiteY3" fmla="*/ 29682 h 1036794"/>
                  <a:gd name="connsiteX4" fmla="*/ 29682 w 1036804"/>
                  <a:gd name="connsiteY4" fmla="*/ 518397 h 1036794"/>
                  <a:gd name="connsiteX5" fmla="*/ 518402 w 1036804"/>
                  <a:gd name="connsiteY5" fmla="*/ 1007112 h 1036794"/>
                  <a:gd name="connsiteX6" fmla="*/ 518402 w 1036804"/>
                  <a:gd name="connsiteY6" fmla="*/ 1036795 h 1036794"/>
                  <a:gd name="connsiteX7" fmla="*/ 0 w 1036804"/>
                  <a:gd name="connsiteY7" fmla="*/ 518397 h 1036794"/>
                  <a:gd name="connsiteX8" fmla="*/ 518402 w 1036804"/>
                  <a:gd name="connsiteY8" fmla="*/ 0 h 1036794"/>
                  <a:gd name="connsiteX9" fmla="*/ 1036805 w 1036804"/>
                  <a:gd name="connsiteY9" fmla="*/ 518397 h 1036794"/>
                  <a:gd name="connsiteX10" fmla="*/ 518402 w 1036804"/>
                  <a:gd name="connsiteY10" fmla="*/ 1036795 h 1036794"/>
                  <a:gd name="connsiteX11" fmla="*/ 518402 w 1036804"/>
                  <a:gd name="connsiteY11" fmla="*/ 1021953 h 1036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6804" h="1036794">
                    <a:moveTo>
                      <a:pt x="518402" y="1021953"/>
                    </a:moveTo>
                    <a:lnTo>
                      <a:pt x="518402" y="1007112"/>
                    </a:lnTo>
                    <a:cubicBezTo>
                      <a:pt x="788363" y="1006667"/>
                      <a:pt x="1006677" y="788356"/>
                      <a:pt x="1007122" y="518397"/>
                    </a:cubicBezTo>
                    <a:cubicBezTo>
                      <a:pt x="1006677" y="248439"/>
                      <a:pt x="788363" y="30127"/>
                      <a:pt x="518402" y="29682"/>
                    </a:cubicBezTo>
                    <a:cubicBezTo>
                      <a:pt x="248441" y="30127"/>
                      <a:pt x="30128" y="248439"/>
                      <a:pt x="29682" y="518397"/>
                    </a:cubicBezTo>
                    <a:cubicBezTo>
                      <a:pt x="30128" y="788356"/>
                      <a:pt x="248441" y="1006667"/>
                      <a:pt x="518402" y="1007112"/>
                    </a:cubicBezTo>
                    <a:lnTo>
                      <a:pt x="518402" y="1036795"/>
                    </a:lnTo>
                    <a:cubicBezTo>
                      <a:pt x="232116" y="1036795"/>
                      <a:pt x="0" y="804681"/>
                      <a:pt x="0" y="518397"/>
                    </a:cubicBezTo>
                    <a:cubicBezTo>
                      <a:pt x="0" y="232114"/>
                      <a:pt x="232116" y="0"/>
                      <a:pt x="518402" y="0"/>
                    </a:cubicBezTo>
                    <a:cubicBezTo>
                      <a:pt x="804689" y="0"/>
                      <a:pt x="1036805" y="232114"/>
                      <a:pt x="1036805" y="518397"/>
                    </a:cubicBezTo>
                    <a:cubicBezTo>
                      <a:pt x="1036805" y="804681"/>
                      <a:pt x="804689" y="1036795"/>
                      <a:pt x="518402" y="1036795"/>
                    </a:cubicBezTo>
                    <a:lnTo>
                      <a:pt x="518402" y="1021953"/>
                    </a:lnTo>
                    <a:close/>
                  </a:path>
                </a:pathLst>
              </a:custGeom>
              <a:gradFill>
                <a:gsLst>
                  <a:gs pos="0">
                    <a:srgbClr val="F3E700"/>
                  </a:gs>
                  <a:gs pos="33000">
                    <a:srgbClr val="8CC3CA"/>
                  </a:gs>
                  <a:gs pos="67000">
                    <a:srgbClr val="2878FF"/>
                  </a:gs>
                  <a:gs pos="100000">
                    <a:srgbClr val="E229E2"/>
                  </a:gs>
                </a:gsLst>
                <a:lin ang="0" scaled="1"/>
              </a:gradFill>
              <a:ln w="14828" cap="flat">
                <a:noFill/>
                <a:prstDash val="solid"/>
                <a:miter/>
              </a:ln>
            </p:spPr>
            <p:txBody>
              <a:bodyPr rtlCol="0" anchor="ctr"/>
              <a:lstStyle/>
              <a:p>
                <a:endParaRPr lang="en-DK"/>
              </a:p>
            </p:txBody>
          </p:sp>
          <p:sp>
            <p:nvSpPr>
              <p:cNvPr id="137" name="Freeform 136">
                <a:extLst>
                  <a:ext uri="{FF2B5EF4-FFF2-40B4-BE49-F238E27FC236}">
                    <a16:creationId xmlns:a16="http://schemas.microsoft.com/office/drawing/2014/main" id="{F06CEF29-5F00-4EA2-7A19-4E45E7FCEB3C}"/>
                  </a:ext>
                </a:extLst>
              </p:cNvPr>
              <p:cNvSpPr/>
              <p:nvPr/>
            </p:nvSpPr>
            <p:spPr>
              <a:xfrm>
                <a:off x="6160583" y="3674794"/>
                <a:ext cx="554466" cy="474319"/>
              </a:xfrm>
              <a:custGeom>
                <a:avLst/>
                <a:gdLst>
                  <a:gd name="connsiteX0" fmla="*/ 95874 w 554466"/>
                  <a:gd name="connsiteY0" fmla="*/ 37103 h 474319"/>
                  <a:gd name="connsiteX1" fmla="*/ 66192 w 554466"/>
                  <a:gd name="connsiteY1" fmla="*/ 51944 h 474319"/>
                  <a:gd name="connsiteX2" fmla="*/ 36509 w 554466"/>
                  <a:gd name="connsiteY2" fmla="*/ 66785 h 474319"/>
                  <a:gd name="connsiteX3" fmla="*/ 18700 w 554466"/>
                  <a:gd name="connsiteY3" fmla="*/ 82516 h 474319"/>
                  <a:gd name="connsiteX4" fmla="*/ 6827 w 554466"/>
                  <a:gd name="connsiteY4" fmla="*/ 111308 h 474319"/>
                  <a:gd name="connsiteX5" fmla="*/ 13951 w 554466"/>
                  <a:gd name="connsiteY5" fmla="*/ 131195 h 474319"/>
                  <a:gd name="connsiteX6" fmla="*/ 6382 w 554466"/>
                  <a:gd name="connsiteY6" fmla="*/ 140841 h 474319"/>
                  <a:gd name="connsiteX7" fmla="*/ 0 w 554466"/>
                  <a:gd name="connsiteY7" fmla="*/ 163697 h 474319"/>
                  <a:gd name="connsiteX8" fmla="*/ 6382 w 554466"/>
                  <a:gd name="connsiteY8" fmla="*/ 217273 h 474319"/>
                  <a:gd name="connsiteX9" fmla="*/ 36509 w 554466"/>
                  <a:gd name="connsiteY9" fmla="*/ 259718 h 474319"/>
                  <a:gd name="connsiteX10" fmla="*/ 66340 w 554466"/>
                  <a:gd name="connsiteY10" fmla="*/ 275449 h 474319"/>
                  <a:gd name="connsiteX11" fmla="*/ 79549 w 554466"/>
                  <a:gd name="connsiteY11" fmla="*/ 293852 h 474319"/>
                  <a:gd name="connsiteX12" fmla="*/ 105372 w 554466"/>
                  <a:gd name="connsiteY12" fmla="*/ 318489 h 474319"/>
                  <a:gd name="connsiteX13" fmla="*/ 146631 w 554466"/>
                  <a:gd name="connsiteY13" fmla="*/ 325761 h 474319"/>
                  <a:gd name="connsiteX14" fmla="*/ 186554 w 554466"/>
                  <a:gd name="connsiteY14" fmla="*/ 318489 h 474319"/>
                  <a:gd name="connsiteX15" fmla="*/ 214603 w 554466"/>
                  <a:gd name="connsiteY15" fmla="*/ 333923 h 474319"/>
                  <a:gd name="connsiteX16" fmla="*/ 244286 w 554466"/>
                  <a:gd name="connsiteY16" fmla="*/ 363605 h 474319"/>
                  <a:gd name="connsiteX17" fmla="*/ 288809 w 554466"/>
                  <a:gd name="connsiteY17" fmla="*/ 422969 h 474319"/>
                  <a:gd name="connsiteX18" fmla="*/ 303650 w 554466"/>
                  <a:gd name="connsiteY18" fmla="*/ 467492 h 474319"/>
                  <a:gd name="connsiteX19" fmla="*/ 303650 w 554466"/>
                  <a:gd name="connsiteY19" fmla="*/ 474319 h 474319"/>
                  <a:gd name="connsiteX20" fmla="*/ 346987 w 554466"/>
                  <a:gd name="connsiteY20" fmla="*/ 474319 h 474319"/>
                  <a:gd name="connsiteX21" fmla="*/ 346987 w 554466"/>
                  <a:gd name="connsiteY21" fmla="*/ 404566 h 474319"/>
                  <a:gd name="connsiteX22" fmla="*/ 374146 w 554466"/>
                  <a:gd name="connsiteY22" fmla="*/ 403825 h 474319"/>
                  <a:gd name="connsiteX23" fmla="*/ 426684 w 554466"/>
                  <a:gd name="connsiteY23" fmla="*/ 405902 h 474319"/>
                  <a:gd name="connsiteX24" fmla="*/ 459483 w 554466"/>
                  <a:gd name="connsiteY24" fmla="*/ 385867 h 474319"/>
                  <a:gd name="connsiteX25" fmla="*/ 480409 w 554466"/>
                  <a:gd name="connsiteY25" fmla="*/ 362567 h 474319"/>
                  <a:gd name="connsiteX26" fmla="*/ 489165 w 554466"/>
                  <a:gd name="connsiteY26" fmla="*/ 341344 h 474319"/>
                  <a:gd name="connsiteX27" fmla="*/ 505639 w 554466"/>
                  <a:gd name="connsiteY27" fmla="*/ 335704 h 474319"/>
                  <a:gd name="connsiteX28" fmla="*/ 527159 w 554466"/>
                  <a:gd name="connsiteY28" fmla="*/ 318489 h 474319"/>
                  <a:gd name="connsiteX29" fmla="*/ 540516 w 554466"/>
                  <a:gd name="connsiteY29" fmla="*/ 293852 h 474319"/>
                  <a:gd name="connsiteX30" fmla="*/ 540516 w 554466"/>
                  <a:gd name="connsiteY30" fmla="*/ 248736 h 474319"/>
                  <a:gd name="connsiteX31" fmla="*/ 554466 w 554466"/>
                  <a:gd name="connsiteY31" fmla="*/ 236269 h 474319"/>
                  <a:gd name="connsiteX32" fmla="*/ 554466 w 554466"/>
                  <a:gd name="connsiteY32" fmla="*/ 201244 h 474319"/>
                  <a:gd name="connsiteX33" fmla="*/ 533689 w 554466"/>
                  <a:gd name="connsiteY33" fmla="*/ 163251 h 474319"/>
                  <a:gd name="connsiteX34" fmla="*/ 504006 w 554466"/>
                  <a:gd name="connsiteY34" fmla="*/ 148410 h 474319"/>
                  <a:gd name="connsiteX35" fmla="*/ 480409 w 554466"/>
                  <a:gd name="connsiteY35" fmla="*/ 111901 h 474319"/>
                  <a:gd name="connsiteX36" fmla="*/ 440635 w 554466"/>
                  <a:gd name="connsiteY36" fmla="*/ 98693 h 474319"/>
                  <a:gd name="connsiteX37" fmla="*/ 426684 w 554466"/>
                  <a:gd name="connsiteY37" fmla="*/ 55951 h 474319"/>
                  <a:gd name="connsiteX38" fmla="*/ 387503 w 554466"/>
                  <a:gd name="connsiteY38" fmla="*/ 37103 h 474319"/>
                  <a:gd name="connsiteX39" fmla="*/ 356782 w 554466"/>
                  <a:gd name="connsiteY39" fmla="*/ 37103 h 474319"/>
                  <a:gd name="connsiteX40" fmla="*/ 339418 w 554466"/>
                  <a:gd name="connsiteY40" fmla="*/ 18997 h 474319"/>
                  <a:gd name="connsiteX41" fmla="*/ 311071 w 554466"/>
                  <a:gd name="connsiteY41" fmla="*/ 14841 h 474319"/>
                  <a:gd name="connsiteX42" fmla="*/ 277233 w 554466"/>
                  <a:gd name="connsiteY42" fmla="*/ 14841 h 474319"/>
                  <a:gd name="connsiteX43" fmla="*/ 251706 w 554466"/>
                  <a:gd name="connsiteY43" fmla="*/ 0 h 474319"/>
                  <a:gd name="connsiteX44" fmla="*/ 207183 w 554466"/>
                  <a:gd name="connsiteY44" fmla="*/ 0 h 474319"/>
                  <a:gd name="connsiteX45" fmla="*/ 162659 w 554466"/>
                  <a:gd name="connsiteY45" fmla="*/ 14841 h 474319"/>
                  <a:gd name="connsiteX46" fmla="*/ 162659 w 554466"/>
                  <a:gd name="connsiteY46" fmla="*/ 29682 h 474319"/>
                  <a:gd name="connsiteX47" fmla="*/ 132977 w 554466"/>
                  <a:gd name="connsiteY47" fmla="*/ 14841 h 474319"/>
                  <a:gd name="connsiteX48" fmla="*/ 118136 w 554466"/>
                  <a:gd name="connsiteY48" fmla="*/ 14841 h 474319"/>
                  <a:gd name="connsiteX49" fmla="*/ 95874 w 554466"/>
                  <a:gd name="connsiteY49" fmla="*/ 37103 h 47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54466" h="474319">
                    <a:moveTo>
                      <a:pt x="95874" y="37103"/>
                    </a:moveTo>
                    <a:lnTo>
                      <a:pt x="66192" y="51944"/>
                    </a:lnTo>
                    <a:lnTo>
                      <a:pt x="36509" y="66785"/>
                    </a:lnTo>
                    <a:lnTo>
                      <a:pt x="18700" y="82516"/>
                    </a:lnTo>
                    <a:lnTo>
                      <a:pt x="6827" y="111308"/>
                    </a:lnTo>
                    <a:lnTo>
                      <a:pt x="13951" y="131195"/>
                    </a:lnTo>
                    <a:lnTo>
                      <a:pt x="6382" y="140841"/>
                    </a:lnTo>
                    <a:lnTo>
                      <a:pt x="0" y="163697"/>
                    </a:lnTo>
                    <a:lnTo>
                      <a:pt x="6382" y="217273"/>
                    </a:lnTo>
                    <a:lnTo>
                      <a:pt x="36509" y="259718"/>
                    </a:lnTo>
                    <a:lnTo>
                      <a:pt x="66340" y="275449"/>
                    </a:lnTo>
                    <a:lnTo>
                      <a:pt x="79549" y="293852"/>
                    </a:lnTo>
                    <a:lnTo>
                      <a:pt x="105372" y="318489"/>
                    </a:lnTo>
                    <a:lnTo>
                      <a:pt x="146631" y="325761"/>
                    </a:lnTo>
                    <a:lnTo>
                      <a:pt x="186554" y="318489"/>
                    </a:lnTo>
                    <a:lnTo>
                      <a:pt x="214603" y="333923"/>
                    </a:lnTo>
                    <a:lnTo>
                      <a:pt x="244286" y="363605"/>
                    </a:lnTo>
                    <a:lnTo>
                      <a:pt x="288809" y="422969"/>
                    </a:lnTo>
                    <a:lnTo>
                      <a:pt x="303650" y="467492"/>
                    </a:lnTo>
                    <a:lnTo>
                      <a:pt x="303650" y="474319"/>
                    </a:lnTo>
                    <a:lnTo>
                      <a:pt x="346987" y="474319"/>
                    </a:lnTo>
                    <a:lnTo>
                      <a:pt x="346987" y="404566"/>
                    </a:lnTo>
                    <a:lnTo>
                      <a:pt x="374146" y="403825"/>
                    </a:lnTo>
                    <a:lnTo>
                      <a:pt x="426684" y="405902"/>
                    </a:lnTo>
                    <a:lnTo>
                      <a:pt x="459483" y="385867"/>
                    </a:lnTo>
                    <a:lnTo>
                      <a:pt x="480409" y="362567"/>
                    </a:lnTo>
                    <a:lnTo>
                      <a:pt x="489165" y="341344"/>
                    </a:lnTo>
                    <a:lnTo>
                      <a:pt x="505639" y="335704"/>
                    </a:lnTo>
                    <a:lnTo>
                      <a:pt x="527159" y="318489"/>
                    </a:lnTo>
                    <a:lnTo>
                      <a:pt x="540516" y="293852"/>
                    </a:lnTo>
                    <a:lnTo>
                      <a:pt x="540516" y="248736"/>
                    </a:lnTo>
                    <a:lnTo>
                      <a:pt x="554466" y="236269"/>
                    </a:lnTo>
                    <a:lnTo>
                      <a:pt x="554466" y="201244"/>
                    </a:lnTo>
                    <a:lnTo>
                      <a:pt x="533689" y="163251"/>
                    </a:lnTo>
                    <a:lnTo>
                      <a:pt x="504006" y="148410"/>
                    </a:lnTo>
                    <a:lnTo>
                      <a:pt x="480409" y="111901"/>
                    </a:lnTo>
                    <a:lnTo>
                      <a:pt x="440635" y="98693"/>
                    </a:lnTo>
                    <a:lnTo>
                      <a:pt x="426684" y="55951"/>
                    </a:lnTo>
                    <a:lnTo>
                      <a:pt x="387503" y="37103"/>
                    </a:lnTo>
                    <a:lnTo>
                      <a:pt x="356782" y="37103"/>
                    </a:lnTo>
                    <a:lnTo>
                      <a:pt x="339418" y="18997"/>
                    </a:lnTo>
                    <a:lnTo>
                      <a:pt x="311071" y="14841"/>
                    </a:lnTo>
                    <a:lnTo>
                      <a:pt x="277233" y="14841"/>
                    </a:lnTo>
                    <a:lnTo>
                      <a:pt x="251706" y="0"/>
                    </a:lnTo>
                    <a:lnTo>
                      <a:pt x="207183" y="0"/>
                    </a:lnTo>
                    <a:lnTo>
                      <a:pt x="162659" y="14841"/>
                    </a:lnTo>
                    <a:lnTo>
                      <a:pt x="162659" y="29682"/>
                    </a:lnTo>
                    <a:lnTo>
                      <a:pt x="132977" y="14841"/>
                    </a:lnTo>
                    <a:lnTo>
                      <a:pt x="118136" y="14841"/>
                    </a:lnTo>
                    <a:lnTo>
                      <a:pt x="95874" y="37103"/>
                    </a:lnTo>
                    <a:close/>
                  </a:path>
                </a:pathLst>
              </a:custGeom>
              <a:solidFill>
                <a:srgbClr val="2978FF">
                  <a:alpha val="50000"/>
                </a:srgbClr>
              </a:solidFill>
              <a:ln w="14828" cap="flat">
                <a:noFill/>
                <a:prstDash val="solid"/>
                <a:miter/>
              </a:ln>
            </p:spPr>
            <p:txBody>
              <a:bodyPr rtlCol="0" anchor="ctr"/>
              <a:lstStyle/>
              <a:p>
                <a:endParaRPr lang="en-DK"/>
              </a:p>
            </p:txBody>
          </p:sp>
          <p:sp>
            <p:nvSpPr>
              <p:cNvPr id="138" name="Freeform 137">
                <a:extLst>
                  <a:ext uri="{FF2B5EF4-FFF2-40B4-BE49-F238E27FC236}">
                    <a16:creationId xmlns:a16="http://schemas.microsoft.com/office/drawing/2014/main" id="{1F59AC4C-3653-4384-F81A-3408B453D135}"/>
                  </a:ext>
                </a:extLst>
              </p:cNvPr>
              <p:cNvSpPr/>
              <p:nvPr/>
            </p:nvSpPr>
            <p:spPr>
              <a:xfrm>
                <a:off x="6482284" y="3773487"/>
                <a:ext cx="105131" cy="65003"/>
              </a:xfrm>
              <a:custGeom>
                <a:avLst/>
                <a:gdLst>
                  <a:gd name="connsiteX0" fmla="*/ 89993 w 105131"/>
                  <a:gd name="connsiteY0" fmla="*/ 27604 h 65003"/>
                  <a:gd name="connsiteX1" fmla="*/ 84650 w 105131"/>
                  <a:gd name="connsiteY1" fmla="*/ 40664 h 65003"/>
                  <a:gd name="connsiteX2" fmla="*/ 80643 w 105131"/>
                  <a:gd name="connsiteY2" fmla="*/ 50460 h 65003"/>
                  <a:gd name="connsiteX3" fmla="*/ 90438 w 105131"/>
                  <a:gd name="connsiteY3" fmla="*/ 54467 h 65003"/>
                  <a:gd name="connsiteX4" fmla="*/ 105131 w 105131"/>
                  <a:gd name="connsiteY4" fmla="*/ 27456 h 65003"/>
                  <a:gd name="connsiteX5" fmla="*/ 67583 w 105131"/>
                  <a:gd name="connsiteY5" fmla="*/ 0 h 65003"/>
                  <a:gd name="connsiteX6" fmla="*/ 500 w 105131"/>
                  <a:gd name="connsiteY6" fmla="*/ 54912 h 65003"/>
                  <a:gd name="connsiteX7" fmla="*/ 4805 w 105131"/>
                  <a:gd name="connsiteY7" fmla="*/ 64558 h 65003"/>
                  <a:gd name="connsiteX8" fmla="*/ 7476 w 105131"/>
                  <a:gd name="connsiteY8" fmla="*/ 65004 h 65003"/>
                  <a:gd name="connsiteX9" fmla="*/ 14451 w 105131"/>
                  <a:gd name="connsiteY9" fmla="*/ 60255 h 65003"/>
                  <a:gd name="connsiteX10" fmla="*/ 67434 w 105131"/>
                  <a:gd name="connsiteY10" fmla="*/ 14989 h 65003"/>
                  <a:gd name="connsiteX11" fmla="*/ 89993 w 105131"/>
                  <a:gd name="connsiteY11" fmla="*/ 27456 h 6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131" h="65003">
                    <a:moveTo>
                      <a:pt x="89993" y="27604"/>
                    </a:moveTo>
                    <a:cubicBezTo>
                      <a:pt x="89993" y="37696"/>
                      <a:pt x="84947" y="40516"/>
                      <a:pt x="84650" y="40664"/>
                    </a:cubicBezTo>
                    <a:cubicBezTo>
                      <a:pt x="80791" y="42297"/>
                      <a:pt x="79010" y="46601"/>
                      <a:pt x="80643" y="50460"/>
                    </a:cubicBezTo>
                    <a:cubicBezTo>
                      <a:pt x="82275" y="54318"/>
                      <a:pt x="86580" y="56099"/>
                      <a:pt x="90438" y="54467"/>
                    </a:cubicBezTo>
                    <a:cubicBezTo>
                      <a:pt x="95930" y="52240"/>
                      <a:pt x="105131" y="43929"/>
                      <a:pt x="105131" y="27456"/>
                    </a:cubicBezTo>
                    <a:cubicBezTo>
                      <a:pt x="105131" y="21074"/>
                      <a:pt x="102459" y="0"/>
                      <a:pt x="67583" y="0"/>
                    </a:cubicBezTo>
                    <a:cubicBezTo>
                      <a:pt x="22020" y="0"/>
                      <a:pt x="1391" y="52537"/>
                      <a:pt x="500" y="54912"/>
                    </a:cubicBezTo>
                    <a:cubicBezTo>
                      <a:pt x="-984" y="58770"/>
                      <a:pt x="946" y="63074"/>
                      <a:pt x="4805" y="64558"/>
                    </a:cubicBezTo>
                    <a:cubicBezTo>
                      <a:pt x="5695" y="64855"/>
                      <a:pt x="6585" y="65004"/>
                      <a:pt x="7476" y="65004"/>
                    </a:cubicBezTo>
                    <a:cubicBezTo>
                      <a:pt x="10444" y="65004"/>
                      <a:pt x="13264" y="63223"/>
                      <a:pt x="14451" y="60255"/>
                    </a:cubicBezTo>
                    <a:cubicBezTo>
                      <a:pt x="14600" y="59809"/>
                      <a:pt x="32409" y="14989"/>
                      <a:pt x="67434" y="14989"/>
                    </a:cubicBezTo>
                    <a:cubicBezTo>
                      <a:pt x="77675" y="14989"/>
                      <a:pt x="89993" y="17216"/>
                      <a:pt x="89993" y="27456"/>
                    </a:cubicBezTo>
                  </a:path>
                </a:pathLst>
              </a:custGeom>
              <a:solidFill>
                <a:srgbClr val="FFFFFF"/>
              </a:solidFill>
              <a:ln w="14828" cap="flat">
                <a:noFill/>
                <a:prstDash val="solid"/>
                <a:miter/>
              </a:ln>
            </p:spPr>
            <p:txBody>
              <a:bodyPr rtlCol="0" anchor="ctr"/>
              <a:lstStyle/>
              <a:p>
                <a:endParaRPr lang="en-DK"/>
              </a:p>
            </p:txBody>
          </p:sp>
          <p:sp>
            <p:nvSpPr>
              <p:cNvPr id="139" name="Freeform 138">
                <a:extLst>
                  <a:ext uri="{FF2B5EF4-FFF2-40B4-BE49-F238E27FC236}">
                    <a16:creationId xmlns:a16="http://schemas.microsoft.com/office/drawing/2014/main" id="{BC46273A-BBD0-5C91-3547-2E7104BDC1B0}"/>
                  </a:ext>
                </a:extLst>
              </p:cNvPr>
              <p:cNvSpPr/>
              <p:nvPr/>
            </p:nvSpPr>
            <p:spPr>
              <a:xfrm>
                <a:off x="6382008" y="3823570"/>
                <a:ext cx="235854" cy="145075"/>
              </a:xfrm>
              <a:custGeom>
                <a:avLst/>
                <a:gdLst>
                  <a:gd name="connsiteX0" fmla="*/ 71539 w 235854"/>
                  <a:gd name="connsiteY0" fmla="*/ 106934 h 145075"/>
                  <a:gd name="connsiteX1" fmla="*/ 192050 w 235854"/>
                  <a:gd name="connsiteY1" fmla="*/ 64638 h 145075"/>
                  <a:gd name="connsiteX2" fmla="*/ 224700 w 235854"/>
                  <a:gd name="connsiteY2" fmla="*/ 45938 h 145075"/>
                  <a:gd name="connsiteX3" fmla="*/ 235237 w 235854"/>
                  <a:gd name="connsiteY3" fmla="*/ 6312 h 145075"/>
                  <a:gd name="connsiteX4" fmla="*/ 226630 w 235854"/>
                  <a:gd name="connsiteY4" fmla="*/ 79 h 145075"/>
                  <a:gd name="connsiteX5" fmla="*/ 220396 w 235854"/>
                  <a:gd name="connsiteY5" fmla="*/ 8687 h 145075"/>
                  <a:gd name="connsiteX6" fmla="*/ 212976 w 235854"/>
                  <a:gd name="connsiteY6" fmla="*/ 36588 h 145075"/>
                  <a:gd name="connsiteX7" fmla="*/ 187301 w 235854"/>
                  <a:gd name="connsiteY7" fmla="*/ 50093 h 145075"/>
                  <a:gd name="connsiteX8" fmla="*/ 181512 w 235854"/>
                  <a:gd name="connsiteY8" fmla="*/ 53507 h 145075"/>
                  <a:gd name="connsiteX9" fmla="*/ 70352 w 235854"/>
                  <a:gd name="connsiteY9" fmla="*/ 90609 h 145075"/>
                  <a:gd name="connsiteX10" fmla="*/ 60705 w 235854"/>
                  <a:gd name="connsiteY10" fmla="*/ 94616 h 145075"/>
                  <a:gd name="connsiteX11" fmla="*/ 7871 w 235854"/>
                  <a:gd name="connsiteY11" fmla="*/ 130086 h 145075"/>
                  <a:gd name="connsiteX12" fmla="*/ 5 w 235854"/>
                  <a:gd name="connsiteY12" fmla="*/ 137210 h 145075"/>
                  <a:gd name="connsiteX13" fmla="*/ 7129 w 235854"/>
                  <a:gd name="connsiteY13" fmla="*/ 145076 h 145075"/>
                  <a:gd name="connsiteX14" fmla="*/ 10394 w 235854"/>
                  <a:gd name="connsiteY14" fmla="*/ 145076 h 145075"/>
                  <a:gd name="connsiteX15" fmla="*/ 71391 w 235854"/>
                  <a:gd name="connsiteY15" fmla="*/ 106786 h 14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854" h="145075">
                    <a:moveTo>
                      <a:pt x="71539" y="106934"/>
                    </a:moveTo>
                    <a:cubicBezTo>
                      <a:pt x="120070" y="123260"/>
                      <a:pt x="161477" y="108715"/>
                      <a:pt x="192050" y="64638"/>
                    </a:cubicBezTo>
                    <a:cubicBezTo>
                      <a:pt x="204813" y="62856"/>
                      <a:pt x="216538" y="56178"/>
                      <a:pt x="224700" y="45938"/>
                    </a:cubicBezTo>
                    <a:cubicBezTo>
                      <a:pt x="233605" y="34807"/>
                      <a:pt x="237464" y="20411"/>
                      <a:pt x="235237" y="6312"/>
                    </a:cubicBezTo>
                    <a:cubicBezTo>
                      <a:pt x="234644" y="2305"/>
                      <a:pt x="230785" y="-515"/>
                      <a:pt x="226630" y="79"/>
                    </a:cubicBezTo>
                    <a:cubicBezTo>
                      <a:pt x="222474" y="673"/>
                      <a:pt x="219654" y="4531"/>
                      <a:pt x="220396" y="8687"/>
                    </a:cubicBezTo>
                    <a:cubicBezTo>
                      <a:pt x="221880" y="18630"/>
                      <a:pt x="219209" y="28871"/>
                      <a:pt x="212976" y="36588"/>
                    </a:cubicBezTo>
                    <a:cubicBezTo>
                      <a:pt x="206743" y="44454"/>
                      <a:pt x="197393" y="49351"/>
                      <a:pt x="187301" y="50093"/>
                    </a:cubicBezTo>
                    <a:cubicBezTo>
                      <a:pt x="184926" y="50242"/>
                      <a:pt x="182848" y="51429"/>
                      <a:pt x="181512" y="53507"/>
                    </a:cubicBezTo>
                    <a:cubicBezTo>
                      <a:pt x="153463" y="95804"/>
                      <a:pt x="116063" y="108419"/>
                      <a:pt x="70352" y="90609"/>
                    </a:cubicBezTo>
                    <a:cubicBezTo>
                      <a:pt x="66642" y="89125"/>
                      <a:pt x="62338" y="90906"/>
                      <a:pt x="60705" y="94616"/>
                    </a:cubicBezTo>
                    <a:cubicBezTo>
                      <a:pt x="50762" y="117620"/>
                      <a:pt x="30578" y="131125"/>
                      <a:pt x="7871" y="130086"/>
                    </a:cubicBezTo>
                    <a:cubicBezTo>
                      <a:pt x="3567" y="129938"/>
                      <a:pt x="153" y="133055"/>
                      <a:pt x="5" y="137210"/>
                    </a:cubicBezTo>
                    <a:cubicBezTo>
                      <a:pt x="-143" y="141366"/>
                      <a:pt x="2973" y="144927"/>
                      <a:pt x="7129" y="145076"/>
                    </a:cubicBezTo>
                    <a:cubicBezTo>
                      <a:pt x="8168" y="145076"/>
                      <a:pt x="9355" y="145076"/>
                      <a:pt x="10394" y="145076"/>
                    </a:cubicBezTo>
                    <a:cubicBezTo>
                      <a:pt x="35624" y="145076"/>
                      <a:pt x="58627" y="130532"/>
                      <a:pt x="71391" y="106786"/>
                    </a:cubicBezTo>
                  </a:path>
                </a:pathLst>
              </a:custGeom>
              <a:solidFill>
                <a:srgbClr val="FFFFFF"/>
              </a:solidFill>
              <a:ln w="14828" cap="flat">
                <a:noFill/>
                <a:prstDash val="solid"/>
                <a:miter/>
              </a:ln>
            </p:spPr>
            <p:txBody>
              <a:bodyPr rtlCol="0" anchor="ctr"/>
              <a:lstStyle/>
              <a:p>
                <a:endParaRPr lang="en-DK"/>
              </a:p>
            </p:txBody>
          </p:sp>
          <p:sp>
            <p:nvSpPr>
              <p:cNvPr id="140" name="Freeform 139">
                <a:extLst>
                  <a:ext uri="{FF2B5EF4-FFF2-40B4-BE49-F238E27FC236}">
                    <a16:creationId xmlns:a16="http://schemas.microsoft.com/office/drawing/2014/main" id="{18244241-9FA5-B9EE-4749-79F18DB71065}"/>
                  </a:ext>
                </a:extLst>
              </p:cNvPr>
              <p:cNvSpPr/>
              <p:nvPr/>
            </p:nvSpPr>
            <p:spPr>
              <a:xfrm>
                <a:off x="6392465" y="3923286"/>
                <a:ext cx="285168" cy="76972"/>
              </a:xfrm>
              <a:custGeom>
                <a:avLst/>
                <a:gdLst>
                  <a:gd name="connsiteX0" fmla="*/ 230124 w 285168"/>
                  <a:gd name="connsiteY0" fmla="*/ 5883 h 76972"/>
                  <a:gd name="connsiteX1" fmla="*/ 201481 w 285168"/>
                  <a:gd name="connsiteY1" fmla="*/ 34230 h 76972"/>
                  <a:gd name="connsiteX2" fmla="*/ 162893 w 285168"/>
                  <a:gd name="connsiteY2" fmla="*/ 22802 h 76972"/>
                  <a:gd name="connsiteX3" fmla="*/ 162448 w 285168"/>
                  <a:gd name="connsiteY3" fmla="*/ 22505 h 76972"/>
                  <a:gd name="connsiteX4" fmla="*/ 162003 w 285168"/>
                  <a:gd name="connsiteY4" fmla="*/ 22060 h 76972"/>
                  <a:gd name="connsiteX5" fmla="*/ 161261 w 285168"/>
                  <a:gd name="connsiteY5" fmla="*/ 21615 h 76972"/>
                  <a:gd name="connsiteX6" fmla="*/ 159925 w 285168"/>
                  <a:gd name="connsiteY6" fmla="*/ 21021 h 76972"/>
                  <a:gd name="connsiteX7" fmla="*/ 158441 w 285168"/>
                  <a:gd name="connsiteY7" fmla="*/ 20724 h 76972"/>
                  <a:gd name="connsiteX8" fmla="*/ 157105 w 285168"/>
                  <a:gd name="connsiteY8" fmla="*/ 20724 h 76972"/>
                  <a:gd name="connsiteX9" fmla="*/ 155621 w 285168"/>
                  <a:gd name="connsiteY9" fmla="*/ 20873 h 76972"/>
                  <a:gd name="connsiteX10" fmla="*/ 154285 w 285168"/>
                  <a:gd name="connsiteY10" fmla="*/ 21318 h 76972"/>
                  <a:gd name="connsiteX11" fmla="*/ 152950 w 285168"/>
                  <a:gd name="connsiteY11" fmla="*/ 22060 h 76972"/>
                  <a:gd name="connsiteX12" fmla="*/ 152208 w 285168"/>
                  <a:gd name="connsiteY12" fmla="*/ 22505 h 76972"/>
                  <a:gd name="connsiteX13" fmla="*/ 151911 w 285168"/>
                  <a:gd name="connsiteY13" fmla="*/ 22951 h 76972"/>
                  <a:gd name="connsiteX14" fmla="*/ 151465 w 285168"/>
                  <a:gd name="connsiteY14" fmla="*/ 23396 h 76972"/>
                  <a:gd name="connsiteX15" fmla="*/ 70878 w 285168"/>
                  <a:gd name="connsiteY15" fmla="*/ 41353 h 76972"/>
                  <a:gd name="connsiteX16" fmla="*/ 70878 w 285168"/>
                  <a:gd name="connsiteY16" fmla="*/ 41353 h 76972"/>
                  <a:gd name="connsiteX17" fmla="*/ 70878 w 285168"/>
                  <a:gd name="connsiteY17" fmla="*/ 41353 h 76972"/>
                  <a:gd name="connsiteX18" fmla="*/ 69542 w 285168"/>
                  <a:gd name="connsiteY18" fmla="*/ 40908 h 76972"/>
                  <a:gd name="connsiteX19" fmla="*/ 68207 w 285168"/>
                  <a:gd name="connsiteY19" fmla="*/ 40463 h 76972"/>
                  <a:gd name="connsiteX20" fmla="*/ 67020 w 285168"/>
                  <a:gd name="connsiteY20" fmla="*/ 40463 h 76972"/>
                  <a:gd name="connsiteX21" fmla="*/ 65387 w 285168"/>
                  <a:gd name="connsiteY21" fmla="*/ 40611 h 76972"/>
                  <a:gd name="connsiteX22" fmla="*/ 64496 w 285168"/>
                  <a:gd name="connsiteY22" fmla="*/ 41057 h 76972"/>
                  <a:gd name="connsiteX23" fmla="*/ 62864 w 285168"/>
                  <a:gd name="connsiteY23" fmla="*/ 41947 h 76972"/>
                  <a:gd name="connsiteX24" fmla="*/ 61973 w 285168"/>
                  <a:gd name="connsiteY24" fmla="*/ 42986 h 76972"/>
                  <a:gd name="connsiteX25" fmla="*/ 60935 w 285168"/>
                  <a:gd name="connsiteY25" fmla="*/ 44173 h 76972"/>
                  <a:gd name="connsiteX26" fmla="*/ 60935 w 285168"/>
                  <a:gd name="connsiteY26" fmla="*/ 44173 h 76972"/>
                  <a:gd name="connsiteX27" fmla="*/ 60935 w 285168"/>
                  <a:gd name="connsiteY27" fmla="*/ 44173 h 76972"/>
                  <a:gd name="connsiteX28" fmla="*/ 9287 w 285168"/>
                  <a:gd name="connsiteY28" fmla="*/ 60350 h 76972"/>
                  <a:gd name="connsiteX29" fmla="*/ 234 w 285168"/>
                  <a:gd name="connsiteY29" fmla="*/ 65841 h 76972"/>
                  <a:gd name="connsiteX30" fmla="*/ 5725 w 285168"/>
                  <a:gd name="connsiteY30" fmla="*/ 74894 h 76972"/>
                  <a:gd name="connsiteX31" fmla="*/ 24128 w 285168"/>
                  <a:gd name="connsiteY31" fmla="*/ 76972 h 76972"/>
                  <a:gd name="connsiteX32" fmla="*/ 70284 w 285168"/>
                  <a:gd name="connsiteY32" fmla="*/ 57233 h 76972"/>
                  <a:gd name="connsiteX33" fmla="*/ 103380 w 285168"/>
                  <a:gd name="connsiteY33" fmla="*/ 65099 h 76972"/>
                  <a:gd name="connsiteX34" fmla="*/ 158441 w 285168"/>
                  <a:gd name="connsiteY34" fmla="*/ 38237 h 76972"/>
                  <a:gd name="connsiteX35" fmla="*/ 192131 w 285168"/>
                  <a:gd name="connsiteY35" fmla="*/ 50258 h 76972"/>
                  <a:gd name="connsiteX36" fmla="*/ 205339 w 285168"/>
                  <a:gd name="connsiteY36" fmla="*/ 48626 h 76972"/>
                  <a:gd name="connsiteX37" fmla="*/ 223742 w 285168"/>
                  <a:gd name="connsiteY37" fmla="*/ 39573 h 76972"/>
                  <a:gd name="connsiteX38" fmla="*/ 255651 w 285168"/>
                  <a:gd name="connsiteY38" fmla="*/ 51149 h 76972"/>
                  <a:gd name="connsiteX39" fmla="*/ 281474 w 285168"/>
                  <a:gd name="connsiteY39" fmla="*/ 44025 h 76972"/>
                  <a:gd name="connsiteX40" fmla="*/ 284146 w 285168"/>
                  <a:gd name="connsiteY40" fmla="*/ 33785 h 76972"/>
                  <a:gd name="connsiteX41" fmla="*/ 273905 w 285168"/>
                  <a:gd name="connsiteY41" fmla="*/ 31113 h 76972"/>
                  <a:gd name="connsiteX42" fmla="*/ 234576 w 285168"/>
                  <a:gd name="connsiteY42" fmla="*/ 29184 h 76972"/>
                  <a:gd name="connsiteX43" fmla="*/ 244965 w 285168"/>
                  <a:gd name="connsiteY43" fmla="*/ 9445 h 76972"/>
                  <a:gd name="connsiteX44" fmla="*/ 239622 w 285168"/>
                  <a:gd name="connsiteY44" fmla="*/ 244 h 76972"/>
                  <a:gd name="connsiteX45" fmla="*/ 230421 w 285168"/>
                  <a:gd name="connsiteY45" fmla="*/ 5587 h 76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5168" h="76972">
                    <a:moveTo>
                      <a:pt x="230124" y="5883"/>
                    </a:moveTo>
                    <a:cubicBezTo>
                      <a:pt x="226414" y="19834"/>
                      <a:pt x="215431" y="30668"/>
                      <a:pt x="201481" y="34230"/>
                    </a:cubicBezTo>
                    <a:cubicBezTo>
                      <a:pt x="187530" y="37792"/>
                      <a:pt x="172689" y="33339"/>
                      <a:pt x="162893" y="22802"/>
                    </a:cubicBezTo>
                    <a:cubicBezTo>
                      <a:pt x="162893" y="22654"/>
                      <a:pt x="162596" y="22654"/>
                      <a:pt x="162448" y="22505"/>
                    </a:cubicBezTo>
                    <a:cubicBezTo>
                      <a:pt x="162300" y="22505"/>
                      <a:pt x="162151" y="22209"/>
                      <a:pt x="162003" y="22060"/>
                    </a:cubicBezTo>
                    <a:cubicBezTo>
                      <a:pt x="161706" y="21912"/>
                      <a:pt x="161409" y="21763"/>
                      <a:pt x="161261" y="21615"/>
                    </a:cubicBezTo>
                    <a:cubicBezTo>
                      <a:pt x="160815" y="21318"/>
                      <a:pt x="160370" y="21170"/>
                      <a:pt x="159925" y="21021"/>
                    </a:cubicBezTo>
                    <a:cubicBezTo>
                      <a:pt x="159480" y="20873"/>
                      <a:pt x="159035" y="20724"/>
                      <a:pt x="158441" y="20724"/>
                    </a:cubicBezTo>
                    <a:cubicBezTo>
                      <a:pt x="157996" y="20724"/>
                      <a:pt x="157550" y="20724"/>
                      <a:pt x="157105" y="20724"/>
                    </a:cubicBezTo>
                    <a:cubicBezTo>
                      <a:pt x="156660" y="20724"/>
                      <a:pt x="156215" y="20724"/>
                      <a:pt x="155621" y="20873"/>
                    </a:cubicBezTo>
                    <a:cubicBezTo>
                      <a:pt x="155176" y="20873"/>
                      <a:pt x="154730" y="21170"/>
                      <a:pt x="154285" y="21318"/>
                    </a:cubicBezTo>
                    <a:cubicBezTo>
                      <a:pt x="153840" y="21467"/>
                      <a:pt x="153395" y="21763"/>
                      <a:pt x="152950" y="22060"/>
                    </a:cubicBezTo>
                    <a:cubicBezTo>
                      <a:pt x="152653" y="22209"/>
                      <a:pt x="152356" y="22357"/>
                      <a:pt x="152208" y="22505"/>
                    </a:cubicBezTo>
                    <a:cubicBezTo>
                      <a:pt x="152059" y="22505"/>
                      <a:pt x="152059" y="22802"/>
                      <a:pt x="151911" y="22951"/>
                    </a:cubicBezTo>
                    <a:cubicBezTo>
                      <a:pt x="151763" y="22951"/>
                      <a:pt x="151614" y="23247"/>
                      <a:pt x="151465" y="23396"/>
                    </a:cubicBezTo>
                    <a:cubicBezTo>
                      <a:pt x="129204" y="51891"/>
                      <a:pt x="101451" y="58124"/>
                      <a:pt x="70878" y="41353"/>
                    </a:cubicBezTo>
                    <a:cubicBezTo>
                      <a:pt x="70878" y="41353"/>
                      <a:pt x="70878" y="41353"/>
                      <a:pt x="70878" y="41353"/>
                    </a:cubicBezTo>
                    <a:cubicBezTo>
                      <a:pt x="70878" y="41353"/>
                      <a:pt x="70878" y="41353"/>
                      <a:pt x="70878" y="41353"/>
                    </a:cubicBezTo>
                    <a:cubicBezTo>
                      <a:pt x="70433" y="41057"/>
                      <a:pt x="69987" y="41057"/>
                      <a:pt x="69542" y="40908"/>
                    </a:cubicBezTo>
                    <a:cubicBezTo>
                      <a:pt x="69097" y="40908"/>
                      <a:pt x="68652" y="40611"/>
                      <a:pt x="68207" y="40463"/>
                    </a:cubicBezTo>
                    <a:cubicBezTo>
                      <a:pt x="67761" y="40463"/>
                      <a:pt x="67465" y="40463"/>
                      <a:pt x="67020" y="40463"/>
                    </a:cubicBezTo>
                    <a:cubicBezTo>
                      <a:pt x="66426" y="40463"/>
                      <a:pt x="65832" y="40463"/>
                      <a:pt x="65387" y="40611"/>
                    </a:cubicBezTo>
                    <a:cubicBezTo>
                      <a:pt x="65090" y="40611"/>
                      <a:pt x="64793" y="40908"/>
                      <a:pt x="64496" y="41057"/>
                    </a:cubicBezTo>
                    <a:cubicBezTo>
                      <a:pt x="63903" y="41353"/>
                      <a:pt x="63309" y="41502"/>
                      <a:pt x="62864" y="41947"/>
                    </a:cubicBezTo>
                    <a:cubicBezTo>
                      <a:pt x="62567" y="42244"/>
                      <a:pt x="62270" y="42541"/>
                      <a:pt x="61973" y="42986"/>
                    </a:cubicBezTo>
                    <a:cubicBezTo>
                      <a:pt x="61676" y="43431"/>
                      <a:pt x="61231" y="43728"/>
                      <a:pt x="60935" y="44173"/>
                    </a:cubicBezTo>
                    <a:cubicBezTo>
                      <a:pt x="60935" y="44173"/>
                      <a:pt x="60935" y="44173"/>
                      <a:pt x="60935" y="44173"/>
                    </a:cubicBezTo>
                    <a:cubicBezTo>
                      <a:pt x="60935" y="44173"/>
                      <a:pt x="60935" y="44173"/>
                      <a:pt x="60935" y="44173"/>
                    </a:cubicBezTo>
                    <a:cubicBezTo>
                      <a:pt x="50397" y="64357"/>
                      <a:pt x="22496" y="63615"/>
                      <a:pt x="9287" y="60350"/>
                    </a:cubicBezTo>
                    <a:cubicBezTo>
                      <a:pt x="5280" y="59460"/>
                      <a:pt x="1125" y="61834"/>
                      <a:pt x="234" y="65841"/>
                    </a:cubicBezTo>
                    <a:cubicBezTo>
                      <a:pt x="-805" y="69848"/>
                      <a:pt x="1718" y="73855"/>
                      <a:pt x="5725" y="74894"/>
                    </a:cubicBezTo>
                    <a:cubicBezTo>
                      <a:pt x="10623" y="76081"/>
                      <a:pt x="17004" y="76972"/>
                      <a:pt x="24128" y="76972"/>
                    </a:cubicBezTo>
                    <a:cubicBezTo>
                      <a:pt x="39860" y="76972"/>
                      <a:pt x="58708" y="72520"/>
                      <a:pt x="70284" y="57233"/>
                    </a:cubicBezTo>
                    <a:cubicBezTo>
                      <a:pt x="81564" y="62428"/>
                      <a:pt x="92546" y="65099"/>
                      <a:pt x="103380" y="65099"/>
                    </a:cubicBezTo>
                    <a:cubicBezTo>
                      <a:pt x="123564" y="65099"/>
                      <a:pt x="142561" y="55898"/>
                      <a:pt x="158441" y="38237"/>
                    </a:cubicBezTo>
                    <a:cubicBezTo>
                      <a:pt x="168088" y="45954"/>
                      <a:pt x="179961" y="50258"/>
                      <a:pt x="192131" y="50258"/>
                    </a:cubicBezTo>
                    <a:cubicBezTo>
                      <a:pt x="196583" y="50258"/>
                      <a:pt x="201035" y="49664"/>
                      <a:pt x="205339" y="48626"/>
                    </a:cubicBezTo>
                    <a:cubicBezTo>
                      <a:pt x="212166" y="46993"/>
                      <a:pt x="218251" y="43580"/>
                      <a:pt x="223742" y="39573"/>
                    </a:cubicBezTo>
                    <a:cubicBezTo>
                      <a:pt x="232944" y="46993"/>
                      <a:pt x="244223" y="51149"/>
                      <a:pt x="255651" y="51149"/>
                    </a:cubicBezTo>
                    <a:cubicBezTo>
                      <a:pt x="264556" y="51149"/>
                      <a:pt x="273460" y="48774"/>
                      <a:pt x="281474" y="44025"/>
                    </a:cubicBezTo>
                    <a:cubicBezTo>
                      <a:pt x="285036" y="41947"/>
                      <a:pt x="286224" y="37346"/>
                      <a:pt x="284146" y="33785"/>
                    </a:cubicBezTo>
                    <a:cubicBezTo>
                      <a:pt x="282068" y="30223"/>
                      <a:pt x="277467" y="29035"/>
                      <a:pt x="273905" y="31113"/>
                    </a:cubicBezTo>
                    <a:cubicBezTo>
                      <a:pt x="261439" y="38534"/>
                      <a:pt x="245856" y="37495"/>
                      <a:pt x="234576" y="29184"/>
                    </a:cubicBezTo>
                    <a:cubicBezTo>
                      <a:pt x="239177" y="23396"/>
                      <a:pt x="243036" y="16866"/>
                      <a:pt x="244965" y="9445"/>
                    </a:cubicBezTo>
                    <a:cubicBezTo>
                      <a:pt x="246004" y="5438"/>
                      <a:pt x="243629" y="1283"/>
                      <a:pt x="239622" y="244"/>
                    </a:cubicBezTo>
                    <a:cubicBezTo>
                      <a:pt x="235615" y="-795"/>
                      <a:pt x="231460" y="1580"/>
                      <a:pt x="230421" y="5587"/>
                    </a:cubicBezTo>
                  </a:path>
                </a:pathLst>
              </a:custGeom>
              <a:solidFill>
                <a:srgbClr val="FFFFFF"/>
              </a:solidFill>
              <a:ln w="14828" cap="flat">
                <a:noFill/>
                <a:prstDash val="solid"/>
                <a:miter/>
              </a:ln>
            </p:spPr>
            <p:txBody>
              <a:bodyPr rtlCol="0" anchor="ctr"/>
              <a:lstStyle/>
              <a:p>
                <a:endParaRPr lang="en-DK"/>
              </a:p>
            </p:txBody>
          </p:sp>
          <p:sp>
            <p:nvSpPr>
              <p:cNvPr id="141" name="Freeform 140">
                <a:extLst>
                  <a:ext uri="{FF2B5EF4-FFF2-40B4-BE49-F238E27FC236}">
                    <a16:creationId xmlns:a16="http://schemas.microsoft.com/office/drawing/2014/main" id="{C1472322-D8BF-0F07-0BD6-54140EDF5DB3}"/>
                  </a:ext>
                </a:extLst>
              </p:cNvPr>
              <p:cNvSpPr/>
              <p:nvPr/>
            </p:nvSpPr>
            <p:spPr>
              <a:xfrm>
                <a:off x="6151826" y="3663515"/>
                <a:ext cx="575540" cy="495690"/>
              </a:xfrm>
              <a:custGeom>
                <a:avLst/>
                <a:gdLst>
                  <a:gd name="connsiteX0" fmla="*/ 548085 w 575540"/>
                  <a:gd name="connsiteY0" fmla="*/ 250071 h 495690"/>
                  <a:gd name="connsiteX1" fmla="*/ 495547 w 575540"/>
                  <a:gd name="connsiteY1" fmla="*/ 206884 h 495690"/>
                  <a:gd name="connsiteX2" fmla="*/ 487384 w 575540"/>
                  <a:gd name="connsiteY2" fmla="*/ 200057 h 495690"/>
                  <a:gd name="connsiteX3" fmla="*/ 480557 w 575540"/>
                  <a:gd name="connsiteY3" fmla="*/ 208220 h 495690"/>
                  <a:gd name="connsiteX4" fmla="*/ 542445 w 575540"/>
                  <a:gd name="connsiteY4" fmla="*/ 264764 h 495690"/>
                  <a:gd name="connsiteX5" fmla="*/ 520480 w 575540"/>
                  <a:gd name="connsiteY5" fmla="*/ 334517 h 495690"/>
                  <a:gd name="connsiteX6" fmla="*/ 452805 w 575540"/>
                  <a:gd name="connsiteY6" fmla="*/ 331846 h 495690"/>
                  <a:gd name="connsiteX7" fmla="*/ 451914 w 575540"/>
                  <a:gd name="connsiteY7" fmla="*/ 331400 h 495690"/>
                  <a:gd name="connsiteX8" fmla="*/ 450578 w 575540"/>
                  <a:gd name="connsiteY8" fmla="*/ 330658 h 495690"/>
                  <a:gd name="connsiteX9" fmla="*/ 449094 w 575540"/>
                  <a:gd name="connsiteY9" fmla="*/ 330361 h 495690"/>
                  <a:gd name="connsiteX10" fmla="*/ 447758 w 575540"/>
                  <a:gd name="connsiteY10" fmla="*/ 330361 h 495690"/>
                  <a:gd name="connsiteX11" fmla="*/ 446274 w 575540"/>
                  <a:gd name="connsiteY11" fmla="*/ 330658 h 495690"/>
                  <a:gd name="connsiteX12" fmla="*/ 444939 w 575540"/>
                  <a:gd name="connsiteY12" fmla="*/ 331103 h 495690"/>
                  <a:gd name="connsiteX13" fmla="*/ 443603 w 575540"/>
                  <a:gd name="connsiteY13" fmla="*/ 331994 h 495690"/>
                  <a:gd name="connsiteX14" fmla="*/ 442712 w 575540"/>
                  <a:gd name="connsiteY14" fmla="*/ 332587 h 495690"/>
                  <a:gd name="connsiteX15" fmla="*/ 372068 w 575540"/>
                  <a:gd name="connsiteY15" fmla="*/ 341789 h 495690"/>
                  <a:gd name="connsiteX16" fmla="*/ 372068 w 575540"/>
                  <a:gd name="connsiteY16" fmla="*/ 341789 h 495690"/>
                  <a:gd name="connsiteX17" fmla="*/ 369397 w 575540"/>
                  <a:gd name="connsiteY17" fmla="*/ 340750 h 495690"/>
                  <a:gd name="connsiteX18" fmla="*/ 368358 w 575540"/>
                  <a:gd name="connsiteY18" fmla="*/ 340750 h 495690"/>
                  <a:gd name="connsiteX19" fmla="*/ 366429 w 575540"/>
                  <a:gd name="connsiteY19" fmla="*/ 340750 h 495690"/>
                  <a:gd name="connsiteX20" fmla="*/ 363757 w 575540"/>
                  <a:gd name="connsiteY20" fmla="*/ 341789 h 495690"/>
                  <a:gd name="connsiteX21" fmla="*/ 287919 w 575540"/>
                  <a:gd name="connsiteY21" fmla="*/ 360489 h 495690"/>
                  <a:gd name="connsiteX22" fmla="*/ 195310 w 575540"/>
                  <a:gd name="connsiteY22" fmla="*/ 298008 h 495690"/>
                  <a:gd name="connsiteX23" fmla="*/ 317898 w 575540"/>
                  <a:gd name="connsiteY23" fmla="*/ 215492 h 495690"/>
                  <a:gd name="connsiteX24" fmla="*/ 347877 w 575540"/>
                  <a:gd name="connsiteY24" fmla="*/ 215492 h 495690"/>
                  <a:gd name="connsiteX25" fmla="*/ 395369 w 575540"/>
                  <a:gd name="connsiteY25" fmla="*/ 168000 h 495690"/>
                  <a:gd name="connsiteX26" fmla="*/ 387800 w 575540"/>
                  <a:gd name="connsiteY26" fmla="*/ 160580 h 495690"/>
                  <a:gd name="connsiteX27" fmla="*/ 380231 w 575540"/>
                  <a:gd name="connsiteY27" fmla="*/ 168000 h 495690"/>
                  <a:gd name="connsiteX28" fmla="*/ 347729 w 575540"/>
                  <a:gd name="connsiteY28" fmla="*/ 200502 h 495690"/>
                  <a:gd name="connsiteX29" fmla="*/ 317750 w 575540"/>
                  <a:gd name="connsiteY29" fmla="*/ 200502 h 495690"/>
                  <a:gd name="connsiteX30" fmla="*/ 239091 w 575540"/>
                  <a:gd name="connsiteY30" fmla="*/ 225287 h 495690"/>
                  <a:gd name="connsiteX31" fmla="*/ 241614 w 575540"/>
                  <a:gd name="connsiteY31" fmla="*/ 196198 h 495690"/>
                  <a:gd name="connsiteX32" fmla="*/ 275007 w 575540"/>
                  <a:gd name="connsiteY32" fmla="*/ 185958 h 495690"/>
                  <a:gd name="connsiteX33" fmla="*/ 282873 w 575540"/>
                  <a:gd name="connsiteY33" fmla="*/ 184326 h 495690"/>
                  <a:gd name="connsiteX34" fmla="*/ 284654 w 575540"/>
                  <a:gd name="connsiteY34" fmla="*/ 176608 h 495690"/>
                  <a:gd name="connsiteX35" fmla="*/ 289254 w 575540"/>
                  <a:gd name="connsiteY35" fmla="*/ 142326 h 495690"/>
                  <a:gd name="connsiteX36" fmla="*/ 317601 w 575540"/>
                  <a:gd name="connsiteY36" fmla="*/ 125555 h 495690"/>
                  <a:gd name="connsiteX37" fmla="*/ 322944 w 575540"/>
                  <a:gd name="connsiteY37" fmla="*/ 123329 h 495690"/>
                  <a:gd name="connsiteX38" fmla="*/ 325022 w 575540"/>
                  <a:gd name="connsiteY38" fmla="*/ 117838 h 495690"/>
                  <a:gd name="connsiteX39" fmla="*/ 378153 w 575540"/>
                  <a:gd name="connsiteY39" fmla="*/ 55802 h 495690"/>
                  <a:gd name="connsiteX40" fmla="*/ 440189 w 575540"/>
                  <a:gd name="connsiteY40" fmla="*/ 108043 h 495690"/>
                  <a:gd name="connsiteX41" fmla="*/ 440338 w 575540"/>
                  <a:gd name="connsiteY41" fmla="*/ 108488 h 495690"/>
                  <a:gd name="connsiteX42" fmla="*/ 440783 w 575540"/>
                  <a:gd name="connsiteY42" fmla="*/ 109972 h 495690"/>
                  <a:gd name="connsiteX43" fmla="*/ 441377 w 575540"/>
                  <a:gd name="connsiteY43" fmla="*/ 111159 h 495690"/>
                  <a:gd name="connsiteX44" fmla="*/ 442267 w 575540"/>
                  <a:gd name="connsiteY44" fmla="*/ 112198 h 495690"/>
                  <a:gd name="connsiteX45" fmla="*/ 443454 w 575540"/>
                  <a:gd name="connsiteY45" fmla="*/ 113237 h 495690"/>
                  <a:gd name="connsiteX46" fmla="*/ 444642 w 575540"/>
                  <a:gd name="connsiteY46" fmla="*/ 113831 h 495690"/>
                  <a:gd name="connsiteX47" fmla="*/ 446126 w 575540"/>
                  <a:gd name="connsiteY47" fmla="*/ 114424 h 495690"/>
                  <a:gd name="connsiteX48" fmla="*/ 446571 w 575540"/>
                  <a:gd name="connsiteY48" fmla="*/ 114573 h 495690"/>
                  <a:gd name="connsiteX49" fmla="*/ 510388 w 575540"/>
                  <a:gd name="connsiteY49" fmla="*/ 170227 h 495690"/>
                  <a:gd name="connsiteX50" fmla="*/ 510536 w 575540"/>
                  <a:gd name="connsiteY50" fmla="*/ 170524 h 495690"/>
                  <a:gd name="connsiteX51" fmla="*/ 512911 w 575540"/>
                  <a:gd name="connsiteY51" fmla="*/ 173937 h 495690"/>
                  <a:gd name="connsiteX52" fmla="*/ 513505 w 575540"/>
                  <a:gd name="connsiteY52" fmla="*/ 174382 h 495690"/>
                  <a:gd name="connsiteX53" fmla="*/ 517512 w 575540"/>
                  <a:gd name="connsiteY53" fmla="*/ 175718 h 495690"/>
                  <a:gd name="connsiteX54" fmla="*/ 517512 w 575540"/>
                  <a:gd name="connsiteY54" fmla="*/ 175718 h 495690"/>
                  <a:gd name="connsiteX55" fmla="*/ 560106 w 575540"/>
                  <a:gd name="connsiteY55" fmla="*/ 228255 h 495690"/>
                  <a:gd name="connsiteX56" fmla="*/ 547639 w 575540"/>
                  <a:gd name="connsiteY56" fmla="*/ 250813 h 495690"/>
                  <a:gd name="connsiteX57" fmla="*/ 407984 w 575540"/>
                  <a:gd name="connsiteY57" fmla="*/ 410206 h 495690"/>
                  <a:gd name="connsiteX58" fmla="*/ 314039 w 575540"/>
                  <a:gd name="connsiteY58" fmla="*/ 373252 h 495690"/>
                  <a:gd name="connsiteX59" fmla="*/ 368061 w 575540"/>
                  <a:gd name="connsiteY59" fmla="*/ 356333 h 495690"/>
                  <a:gd name="connsiteX60" fmla="*/ 400712 w 575540"/>
                  <a:gd name="connsiteY60" fmla="*/ 364941 h 495690"/>
                  <a:gd name="connsiteX61" fmla="*/ 448352 w 575540"/>
                  <a:gd name="connsiteY61" fmla="*/ 346983 h 495690"/>
                  <a:gd name="connsiteX62" fmla="*/ 488275 w 575540"/>
                  <a:gd name="connsiteY62" fmla="*/ 359450 h 495690"/>
                  <a:gd name="connsiteX63" fmla="*/ 489165 w 575540"/>
                  <a:gd name="connsiteY63" fmla="*/ 359450 h 495690"/>
                  <a:gd name="connsiteX64" fmla="*/ 407984 w 575540"/>
                  <a:gd name="connsiteY64" fmla="*/ 410206 h 495690"/>
                  <a:gd name="connsiteX65" fmla="*/ 84594 w 575540"/>
                  <a:gd name="connsiteY65" fmla="*/ 284503 h 495690"/>
                  <a:gd name="connsiteX66" fmla="*/ 79697 w 575540"/>
                  <a:gd name="connsiteY66" fmla="*/ 280347 h 495690"/>
                  <a:gd name="connsiteX67" fmla="*/ 15138 w 575540"/>
                  <a:gd name="connsiteY67" fmla="*/ 187442 h 495690"/>
                  <a:gd name="connsiteX68" fmla="*/ 19145 w 575540"/>
                  <a:gd name="connsiteY68" fmla="*/ 151972 h 495690"/>
                  <a:gd name="connsiteX69" fmla="*/ 47195 w 575540"/>
                  <a:gd name="connsiteY69" fmla="*/ 180319 h 495690"/>
                  <a:gd name="connsiteX70" fmla="*/ 50460 w 575540"/>
                  <a:gd name="connsiteY70" fmla="*/ 218312 h 495690"/>
                  <a:gd name="connsiteX71" fmla="*/ 100623 w 575540"/>
                  <a:gd name="connsiteY71" fmla="*/ 255414 h 495690"/>
                  <a:gd name="connsiteX72" fmla="*/ 124962 w 575540"/>
                  <a:gd name="connsiteY72" fmla="*/ 290588 h 495690"/>
                  <a:gd name="connsiteX73" fmla="*/ 160136 w 575540"/>
                  <a:gd name="connsiteY73" fmla="*/ 301718 h 495690"/>
                  <a:gd name="connsiteX74" fmla="*/ 180320 w 575540"/>
                  <a:gd name="connsiteY74" fmla="*/ 298156 h 495690"/>
                  <a:gd name="connsiteX75" fmla="*/ 186257 w 575540"/>
                  <a:gd name="connsiteY75" fmla="*/ 325315 h 495690"/>
                  <a:gd name="connsiteX76" fmla="*/ 84594 w 575540"/>
                  <a:gd name="connsiteY76" fmla="*/ 284503 h 495690"/>
                  <a:gd name="connsiteX77" fmla="*/ 28347 w 575540"/>
                  <a:gd name="connsiteY77" fmla="*/ 114276 h 495690"/>
                  <a:gd name="connsiteX78" fmla="*/ 77471 w 575540"/>
                  <a:gd name="connsiteY78" fmla="*/ 74947 h 495690"/>
                  <a:gd name="connsiteX79" fmla="*/ 77471 w 575540"/>
                  <a:gd name="connsiteY79" fmla="*/ 74947 h 495690"/>
                  <a:gd name="connsiteX80" fmla="*/ 77471 w 575540"/>
                  <a:gd name="connsiteY80" fmla="*/ 74947 h 495690"/>
                  <a:gd name="connsiteX81" fmla="*/ 77768 w 575540"/>
                  <a:gd name="connsiteY81" fmla="*/ 74947 h 495690"/>
                  <a:gd name="connsiteX82" fmla="*/ 80884 w 575540"/>
                  <a:gd name="connsiteY82" fmla="*/ 74057 h 495690"/>
                  <a:gd name="connsiteX83" fmla="*/ 81775 w 575540"/>
                  <a:gd name="connsiteY83" fmla="*/ 73463 h 495690"/>
                  <a:gd name="connsiteX84" fmla="*/ 83704 w 575540"/>
                  <a:gd name="connsiteY84" fmla="*/ 71385 h 495690"/>
                  <a:gd name="connsiteX85" fmla="*/ 84149 w 575540"/>
                  <a:gd name="connsiteY85" fmla="*/ 70940 h 495690"/>
                  <a:gd name="connsiteX86" fmla="*/ 159246 w 575540"/>
                  <a:gd name="connsiteY86" fmla="*/ 41852 h 495690"/>
                  <a:gd name="connsiteX87" fmla="*/ 158504 w 575540"/>
                  <a:gd name="connsiteY87" fmla="*/ 78509 h 495690"/>
                  <a:gd name="connsiteX88" fmla="*/ 134312 w 575540"/>
                  <a:gd name="connsiteY88" fmla="*/ 87414 h 495690"/>
                  <a:gd name="connsiteX89" fmla="*/ 110567 w 575540"/>
                  <a:gd name="connsiteY89" fmla="*/ 70347 h 495690"/>
                  <a:gd name="connsiteX90" fmla="*/ 101217 w 575540"/>
                  <a:gd name="connsiteY90" fmla="*/ 75541 h 495690"/>
                  <a:gd name="connsiteX91" fmla="*/ 106411 w 575540"/>
                  <a:gd name="connsiteY91" fmla="*/ 84891 h 495690"/>
                  <a:gd name="connsiteX92" fmla="*/ 122291 w 575540"/>
                  <a:gd name="connsiteY92" fmla="*/ 96615 h 495690"/>
                  <a:gd name="connsiteX93" fmla="*/ 104333 w 575540"/>
                  <a:gd name="connsiteY93" fmla="*/ 124219 h 495690"/>
                  <a:gd name="connsiteX94" fmla="*/ 68418 w 575540"/>
                  <a:gd name="connsiteY94" fmla="*/ 110269 h 495690"/>
                  <a:gd name="connsiteX95" fmla="*/ 60107 w 575540"/>
                  <a:gd name="connsiteY95" fmla="*/ 116799 h 495690"/>
                  <a:gd name="connsiteX96" fmla="*/ 66785 w 575540"/>
                  <a:gd name="connsiteY96" fmla="*/ 125110 h 495690"/>
                  <a:gd name="connsiteX97" fmla="*/ 120214 w 575540"/>
                  <a:gd name="connsiteY97" fmla="*/ 176015 h 495690"/>
                  <a:gd name="connsiteX98" fmla="*/ 95280 w 575540"/>
                  <a:gd name="connsiteY98" fmla="*/ 180467 h 495690"/>
                  <a:gd name="connsiteX99" fmla="*/ 90679 w 575540"/>
                  <a:gd name="connsiteY99" fmla="*/ 189965 h 495690"/>
                  <a:gd name="connsiteX100" fmla="*/ 100178 w 575540"/>
                  <a:gd name="connsiteY100" fmla="*/ 194566 h 495690"/>
                  <a:gd name="connsiteX101" fmla="*/ 181359 w 575540"/>
                  <a:gd name="connsiteY101" fmla="*/ 221428 h 495690"/>
                  <a:gd name="connsiteX102" fmla="*/ 187741 w 575540"/>
                  <a:gd name="connsiteY102" fmla="*/ 224990 h 495690"/>
                  <a:gd name="connsiteX103" fmla="*/ 191748 w 575540"/>
                  <a:gd name="connsiteY103" fmla="*/ 223951 h 495690"/>
                  <a:gd name="connsiteX104" fmla="*/ 194122 w 575540"/>
                  <a:gd name="connsiteY104" fmla="*/ 213563 h 495690"/>
                  <a:gd name="connsiteX105" fmla="*/ 135351 w 575540"/>
                  <a:gd name="connsiteY105" fmla="*/ 176460 h 495690"/>
                  <a:gd name="connsiteX106" fmla="*/ 116949 w 575540"/>
                  <a:gd name="connsiteY106" fmla="*/ 135053 h 495690"/>
                  <a:gd name="connsiteX107" fmla="*/ 140843 w 575540"/>
                  <a:gd name="connsiteY107" fmla="*/ 100622 h 495690"/>
                  <a:gd name="connsiteX108" fmla="*/ 185663 w 575540"/>
                  <a:gd name="connsiteY108" fmla="*/ 94537 h 495690"/>
                  <a:gd name="connsiteX109" fmla="*/ 195013 w 575540"/>
                  <a:gd name="connsiteY109" fmla="*/ 89492 h 495690"/>
                  <a:gd name="connsiteX110" fmla="*/ 189967 w 575540"/>
                  <a:gd name="connsiteY110" fmla="*/ 80142 h 495690"/>
                  <a:gd name="connsiteX111" fmla="*/ 174532 w 575540"/>
                  <a:gd name="connsiteY111" fmla="*/ 77470 h 495690"/>
                  <a:gd name="connsiteX112" fmla="*/ 175868 w 575540"/>
                  <a:gd name="connsiteY112" fmla="*/ 41406 h 495690"/>
                  <a:gd name="connsiteX113" fmla="*/ 227960 w 575540"/>
                  <a:gd name="connsiteY113" fmla="*/ 14841 h 495690"/>
                  <a:gd name="connsiteX114" fmla="*/ 281686 w 575540"/>
                  <a:gd name="connsiteY114" fmla="*/ 31463 h 495690"/>
                  <a:gd name="connsiteX115" fmla="*/ 291332 w 575540"/>
                  <a:gd name="connsiteY115" fmla="*/ 34134 h 495690"/>
                  <a:gd name="connsiteX116" fmla="*/ 352923 w 575540"/>
                  <a:gd name="connsiteY116" fmla="*/ 46898 h 495690"/>
                  <a:gd name="connsiteX117" fmla="*/ 310626 w 575540"/>
                  <a:gd name="connsiteY117" fmla="*/ 110714 h 495690"/>
                  <a:gd name="connsiteX118" fmla="*/ 287770 w 575540"/>
                  <a:gd name="connsiteY118" fmla="*/ 121845 h 495690"/>
                  <a:gd name="connsiteX119" fmla="*/ 258978 w 575540"/>
                  <a:gd name="connsiteY119" fmla="*/ 105817 h 495690"/>
                  <a:gd name="connsiteX120" fmla="*/ 289403 w 575540"/>
                  <a:gd name="connsiteY120" fmla="*/ 84742 h 495690"/>
                  <a:gd name="connsiteX121" fmla="*/ 289997 w 575540"/>
                  <a:gd name="connsiteY121" fmla="*/ 84446 h 495690"/>
                  <a:gd name="connsiteX122" fmla="*/ 291332 w 575540"/>
                  <a:gd name="connsiteY122" fmla="*/ 83852 h 495690"/>
                  <a:gd name="connsiteX123" fmla="*/ 292668 w 575540"/>
                  <a:gd name="connsiteY123" fmla="*/ 82961 h 495690"/>
                  <a:gd name="connsiteX124" fmla="*/ 293262 w 575540"/>
                  <a:gd name="connsiteY124" fmla="*/ 82516 h 495690"/>
                  <a:gd name="connsiteX125" fmla="*/ 293559 w 575540"/>
                  <a:gd name="connsiteY125" fmla="*/ 81923 h 495690"/>
                  <a:gd name="connsiteX126" fmla="*/ 294449 w 575540"/>
                  <a:gd name="connsiteY126" fmla="*/ 80587 h 495690"/>
                  <a:gd name="connsiteX127" fmla="*/ 295043 w 575540"/>
                  <a:gd name="connsiteY127" fmla="*/ 79251 h 495690"/>
                  <a:gd name="connsiteX128" fmla="*/ 295339 w 575540"/>
                  <a:gd name="connsiteY128" fmla="*/ 77915 h 495690"/>
                  <a:gd name="connsiteX129" fmla="*/ 295339 w 575540"/>
                  <a:gd name="connsiteY129" fmla="*/ 76431 h 495690"/>
                  <a:gd name="connsiteX130" fmla="*/ 295339 w 575540"/>
                  <a:gd name="connsiteY130" fmla="*/ 75689 h 495690"/>
                  <a:gd name="connsiteX131" fmla="*/ 295043 w 575540"/>
                  <a:gd name="connsiteY131" fmla="*/ 75096 h 495690"/>
                  <a:gd name="connsiteX132" fmla="*/ 294449 w 575540"/>
                  <a:gd name="connsiteY132" fmla="*/ 73760 h 495690"/>
                  <a:gd name="connsiteX133" fmla="*/ 293559 w 575540"/>
                  <a:gd name="connsiteY133" fmla="*/ 72573 h 495690"/>
                  <a:gd name="connsiteX134" fmla="*/ 293113 w 575540"/>
                  <a:gd name="connsiteY134" fmla="*/ 71979 h 495690"/>
                  <a:gd name="connsiteX135" fmla="*/ 217868 w 575540"/>
                  <a:gd name="connsiteY135" fmla="*/ 39774 h 495690"/>
                  <a:gd name="connsiteX136" fmla="*/ 210299 w 575540"/>
                  <a:gd name="connsiteY136" fmla="*/ 47343 h 495690"/>
                  <a:gd name="connsiteX137" fmla="*/ 217868 w 575540"/>
                  <a:gd name="connsiteY137" fmla="*/ 54912 h 495690"/>
                  <a:gd name="connsiteX138" fmla="*/ 272632 w 575540"/>
                  <a:gd name="connsiteY138" fmla="*/ 74650 h 495690"/>
                  <a:gd name="connsiteX139" fmla="*/ 244137 w 575540"/>
                  <a:gd name="connsiteY139" fmla="*/ 101661 h 495690"/>
                  <a:gd name="connsiteX140" fmla="*/ 227812 w 575540"/>
                  <a:gd name="connsiteY140" fmla="*/ 99880 h 495690"/>
                  <a:gd name="connsiteX141" fmla="*/ 160285 w 575540"/>
                  <a:gd name="connsiteY141" fmla="*/ 137428 h 495690"/>
                  <a:gd name="connsiteX142" fmla="*/ 185663 w 575540"/>
                  <a:gd name="connsiteY142" fmla="*/ 174679 h 495690"/>
                  <a:gd name="connsiteX143" fmla="*/ 187741 w 575540"/>
                  <a:gd name="connsiteY143" fmla="*/ 174976 h 495690"/>
                  <a:gd name="connsiteX144" fmla="*/ 194865 w 575540"/>
                  <a:gd name="connsiteY144" fmla="*/ 169633 h 495690"/>
                  <a:gd name="connsiteX145" fmla="*/ 189967 w 575540"/>
                  <a:gd name="connsiteY145" fmla="*/ 160283 h 495690"/>
                  <a:gd name="connsiteX146" fmla="*/ 175274 w 575540"/>
                  <a:gd name="connsiteY146" fmla="*/ 137428 h 495690"/>
                  <a:gd name="connsiteX147" fmla="*/ 227812 w 575540"/>
                  <a:gd name="connsiteY147" fmla="*/ 114870 h 495690"/>
                  <a:gd name="connsiteX148" fmla="*/ 277382 w 575540"/>
                  <a:gd name="connsiteY148" fmla="*/ 132827 h 495690"/>
                  <a:gd name="connsiteX149" fmla="*/ 277233 w 575540"/>
                  <a:gd name="connsiteY149" fmla="*/ 132976 h 495690"/>
                  <a:gd name="connsiteX150" fmla="*/ 268180 w 575540"/>
                  <a:gd name="connsiteY150" fmla="*/ 168446 h 495690"/>
                  <a:gd name="connsiteX151" fmla="*/ 248590 w 575540"/>
                  <a:gd name="connsiteY151" fmla="*/ 171859 h 495690"/>
                  <a:gd name="connsiteX152" fmla="*/ 220540 w 575540"/>
                  <a:gd name="connsiteY152" fmla="*/ 140099 h 495690"/>
                  <a:gd name="connsiteX153" fmla="*/ 210893 w 575540"/>
                  <a:gd name="connsiteY153" fmla="*/ 144552 h 495690"/>
                  <a:gd name="connsiteX154" fmla="*/ 215346 w 575540"/>
                  <a:gd name="connsiteY154" fmla="*/ 154198 h 495690"/>
                  <a:gd name="connsiteX155" fmla="*/ 235529 w 575540"/>
                  <a:gd name="connsiteY155" fmla="*/ 180467 h 495690"/>
                  <a:gd name="connsiteX156" fmla="*/ 229890 w 575540"/>
                  <a:gd name="connsiteY156" fmla="*/ 186403 h 495690"/>
                  <a:gd name="connsiteX157" fmla="*/ 226477 w 575540"/>
                  <a:gd name="connsiteY157" fmla="*/ 232559 h 495690"/>
                  <a:gd name="connsiteX158" fmla="*/ 184031 w 575540"/>
                  <a:gd name="connsiteY158" fmla="*/ 279457 h 495690"/>
                  <a:gd name="connsiteX159" fmla="*/ 133867 w 575540"/>
                  <a:gd name="connsiteY159" fmla="*/ 277824 h 495690"/>
                  <a:gd name="connsiteX160" fmla="*/ 115168 w 575540"/>
                  <a:gd name="connsiteY160" fmla="*/ 228997 h 495690"/>
                  <a:gd name="connsiteX161" fmla="*/ 109825 w 575540"/>
                  <a:gd name="connsiteY161" fmla="*/ 219796 h 495690"/>
                  <a:gd name="connsiteX162" fmla="*/ 100623 w 575540"/>
                  <a:gd name="connsiteY162" fmla="*/ 225139 h 495690"/>
                  <a:gd name="connsiteX163" fmla="*/ 98990 w 575540"/>
                  <a:gd name="connsiteY163" fmla="*/ 239534 h 495690"/>
                  <a:gd name="connsiteX164" fmla="*/ 64559 w 575540"/>
                  <a:gd name="connsiteY164" fmla="*/ 211930 h 495690"/>
                  <a:gd name="connsiteX165" fmla="*/ 73315 w 575540"/>
                  <a:gd name="connsiteY165" fmla="*/ 162064 h 495690"/>
                  <a:gd name="connsiteX166" fmla="*/ 73018 w 575540"/>
                  <a:gd name="connsiteY166" fmla="*/ 151527 h 495690"/>
                  <a:gd name="connsiteX167" fmla="*/ 62481 w 575540"/>
                  <a:gd name="connsiteY167" fmla="*/ 151972 h 495690"/>
                  <a:gd name="connsiteX168" fmla="*/ 52686 w 575540"/>
                  <a:gd name="connsiteY168" fmla="*/ 165923 h 495690"/>
                  <a:gd name="connsiteX169" fmla="*/ 28643 w 575540"/>
                  <a:gd name="connsiteY169" fmla="*/ 113979 h 495690"/>
                  <a:gd name="connsiteX170" fmla="*/ 575541 w 575540"/>
                  <a:gd name="connsiteY170" fmla="*/ 227513 h 495690"/>
                  <a:gd name="connsiteX171" fmla="*/ 523597 w 575540"/>
                  <a:gd name="connsiteY171" fmla="*/ 160877 h 495690"/>
                  <a:gd name="connsiteX172" fmla="*/ 454140 w 575540"/>
                  <a:gd name="connsiteY172" fmla="*/ 100029 h 495690"/>
                  <a:gd name="connsiteX173" fmla="*/ 377114 w 575540"/>
                  <a:gd name="connsiteY173" fmla="*/ 40219 h 495690"/>
                  <a:gd name="connsiteX174" fmla="*/ 367764 w 575540"/>
                  <a:gd name="connsiteY174" fmla="*/ 42000 h 495690"/>
                  <a:gd name="connsiteX175" fmla="*/ 289700 w 575540"/>
                  <a:gd name="connsiteY175" fmla="*/ 18551 h 495690"/>
                  <a:gd name="connsiteX176" fmla="*/ 227812 w 575540"/>
                  <a:gd name="connsiteY176" fmla="*/ 0 h 495690"/>
                  <a:gd name="connsiteX177" fmla="*/ 166518 w 575540"/>
                  <a:gd name="connsiteY177" fmla="*/ 28495 h 495690"/>
                  <a:gd name="connsiteX178" fmla="*/ 73315 w 575540"/>
                  <a:gd name="connsiteY178" fmla="*/ 60403 h 495690"/>
                  <a:gd name="connsiteX179" fmla="*/ 13506 w 575540"/>
                  <a:gd name="connsiteY179" fmla="*/ 111605 h 495690"/>
                  <a:gd name="connsiteX180" fmla="*/ 13060 w 575540"/>
                  <a:gd name="connsiteY180" fmla="*/ 133569 h 495690"/>
                  <a:gd name="connsiteX181" fmla="*/ 0 w 575540"/>
                  <a:gd name="connsiteY181" fmla="*/ 187739 h 495690"/>
                  <a:gd name="connsiteX182" fmla="*/ 72276 w 575540"/>
                  <a:gd name="connsiteY182" fmla="*/ 294149 h 495690"/>
                  <a:gd name="connsiteX183" fmla="*/ 157019 w 575540"/>
                  <a:gd name="connsiteY183" fmla="*/ 345202 h 495690"/>
                  <a:gd name="connsiteX184" fmla="*/ 194420 w 575540"/>
                  <a:gd name="connsiteY184" fmla="*/ 338672 h 495690"/>
                  <a:gd name="connsiteX185" fmla="*/ 243247 w 575540"/>
                  <a:gd name="connsiteY185" fmla="*/ 368800 h 495690"/>
                  <a:gd name="connsiteX186" fmla="*/ 300385 w 575540"/>
                  <a:gd name="connsiteY186" fmla="*/ 489309 h 495690"/>
                  <a:gd name="connsiteX187" fmla="*/ 307806 w 575540"/>
                  <a:gd name="connsiteY187" fmla="*/ 495542 h 495690"/>
                  <a:gd name="connsiteX188" fmla="*/ 309142 w 575540"/>
                  <a:gd name="connsiteY188" fmla="*/ 495542 h 495690"/>
                  <a:gd name="connsiteX189" fmla="*/ 315226 w 575540"/>
                  <a:gd name="connsiteY189" fmla="*/ 486934 h 495690"/>
                  <a:gd name="connsiteX190" fmla="*/ 266399 w 575540"/>
                  <a:gd name="connsiteY190" fmla="*/ 373994 h 495690"/>
                  <a:gd name="connsiteX191" fmla="*/ 287770 w 575540"/>
                  <a:gd name="connsiteY191" fmla="*/ 375627 h 495690"/>
                  <a:gd name="connsiteX192" fmla="*/ 295488 w 575540"/>
                  <a:gd name="connsiteY192" fmla="*/ 375330 h 495690"/>
                  <a:gd name="connsiteX193" fmla="*/ 350400 w 575540"/>
                  <a:gd name="connsiteY193" fmla="*/ 416143 h 495690"/>
                  <a:gd name="connsiteX194" fmla="*/ 350400 w 575540"/>
                  <a:gd name="connsiteY194" fmla="*/ 488270 h 495690"/>
                  <a:gd name="connsiteX195" fmla="*/ 357969 w 575540"/>
                  <a:gd name="connsiteY195" fmla="*/ 495690 h 495690"/>
                  <a:gd name="connsiteX196" fmla="*/ 365538 w 575540"/>
                  <a:gd name="connsiteY196" fmla="*/ 488270 h 495690"/>
                  <a:gd name="connsiteX197" fmla="*/ 365538 w 575540"/>
                  <a:gd name="connsiteY197" fmla="*/ 420892 h 495690"/>
                  <a:gd name="connsiteX198" fmla="*/ 407984 w 575540"/>
                  <a:gd name="connsiteY198" fmla="*/ 425789 h 495690"/>
                  <a:gd name="connsiteX199" fmla="*/ 505787 w 575540"/>
                  <a:gd name="connsiteY199" fmla="*/ 357669 h 495690"/>
                  <a:gd name="connsiteX200" fmla="*/ 528939 w 575540"/>
                  <a:gd name="connsiteY200" fmla="*/ 347428 h 495690"/>
                  <a:gd name="connsiteX201" fmla="*/ 557583 w 575540"/>
                  <a:gd name="connsiteY201" fmla="*/ 264170 h 495690"/>
                  <a:gd name="connsiteX202" fmla="*/ 575541 w 575540"/>
                  <a:gd name="connsiteY202" fmla="*/ 228107 h 49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575540" h="495690">
                    <a:moveTo>
                      <a:pt x="548085" y="250071"/>
                    </a:moveTo>
                    <a:cubicBezTo>
                      <a:pt x="525526" y="250071"/>
                      <a:pt x="498218" y="238792"/>
                      <a:pt x="495547" y="206884"/>
                    </a:cubicBezTo>
                    <a:cubicBezTo>
                      <a:pt x="495250" y="202729"/>
                      <a:pt x="491540" y="199760"/>
                      <a:pt x="487384" y="200057"/>
                    </a:cubicBezTo>
                    <a:cubicBezTo>
                      <a:pt x="483229" y="200354"/>
                      <a:pt x="480112" y="204064"/>
                      <a:pt x="480557" y="208220"/>
                    </a:cubicBezTo>
                    <a:cubicBezTo>
                      <a:pt x="483674" y="245174"/>
                      <a:pt x="513060" y="262686"/>
                      <a:pt x="542445" y="264764"/>
                    </a:cubicBezTo>
                    <a:cubicBezTo>
                      <a:pt x="548975" y="286432"/>
                      <a:pt x="549569" y="314482"/>
                      <a:pt x="520480" y="334517"/>
                    </a:cubicBezTo>
                    <a:cubicBezTo>
                      <a:pt x="499851" y="348764"/>
                      <a:pt x="471949" y="347725"/>
                      <a:pt x="452805" y="331846"/>
                    </a:cubicBezTo>
                    <a:cubicBezTo>
                      <a:pt x="452507" y="331549"/>
                      <a:pt x="452211" y="331549"/>
                      <a:pt x="451914" y="331400"/>
                    </a:cubicBezTo>
                    <a:cubicBezTo>
                      <a:pt x="451468" y="331103"/>
                      <a:pt x="451023" y="330807"/>
                      <a:pt x="450578" y="330658"/>
                    </a:cubicBezTo>
                    <a:cubicBezTo>
                      <a:pt x="450133" y="330510"/>
                      <a:pt x="449688" y="330361"/>
                      <a:pt x="449094" y="330361"/>
                    </a:cubicBezTo>
                    <a:cubicBezTo>
                      <a:pt x="448649" y="330361"/>
                      <a:pt x="448203" y="330213"/>
                      <a:pt x="447758" y="330361"/>
                    </a:cubicBezTo>
                    <a:cubicBezTo>
                      <a:pt x="447165" y="330361"/>
                      <a:pt x="446720" y="330361"/>
                      <a:pt x="446274" y="330658"/>
                    </a:cubicBezTo>
                    <a:cubicBezTo>
                      <a:pt x="445829" y="330658"/>
                      <a:pt x="445384" y="330807"/>
                      <a:pt x="444939" y="331103"/>
                    </a:cubicBezTo>
                    <a:cubicBezTo>
                      <a:pt x="444493" y="331252"/>
                      <a:pt x="444048" y="331549"/>
                      <a:pt x="443603" y="331994"/>
                    </a:cubicBezTo>
                    <a:cubicBezTo>
                      <a:pt x="443306" y="332142"/>
                      <a:pt x="443009" y="332291"/>
                      <a:pt x="442712" y="332587"/>
                    </a:cubicBezTo>
                    <a:cubicBezTo>
                      <a:pt x="422974" y="352029"/>
                      <a:pt x="393291" y="355888"/>
                      <a:pt x="372068" y="341789"/>
                    </a:cubicBezTo>
                    <a:lnTo>
                      <a:pt x="372068" y="341789"/>
                    </a:lnTo>
                    <a:cubicBezTo>
                      <a:pt x="371178" y="341195"/>
                      <a:pt x="370287" y="340899"/>
                      <a:pt x="369397" y="340750"/>
                    </a:cubicBezTo>
                    <a:cubicBezTo>
                      <a:pt x="369100" y="340750"/>
                      <a:pt x="368803" y="340750"/>
                      <a:pt x="368358" y="340750"/>
                    </a:cubicBezTo>
                    <a:cubicBezTo>
                      <a:pt x="367764" y="340750"/>
                      <a:pt x="367171" y="340750"/>
                      <a:pt x="366429" y="340750"/>
                    </a:cubicBezTo>
                    <a:cubicBezTo>
                      <a:pt x="365538" y="340899"/>
                      <a:pt x="364499" y="341344"/>
                      <a:pt x="363757" y="341789"/>
                    </a:cubicBezTo>
                    <a:cubicBezTo>
                      <a:pt x="363460" y="341937"/>
                      <a:pt x="335114" y="360489"/>
                      <a:pt x="287919" y="360489"/>
                    </a:cubicBezTo>
                    <a:cubicBezTo>
                      <a:pt x="250667" y="360489"/>
                      <a:pt x="195310" y="343867"/>
                      <a:pt x="195310" y="298008"/>
                    </a:cubicBezTo>
                    <a:cubicBezTo>
                      <a:pt x="195310" y="259124"/>
                      <a:pt x="275304" y="215492"/>
                      <a:pt x="317898" y="215492"/>
                    </a:cubicBezTo>
                    <a:lnTo>
                      <a:pt x="347877" y="215492"/>
                    </a:lnTo>
                    <a:cubicBezTo>
                      <a:pt x="369397" y="215492"/>
                      <a:pt x="395369" y="194269"/>
                      <a:pt x="395369" y="168000"/>
                    </a:cubicBezTo>
                    <a:cubicBezTo>
                      <a:pt x="395369" y="163845"/>
                      <a:pt x="391956" y="160580"/>
                      <a:pt x="387800" y="160580"/>
                    </a:cubicBezTo>
                    <a:cubicBezTo>
                      <a:pt x="383645" y="160580"/>
                      <a:pt x="380231" y="163993"/>
                      <a:pt x="380231" y="168000"/>
                    </a:cubicBezTo>
                    <a:cubicBezTo>
                      <a:pt x="380231" y="185958"/>
                      <a:pt x="360492" y="200502"/>
                      <a:pt x="347729" y="200502"/>
                    </a:cubicBezTo>
                    <a:lnTo>
                      <a:pt x="317750" y="200502"/>
                    </a:lnTo>
                    <a:cubicBezTo>
                      <a:pt x="295191" y="200502"/>
                      <a:pt x="265360" y="210149"/>
                      <a:pt x="239091" y="225287"/>
                    </a:cubicBezTo>
                    <a:cubicBezTo>
                      <a:pt x="234788" y="215937"/>
                      <a:pt x="235381" y="204806"/>
                      <a:pt x="241614" y="196198"/>
                    </a:cubicBezTo>
                    <a:cubicBezTo>
                      <a:pt x="249184" y="185810"/>
                      <a:pt x="262837" y="181506"/>
                      <a:pt x="275007" y="185958"/>
                    </a:cubicBezTo>
                    <a:cubicBezTo>
                      <a:pt x="277678" y="186997"/>
                      <a:pt x="280795" y="186255"/>
                      <a:pt x="282873" y="184326"/>
                    </a:cubicBezTo>
                    <a:cubicBezTo>
                      <a:pt x="284950" y="182248"/>
                      <a:pt x="285693" y="179280"/>
                      <a:pt x="284654" y="176608"/>
                    </a:cubicBezTo>
                    <a:cubicBezTo>
                      <a:pt x="280795" y="165181"/>
                      <a:pt x="282428" y="152417"/>
                      <a:pt x="289254" y="142326"/>
                    </a:cubicBezTo>
                    <a:cubicBezTo>
                      <a:pt x="296378" y="131788"/>
                      <a:pt x="306322" y="126000"/>
                      <a:pt x="317601" y="125555"/>
                    </a:cubicBezTo>
                    <a:cubicBezTo>
                      <a:pt x="319679" y="125555"/>
                      <a:pt x="321608" y="124665"/>
                      <a:pt x="322944" y="123329"/>
                    </a:cubicBezTo>
                    <a:cubicBezTo>
                      <a:pt x="324428" y="121845"/>
                      <a:pt x="325170" y="119916"/>
                      <a:pt x="325022" y="117838"/>
                    </a:cubicBezTo>
                    <a:cubicBezTo>
                      <a:pt x="323983" y="85633"/>
                      <a:pt x="347283" y="58325"/>
                      <a:pt x="378153" y="55802"/>
                    </a:cubicBezTo>
                    <a:cubicBezTo>
                      <a:pt x="408874" y="53131"/>
                      <a:pt x="436182" y="76135"/>
                      <a:pt x="440189" y="108043"/>
                    </a:cubicBezTo>
                    <a:cubicBezTo>
                      <a:pt x="440189" y="108191"/>
                      <a:pt x="440189" y="108340"/>
                      <a:pt x="440338" y="108488"/>
                    </a:cubicBezTo>
                    <a:cubicBezTo>
                      <a:pt x="440338" y="109082"/>
                      <a:pt x="440635" y="109527"/>
                      <a:pt x="440783" y="109972"/>
                    </a:cubicBezTo>
                    <a:cubicBezTo>
                      <a:pt x="440931" y="110417"/>
                      <a:pt x="441080" y="110863"/>
                      <a:pt x="441377" y="111159"/>
                    </a:cubicBezTo>
                    <a:cubicBezTo>
                      <a:pt x="441674" y="111605"/>
                      <a:pt x="441970" y="111901"/>
                      <a:pt x="442267" y="112198"/>
                    </a:cubicBezTo>
                    <a:cubicBezTo>
                      <a:pt x="442564" y="112643"/>
                      <a:pt x="443009" y="112940"/>
                      <a:pt x="443454" y="113237"/>
                    </a:cubicBezTo>
                    <a:cubicBezTo>
                      <a:pt x="443751" y="113534"/>
                      <a:pt x="444196" y="113682"/>
                      <a:pt x="444642" y="113831"/>
                    </a:cubicBezTo>
                    <a:cubicBezTo>
                      <a:pt x="445087" y="113979"/>
                      <a:pt x="445681" y="114276"/>
                      <a:pt x="446126" y="114424"/>
                    </a:cubicBezTo>
                    <a:cubicBezTo>
                      <a:pt x="446274" y="114424"/>
                      <a:pt x="446422" y="114424"/>
                      <a:pt x="446571" y="114573"/>
                    </a:cubicBezTo>
                    <a:cubicBezTo>
                      <a:pt x="477144" y="118580"/>
                      <a:pt x="502225" y="140545"/>
                      <a:pt x="510388" y="170227"/>
                    </a:cubicBezTo>
                    <a:cubicBezTo>
                      <a:pt x="510388" y="170227"/>
                      <a:pt x="510536" y="170375"/>
                      <a:pt x="510536" y="170524"/>
                    </a:cubicBezTo>
                    <a:cubicBezTo>
                      <a:pt x="510982" y="171859"/>
                      <a:pt x="511724" y="173046"/>
                      <a:pt x="512911" y="173937"/>
                    </a:cubicBezTo>
                    <a:cubicBezTo>
                      <a:pt x="513060" y="174085"/>
                      <a:pt x="513356" y="174234"/>
                      <a:pt x="513505" y="174382"/>
                    </a:cubicBezTo>
                    <a:cubicBezTo>
                      <a:pt x="514692" y="175124"/>
                      <a:pt x="516028" y="175718"/>
                      <a:pt x="517512" y="175718"/>
                    </a:cubicBezTo>
                    <a:lnTo>
                      <a:pt x="517512" y="175718"/>
                    </a:lnTo>
                    <a:cubicBezTo>
                      <a:pt x="525823" y="175718"/>
                      <a:pt x="560106" y="196644"/>
                      <a:pt x="560106" y="228255"/>
                    </a:cubicBezTo>
                    <a:cubicBezTo>
                      <a:pt x="560106" y="250813"/>
                      <a:pt x="551646" y="250813"/>
                      <a:pt x="547639" y="250813"/>
                    </a:cubicBezTo>
                    <a:moveTo>
                      <a:pt x="407984" y="410206"/>
                    </a:moveTo>
                    <a:cubicBezTo>
                      <a:pt x="361383" y="410206"/>
                      <a:pt x="335411" y="395810"/>
                      <a:pt x="314039" y="373252"/>
                    </a:cubicBezTo>
                    <a:cubicBezTo>
                      <a:pt x="341644" y="369393"/>
                      <a:pt x="360344" y="360637"/>
                      <a:pt x="368061" y="356333"/>
                    </a:cubicBezTo>
                    <a:cubicBezTo>
                      <a:pt x="378153" y="361973"/>
                      <a:pt x="389284" y="364941"/>
                      <a:pt x="400712" y="364941"/>
                    </a:cubicBezTo>
                    <a:cubicBezTo>
                      <a:pt x="417482" y="364941"/>
                      <a:pt x="434401" y="358559"/>
                      <a:pt x="448352" y="346983"/>
                    </a:cubicBezTo>
                    <a:cubicBezTo>
                      <a:pt x="460225" y="355146"/>
                      <a:pt x="474175" y="359450"/>
                      <a:pt x="488275" y="359450"/>
                    </a:cubicBezTo>
                    <a:cubicBezTo>
                      <a:pt x="488571" y="359450"/>
                      <a:pt x="488868" y="359450"/>
                      <a:pt x="489165" y="359450"/>
                    </a:cubicBezTo>
                    <a:cubicBezTo>
                      <a:pt x="477144" y="392248"/>
                      <a:pt x="448797" y="410206"/>
                      <a:pt x="407984" y="410206"/>
                    </a:cubicBezTo>
                    <a:moveTo>
                      <a:pt x="84594" y="284503"/>
                    </a:moveTo>
                    <a:cubicBezTo>
                      <a:pt x="83704" y="282425"/>
                      <a:pt x="81923" y="280941"/>
                      <a:pt x="79697" y="280347"/>
                    </a:cubicBezTo>
                    <a:cubicBezTo>
                      <a:pt x="21519" y="264467"/>
                      <a:pt x="15138" y="210149"/>
                      <a:pt x="15138" y="187442"/>
                    </a:cubicBezTo>
                    <a:cubicBezTo>
                      <a:pt x="15138" y="168594"/>
                      <a:pt x="17067" y="158057"/>
                      <a:pt x="19145" y="151972"/>
                    </a:cubicBezTo>
                    <a:cubicBezTo>
                      <a:pt x="25082" y="163993"/>
                      <a:pt x="34728" y="173937"/>
                      <a:pt x="47195" y="180319"/>
                    </a:cubicBezTo>
                    <a:cubicBezTo>
                      <a:pt x="44227" y="192637"/>
                      <a:pt x="45117" y="205845"/>
                      <a:pt x="50460" y="218312"/>
                    </a:cubicBezTo>
                    <a:cubicBezTo>
                      <a:pt x="59365" y="238941"/>
                      <a:pt x="78658" y="252891"/>
                      <a:pt x="100623" y="255414"/>
                    </a:cubicBezTo>
                    <a:cubicBezTo>
                      <a:pt x="104185" y="269216"/>
                      <a:pt x="112644" y="281831"/>
                      <a:pt x="124962" y="290588"/>
                    </a:cubicBezTo>
                    <a:cubicBezTo>
                      <a:pt x="135351" y="298008"/>
                      <a:pt x="147669" y="301718"/>
                      <a:pt x="160136" y="301718"/>
                    </a:cubicBezTo>
                    <a:cubicBezTo>
                      <a:pt x="166963" y="301718"/>
                      <a:pt x="173790" y="300382"/>
                      <a:pt x="180320" y="298156"/>
                    </a:cubicBezTo>
                    <a:cubicBezTo>
                      <a:pt x="180320" y="308397"/>
                      <a:pt x="182546" y="317450"/>
                      <a:pt x="186257" y="325315"/>
                    </a:cubicBezTo>
                    <a:cubicBezTo>
                      <a:pt x="138171" y="339711"/>
                      <a:pt x="99139" y="316708"/>
                      <a:pt x="84594" y="284503"/>
                    </a:cubicBezTo>
                    <a:moveTo>
                      <a:pt x="28347" y="114276"/>
                    </a:moveTo>
                    <a:cubicBezTo>
                      <a:pt x="32947" y="90827"/>
                      <a:pt x="53576" y="74205"/>
                      <a:pt x="77471" y="74947"/>
                    </a:cubicBezTo>
                    <a:cubicBezTo>
                      <a:pt x="77471" y="74947"/>
                      <a:pt x="77471" y="74947"/>
                      <a:pt x="77471" y="74947"/>
                    </a:cubicBezTo>
                    <a:cubicBezTo>
                      <a:pt x="77471" y="74947"/>
                      <a:pt x="77471" y="74947"/>
                      <a:pt x="77471" y="74947"/>
                    </a:cubicBezTo>
                    <a:cubicBezTo>
                      <a:pt x="77471" y="74947"/>
                      <a:pt x="77620" y="74947"/>
                      <a:pt x="77768" y="74947"/>
                    </a:cubicBezTo>
                    <a:cubicBezTo>
                      <a:pt x="78807" y="74947"/>
                      <a:pt x="79994" y="74650"/>
                      <a:pt x="80884" y="74057"/>
                    </a:cubicBezTo>
                    <a:cubicBezTo>
                      <a:pt x="81181" y="73908"/>
                      <a:pt x="81478" y="73760"/>
                      <a:pt x="81775" y="73463"/>
                    </a:cubicBezTo>
                    <a:cubicBezTo>
                      <a:pt x="82517" y="72870"/>
                      <a:pt x="83259" y="72127"/>
                      <a:pt x="83704" y="71385"/>
                    </a:cubicBezTo>
                    <a:cubicBezTo>
                      <a:pt x="83704" y="71237"/>
                      <a:pt x="84001" y="71089"/>
                      <a:pt x="84149" y="70940"/>
                    </a:cubicBezTo>
                    <a:cubicBezTo>
                      <a:pt x="97952" y="43484"/>
                      <a:pt x="129860" y="31760"/>
                      <a:pt x="159246" y="41852"/>
                    </a:cubicBezTo>
                    <a:cubicBezTo>
                      <a:pt x="154645" y="53725"/>
                      <a:pt x="154200" y="66339"/>
                      <a:pt x="158504" y="78509"/>
                    </a:cubicBezTo>
                    <a:cubicBezTo>
                      <a:pt x="150044" y="79845"/>
                      <a:pt x="141882" y="82813"/>
                      <a:pt x="134312" y="87414"/>
                    </a:cubicBezTo>
                    <a:cubicBezTo>
                      <a:pt x="128525" y="79251"/>
                      <a:pt x="120214" y="73166"/>
                      <a:pt x="110567" y="70347"/>
                    </a:cubicBezTo>
                    <a:cubicBezTo>
                      <a:pt x="106560" y="69159"/>
                      <a:pt x="102404" y="71534"/>
                      <a:pt x="101217" y="75541"/>
                    </a:cubicBezTo>
                    <a:cubicBezTo>
                      <a:pt x="100029" y="79548"/>
                      <a:pt x="102404" y="83703"/>
                      <a:pt x="106411" y="84891"/>
                    </a:cubicBezTo>
                    <a:cubicBezTo>
                      <a:pt x="113090" y="86820"/>
                      <a:pt x="118581" y="90976"/>
                      <a:pt x="122291" y="96615"/>
                    </a:cubicBezTo>
                    <a:cubicBezTo>
                      <a:pt x="114129" y="104333"/>
                      <a:pt x="108044" y="113682"/>
                      <a:pt x="104333" y="124219"/>
                    </a:cubicBezTo>
                    <a:cubicBezTo>
                      <a:pt x="94093" y="116799"/>
                      <a:pt x="81923" y="111753"/>
                      <a:pt x="68418" y="110269"/>
                    </a:cubicBezTo>
                    <a:cubicBezTo>
                      <a:pt x="64411" y="109824"/>
                      <a:pt x="60552" y="112792"/>
                      <a:pt x="60107" y="116799"/>
                    </a:cubicBezTo>
                    <a:cubicBezTo>
                      <a:pt x="59661" y="120954"/>
                      <a:pt x="62630" y="124665"/>
                      <a:pt x="66785" y="125110"/>
                    </a:cubicBezTo>
                    <a:cubicBezTo>
                      <a:pt x="94538" y="128226"/>
                      <a:pt x="115761" y="149301"/>
                      <a:pt x="120214" y="176015"/>
                    </a:cubicBezTo>
                    <a:cubicBezTo>
                      <a:pt x="111903" y="176312"/>
                      <a:pt x="103443" y="177647"/>
                      <a:pt x="95280" y="180467"/>
                    </a:cubicBezTo>
                    <a:cubicBezTo>
                      <a:pt x="91422" y="181803"/>
                      <a:pt x="89344" y="186107"/>
                      <a:pt x="90679" y="189965"/>
                    </a:cubicBezTo>
                    <a:cubicBezTo>
                      <a:pt x="92015" y="193824"/>
                      <a:pt x="96319" y="195902"/>
                      <a:pt x="100178" y="194566"/>
                    </a:cubicBezTo>
                    <a:cubicBezTo>
                      <a:pt x="131047" y="183880"/>
                      <a:pt x="165182" y="195160"/>
                      <a:pt x="181359" y="221428"/>
                    </a:cubicBezTo>
                    <a:cubicBezTo>
                      <a:pt x="182843" y="223654"/>
                      <a:pt x="185218" y="224990"/>
                      <a:pt x="187741" y="224990"/>
                    </a:cubicBezTo>
                    <a:cubicBezTo>
                      <a:pt x="189076" y="224990"/>
                      <a:pt x="190412" y="224693"/>
                      <a:pt x="191748" y="223951"/>
                    </a:cubicBezTo>
                    <a:cubicBezTo>
                      <a:pt x="195310" y="221725"/>
                      <a:pt x="196349" y="217124"/>
                      <a:pt x="194122" y="213563"/>
                    </a:cubicBezTo>
                    <a:cubicBezTo>
                      <a:pt x="181211" y="192785"/>
                      <a:pt x="159246" y="179725"/>
                      <a:pt x="135351" y="176460"/>
                    </a:cubicBezTo>
                    <a:cubicBezTo>
                      <a:pt x="133422" y="160728"/>
                      <a:pt x="126892" y="146333"/>
                      <a:pt x="116949" y="135053"/>
                    </a:cubicBezTo>
                    <a:cubicBezTo>
                      <a:pt x="120065" y="120954"/>
                      <a:pt x="128525" y="108488"/>
                      <a:pt x="140843" y="100622"/>
                    </a:cubicBezTo>
                    <a:cubicBezTo>
                      <a:pt x="154200" y="92163"/>
                      <a:pt x="170525" y="89937"/>
                      <a:pt x="185663" y="94537"/>
                    </a:cubicBezTo>
                    <a:cubicBezTo>
                      <a:pt x="189670" y="95725"/>
                      <a:pt x="193826" y="93499"/>
                      <a:pt x="195013" y="89492"/>
                    </a:cubicBezTo>
                    <a:cubicBezTo>
                      <a:pt x="196200" y="85484"/>
                      <a:pt x="193974" y="81329"/>
                      <a:pt x="189967" y="80142"/>
                    </a:cubicBezTo>
                    <a:cubicBezTo>
                      <a:pt x="184921" y="78658"/>
                      <a:pt x="179726" y="77767"/>
                      <a:pt x="174532" y="77470"/>
                    </a:cubicBezTo>
                    <a:cubicBezTo>
                      <a:pt x="169041" y="65449"/>
                      <a:pt x="169189" y="52834"/>
                      <a:pt x="175868" y="41406"/>
                    </a:cubicBezTo>
                    <a:cubicBezTo>
                      <a:pt x="185366" y="24933"/>
                      <a:pt x="205402" y="14841"/>
                      <a:pt x="227960" y="14841"/>
                    </a:cubicBezTo>
                    <a:cubicBezTo>
                      <a:pt x="269367" y="14841"/>
                      <a:pt x="281686" y="31463"/>
                      <a:pt x="281686" y="31463"/>
                    </a:cubicBezTo>
                    <a:cubicBezTo>
                      <a:pt x="283763" y="34580"/>
                      <a:pt x="287919" y="35767"/>
                      <a:pt x="291332" y="34134"/>
                    </a:cubicBezTo>
                    <a:cubicBezTo>
                      <a:pt x="312110" y="23746"/>
                      <a:pt x="337637" y="29534"/>
                      <a:pt x="352923" y="46898"/>
                    </a:cubicBezTo>
                    <a:cubicBezTo>
                      <a:pt x="328881" y="58325"/>
                      <a:pt x="312110" y="82516"/>
                      <a:pt x="310626" y="110714"/>
                    </a:cubicBezTo>
                    <a:cubicBezTo>
                      <a:pt x="302166" y="112198"/>
                      <a:pt x="294449" y="116205"/>
                      <a:pt x="287770" y="121845"/>
                    </a:cubicBezTo>
                    <a:cubicBezTo>
                      <a:pt x="281982" y="117393"/>
                      <a:pt x="271891" y="110714"/>
                      <a:pt x="258978" y="105817"/>
                    </a:cubicBezTo>
                    <a:cubicBezTo>
                      <a:pt x="265954" y="95131"/>
                      <a:pt x="276788" y="87265"/>
                      <a:pt x="289403" y="84742"/>
                    </a:cubicBezTo>
                    <a:cubicBezTo>
                      <a:pt x="289700" y="84742"/>
                      <a:pt x="289848" y="84594"/>
                      <a:pt x="289997" y="84446"/>
                    </a:cubicBezTo>
                    <a:cubicBezTo>
                      <a:pt x="290442" y="84446"/>
                      <a:pt x="290887" y="84149"/>
                      <a:pt x="291332" y="83852"/>
                    </a:cubicBezTo>
                    <a:cubicBezTo>
                      <a:pt x="291778" y="83555"/>
                      <a:pt x="292223" y="83258"/>
                      <a:pt x="292668" y="82961"/>
                    </a:cubicBezTo>
                    <a:cubicBezTo>
                      <a:pt x="292817" y="82813"/>
                      <a:pt x="293113" y="82813"/>
                      <a:pt x="293262" y="82516"/>
                    </a:cubicBezTo>
                    <a:cubicBezTo>
                      <a:pt x="293410" y="82368"/>
                      <a:pt x="293559" y="82071"/>
                      <a:pt x="293559" y="81923"/>
                    </a:cubicBezTo>
                    <a:cubicBezTo>
                      <a:pt x="293855" y="81477"/>
                      <a:pt x="294152" y="81180"/>
                      <a:pt x="294449" y="80587"/>
                    </a:cubicBezTo>
                    <a:cubicBezTo>
                      <a:pt x="294597" y="80142"/>
                      <a:pt x="294894" y="79696"/>
                      <a:pt x="295043" y="79251"/>
                    </a:cubicBezTo>
                    <a:cubicBezTo>
                      <a:pt x="295043" y="78806"/>
                      <a:pt x="295191" y="78361"/>
                      <a:pt x="295339" y="77915"/>
                    </a:cubicBezTo>
                    <a:cubicBezTo>
                      <a:pt x="295339" y="77322"/>
                      <a:pt x="295339" y="76877"/>
                      <a:pt x="295339" y="76431"/>
                    </a:cubicBezTo>
                    <a:cubicBezTo>
                      <a:pt x="295339" y="76135"/>
                      <a:pt x="295339" y="75986"/>
                      <a:pt x="295339" y="75689"/>
                    </a:cubicBezTo>
                    <a:cubicBezTo>
                      <a:pt x="295339" y="75392"/>
                      <a:pt x="295191" y="75244"/>
                      <a:pt x="295043" y="75096"/>
                    </a:cubicBezTo>
                    <a:cubicBezTo>
                      <a:pt x="294894" y="74650"/>
                      <a:pt x="294746" y="74205"/>
                      <a:pt x="294449" y="73760"/>
                    </a:cubicBezTo>
                    <a:cubicBezTo>
                      <a:pt x="294152" y="73315"/>
                      <a:pt x="294004" y="72870"/>
                      <a:pt x="293559" y="72573"/>
                    </a:cubicBezTo>
                    <a:cubicBezTo>
                      <a:pt x="293410" y="72424"/>
                      <a:pt x="293262" y="72127"/>
                      <a:pt x="293113" y="71979"/>
                    </a:cubicBezTo>
                    <a:cubicBezTo>
                      <a:pt x="272187" y="51498"/>
                      <a:pt x="244731" y="39774"/>
                      <a:pt x="217868" y="39774"/>
                    </a:cubicBezTo>
                    <a:cubicBezTo>
                      <a:pt x="213713" y="39774"/>
                      <a:pt x="210299" y="43187"/>
                      <a:pt x="210299" y="47343"/>
                    </a:cubicBezTo>
                    <a:cubicBezTo>
                      <a:pt x="210299" y="51498"/>
                      <a:pt x="213713" y="54912"/>
                      <a:pt x="217868" y="54912"/>
                    </a:cubicBezTo>
                    <a:cubicBezTo>
                      <a:pt x="236865" y="54912"/>
                      <a:pt x="256159" y="62184"/>
                      <a:pt x="272632" y="74650"/>
                    </a:cubicBezTo>
                    <a:cubicBezTo>
                      <a:pt x="260463" y="80290"/>
                      <a:pt x="250667" y="89788"/>
                      <a:pt x="244137" y="101661"/>
                    </a:cubicBezTo>
                    <a:cubicBezTo>
                      <a:pt x="238943" y="100622"/>
                      <a:pt x="233600" y="99880"/>
                      <a:pt x="227812" y="99880"/>
                    </a:cubicBezTo>
                    <a:cubicBezTo>
                      <a:pt x="182992" y="99880"/>
                      <a:pt x="160285" y="112495"/>
                      <a:pt x="160285" y="137428"/>
                    </a:cubicBezTo>
                    <a:cubicBezTo>
                      <a:pt x="160285" y="160877"/>
                      <a:pt x="176907" y="172008"/>
                      <a:pt x="185663" y="174679"/>
                    </a:cubicBezTo>
                    <a:cubicBezTo>
                      <a:pt x="186405" y="174827"/>
                      <a:pt x="187147" y="174976"/>
                      <a:pt x="187741" y="174976"/>
                    </a:cubicBezTo>
                    <a:cubicBezTo>
                      <a:pt x="191006" y="174976"/>
                      <a:pt x="193826" y="172898"/>
                      <a:pt x="194865" y="169633"/>
                    </a:cubicBezTo>
                    <a:cubicBezTo>
                      <a:pt x="196052" y="165774"/>
                      <a:pt x="193826" y="161470"/>
                      <a:pt x="189967" y="160283"/>
                    </a:cubicBezTo>
                    <a:cubicBezTo>
                      <a:pt x="188483" y="159838"/>
                      <a:pt x="175274" y="155089"/>
                      <a:pt x="175274" y="137428"/>
                    </a:cubicBezTo>
                    <a:cubicBezTo>
                      <a:pt x="175274" y="122439"/>
                      <a:pt x="192935" y="114870"/>
                      <a:pt x="227812" y="114870"/>
                    </a:cubicBezTo>
                    <a:cubicBezTo>
                      <a:pt x="250519" y="114870"/>
                      <a:pt x="268922" y="126446"/>
                      <a:pt x="277382" y="132827"/>
                    </a:cubicBezTo>
                    <a:cubicBezTo>
                      <a:pt x="277382" y="132827"/>
                      <a:pt x="277382" y="132827"/>
                      <a:pt x="277233" y="132976"/>
                    </a:cubicBezTo>
                    <a:cubicBezTo>
                      <a:pt x="270109" y="143364"/>
                      <a:pt x="266993" y="156128"/>
                      <a:pt x="268180" y="168446"/>
                    </a:cubicBezTo>
                    <a:cubicBezTo>
                      <a:pt x="261353" y="168000"/>
                      <a:pt x="254675" y="169336"/>
                      <a:pt x="248590" y="171859"/>
                    </a:cubicBezTo>
                    <a:cubicBezTo>
                      <a:pt x="244137" y="158799"/>
                      <a:pt x="235084" y="145591"/>
                      <a:pt x="220540" y="140099"/>
                    </a:cubicBezTo>
                    <a:cubicBezTo>
                      <a:pt x="216681" y="138615"/>
                      <a:pt x="212377" y="140693"/>
                      <a:pt x="210893" y="144552"/>
                    </a:cubicBezTo>
                    <a:cubicBezTo>
                      <a:pt x="209409" y="148410"/>
                      <a:pt x="211487" y="152714"/>
                      <a:pt x="215346" y="154198"/>
                    </a:cubicBezTo>
                    <a:cubicBezTo>
                      <a:pt x="226328" y="158354"/>
                      <a:pt x="232710" y="169781"/>
                      <a:pt x="235529" y="180467"/>
                    </a:cubicBezTo>
                    <a:cubicBezTo>
                      <a:pt x="233600" y="182396"/>
                      <a:pt x="231522" y="184177"/>
                      <a:pt x="229890" y="186403"/>
                    </a:cubicBezTo>
                    <a:cubicBezTo>
                      <a:pt x="219946" y="200057"/>
                      <a:pt x="218907" y="218015"/>
                      <a:pt x="226477" y="232559"/>
                    </a:cubicBezTo>
                    <a:cubicBezTo>
                      <a:pt x="206886" y="245916"/>
                      <a:pt x="190857" y="262241"/>
                      <a:pt x="184031" y="279457"/>
                    </a:cubicBezTo>
                    <a:cubicBezTo>
                      <a:pt x="168596" y="288955"/>
                      <a:pt x="148708" y="288361"/>
                      <a:pt x="133867" y="277824"/>
                    </a:cubicBezTo>
                    <a:cubicBezTo>
                      <a:pt x="117987" y="266545"/>
                      <a:pt x="110418" y="246955"/>
                      <a:pt x="115168" y="228997"/>
                    </a:cubicBezTo>
                    <a:cubicBezTo>
                      <a:pt x="116206" y="224990"/>
                      <a:pt x="113832" y="220834"/>
                      <a:pt x="109825" y="219796"/>
                    </a:cubicBezTo>
                    <a:cubicBezTo>
                      <a:pt x="105818" y="218757"/>
                      <a:pt x="101662" y="221131"/>
                      <a:pt x="100623" y="225139"/>
                    </a:cubicBezTo>
                    <a:cubicBezTo>
                      <a:pt x="99436" y="229888"/>
                      <a:pt x="98990" y="234785"/>
                      <a:pt x="98990" y="239534"/>
                    </a:cubicBezTo>
                    <a:cubicBezTo>
                      <a:pt x="83853" y="236566"/>
                      <a:pt x="70792" y="226474"/>
                      <a:pt x="64559" y="211930"/>
                    </a:cubicBezTo>
                    <a:cubicBezTo>
                      <a:pt x="57287" y="194863"/>
                      <a:pt x="60700" y="175718"/>
                      <a:pt x="73315" y="162064"/>
                    </a:cubicBezTo>
                    <a:cubicBezTo>
                      <a:pt x="76135" y="159096"/>
                      <a:pt x="75987" y="154347"/>
                      <a:pt x="73018" y="151527"/>
                    </a:cubicBezTo>
                    <a:cubicBezTo>
                      <a:pt x="70050" y="148707"/>
                      <a:pt x="65301" y="148856"/>
                      <a:pt x="62481" y="151972"/>
                    </a:cubicBezTo>
                    <a:cubicBezTo>
                      <a:pt x="58474" y="156276"/>
                      <a:pt x="55209" y="160877"/>
                      <a:pt x="52686" y="165923"/>
                    </a:cubicBezTo>
                    <a:cubicBezTo>
                      <a:pt x="34432" y="155682"/>
                      <a:pt x="24488" y="135053"/>
                      <a:pt x="28643" y="113979"/>
                    </a:cubicBezTo>
                    <a:moveTo>
                      <a:pt x="575541" y="227513"/>
                    </a:moveTo>
                    <a:cubicBezTo>
                      <a:pt x="575541" y="190856"/>
                      <a:pt x="542297" y="165478"/>
                      <a:pt x="523597" y="160877"/>
                    </a:cubicBezTo>
                    <a:cubicBezTo>
                      <a:pt x="513208" y="129414"/>
                      <a:pt x="486790" y="106262"/>
                      <a:pt x="454140" y="100029"/>
                    </a:cubicBezTo>
                    <a:cubicBezTo>
                      <a:pt x="446868" y="63074"/>
                      <a:pt x="414069" y="36954"/>
                      <a:pt x="377114" y="40219"/>
                    </a:cubicBezTo>
                    <a:cubicBezTo>
                      <a:pt x="373849" y="40516"/>
                      <a:pt x="370733" y="41258"/>
                      <a:pt x="367764" y="42000"/>
                    </a:cubicBezTo>
                    <a:cubicBezTo>
                      <a:pt x="349807" y="17512"/>
                      <a:pt x="317453" y="7569"/>
                      <a:pt x="289700" y="18551"/>
                    </a:cubicBezTo>
                    <a:cubicBezTo>
                      <a:pt x="282131" y="11724"/>
                      <a:pt x="264025" y="0"/>
                      <a:pt x="227812" y="0"/>
                    </a:cubicBezTo>
                    <a:cubicBezTo>
                      <a:pt x="202582" y="0"/>
                      <a:pt x="179726" y="10834"/>
                      <a:pt x="166518" y="28495"/>
                    </a:cubicBezTo>
                    <a:cubicBezTo>
                      <a:pt x="130899" y="15138"/>
                      <a:pt x="92015" y="28346"/>
                      <a:pt x="73315" y="60403"/>
                    </a:cubicBezTo>
                    <a:cubicBezTo>
                      <a:pt x="44227" y="62036"/>
                      <a:pt x="19293" y="82368"/>
                      <a:pt x="13506" y="111605"/>
                    </a:cubicBezTo>
                    <a:cubicBezTo>
                      <a:pt x="12021" y="119025"/>
                      <a:pt x="12021" y="126446"/>
                      <a:pt x="13060" y="133569"/>
                    </a:cubicBezTo>
                    <a:cubicBezTo>
                      <a:pt x="6678" y="139061"/>
                      <a:pt x="0" y="153159"/>
                      <a:pt x="0" y="187739"/>
                    </a:cubicBezTo>
                    <a:cubicBezTo>
                      <a:pt x="0" y="213414"/>
                      <a:pt x="7124" y="274411"/>
                      <a:pt x="72276" y="294149"/>
                    </a:cubicBezTo>
                    <a:cubicBezTo>
                      <a:pt x="86821" y="322941"/>
                      <a:pt x="117839" y="345202"/>
                      <a:pt x="157019" y="345202"/>
                    </a:cubicBezTo>
                    <a:cubicBezTo>
                      <a:pt x="168744" y="345202"/>
                      <a:pt x="181359" y="343125"/>
                      <a:pt x="194420" y="338672"/>
                    </a:cubicBezTo>
                    <a:cubicBezTo>
                      <a:pt x="206292" y="353365"/>
                      <a:pt x="224250" y="363160"/>
                      <a:pt x="243247" y="368800"/>
                    </a:cubicBezTo>
                    <a:cubicBezTo>
                      <a:pt x="273523" y="404863"/>
                      <a:pt x="292817" y="445379"/>
                      <a:pt x="300385" y="489309"/>
                    </a:cubicBezTo>
                    <a:cubicBezTo>
                      <a:pt x="300979" y="493019"/>
                      <a:pt x="304244" y="495542"/>
                      <a:pt x="307806" y="495542"/>
                    </a:cubicBezTo>
                    <a:cubicBezTo>
                      <a:pt x="308251" y="495542"/>
                      <a:pt x="308696" y="495542"/>
                      <a:pt x="309142" y="495542"/>
                    </a:cubicBezTo>
                    <a:cubicBezTo>
                      <a:pt x="313149" y="494800"/>
                      <a:pt x="315969" y="490941"/>
                      <a:pt x="315226" y="486934"/>
                    </a:cubicBezTo>
                    <a:cubicBezTo>
                      <a:pt x="308251" y="446270"/>
                      <a:pt x="291778" y="408277"/>
                      <a:pt x="266399" y="373994"/>
                    </a:cubicBezTo>
                    <a:cubicBezTo>
                      <a:pt x="273819" y="375033"/>
                      <a:pt x="281092" y="375627"/>
                      <a:pt x="287770" y="375627"/>
                    </a:cubicBezTo>
                    <a:cubicBezTo>
                      <a:pt x="290442" y="375627"/>
                      <a:pt x="292817" y="375330"/>
                      <a:pt x="295488" y="375330"/>
                    </a:cubicBezTo>
                    <a:cubicBezTo>
                      <a:pt x="312110" y="395068"/>
                      <a:pt x="329622" y="408277"/>
                      <a:pt x="350400" y="416143"/>
                    </a:cubicBezTo>
                    <a:lnTo>
                      <a:pt x="350400" y="488270"/>
                    </a:lnTo>
                    <a:cubicBezTo>
                      <a:pt x="350400" y="492425"/>
                      <a:pt x="353814" y="495690"/>
                      <a:pt x="357969" y="495690"/>
                    </a:cubicBezTo>
                    <a:cubicBezTo>
                      <a:pt x="362125" y="495690"/>
                      <a:pt x="365538" y="492277"/>
                      <a:pt x="365538" y="488270"/>
                    </a:cubicBezTo>
                    <a:lnTo>
                      <a:pt x="365538" y="420892"/>
                    </a:lnTo>
                    <a:cubicBezTo>
                      <a:pt x="378302" y="424008"/>
                      <a:pt x="392252" y="425789"/>
                      <a:pt x="407984" y="425789"/>
                    </a:cubicBezTo>
                    <a:cubicBezTo>
                      <a:pt x="457999" y="425789"/>
                      <a:pt x="493321" y="400856"/>
                      <a:pt x="505787" y="357669"/>
                    </a:cubicBezTo>
                    <a:cubicBezTo>
                      <a:pt x="513950" y="355591"/>
                      <a:pt x="521816" y="352326"/>
                      <a:pt x="528939" y="347428"/>
                    </a:cubicBezTo>
                    <a:cubicBezTo>
                      <a:pt x="557138" y="328135"/>
                      <a:pt x="566933" y="298750"/>
                      <a:pt x="557583" y="264170"/>
                    </a:cubicBezTo>
                    <a:cubicBezTo>
                      <a:pt x="567081" y="260905"/>
                      <a:pt x="575541" y="251407"/>
                      <a:pt x="575541" y="228107"/>
                    </a:cubicBezTo>
                  </a:path>
                </a:pathLst>
              </a:custGeom>
              <a:solidFill>
                <a:srgbClr val="FFFFFF"/>
              </a:solidFill>
              <a:ln w="14828" cap="flat">
                <a:noFill/>
                <a:prstDash val="solid"/>
                <a:miter/>
              </a:ln>
            </p:spPr>
            <p:txBody>
              <a:bodyPr rtlCol="0" anchor="ctr"/>
              <a:lstStyle/>
              <a:p>
                <a:endParaRPr lang="en-DK"/>
              </a:p>
            </p:txBody>
          </p:sp>
          <p:sp>
            <p:nvSpPr>
              <p:cNvPr id="142" name="Freeform 141">
                <a:extLst>
                  <a:ext uri="{FF2B5EF4-FFF2-40B4-BE49-F238E27FC236}">
                    <a16:creationId xmlns:a16="http://schemas.microsoft.com/office/drawing/2014/main" id="{C81D38A0-3BBE-C2B5-0364-C294F669680C}"/>
                  </a:ext>
                </a:extLst>
              </p:cNvPr>
              <p:cNvSpPr/>
              <p:nvPr/>
            </p:nvSpPr>
            <p:spPr>
              <a:xfrm>
                <a:off x="1197989" y="3407655"/>
                <a:ext cx="1007122" cy="1007112"/>
              </a:xfrm>
              <a:custGeom>
                <a:avLst/>
                <a:gdLst>
                  <a:gd name="connsiteX0" fmla="*/ 503561 w 1007122"/>
                  <a:gd name="connsiteY0" fmla="*/ 1007112 h 1007112"/>
                  <a:gd name="connsiteX1" fmla="*/ 1007122 w 1007122"/>
                  <a:gd name="connsiteY1" fmla="*/ 503556 h 1007112"/>
                  <a:gd name="connsiteX2" fmla="*/ 503561 w 1007122"/>
                  <a:gd name="connsiteY2" fmla="*/ 0 h 1007112"/>
                  <a:gd name="connsiteX3" fmla="*/ 0 w 1007122"/>
                  <a:gd name="connsiteY3" fmla="*/ 503556 h 1007112"/>
                  <a:gd name="connsiteX4" fmla="*/ 503561 w 1007122"/>
                  <a:gd name="connsiteY4" fmla="*/ 1007112 h 100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122" h="1007112">
                    <a:moveTo>
                      <a:pt x="503561" y="1007112"/>
                    </a:moveTo>
                    <a:cubicBezTo>
                      <a:pt x="781685" y="1007112"/>
                      <a:pt x="1007122" y="781677"/>
                      <a:pt x="1007122" y="503556"/>
                    </a:cubicBezTo>
                    <a:cubicBezTo>
                      <a:pt x="1007122" y="225435"/>
                      <a:pt x="781685" y="0"/>
                      <a:pt x="503561" y="0"/>
                    </a:cubicBezTo>
                    <a:cubicBezTo>
                      <a:pt x="225438" y="0"/>
                      <a:pt x="0" y="225435"/>
                      <a:pt x="0" y="503556"/>
                    </a:cubicBezTo>
                    <a:cubicBezTo>
                      <a:pt x="0" y="781677"/>
                      <a:pt x="225438" y="1007112"/>
                      <a:pt x="503561" y="1007112"/>
                    </a:cubicBezTo>
                  </a:path>
                </a:pathLst>
              </a:custGeom>
              <a:solidFill>
                <a:srgbClr val="001965"/>
              </a:solidFill>
              <a:ln w="14828" cap="flat">
                <a:noFill/>
                <a:prstDash val="solid"/>
                <a:miter/>
              </a:ln>
            </p:spPr>
            <p:txBody>
              <a:bodyPr rtlCol="0" anchor="ctr"/>
              <a:lstStyle/>
              <a:p>
                <a:endParaRPr lang="en-DK"/>
              </a:p>
            </p:txBody>
          </p:sp>
          <p:sp>
            <p:nvSpPr>
              <p:cNvPr id="143" name="Freeform 142">
                <a:extLst>
                  <a:ext uri="{FF2B5EF4-FFF2-40B4-BE49-F238E27FC236}">
                    <a16:creationId xmlns:a16="http://schemas.microsoft.com/office/drawing/2014/main" id="{4BCD6F0E-2A77-4059-E4B0-4CC774AD0B1A}"/>
                  </a:ext>
                </a:extLst>
              </p:cNvPr>
              <p:cNvSpPr/>
              <p:nvPr/>
            </p:nvSpPr>
            <p:spPr>
              <a:xfrm>
                <a:off x="1183148" y="3392814"/>
                <a:ext cx="1036804" cy="1036794"/>
              </a:xfrm>
              <a:custGeom>
                <a:avLst/>
                <a:gdLst>
                  <a:gd name="connsiteX0" fmla="*/ 518402 w 1036804"/>
                  <a:gd name="connsiteY0" fmla="*/ 1021953 h 1036794"/>
                  <a:gd name="connsiteX1" fmla="*/ 518402 w 1036804"/>
                  <a:gd name="connsiteY1" fmla="*/ 1007112 h 1036794"/>
                  <a:gd name="connsiteX2" fmla="*/ 1007122 w 1036804"/>
                  <a:gd name="connsiteY2" fmla="*/ 518397 h 1036794"/>
                  <a:gd name="connsiteX3" fmla="*/ 518402 w 1036804"/>
                  <a:gd name="connsiteY3" fmla="*/ 29682 h 1036794"/>
                  <a:gd name="connsiteX4" fmla="*/ 29682 w 1036804"/>
                  <a:gd name="connsiteY4" fmla="*/ 518397 h 1036794"/>
                  <a:gd name="connsiteX5" fmla="*/ 518402 w 1036804"/>
                  <a:gd name="connsiteY5" fmla="*/ 1007112 h 1036794"/>
                  <a:gd name="connsiteX6" fmla="*/ 518402 w 1036804"/>
                  <a:gd name="connsiteY6" fmla="*/ 1036794 h 1036794"/>
                  <a:gd name="connsiteX7" fmla="*/ 0 w 1036804"/>
                  <a:gd name="connsiteY7" fmla="*/ 518397 h 1036794"/>
                  <a:gd name="connsiteX8" fmla="*/ 518402 w 1036804"/>
                  <a:gd name="connsiteY8" fmla="*/ 0 h 1036794"/>
                  <a:gd name="connsiteX9" fmla="*/ 1036805 w 1036804"/>
                  <a:gd name="connsiteY9" fmla="*/ 518397 h 1036794"/>
                  <a:gd name="connsiteX10" fmla="*/ 518402 w 1036804"/>
                  <a:gd name="connsiteY10" fmla="*/ 1036794 h 1036794"/>
                  <a:gd name="connsiteX11" fmla="*/ 518402 w 1036804"/>
                  <a:gd name="connsiteY11" fmla="*/ 1021953 h 1036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6804" h="1036794">
                    <a:moveTo>
                      <a:pt x="518402" y="1021953"/>
                    </a:moveTo>
                    <a:lnTo>
                      <a:pt x="518402" y="1007112"/>
                    </a:lnTo>
                    <a:cubicBezTo>
                      <a:pt x="788363" y="1006667"/>
                      <a:pt x="1006677" y="788355"/>
                      <a:pt x="1007122" y="518397"/>
                    </a:cubicBezTo>
                    <a:cubicBezTo>
                      <a:pt x="1006677" y="248439"/>
                      <a:pt x="788363" y="30127"/>
                      <a:pt x="518402" y="29682"/>
                    </a:cubicBezTo>
                    <a:cubicBezTo>
                      <a:pt x="248441" y="30127"/>
                      <a:pt x="30128" y="248439"/>
                      <a:pt x="29682" y="518397"/>
                    </a:cubicBezTo>
                    <a:cubicBezTo>
                      <a:pt x="30128" y="788355"/>
                      <a:pt x="248441" y="1006667"/>
                      <a:pt x="518402" y="1007112"/>
                    </a:cubicBezTo>
                    <a:lnTo>
                      <a:pt x="518402" y="1036794"/>
                    </a:lnTo>
                    <a:cubicBezTo>
                      <a:pt x="232116" y="1036794"/>
                      <a:pt x="0" y="804681"/>
                      <a:pt x="0" y="518397"/>
                    </a:cubicBezTo>
                    <a:cubicBezTo>
                      <a:pt x="0" y="232114"/>
                      <a:pt x="232116" y="0"/>
                      <a:pt x="518402" y="0"/>
                    </a:cubicBezTo>
                    <a:cubicBezTo>
                      <a:pt x="804689" y="0"/>
                      <a:pt x="1036805" y="232114"/>
                      <a:pt x="1036805" y="518397"/>
                    </a:cubicBezTo>
                    <a:cubicBezTo>
                      <a:pt x="1036805" y="804681"/>
                      <a:pt x="804689" y="1036794"/>
                      <a:pt x="518402" y="1036794"/>
                    </a:cubicBezTo>
                    <a:lnTo>
                      <a:pt x="518402" y="1021953"/>
                    </a:lnTo>
                    <a:close/>
                  </a:path>
                </a:pathLst>
              </a:custGeom>
              <a:gradFill>
                <a:gsLst>
                  <a:gs pos="0">
                    <a:schemeClr val="accent2"/>
                  </a:gs>
                  <a:gs pos="100000">
                    <a:schemeClr val="accent2"/>
                  </a:gs>
                </a:gsLst>
                <a:lin ang="0" scaled="1"/>
              </a:gradFill>
              <a:ln w="14828" cap="flat">
                <a:noFill/>
                <a:prstDash val="solid"/>
                <a:miter/>
              </a:ln>
            </p:spPr>
            <p:txBody>
              <a:bodyPr rtlCol="0" anchor="ctr"/>
              <a:lstStyle/>
              <a:p>
                <a:endParaRPr lang="en-DK"/>
              </a:p>
            </p:txBody>
          </p:sp>
          <p:sp>
            <p:nvSpPr>
              <p:cNvPr id="144" name="Freeform 143">
                <a:extLst>
                  <a:ext uri="{FF2B5EF4-FFF2-40B4-BE49-F238E27FC236}">
                    <a16:creationId xmlns:a16="http://schemas.microsoft.com/office/drawing/2014/main" id="{5DBE44E9-AEBC-7841-14AD-E5DE109E404A}"/>
                  </a:ext>
                </a:extLst>
              </p:cNvPr>
              <p:cNvSpPr/>
              <p:nvPr/>
            </p:nvSpPr>
            <p:spPr>
              <a:xfrm>
                <a:off x="1549874" y="3760724"/>
                <a:ext cx="298752" cy="303202"/>
              </a:xfrm>
              <a:custGeom>
                <a:avLst/>
                <a:gdLst>
                  <a:gd name="connsiteX0" fmla="*/ 298753 w 298752"/>
                  <a:gd name="connsiteY0" fmla="*/ 0 h 303202"/>
                  <a:gd name="connsiteX1" fmla="*/ 211635 w 298752"/>
                  <a:gd name="connsiteY1" fmla="*/ 23300 h 303202"/>
                  <a:gd name="connsiteX2" fmla="*/ 133125 w 298752"/>
                  <a:gd name="connsiteY2" fmla="*/ 60997 h 303202"/>
                  <a:gd name="connsiteX3" fmla="*/ 78065 w 298752"/>
                  <a:gd name="connsiteY3" fmla="*/ 117392 h 303202"/>
                  <a:gd name="connsiteX4" fmla="*/ 37993 w 298752"/>
                  <a:gd name="connsiteY4" fmla="*/ 184622 h 303202"/>
                  <a:gd name="connsiteX5" fmla="*/ 0 w 298752"/>
                  <a:gd name="connsiteY5" fmla="*/ 303202 h 303202"/>
                  <a:gd name="connsiteX6" fmla="*/ 64708 w 298752"/>
                  <a:gd name="connsiteY6" fmla="*/ 292220 h 303202"/>
                  <a:gd name="connsiteX7" fmla="*/ 118136 w 298752"/>
                  <a:gd name="connsiteY7" fmla="*/ 265358 h 303202"/>
                  <a:gd name="connsiteX8" fmla="*/ 184921 w 298752"/>
                  <a:gd name="connsiteY8" fmla="*/ 224990 h 303202"/>
                  <a:gd name="connsiteX9" fmla="*/ 224992 w 298752"/>
                  <a:gd name="connsiteY9" fmla="*/ 184622 h 303202"/>
                  <a:gd name="connsiteX10" fmla="*/ 273078 w 298752"/>
                  <a:gd name="connsiteY10" fmla="*/ 126149 h 303202"/>
                  <a:gd name="connsiteX11" fmla="*/ 291778 w 298752"/>
                  <a:gd name="connsiteY11" fmla="*/ 50163 h 303202"/>
                  <a:gd name="connsiteX12" fmla="*/ 298753 w 298752"/>
                  <a:gd name="connsiteY12" fmla="*/ 0 h 30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8752" h="303202">
                    <a:moveTo>
                      <a:pt x="298753" y="0"/>
                    </a:moveTo>
                    <a:lnTo>
                      <a:pt x="211635" y="23300"/>
                    </a:lnTo>
                    <a:lnTo>
                      <a:pt x="133125" y="60997"/>
                    </a:lnTo>
                    <a:lnTo>
                      <a:pt x="78065" y="117392"/>
                    </a:lnTo>
                    <a:lnTo>
                      <a:pt x="37993" y="184622"/>
                    </a:lnTo>
                    <a:lnTo>
                      <a:pt x="0" y="303202"/>
                    </a:lnTo>
                    <a:lnTo>
                      <a:pt x="64708" y="292220"/>
                    </a:lnTo>
                    <a:lnTo>
                      <a:pt x="118136" y="265358"/>
                    </a:lnTo>
                    <a:lnTo>
                      <a:pt x="184921" y="224990"/>
                    </a:lnTo>
                    <a:lnTo>
                      <a:pt x="224992" y="184622"/>
                    </a:lnTo>
                    <a:lnTo>
                      <a:pt x="273078" y="126149"/>
                    </a:lnTo>
                    <a:lnTo>
                      <a:pt x="291778" y="50163"/>
                    </a:lnTo>
                    <a:lnTo>
                      <a:pt x="298753" y="0"/>
                    </a:lnTo>
                    <a:close/>
                  </a:path>
                </a:pathLst>
              </a:custGeom>
              <a:solidFill>
                <a:srgbClr val="2978FF">
                  <a:alpha val="50000"/>
                </a:srgbClr>
              </a:solidFill>
              <a:ln w="14828" cap="flat">
                <a:noFill/>
                <a:prstDash val="solid"/>
                <a:miter/>
              </a:ln>
            </p:spPr>
            <p:txBody>
              <a:bodyPr rtlCol="0" anchor="ctr"/>
              <a:lstStyle/>
              <a:p>
                <a:endParaRPr lang="en-DK"/>
              </a:p>
            </p:txBody>
          </p:sp>
          <p:sp>
            <p:nvSpPr>
              <p:cNvPr id="145" name="Freeform 144">
                <a:extLst>
                  <a:ext uri="{FF2B5EF4-FFF2-40B4-BE49-F238E27FC236}">
                    <a16:creationId xmlns:a16="http://schemas.microsoft.com/office/drawing/2014/main" id="{B0EAC8E3-13BC-9E79-2C7B-2B40FE973BD9}"/>
                  </a:ext>
                </a:extLst>
              </p:cNvPr>
              <p:cNvSpPr/>
              <p:nvPr/>
            </p:nvSpPr>
            <p:spPr>
              <a:xfrm>
                <a:off x="1414374" y="3621700"/>
                <a:ext cx="537399" cy="541363"/>
              </a:xfrm>
              <a:custGeom>
                <a:avLst/>
                <a:gdLst>
                  <a:gd name="connsiteX0" fmla="*/ 9202 w 537399"/>
                  <a:gd name="connsiteY0" fmla="*/ 541364 h 541363"/>
                  <a:gd name="connsiteX1" fmla="*/ 2671 w 537399"/>
                  <a:gd name="connsiteY1" fmla="*/ 538692 h 541363"/>
                  <a:gd name="connsiteX2" fmla="*/ 2671 w 537399"/>
                  <a:gd name="connsiteY2" fmla="*/ 525484 h 541363"/>
                  <a:gd name="connsiteX3" fmla="*/ 104185 w 537399"/>
                  <a:gd name="connsiteY3" fmla="*/ 344572 h 541363"/>
                  <a:gd name="connsiteX4" fmla="*/ 188038 w 537399"/>
                  <a:gd name="connsiteY4" fmla="*/ 189483 h 541363"/>
                  <a:gd name="connsiteX5" fmla="*/ 342089 w 537399"/>
                  <a:gd name="connsiteY5" fmla="*/ 105037 h 541363"/>
                  <a:gd name="connsiteX6" fmla="*/ 521667 w 537399"/>
                  <a:gd name="connsiteY6" fmla="*/ 2783 h 541363"/>
                  <a:gd name="connsiteX7" fmla="*/ 534728 w 537399"/>
                  <a:gd name="connsiteY7" fmla="*/ 2783 h 541363"/>
                  <a:gd name="connsiteX8" fmla="*/ 534728 w 537399"/>
                  <a:gd name="connsiteY8" fmla="*/ 15991 h 541363"/>
                  <a:gd name="connsiteX9" fmla="*/ 347432 w 537399"/>
                  <a:gd name="connsiteY9" fmla="*/ 122847 h 541363"/>
                  <a:gd name="connsiteX10" fmla="*/ 201098 w 537399"/>
                  <a:gd name="connsiteY10" fmla="*/ 202691 h 541363"/>
                  <a:gd name="connsiteX11" fmla="*/ 121846 w 537399"/>
                  <a:gd name="connsiteY11" fmla="*/ 350063 h 541363"/>
                  <a:gd name="connsiteX12" fmla="*/ 15732 w 537399"/>
                  <a:gd name="connsiteY12" fmla="*/ 538544 h 541363"/>
                  <a:gd name="connsiteX13" fmla="*/ 9202 w 537399"/>
                  <a:gd name="connsiteY13" fmla="*/ 541215 h 54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7399" h="541363">
                    <a:moveTo>
                      <a:pt x="9202" y="541364"/>
                    </a:moveTo>
                    <a:cubicBezTo>
                      <a:pt x="6827" y="541364"/>
                      <a:pt x="4452" y="540473"/>
                      <a:pt x="2671" y="538692"/>
                    </a:cubicBezTo>
                    <a:cubicBezTo>
                      <a:pt x="-890" y="534982"/>
                      <a:pt x="-890" y="529194"/>
                      <a:pt x="2671" y="525484"/>
                    </a:cubicBezTo>
                    <a:cubicBezTo>
                      <a:pt x="69160" y="458551"/>
                      <a:pt x="86969" y="400671"/>
                      <a:pt x="104185" y="344572"/>
                    </a:cubicBezTo>
                    <a:cubicBezTo>
                      <a:pt x="120362" y="291886"/>
                      <a:pt x="135648" y="242168"/>
                      <a:pt x="188038" y="189483"/>
                    </a:cubicBezTo>
                    <a:cubicBezTo>
                      <a:pt x="240279" y="136797"/>
                      <a:pt x="289700" y="121362"/>
                      <a:pt x="342089" y="105037"/>
                    </a:cubicBezTo>
                    <a:cubicBezTo>
                      <a:pt x="397744" y="87673"/>
                      <a:pt x="455327" y="69716"/>
                      <a:pt x="521667" y="2783"/>
                    </a:cubicBezTo>
                    <a:cubicBezTo>
                      <a:pt x="525229" y="-928"/>
                      <a:pt x="531166" y="-928"/>
                      <a:pt x="534728" y="2783"/>
                    </a:cubicBezTo>
                    <a:cubicBezTo>
                      <a:pt x="538290" y="6493"/>
                      <a:pt x="538290" y="12281"/>
                      <a:pt x="534728" y="15991"/>
                    </a:cubicBezTo>
                    <a:cubicBezTo>
                      <a:pt x="465123" y="86189"/>
                      <a:pt x="405313" y="104741"/>
                      <a:pt x="347432" y="122847"/>
                    </a:cubicBezTo>
                    <a:cubicBezTo>
                      <a:pt x="297417" y="138430"/>
                      <a:pt x="250074" y="153271"/>
                      <a:pt x="201098" y="202691"/>
                    </a:cubicBezTo>
                    <a:cubicBezTo>
                      <a:pt x="152122" y="252112"/>
                      <a:pt x="137429" y="299752"/>
                      <a:pt x="121846" y="350063"/>
                    </a:cubicBezTo>
                    <a:cubicBezTo>
                      <a:pt x="103888" y="408240"/>
                      <a:pt x="85337" y="468494"/>
                      <a:pt x="15732" y="538544"/>
                    </a:cubicBezTo>
                    <a:cubicBezTo>
                      <a:pt x="13951" y="540325"/>
                      <a:pt x="11576" y="541215"/>
                      <a:pt x="9202" y="541215"/>
                    </a:cubicBezTo>
                  </a:path>
                </a:pathLst>
              </a:custGeom>
              <a:solidFill>
                <a:srgbClr val="FFFFFF"/>
              </a:solidFill>
              <a:ln w="14828" cap="flat">
                <a:noFill/>
                <a:prstDash val="solid"/>
                <a:miter/>
              </a:ln>
            </p:spPr>
            <p:txBody>
              <a:bodyPr rtlCol="0" anchor="ctr"/>
              <a:lstStyle/>
              <a:p>
                <a:endParaRPr lang="en-DK"/>
              </a:p>
            </p:txBody>
          </p:sp>
          <p:sp>
            <p:nvSpPr>
              <p:cNvPr id="146" name="Freeform 145">
                <a:extLst>
                  <a:ext uri="{FF2B5EF4-FFF2-40B4-BE49-F238E27FC236}">
                    <a16:creationId xmlns:a16="http://schemas.microsoft.com/office/drawing/2014/main" id="{D2E44A27-1ECD-11A1-0FE6-E5F539B11A9D}"/>
                  </a:ext>
                </a:extLst>
              </p:cNvPr>
              <p:cNvSpPr/>
              <p:nvPr/>
            </p:nvSpPr>
            <p:spPr>
              <a:xfrm>
                <a:off x="1516287" y="3724466"/>
                <a:ext cx="370675" cy="373297"/>
              </a:xfrm>
              <a:custGeom>
                <a:avLst/>
                <a:gdLst>
                  <a:gd name="connsiteX0" fmla="*/ 9247 w 370675"/>
                  <a:gd name="connsiteY0" fmla="*/ 373297 h 373297"/>
                  <a:gd name="connsiteX1" fmla="*/ 4201 w 370675"/>
                  <a:gd name="connsiteY1" fmla="*/ 371813 h 373297"/>
                  <a:gd name="connsiteX2" fmla="*/ 1529 w 370675"/>
                  <a:gd name="connsiteY2" fmla="*/ 358901 h 373297"/>
                  <a:gd name="connsiteX3" fmla="*/ 41749 w 370675"/>
                  <a:gd name="connsiteY3" fmla="*/ 268668 h 373297"/>
                  <a:gd name="connsiteX4" fmla="*/ 123227 w 370675"/>
                  <a:gd name="connsiteY4" fmla="*/ 124116 h 373297"/>
                  <a:gd name="connsiteX5" fmla="*/ 266890 w 370675"/>
                  <a:gd name="connsiteY5" fmla="*/ 42045 h 373297"/>
                  <a:gd name="connsiteX6" fmla="*/ 356382 w 370675"/>
                  <a:gd name="connsiteY6" fmla="*/ 1529 h 373297"/>
                  <a:gd name="connsiteX7" fmla="*/ 369146 w 370675"/>
                  <a:gd name="connsiteY7" fmla="*/ 4201 h 373297"/>
                  <a:gd name="connsiteX8" fmla="*/ 366474 w 370675"/>
                  <a:gd name="connsiteY8" fmla="*/ 17113 h 373297"/>
                  <a:gd name="connsiteX9" fmla="*/ 272975 w 370675"/>
                  <a:gd name="connsiteY9" fmla="*/ 59558 h 373297"/>
                  <a:gd name="connsiteX10" fmla="*/ 136287 w 370675"/>
                  <a:gd name="connsiteY10" fmla="*/ 137177 h 373297"/>
                  <a:gd name="connsiteX11" fmla="*/ 59113 w 370675"/>
                  <a:gd name="connsiteY11" fmla="*/ 274901 h 373297"/>
                  <a:gd name="connsiteX12" fmla="*/ 16964 w 370675"/>
                  <a:gd name="connsiteY12" fmla="*/ 368993 h 373297"/>
                  <a:gd name="connsiteX13" fmla="*/ 9247 w 370675"/>
                  <a:gd name="connsiteY13" fmla="*/ 373297 h 373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0675" h="373297">
                    <a:moveTo>
                      <a:pt x="9247" y="373297"/>
                    </a:moveTo>
                    <a:cubicBezTo>
                      <a:pt x="7466" y="373297"/>
                      <a:pt x="5685" y="372852"/>
                      <a:pt x="4201" y="371813"/>
                    </a:cubicBezTo>
                    <a:cubicBezTo>
                      <a:pt x="-103" y="368993"/>
                      <a:pt x="-1290" y="363205"/>
                      <a:pt x="1529" y="358901"/>
                    </a:cubicBezTo>
                    <a:cubicBezTo>
                      <a:pt x="20229" y="329962"/>
                      <a:pt x="30618" y="300279"/>
                      <a:pt x="41749" y="268668"/>
                    </a:cubicBezTo>
                    <a:cubicBezTo>
                      <a:pt x="58520" y="221028"/>
                      <a:pt x="75735" y="171905"/>
                      <a:pt x="123227" y="124116"/>
                    </a:cubicBezTo>
                    <a:cubicBezTo>
                      <a:pt x="170719" y="76328"/>
                      <a:pt x="219546" y="58816"/>
                      <a:pt x="266890" y="42045"/>
                    </a:cubicBezTo>
                    <a:cubicBezTo>
                      <a:pt x="298205" y="30915"/>
                      <a:pt x="327739" y="20378"/>
                      <a:pt x="356382" y="1529"/>
                    </a:cubicBezTo>
                    <a:cubicBezTo>
                      <a:pt x="360686" y="-1290"/>
                      <a:pt x="366474" y="-103"/>
                      <a:pt x="369146" y="4201"/>
                    </a:cubicBezTo>
                    <a:cubicBezTo>
                      <a:pt x="371965" y="8505"/>
                      <a:pt x="370778" y="14293"/>
                      <a:pt x="366474" y="17113"/>
                    </a:cubicBezTo>
                    <a:cubicBezTo>
                      <a:pt x="335901" y="37148"/>
                      <a:pt x="303844" y="48576"/>
                      <a:pt x="272975" y="59558"/>
                    </a:cubicBezTo>
                    <a:cubicBezTo>
                      <a:pt x="227709" y="75735"/>
                      <a:pt x="180811" y="92357"/>
                      <a:pt x="136287" y="137177"/>
                    </a:cubicBezTo>
                    <a:cubicBezTo>
                      <a:pt x="91764" y="181996"/>
                      <a:pt x="75142" y="229191"/>
                      <a:pt x="59113" y="274901"/>
                    </a:cubicBezTo>
                    <a:cubicBezTo>
                      <a:pt x="48131" y="306067"/>
                      <a:pt x="36852" y="338272"/>
                      <a:pt x="16964" y="368993"/>
                    </a:cubicBezTo>
                    <a:cubicBezTo>
                      <a:pt x="15183" y="371813"/>
                      <a:pt x="12215" y="373297"/>
                      <a:pt x="9247" y="373297"/>
                    </a:cubicBezTo>
                  </a:path>
                </a:pathLst>
              </a:custGeom>
              <a:solidFill>
                <a:srgbClr val="FFFFFF"/>
              </a:solidFill>
              <a:ln w="14828" cap="flat">
                <a:noFill/>
                <a:prstDash val="solid"/>
                <a:miter/>
              </a:ln>
            </p:spPr>
            <p:txBody>
              <a:bodyPr rtlCol="0" anchor="ctr"/>
              <a:lstStyle/>
              <a:p>
                <a:endParaRPr lang="en-DK"/>
              </a:p>
            </p:txBody>
          </p:sp>
          <p:sp>
            <p:nvSpPr>
              <p:cNvPr id="147" name="Freeform 146">
                <a:extLst>
                  <a:ext uri="{FF2B5EF4-FFF2-40B4-BE49-F238E27FC236}">
                    <a16:creationId xmlns:a16="http://schemas.microsoft.com/office/drawing/2014/main" id="{E4FF6A90-BCFC-B318-2E12-1696406513F6}"/>
                  </a:ext>
                </a:extLst>
              </p:cNvPr>
              <p:cNvSpPr/>
              <p:nvPr/>
            </p:nvSpPr>
            <p:spPr>
              <a:xfrm>
                <a:off x="1516254" y="3724433"/>
                <a:ext cx="370593" cy="373330"/>
              </a:xfrm>
              <a:custGeom>
                <a:avLst/>
                <a:gdLst>
                  <a:gd name="connsiteX0" fmla="*/ 9280 w 370593"/>
                  <a:gd name="connsiteY0" fmla="*/ 373330 h 373330"/>
                  <a:gd name="connsiteX1" fmla="*/ 3195 w 370593"/>
                  <a:gd name="connsiteY1" fmla="*/ 371104 h 373330"/>
                  <a:gd name="connsiteX2" fmla="*/ 2305 w 370593"/>
                  <a:gd name="connsiteY2" fmla="*/ 357896 h 373330"/>
                  <a:gd name="connsiteX3" fmla="*/ 59740 w 370593"/>
                  <a:gd name="connsiteY3" fmla="*/ 283246 h 373330"/>
                  <a:gd name="connsiteX4" fmla="*/ 160215 w 370593"/>
                  <a:gd name="connsiteY4" fmla="*/ 161401 h 373330"/>
                  <a:gd name="connsiteX5" fmla="*/ 281171 w 370593"/>
                  <a:gd name="connsiteY5" fmla="*/ 60185 h 373330"/>
                  <a:gd name="connsiteX6" fmla="*/ 355228 w 370593"/>
                  <a:gd name="connsiteY6" fmla="*/ 2305 h 373330"/>
                  <a:gd name="connsiteX7" fmla="*/ 368288 w 370593"/>
                  <a:gd name="connsiteY7" fmla="*/ 3195 h 373330"/>
                  <a:gd name="connsiteX8" fmla="*/ 367398 w 370593"/>
                  <a:gd name="connsiteY8" fmla="*/ 16404 h 373330"/>
                  <a:gd name="connsiteX9" fmla="*/ 292005 w 370593"/>
                  <a:gd name="connsiteY9" fmla="*/ 75323 h 373330"/>
                  <a:gd name="connsiteX10" fmla="*/ 173275 w 370593"/>
                  <a:gd name="connsiteY10" fmla="*/ 174609 h 373330"/>
                  <a:gd name="connsiteX11" fmla="*/ 74581 w 370593"/>
                  <a:gd name="connsiteY11" fmla="*/ 294228 h 373330"/>
                  <a:gd name="connsiteX12" fmla="*/ 16107 w 370593"/>
                  <a:gd name="connsiteY12" fmla="*/ 370065 h 373330"/>
                  <a:gd name="connsiteX13" fmla="*/ 9132 w 370593"/>
                  <a:gd name="connsiteY13" fmla="*/ 373330 h 37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0593" h="373330">
                    <a:moveTo>
                      <a:pt x="9280" y="373330"/>
                    </a:moveTo>
                    <a:cubicBezTo>
                      <a:pt x="7054" y="373330"/>
                      <a:pt x="4976" y="372588"/>
                      <a:pt x="3195" y="371104"/>
                    </a:cubicBezTo>
                    <a:cubicBezTo>
                      <a:pt x="-663" y="367691"/>
                      <a:pt x="-1109" y="361755"/>
                      <a:pt x="2305" y="357896"/>
                    </a:cubicBezTo>
                    <a:cubicBezTo>
                      <a:pt x="24863" y="331776"/>
                      <a:pt x="41782" y="308178"/>
                      <a:pt x="59740" y="283246"/>
                    </a:cubicBezTo>
                    <a:cubicBezTo>
                      <a:pt x="86306" y="246440"/>
                      <a:pt x="113762" y="208298"/>
                      <a:pt x="160215" y="161401"/>
                    </a:cubicBezTo>
                    <a:cubicBezTo>
                      <a:pt x="206816" y="114503"/>
                      <a:pt x="244661" y="86899"/>
                      <a:pt x="281171" y="60185"/>
                    </a:cubicBezTo>
                    <a:cubicBezTo>
                      <a:pt x="305955" y="42079"/>
                      <a:pt x="329404" y="25011"/>
                      <a:pt x="355228" y="2305"/>
                    </a:cubicBezTo>
                    <a:cubicBezTo>
                      <a:pt x="359087" y="-1109"/>
                      <a:pt x="364875" y="-663"/>
                      <a:pt x="368288" y="3195"/>
                    </a:cubicBezTo>
                    <a:cubicBezTo>
                      <a:pt x="371702" y="7054"/>
                      <a:pt x="371257" y="12990"/>
                      <a:pt x="367398" y="16404"/>
                    </a:cubicBezTo>
                    <a:cubicBezTo>
                      <a:pt x="340832" y="39556"/>
                      <a:pt x="316047" y="57662"/>
                      <a:pt x="292005" y="75323"/>
                    </a:cubicBezTo>
                    <a:cubicBezTo>
                      <a:pt x="255941" y="101591"/>
                      <a:pt x="218689" y="128750"/>
                      <a:pt x="173275" y="174609"/>
                    </a:cubicBezTo>
                    <a:cubicBezTo>
                      <a:pt x="127713" y="220468"/>
                      <a:pt x="100702" y="257867"/>
                      <a:pt x="74581" y="294228"/>
                    </a:cubicBezTo>
                    <a:cubicBezTo>
                      <a:pt x="57217" y="318419"/>
                      <a:pt x="39111" y="343352"/>
                      <a:pt x="16107" y="370065"/>
                    </a:cubicBezTo>
                    <a:cubicBezTo>
                      <a:pt x="14326" y="372143"/>
                      <a:pt x="11655" y="373330"/>
                      <a:pt x="9132" y="373330"/>
                    </a:cubicBezTo>
                  </a:path>
                </a:pathLst>
              </a:custGeom>
              <a:solidFill>
                <a:srgbClr val="FFFFFF"/>
              </a:solidFill>
              <a:ln w="14828" cap="flat">
                <a:noFill/>
                <a:prstDash val="solid"/>
                <a:miter/>
              </a:ln>
            </p:spPr>
            <p:txBody>
              <a:bodyPr rtlCol="0" anchor="ctr"/>
              <a:lstStyle/>
              <a:p>
                <a:endParaRPr lang="en-DK"/>
              </a:p>
            </p:txBody>
          </p:sp>
          <p:sp>
            <p:nvSpPr>
              <p:cNvPr id="148" name="Freeform 147">
                <a:extLst>
                  <a:ext uri="{FF2B5EF4-FFF2-40B4-BE49-F238E27FC236}">
                    <a16:creationId xmlns:a16="http://schemas.microsoft.com/office/drawing/2014/main" id="{1A52F4CE-21AE-35EB-8042-814376A751FC}"/>
                  </a:ext>
                </a:extLst>
              </p:cNvPr>
              <p:cNvSpPr/>
              <p:nvPr/>
            </p:nvSpPr>
            <p:spPr>
              <a:xfrm>
                <a:off x="1516254" y="3724433"/>
                <a:ext cx="370741" cy="373330"/>
              </a:xfrm>
              <a:custGeom>
                <a:avLst/>
                <a:gdLst>
                  <a:gd name="connsiteX0" fmla="*/ 9280 w 370741"/>
                  <a:gd name="connsiteY0" fmla="*/ 373330 h 373330"/>
                  <a:gd name="connsiteX1" fmla="*/ 2305 w 370741"/>
                  <a:gd name="connsiteY1" fmla="*/ 370065 h 373330"/>
                  <a:gd name="connsiteX2" fmla="*/ 3195 w 370741"/>
                  <a:gd name="connsiteY2" fmla="*/ 356857 h 373330"/>
                  <a:gd name="connsiteX3" fmla="*/ 78588 w 370741"/>
                  <a:gd name="connsiteY3" fmla="*/ 297938 h 373330"/>
                  <a:gd name="connsiteX4" fmla="*/ 197318 w 370741"/>
                  <a:gd name="connsiteY4" fmla="*/ 198652 h 373330"/>
                  <a:gd name="connsiteX5" fmla="*/ 296012 w 370741"/>
                  <a:gd name="connsiteY5" fmla="*/ 79033 h 373330"/>
                  <a:gd name="connsiteX6" fmla="*/ 354486 w 370741"/>
                  <a:gd name="connsiteY6" fmla="*/ 3195 h 373330"/>
                  <a:gd name="connsiteX7" fmla="*/ 367546 w 370741"/>
                  <a:gd name="connsiteY7" fmla="*/ 2305 h 373330"/>
                  <a:gd name="connsiteX8" fmla="*/ 368437 w 370741"/>
                  <a:gd name="connsiteY8" fmla="*/ 15513 h 373330"/>
                  <a:gd name="connsiteX9" fmla="*/ 311001 w 370741"/>
                  <a:gd name="connsiteY9" fmla="*/ 90164 h 373330"/>
                  <a:gd name="connsiteX10" fmla="*/ 210527 w 370741"/>
                  <a:gd name="connsiteY10" fmla="*/ 212009 h 373330"/>
                  <a:gd name="connsiteX11" fmla="*/ 89571 w 370741"/>
                  <a:gd name="connsiteY11" fmla="*/ 313224 h 373330"/>
                  <a:gd name="connsiteX12" fmla="*/ 15513 w 370741"/>
                  <a:gd name="connsiteY12" fmla="*/ 371104 h 373330"/>
                  <a:gd name="connsiteX13" fmla="*/ 9429 w 370741"/>
                  <a:gd name="connsiteY13" fmla="*/ 373330 h 37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0741" h="373330">
                    <a:moveTo>
                      <a:pt x="9280" y="373330"/>
                    </a:moveTo>
                    <a:cubicBezTo>
                      <a:pt x="6609" y="373330"/>
                      <a:pt x="4086" y="372292"/>
                      <a:pt x="2305" y="370065"/>
                    </a:cubicBezTo>
                    <a:cubicBezTo>
                      <a:pt x="-1109" y="366207"/>
                      <a:pt x="-663" y="360270"/>
                      <a:pt x="3195" y="356857"/>
                    </a:cubicBezTo>
                    <a:cubicBezTo>
                      <a:pt x="29761" y="333705"/>
                      <a:pt x="54546" y="315451"/>
                      <a:pt x="78588" y="297938"/>
                    </a:cubicBezTo>
                    <a:cubicBezTo>
                      <a:pt x="114653" y="271669"/>
                      <a:pt x="151904" y="244362"/>
                      <a:pt x="197318" y="198652"/>
                    </a:cubicBezTo>
                    <a:cubicBezTo>
                      <a:pt x="242880" y="152793"/>
                      <a:pt x="269891" y="115393"/>
                      <a:pt x="296012" y="79033"/>
                    </a:cubicBezTo>
                    <a:cubicBezTo>
                      <a:pt x="313376" y="54842"/>
                      <a:pt x="331482" y="29761"/>
                      <a:pt x="354486" y="3195"/>
                    </a:cubicBezTo>
                    <a:cubicBezTo>
                      <a:pt x="357899" y="-663"/>
                      <a:pt x="363687" y="-1109"/>
                      <a:pt x="367546" y="2305"/>
                    </a:cubicBezTo>
                    <a:cubicBezTo>
                      <a:pt x="371405" y="5718"/>
                      <a:pt x="371850" y="11506"/>
                      <a:pt x="368437" y="15513"/>
                    </a:cubicBezTo>
                    <a:cubicBezTo>
                      <a:pt x="345878" y="41633"/>
                      <a:pt x="328959" y="65231"/>
                      <a:pt x="311001" y="90164"/>
                    </a:cubicBezTo>
                    <a:cubicBezTo>
                      <a:pt x="284436" y="126969"/>
                      <a:pt x="256979" y="165111"/>
                      <a:pt x="210527" y="212009"/>
                    </a:cubicBezTo>
                    <a:cubicBezTo>
                      <a:pt x="163925" y="258906"/>
                      <a:pt x="126080" y="286510"/>
                      <a:pt x="89571" y="313224"/>
                    </a:cubicBezTo>
                    <a:cubicBezTo>
                      <a:pt x="64786" y="331330"/>
                      <a:pt x="41337" y="348398"/>
                      <a:pt x="15513" y="371104"/>
                    </a:cubicBezTo>
                    <a:cubicBezTo>
                      <a:pt x="13732" y="372588"/>
                      <a:pt x="11655" y="373330"/>
                      <a:pt x="9429" y="373330"/>
                    </a:cubicBezTo>
                  </a:path>
                </a:pathLst>
              </a:custGeom>
              <a:solidFill>
                <a:srgbClr val="FFFFFF"/>
              </a:solidFill>
              <a:ln w="14828" cap="flat">
                <a:noFill/>
                <a:prstDash val="solid"/>
                <a:miter/>
              </a:ln>
            </p:spPr>
            <p:txBody>
              <a:bodyPr rtlCol="0" anchor="ctr"/>
              <a:lstStyle/>
              <a:p>
                <a:endParaRPr lang="en-DK"/>
              </a:p>
            </p:txBody>
          </p:sp>
          <p:sp>
            <p:nvSpPr>
              <p:cNvPr id="149" name="Freeform 148">
                <a:extLst>
                  <a:ext uri="{FF2B5EF4-FFF2-40B4-BE49-F238E27FC236}">
                    <a16:creationId xmlns:a16="http://schemas.microsoft.com/office/drawing/2014/main" id="{74AA9D97-44B6-6934-73D9-6513C1FE663B}"/>
                  </a:ext>
                </a:extLst>
              </p:cNvPr>
              <p:cNvSpPr/>
              <p:nvPr/>
            </p:nvSpPr>
            <p:spPr>
              <a:xfrm>
                <a:off x="1516287" y="3724614"/>
                <a:ext cx="370675" cy="373297"/>
              </a:xfrm>
              <a:custGeom>
                <a:avLst/>
                <a:gdLst>
                  <a:gd name="connsiteX0" fmla="*/ 9247 w 370675"/>
                  <a:gd name="connsiteY0" fmla="*/ 373149 h 373297"/>
                  <a:gd name="connsiteX1" fmla="*/ 1529 w 370675"/>
                  <a:gd name="connsiteY1" fmla="*/ 368845 h 373297"/>
                  <a:gd name="connsiteX2" fmla="*/ 4201 w 370675"/>
                  <a:gd name="connsiteY2" fmla="*/ 355933 h 373297"/>
                  <a:gd name="connsiteX3" fmla="*/ 97700 w 370675"/>
                  <a:gd name="connsiteY3" fmla="*/ 313488 h 373297"/>
                  <a:gd name="connsiteX4" fmla="*/ 234388 w 370675"/>
                  <a:gd name="connsiteY4" fmla="*/ 235869 h 373297"/>
                  <a:gd name="connsiteX5" fmla="*/ 311562 w 370675"/>
                  <a:gd name="connsiteY5" fmla="*/ 98293 h 373297"/>
                  <a:gd name="connsiteX6" fmla="*/ 353711 w 370675"/>
                  <a:gd name="connsiteY6" fmla="*/ 4201 h 373297"/>
                  <a:gd name="connsiteX7" fmla="*/ 366474 w 370675"/>
                  <a:gd name="connsiteY7" fmla="*/ 1529 h 373297"/>
                  <a:gd name="connsiteX8" fmla="*/ 369146 w 370675"/>
                  <a:gd name="connsiteY8" fmla="*/ 14441 h 373297"/>
                  <a:gd name="connsiteX9" fmla="*/ 328926 w 370675"/>
                  <a:gd name="connsiteY9" fmla="*/ 104675 h 373297"/>
                  <a:gd name="connsiteX10" fmla="*/ 247448 w 370675"/>
                  <a:gd name="connsiteY10" fmla="*/ 249226 h 373297"/>
                  <a:gd name="connsiteX11" fmla="*/ 103785 w 370675"/>
                  <a:gd name="connsiteY11" fmla="*/ 331297 h 373297"/>
                  <a:gd name="connsiteX12" fmla="*/ 14293 w 370675"/>
                  <a:gd name="connsiteY12" fmla="*/ 371813 h 373297"/>
                  <a:gd name="connsiteX13" fmla="*/ 9247 w 370675"/>
                  <a:gd name="connsiteY13" fmla="*/ 373297 h 373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0675" h="373297">
                    <a:moveTo>
                      <a:pt x="9247" y="373149"/>
                    </a:moveTo>
                    <a:cubicBezTo>
                      <a:pt x="6279" y="373149"/>
                      <a:pt x="3310" y="371665"/>
                      <a:pt x="1529" y="368845"/>
                    </a:cubicBezTo>
                    <a:cubicBezTo>
                      <a:pt x="-1290" y="364541"/>
                      <a:pt x="-103" y="358753"/>
                      <a:pt x="4201" y="355933"/>
                    </a:cubicBezTo>
                    <a:cubicBezTo>
                      <a:pt x="34774" y="335898"/>
                      <a:pt x="66831" y="324470"/>
                      <a:pt x="97700" y="313488"/>
                    </a:cubicBezTo>
                    <a:cubicBezTo>
                      <a:pt x="142966" y="297311"/>
                      <a:pt x="189864" y="280689"/>
                      <a:pt x="234388" y="235869"/>
                    </a:cubicBezTo>
                    <a:cubicBezTo>
                      <a:pt x="278911" y="191049"/>
                      <a:pt x="295533" y="143855"/>
                      <a:pt x="311562" y="98293"/>
                    </a:cubicBezTo>
                    <a:cubicBezTo>
                      <a:pt x="322544" y="67127"/>
                      <a:pt x="333823" y="34922"/>
                      <a:pt x="353711" y="4201"/>
                    </a:cubicBezTo>
                    <a:cubicBezTo>
                      <a:pt x="356530" y="-103"/>
                      <a:pt x="362170" y="-1290"/>
                      <a:pt x="366474" y="1529"/>
                    </a:cubicBezTo>
                    <a:cubicBezTo>
                      <a:pt x="370778" y="4349"/>
                      <a:pt x="371965" y="10137"/>
                      <a:pt x="369146" y="14441"/>
                    </a:cubicBezTo>
                    <a:cubicBezTo>
                      <a:pt x="350446" y="43381"/>
                      <a:pt x="340057" y="73063"/>
                      <a:pt x="328926" y="104675"/>
                    </a:cubicBezTo>
                    <a:cubicBezTo>
                      <a:pt x="312155" y="152314"/>
                      <a:pt x="294940" y="201438"/>
                      <a:pt x="247448" y="249226"/>
                    </a:cubicBezTo>
                    <a:cubicBezTo>
                      <a:pt x="199956" y="297014"/>
                      <a:pt x="151129" y="314527"/>
                      <a:pt x="103785" y="331297"/>
                    </a:cubicBezTo>
                    <a:cubicBezTo>
                      <a:pt x="72470" y="342428"/>
                      <a:pt x="42936" y="352965"/>
                      <a:pt x="14293" y="371813"/>
                    </a:cubicBezTo>
                    <a:cubicBezTo>
                      <a:pt x="12809" y="372852"/>
                      <a:pt x="11028" y="373297"/>
                      <a:pt x="9247" y="373297"/>
                    </a:cubicBezTo>
                  </a:path>
                </a:pathLst>
              </a:custGeom>
              <a:solidFill>
                <a:srgbClr val="FFFFFF"/>
              </a:solidFill>
              <a:ln w="14828" cap="flat">
                <a:noFill/>
                <a:prstDash val="solid"/>
                <a:miter/>
              </a:ln>
            </p:spPr>
            <p:txBody>
              <a:bodyPr rtlCol="0" anchor="ctr"/>
              <a:lstStyle/>
              <a:p>
                <a:endParaRPr lang="en-DK"/>
              </a:p>
            </p:txBody>
          </p:sp>
          <p:sp>
            <p:nvSpPr>
              <p:cNvPr id="150" name="Freeform 149">
                <a:extLst>
                  <a:ext uri="{FF2B5EF4-FFF2-40B4-BE49-F238E27FC236}">
                    <a16:creationId xmlns:a16="http://schemas.microsoft.com/office/drawing/2014/main" id="{26C9AA6E-F5D0-D39B-D4F1-92CFA8390C58}"/>
                  </a:ext>
                </a:extLst>
              </p:cNvPr>
              <p:cNvSpPr/>
              <p:nvPr/>
            </p:nvSpPr>
            <p:spPr>
              <a:xfrm>
                <a:off x="1451477" y="3659248"/>
                <a:ext cx="537399" cy="541363"/>
              </a:xfrm>
              <a:custGeom>
                <a:avLst/>
                <a:gdLst>
                  <a:gd name="connsiteX0" fmla="*/ 9202 w 537399"/>
                  <a:gd name="connsiteY0" fmla="*/ 541215 h 541363"/>
                  <a:gd name="connsiteX1" fmla="*/ 2671 w 537399"/>
                  <a:gd name="connsiteY1" fmla="*/ 538544 h 541363"/>
                  <a:gd name="connsiteX2" fmla="*/ 2671 w 537399"/>
                  <a:gd name="connsiteY2" fmla="*/ 525335 h 541363"/>
                  <a:gd name="connsiteX3" fmla="*/ 189967 w 537399"/>
                  <a:gd name="connsiteY3" fmla="*/ 418480 h 541363"/>
                  <a:gd name="connsiteX4" fmla="*/ 336301 w 537399"/>
                  <a:gd name="connsiteY4" fmla="*/ 338635 h 541363"/>
                  <a:gd name="connsiteX5" fmla="*/ 415553 w 537399"/>
                  <a:gd name="connsiteY5" fmla="*/ 191264 h 541363"/>
                  <a:gd name="connsiteX6" fmla="*/ 521667 w 537399"/>
                  <a:gd name="connsiteY6" fmla="*/ 2783 h 541363"/>
                  <a:gd name="connsiteX7" fmla="*/ 534728 w 537399"/>
                  <a:gd name="connsiteY7" fmla="*/ 2783 h 541363"/>
                  <a:gd name="connsiteX8" fmla="*/ 534728 w 537399"/>
                  <a:gd name="connsiteY8" fmla="*/ 15991 h 541363"/>
                  <a:gd name="connsiteX9" fmla="*/ 433214 w 537399"/>
                  <a:gd name="connsiteY9" fmla="*/ 196903 h 541363"/>
                  <a:gd name="connsiteX10" fmla="*/ 349361 w 537399"/>
                  <a:gd name="connsiteY10" fmla="*/ 351992 h 541363"/>
                  <a:gd name="connsiteX11" fmla="*/ 195310 w 537399"/>
                  <a:gd name="connsiteY11" fmla="*/ 436438 h 541363"/>
                  <a:gd name="connsiteX12" fmla="*/ 15732 w 537399"/>
                  <a:gd name="connsiteY12" fmla="*/ 538692 h 541363"/>
                  <a:gd name="connsiteX13" fmla="*/ 9202 w 537399"/>
                  <a:gd name="connsiteY13" fmla="*/ 541364 h 54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7399" h="541363">
                    <a:moveTo>
                      <a:pt x="9202" y="541215"/>
                    </a:moveTo>
                    <a:cubicBezTo>
                      <a:pt x="6827" y="541215"/>
                      <a:pt x="4452" y="540325"/>
                      <a:pt x="2671" y="538544"/>
                    </a:cubicBezTo>
                    <a:cubicBezTo>
                      <a:pt x="-890" y="534834"/>
                      <a:pt x="-890" y="529046"/>
                      <a:pt x="2671" y="525335"/>
                    </a:cubicBezTo>
                    <a:cubicBezTo>
                      <a:pt x="72277" y="455137"/>
                      <a:pt x="132086" y="436586"/>
                      <a:pt x="189967" y="418480"/>
                    </a:cubicBezTo>
                    <a:cubicBezTo>
                      <a:pt x="239982" y="402897"/>
                      <a:pt x="287325" y="388056"/>
                      <a:pt x="336301" y="338635"/>
                    </a:cubicBezTo>
                    <a:cubicBezTo>
                      <a:pt x="385277" y="289215"/>
                      <a:pt x="399970" y="241575"/>
                      <a:pt x="415553" y="191264"/>
                    </a:cubicBezTo>
                    <a:cubicBezTo>
                      <a:pt x="433511" y="133087"/>
                      <a:pt x="452062" y="72832"/>
                      <a:pt x="521667" y="2783"/>
                    </a:cubicBezTo>
                    <a:cubicBezTo>
                      <a:pt x="525229" y="-928"/>
                      <a:pt x="531166" y="-928"/>
                      <a:pt x="534728" y="2783"/>
                    </a:cubicBezTo>
                    <a:cubicBezTo>
                      <a:pt x="538290" y="6493"/>
                      <a:pt x="538290" y="12281"/>
                      <a:pt x="534728" y="15991"/>
                    </a:cubicBezTo>
                    <a:cubicBezTo>
                      <a:pt x="468239" y="82924"/>
                      <a:pt x="450430" y="140804"/>
                      <a:pt x="433214" y="196903"/>
                    </a:cubicBezTo>
                    <a:cubicBezTo>
                      <a:pt x="417037" y="249589"/>
                      <a:pt x="401751" y="299306"/>
                      <a:pt x="349361" y="351992"/>
                    </a:cubicBezTo>
                    <a:cubicBezTo>
                      <a:pt x="297120" y="404678"/>
                      <a:pt x="247699" y="420112"/>
                      <a:pt x="195310" y="436438"/>
                    </a:cubicBezTo>
                    <a:cubicBezTo>
                      <a:pt x="139656" y="453802"/>
                      <a:pt x="82072" y="471759"/>
                      <a:pt x="15732" y="538692"/>
                    </a:cubicBezTo>
                    <a:cubicBezTo>
                      <a:pt x="13951" y="540473"/>
                      <a:pt x="11576" y="541364"/>
                      <a:pt x="9202" y="541364"/>
                    </a:cubicBezTo>
                  </a:path>
                </a:pathLst>
              </a:custGeom>
              <a:solidFill>
                <a:srgbClr val="FFFFFF"/>
              </a:solidFill>
              <a:ln w="14828" cap="flat">
                <a:noFill/>
                <a:prstDash val="solid"/>
                <a:miter/>
              </a:ln>
            </p:spPr>
            <p:txBody>
              <a:bodyPr rtlCol="0" anchor="ctr"/>
              <a:lstStyle/>
              <a:p>
                <a:endParaRPr lang="en-DK"/>
              </a:p>
            </p:txBody>
          </p:sp>
          <p:sp>
            <p:nvSpPr>
              <p:cNvPr id="151" name="Freeform 150">
                <a:extLst>
                  <a:ext uri="{FF2B5EF4-FFF2-40B4-BE49-F238E27FC236}">
                    <a16:creationId xmlns:a16="http://schemas.microsoft.com/office/drawing/2014/main" id="{419A23B7-D62E-1EF5-DCF0-09E889D7BA6E}"/>
                  </a:ext>
                </a:extLst>
              </p:cNvPr>
              <p:cNvSpPr/>
              <p:nvPr/>
            </p:nvSpPr>
            <p:spPr>
              <a:xfrm>
                <a:off x="4356786" y="3407655"/>
                <a:ext cx="1007122" cy="1007112"/>
              </a:xfrm>
              <a:custGeom>
                <a:avLst/>
                <a:gdLst>
                  <a:gd name="connsiteX0" fmla="*/ 503561 w 1007122"/>
                  <a:gd name="connsiteY0" fmla="*/ 1007112 h 1007112"/>
                  <a:gd name="connsiteX1" fmla="*/ 1007122 w 1007122"/>
                  <a:gd name="connsiteY1" fmla="*/ 503556 h 1007112"/>
                  <a:gd name="connsiteX2" fmla="*/ 503561 w 1007122"/>
                  <a:gd name="connsiteY2" fmla="*/ 0 h 1007112"/>
                  <a:gd name="connsiteX3" fmla="*/ 0 w 1007122"/>
                  <a:gd name="connsiteY3" fmla="*/ 503556 h 1007112"/>
                  <a:gd name="connsiteX4" fmla="*/ 503561 w 1007122"/>
                  <a:gd name="connsiteY4" fmla="*/ 1007112 h 100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122" h="1007112">
                    <a:moveTo>
                      <a:pt x="503561" y="1007112"/>
                    </a:moveTo>
                    <a:cubicBezTo>
                      <a:pt x="781685" y="1007112"/>
                      <a:pt x="1007122" y="781677"/>
                      <a:pt x="1007122" y="503556"/>
                    </a:cubicBezTo>
                    <a:cubicBezTo>
                      <a:pt x="1007122" y="225435"/>
                      <a:pt x="781685" y="0"/>
                      <a:pt x="503561" y="0"/>
                    </a:cubicBezTo>
                    <a:cubicBezTo>
                      <a:pt x="225437" y="0"/>
                      <a:pt x="0" y="225435"/>
                      <a:pt x="0" y="503556"/>
                    </a:cubicBezTo>
                    <a:cubicBezTo>
                      <a:pt x="0" y="781677"/>
                      <a:pt x="225437" y="1007112"/>
                      <a:pt x="503561" y="1007112"/>
                    </a:cubicBezTo>
                  </a:path>
                </a:pathLst>
              </a:custGeom>
              <a:solidFill>
                <a:srgbClr val="001965"/>
              </a:solidFill>
              <a:ln w="14828" cap="flat">
                <a:noFill/>
                <a:prstDash val="solid"/>
                <a:miter/>
              </a:ln>
            </p:spPr>
            <p:txBody>
              <a:bodyPr rtlCol="0" anchor="ctr"/>
              <a:lstStyle/>
              <a:p>
                <a:endParaRPr lang="en-DK"/>
              </a:p>
            </p:txBody>
          </p:sp>
          <p:sp>
            <p:nvSpPr>
              <p:cNvPr id="152" name="Freeform 151">
                <a:extLst>
                  <a:ext uri="{FF2B5EF4-FFF2-40B4-BE49-F238E27FC236}">
                    <a16:creationId xmlns:a16="http://schemas.microsoft.com/office/drawing/2014/main" id="{11544DCE-DDD8-D5B8-54D6-8E0F2DE1F1F9}"/>
                  </a:ext>
                </a:extLst>
              </p:cNvPr>
              <p:cNvSpPr/>
              <p:nvPr/>
            </p:nvSpPr>
            <p:spPr>
              <a:xfrm>
                <a:off x="4341945" y="3392814"/>
                <a:ext cx="1036804" cy="1036794"/>
              </a:xfrm>
              <a:custGeom>
                <a:avLst/>
                <a:gdLst>
                  <a:gd name="connsiteX0" fmla="*/ 518402 w 1036804"/>
                  <a:gd name="connsiteY0" fmla="*/ 1021953 h 1036794"/>
                  <a:gd name="connsiteX1" fmla="*/ 518402 w 1036804"/>
                  <a:gd name="connsiteY1" fmla="*/ 1007112 h 1036794"/>
                  <a:gd name="connsiteX2" fmla="*/ 1007122 w 1036804"/>
                  <a:gd name="connsiteY2" fmla="*/ 518397 h 1036794"/>
                  <a:gd name="connsiteX3" fmla="*/ 518402 w 1036804"/>
                  <a:gd name="connsiteY3" fmla="*/ 29682 h 1036794"/>
                  <a:gd name="connsiteX4" fmla="*/ 29682 w 1036804"/>
                  <a:gd name="connsiteY4" fmla="*/ 518397 h 1036794"/>
                  <a:gd name="connsiteX5" fmla="*/ 518402 w 1036804"/>
                  <a:gd name="connsiteY5" fmla="*/ 1007112 h 1036794"/>
                  <a:gd name="connsiteX6" fmla="*/ 518402 w 1036804"/>
                  <a:gd name="connsiteY6" fmla="*/ 1036794 h 1036794"/>
                  <a:gd name="connsiteX7" fmla="*/ 0 w 1036804"/>
                  <a:gd name="connsiteY7" fmla="*/ 518397 h 1036794"/>
                  <a:gd name="connsiteX8" fmla="*/ 518402 w 1036804"/>
                  <a:gd name="connsiteY8" fmla="*/ 0 h 1036794"/>
                  <a:gd name="connsiteX9" fmla="*/ 1036805 w 1036804"/>
                  <a:gd name="connsiteY9" fmla="*/ 518397 h 1036794"/>
                  <a:gd name="connsiteX10" fmla="*/ 518402 w 1036804"/>
                  <a:gd name="connsiteY10" fmla="*/ 1036794 h 1036794"/>
                  <a:gd name="connsiteX11" fmla="*/ 518402 w 1036804"/>
                  <a:gd name="connsiteY11" fmla="*/ 1021953 h 1036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6804" h="1036794">
                    <a:moveTo>
                      <a:pt x="518402" y="1021953"/>
                    </a:moveTo>
                    <a:lnTo>
                      <a:pt x="518402" y="1007112"/>
                    </a:lnTo>
                    <a:cubicBezTo>
                      <a:pt x="788363" y="1006667"/>
                      <a:pt x="1006677" y="788355"/>
                      <a:pt x="1007122" y="518397"/>
                    </a:cubicBezTo>
                    <a:cubicBezTo>
                      <a:pt x="1006677" y="248439"/>
                      <a:pt x="788363" y="30127"/>
                      <a:pt x="518402" y="29682"/>
                    </a:cubicBezTo>
                    <a:cubicBezTo>
                      <a:pt x="248441" y="30127"/>
                      <a:pt x="30127" y="248439"/>
                      <a:pt x="29682" y="518397"/>
                    </a:cubicBezTo>
                    <a:cubicBezTo>
                      <a:pt x="30127" y="788355"/>
                      <a:pt x="248441" y="1006667"/>
                      <a:pt x="518402" y="1007112"/>
                    </a:cubicBezTo>
                    <a:lnTo>
                      <a:pt x="518402" y="1036794"/>
                    </a:lnTo>
                    <a:cubicBezTo>
                      <a:pt x="232116" y="1036794"/>
                      <a:pt x="0" y="804681"/>
                      <a:pt x="0" y="518397"/>
                    </a:cubicBezTo>
                    <a:cubicBezTo>
                      <a:pt x="0" y="232114"/>
                      <a:pt x="232116" y="0"/>
                      <a:pt x="518402" y="0"/>
                    </a:cubicBezTo>
                    <a:cubicBezTo>
                      <a:pt x="804689" y="0"/>
                      <a:pt x="1036805" y="232114"/>
                      <a:pt x="1036805" y="518397"/>
                    </a:cubicBezTo>
                    <a:cubicBezTo>
                      <a:pt x="1036805" y="804681"/>
                      <a:pt x="804689" y="1036794"/>
                      <a:pt x="518402" y="1036794"/>
                    </a:cubicBezTo>
                    <a:lnTo>
                      <a:pt x="518402" y="1021953"/>
                    </a:lnTo>
                    <a:close/>
                  </a:path>
                </a:pathLst>
              </a:custGeom>
              <a:gradFill>
                <a:gsLst>
                  <a:gs pos="33000">
                    <a:schemeClr val="accent2"/>
                  </a:gs>
                  <a:gs pos="100000">
                    <a:schemeClr val="accent2"/>
                  </a:gs>
                </a:gsLst>
                <a:lin ang="0" scaled="1"/>
              </a:gradFill>
              <a:ln w="14828" cap="flat">
                <a:noFill/>
                <a:prstDash val="solid"/>
                <a:miter/>
              </a:ln>
            </p:spPr>
            <p:txBody>
              <a:bodyPr rtlCol="0" anchor="ctr"/>
              <a:lstStyle/>
              <a:p>
                <a:endParaRPr lang="en-DK"/>
              </a:p>
            </p:txBody>
          </p:sp>
          <p:sp>
            <p:nvSpPr>
              <p:cNvPr id="153" name="Freeform 152">
                <a:extLst>
                  <a:ext uri="{FF2B5EF4-FFF2-40B4-BE49-F238E27FC236}">
                    <a16:creationId xmlns:a16="http://schemas.microsoft.com/office/drawing/2014/main" id="{DD385B9A-1620-07EF-8542-616D78375F53}"/>
                  </a:ext>
                </a:extLst>
              </p:cNvPr>
              <p:cNvSpPr/>
              <p:nvPr/>
            </p:nvSpPr>
            <p:spPr>
              <a:xfrm>
                <a:off x="4738204" y="3763246"/>
                <a:ext cx="107747" cy="431131"/>
              </a:xfrm>
              <a:custGeom>
                <a:avLst/>
                <a:gdLst>
                  <a:gd name="connsiteX0" fmla="*/ 9053 w 107747"/>
                  <a:gd name="connsiteY0" fmla="*/ 0 h 431131"/>
                  <a:gd name="connsiteX1" fmla="*/ 9053 w 107747"/>
                  <a:gd name="connsiteY1" fmla="*/ 33986 h 431131"/>
                  <a:gd name="connsiteX2" fmla="*/ 0 w 107747"/>
                  <a:gd name="connsiteY2" fmla="*/ 82665 h 431131"/>
                  <a:gd name="connsiteX3" fmla="*/ 0 w 107747"/>
                  <a:gd name="connsiteY3" fmla="*/ 119915 h 431131"/>
                  <a:gd name="connsiteX4" fmla="*/ 4452 w 107747"/>
                  <a:gd name="connsiteY4" fmla="*/ 170969 h 431131"/>
                  <a:gd name="connsiteX5" fmla="*/ 25230 w 107747"/>
                  <a:gd name="connsiteY5" fmla="*/ 214898 h 431131"/>
                  <a:gd name="connsiteX6" fmla="*/ 53131 w 107747"/>
                  <a:gd name="connsiteY6" fmla="*/ 255859 h 431131"/>
                  <a:gd name="connsiteX7" fmla="*/ 62926 w 107747"/>
                  <a:gd name="connsiteY7" fmla="*/ 276340 h 431131"/>
                  <a:gd name="connsiteX8" fmla="*/ 69753 w 107747"/>
                  <a:gd name="connsiteY8" fmla="*/ 285393 h 431131"/>
                  <a:gd name="connsiteX9" fmla="*/ 56990 w 107747"/>
                  <a:gd name="connsiteY9" fmla="*/ 304390 h 431131"/>
                  <a:gd name="connsiteX10" fmla="*/ 53131 w 107747"/>
                  <a:gd name="connsiteY10" fmla="*/ 321160 h 431131"/>
                  <a:gd name="connsiteX11" fmla="*/ 62926 w 107747"/>
                  <a:gd name="connsiteY11" fmla="*/ 359598 h 431131"/>
                  <a:gd name="connsiteX12" fmla="*/ 82368 w 107747"/>
                  <a:gd name="connsiteY12" fmla="*/ 431132 h 431131"/>
                  <a:gd name="connsiteX13" fmla="*/ 97061 w 107747"/>
                  <a:gd name="connsiteY13" fmla="*/ 431132 h 431131"/>
                  <a:gd name="connsiteX14" fmla="*/ 97061 w 107747"/>
                  <a:gd name="connsiteY14" fmla="*/ 374736 h 431131"/>
                  <a:gd name="connsiteX15" fmla="*/ 107747 w 107747"/>
                  <a:gd name="connsiteY15" fmla="*/ 298008 h 431131"/>
                  <a:gd name="connsiteX16" fmla="*/ 97061 w 107747"/>
                  <a:gd name="connsiteY16" fmla="*/ 253188 h 431131"/>
                  <a:gd name="connsiteX17" fmla="*/ 75393 w 107747"/>
                  <a:gd name="connsiteY17" fmla="*/ 215640 h 431131"/>
                  <a:gd name="connsiteX18" fmla="*/ 62926 w 107747"/>
                  <a:gd name="connsiteY18" fmla="*/ 178834 h 431131"/>
                  <a:gd name="connsiteX19" fmla="*/ 53874 w 107747"/>
                  <a:gd name="connsiteY19" fmla="*/ 146629 h 431131"/>
                  <a:gd name="connsiteX20" fmla="*/ 56990 w 107747"/>
                  <a:gd name="connsiteY20" fmla="*/ 101661 h 431131"/>
                  <a:gd name="connsiteX21" fmla="*/ 69753 w 107747"/>
                  <a:gd name="connsiteY21" fmla="*/ 70050 h 431131"/>
                  <a:gd name="connsiteX22" fmla="*/ 76283 w 107747"/>
                  <a:gd name="connsiteY22" fmla="*/ 15583 h 431131"/>
                  <a:gd name="connsiteX23" fmla="*/ 9053 w 107747"/>
                  <a:gd name="connsiteY23" fmla="*/ 0 h 431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7747" h="431131">
                    <a:moveTo>
                      <a:pt x="9053" y="0"/>
                    </a:moveTo>
                    <a:lnTo>
                      <a:pt x="9053" y="33986"/>
                    </a:lnTo>
                    <a:lnTo>
                      <a:pt x="0" y="82665"/>
                    </a:lnTo>
                    <a:lnTo>
                      <a:pt x="0" y="119915"/>
                    </a:lnTo>
                    <a:lnTo>
                      <a:pt x="4452" y="170969"/>
                    </a:lnTo>
                    <a:lnTo>
                      <a:pt x="25230" y="214898"/>
                    </a:lnTo>
                    <a:lnTo>
                      <a:pt x="53131" y="255859"/>
                    </a:lnTo>
                    <a:lnTo>
                      <a:pt x="62926" y="276340"/>
                    </a:lnTo>
                    <a:lnTo>
                      <a:pt x="69753" y="285393"/>
                    </a:lnTo>
                    <a:lnTo>
                      <a:pt x="56990" y="304390"/>
                    </a:lnTo>
                    <a:lnTo>
                      <a:pt x="53131" y="321160"/>
                    </a:lnTo>
                    <a:lnTo>
                      <a:pt x="62926" y="359598"/>
                    </a:lnTo>
                    <a:lnTo>
                      <a:pt x="82368" y="431132"/>
                    </a:lnTo>
                    <a:lnTo>
                      <a:pt x="97061" y="431132"/>
                    </a:lnTo>
                    <a:lnTo>
                      <a:pt x="97061" y="374736"/>
                    </a:lnTo>
                    <a:lnTo>
                      <a:pt x="107747" y="298008"/>
                    </a:lnTo>
                    <a:lnTo>
                      <a:pt x="97061" y="253188"/>
                    </a:lnTo>
                    <a:lnTo>
                      <a:pt x="75393" y="215640"/>
                    </a:lnTo>
                    <a:lnTo>
                      <a:pt x="62926" y="178834"/>
                    </a:lnTo>
                    <a:lnTo>
                      <a:pt x="53874" y="146629"/>
                    </a:lnTo>
                    <a:lnTo>
                      <a:pt x="56990" y="101661"/>
                    </a:lnTo>
                    <a:lnTo>
                      <a:pt x="69753" y="70050"/>
                    </a:lnTo>
                    <a:lnTo>
                      <a:pt x="76283" y="15583"/>
                    </a:lnTo>
                    <a:lnTo>
                      <a:pt x="9053" y="0"/>
                    </a:lnTo>
                    <a:close/>
                  </a:path>
                </a:pathLst>
              </a:custGeom>
              <a:solidFill>
                <a:srgbClr val="2978FF">
                  <a:alpha val="50000"/>
                </a:srgbClr>
              </a:solidFill>
              <a:ln w="14828" cap="flat">
                <a:noFill/>
                <a:prstDash val="solid"/>
                <a:miter/>
              </a:ln>
            </p:spPr>
            <p:txBody>
              <a:bodyPr rtlCol="0" anchor="ctr"/>
              <a:lstStyle/>
              <a:p>
                <a:endParaRPr lang="en-DK"/>
              </a:p>
            </p:txBody>
          </p:sp>
          <p:sp>
            <p:nvSpPr>
              <p:cNvPr id="154" name="Freeform 153">
                <a:extLst>
                  <a:ext uri="{FF2B5EF4-FFF2-40B4-BE49-F238E27FC236}">
                    <a16:creationId xmlns:a16="http://schemas.microsoft.com/office/drawing/2014/main" id="{219F7130-8A88-0D36-8329-0227DD07D1C7}"/>
                  </a:ext>
                </a:extLst>
              </p:cNvPr>
              <p:cNvSpPr/>
              <p:nvPr/>
            </p:nvSpPr>
            <p:spPr>
              <a:xfrm>
                <a:off x="4871330" y="3763246"/>
                <a:ext cx="107598" cy="431131"/>
              </a:xfrm>
              <a:custGeom>
                <a:avLst/>
                <a:gdLst>
                  <a:gd name="connsiteX0" fmla="*/ 98694 w 107598"/>
                  <a:gd name="connsiteY0" fmla="*/ 0 h 431131"/>
                  <a:gd name="connsiteX1" fmla="*/ 98694 w 107598"/>
                  <a:gd name="connsiteY1" fmla="*/ 33986 h 431131"/>
                  <a:gd name="connsiteX2" fmla="*/ 107599 w 107598"/>
                  <a:gd name="connsiteY2" fmla="*/ 82665 h 431131"/>
                  <a:gd name="connsiteX3" fmla="*/ 107599 w 107598"/>
                  <a:gd name="connsiteY3" fmla="*/ 119915 h 431131"/>
                  <a:gd name="connsiteX4" fmla="*/ 103146 w 107598"/>
                  <a:gd name="connsiteY4" fmla="*/ 170969 h 431131"/>
                  <a:gd name="connsiteX5" fmla="*/ 82368 w 107598"/>
                  <a:gd name="connsiteY5" fmla="*/ 214898 h 431131"/>
                  <a:gd name="connsiteX6" fmla="*/ 54615 w 107598"/>
                  <a:gd name="connsiteY6" fmla="*/ 255859 h 431131"/>
                  <a:gd name="connsiteX7" fmla="*/ 44820 w 107598"/>
                  <a:gd name="connsiteY7" fmla="*/ 276340 h 431131"/>
                  <a:gd name="connsiteX8" fmla="*/ 37993 w 107598"/>
                  <a:gd name="connsiteY8" fmla="*/ 285393 h 431131"/>
                  <a:gd name="connsiteX9" fmla="*/ 50608 w 107598"/>
                  <a:gd name="connsiteY9" fmla="*/ 304390 h 431131"/>
                  <a:gd name="connsiteX10" fmla="*/ 54615 w 107598"/>
                  <a:gd name="connsiteY10" fmla="*/ 321160 h 431131"/>
                  <a:gd name="connsiteX11" fmla="*/ 44820 w 107598"/>
                  <a:gd name="connsiteY11" fmla="*/ 359598 h 431131"/>
                  <a:gd name="connsiteX12" fmla="*/ 25230 w 107598"/>
                  <a:gd name="connsiteY12" fmla="*/ 431132 h 431131"/>
                  <a:gd name="connsiteX13" fmla="*/ 10537 w 107598"/>
                  <a:gd name="connsiteY13" fmla="*/ 431132 h 431131"/>
                  <a:gd name="connsiteX14" fmla="*/ 10537 w 107598"/>
                  <a:gd name="connsiteY14" fmla="*/ 374736 h 431131"/>
                  <a:gd name="connsiteX15" fmla="*/ 0 w 107598"/>
                  <a:gd name="connsiteY15" fmla="*/ 298008 h 431131"/>
                  <a:gd name="connsiteX16" fmla="*/ 10537 w 107598"/>
                  <a:gd name="connsiteY16" fmla="*/ 253188 h 431131"/>
                  <a:gd name="connsiteX17" fmla="*/ 32354 w 107598"/>
                  <a:gd name="connsiteY17" fmla="*/ 215640 h 431131"/>
                  <a:gd name="connsiteX18" fmla="*/ 44820 w 107598"/>
                  <a:gd name="connsiteY18" fmla="*/ 178834 h 431131"/>
                  <a:gd name="connsiteX19" fmla="*/ 53874 w 107598"/>
                  <a:gd name="connsiteY19" fmla="*/ 146629 h 431131"/>
                  <a:gd name="connsiteX20" fmla="*/ 50608 w 107598"/>
                  <a:gd name="connsiteY20" fmla="*/ 101661 h 431131"/>
                  <a:gd name="connsiteX21" fmla="*/ 37993 w 107598"/>
                  <a:gd name="connsiteY21" fmla="*/ 70050 h 431131"/>
                  <a:gd name="connsiteX22" fmla="*/ 31463 w 107598"/>
                  <a:gd name="connsiteY22" fmla="*/ 15583 h 431131"/>
                  <a:gd name="connsiteX23" fmla="*/ 98694 w 107598"/>
                  <a:gd name="connsiteY23" fmla="*/ 0 h 431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7598" h="431131">
                    <a:moveTo>
                      <a:pt x="98694" y="0"/>
                    </a:moveTo>
                    <a:lnTo>
                      <a:pt x="98694" y="33986"/>
                    </a:lnTo>
                    <a:lnTo>
                      <a:pt x="107599" y="82665"/>
                    </a:lnTo>
                    <a:lnTo>
                      <a:pt x="107599" y="119915"/>
                    </a:lnTo>
                    <a:lnTo>
                      <a:pt x="103146" y="170969"/>
                    </a:lnTo>
                    <a:lnTo>
                      <a:pt x="82368" y="214898"/>
                    </a:lnTo>
                    <a:lnTo>
                      <a:pt x="54615" y="255859"/>
                    </a:lnTo>
                    <a:lnTo>
                      <a:pt x="44820" y="276340"/>
                    </a:lnTo>
                    <a:lnTo>
                      <a:pt x="37993" y="285393"/>
                    </a:lnTo>
                    <a:lnTo>
                      <a:pt x="50608" y="304390"/>
                    </a:lnTo>
                    <a:lnTo>
                      <a:pt x="54615" y="321160"/>
                    </a:lnTo>
                    <a:lnTo>
                      <a:pt x="44820" y="359598"/>
                    </a:lnTo>
                    <a:lnTo>
                      <a:pt x="25230" y="431132"/>
                    </a:lnTo>
                    <a:lnTo>
                      <a:pt x="10537" y="431132"/>
                    </a:lnTo>
                    <a:lnTo>
                      <a:pt x="10537" y="374736"/>
                    </a:lnTo>
                    <a:lnTo>
                      <a:pt x="0" y="298008"/>
                    </a:lnTo>
                    <a:lnTo>
                      <a:pt x="10537" y="253188"/>
                    </a:lnTo>
                    <a:lnTo>
                      <a:pt x="32354" y="215640"/>
                    </a:lnTo>
                    <a:lnTo>
                      <a:pt x="44820" y="178834"/>
                    </a:lnTo>
                    <a:lnTo>
                      <a:pt x="53874" y="146629"/>
                    </a:lnTo>
                    <a:lnTo>
                      <a:pt x="50608" y="101661"/>
                    </a:lnTo>
                    <a:lnTo>
                      <a:pt x="37993" y="70050"/>
                    </a:lnTo>
                    <a:lnTo>
                      <a:pt x="31463" y="15583"/>
                    </a:lnTo>
                    <a:lnTo>
                      <a:pt x="98694" y="0"/>
                    </a:lnTo>
                    <a:close/>
                  </a:path>
                </a:pathLst>
              </a:custGeom>
              <a:solidFill>
                <a:srgbClr val="2978FF">
                  <a:alpha val="50000"/>
                </a:srgbClr>
              </a:solidFill>
              <a:ln w="14828" cap="flat">
                <a:noFill/>
                <a:prstDash val="solid"/>
                <a:miter/>
              </a:ln>
            </p:spPr>
            <p:txBody>
              <a:bodyPr rtlCol="0" anchor="ctr"/>
              <a:lstStyle/>
              <a:p>
                <a:endParaRPr lang="en-DK"/>
              </a:p>
            </p:txBody>
          </p:sp>
          <p:sp>
            <p:nvSpPr>
              <p:cNvPr id="155" name="Freeform 154">
                <a:extLst>
                  <a:ext uri="{FF2B5EF4-FFF2-40B4-BE49-F238E27FC236}">
                    <a16:creationId xmlns:a16="http://schemas.microsoft.com/office/drawing/2014/main" id="{648F5D2D-CA6F-4FC8-50C2-397578AC9AEB}"/>
                  </a:ext>
                </a:extLst>
              </p:cNvPr>
              <p:cNvSpPr/>
              <p:nvPr/>
            </p:nvSpPr>
            <p:spPr>
              <a:xfrm>
                <a:off x="4764325" y="3709670"/>
                <a:ext cx="193231" cy="44077"/>
              </a:xfrm>
              <a:custGeom>
                <a:avLst/>
                <a:gdLst>
                  <a:gd name="connsiteX0" fmla="*/ 0 w 193231"/>
                  <a:gd name="connsiteY0" fmla="*/ 11279 h 44077"/>
                  <a:gd name="connsiteX1" fmla="*/ 36806 w 193231"/>
                  <a:gd name="connsiteY1" fmla="*/ 32799 h 44077"/>
                  <a:gd name="connsiteX2" fmla="*/ 77916 w 193231"/>
                  <a:gd name="connsiteY2" fmla="*/ 44078 h 44077"/>
                  <a:gd name="connsiteX3" fmla="*/ 107005 w 193231"/>
                  <a:gd name="connsiteY3" fmla="*/ 44078 h 44077"/>
                  <a:gd name="connsiteX4" fmla="*/ 155387 w 193231"/>
                  <a:gd name="connsiteY4" fmla="*/ 28940 h 44077"/>
                  <a:gd name="connsiteX5" fmla="*/ 193232 w 193231"/>
                  <a:gd name="connsiteY5" fmla="*/ 11279 h 44077"/>
                  <a:gd name="connsiteX6" fmla="*/ 155387 w 193231"/>
                  <a:gd name="connsiteY6" fmla="*/ 742 h 44077"/>
                  <a:gd name="connsiteX7" fmla="*/ 96022 w 193231"/>
                  <a:gd name="connsiteY7" fmla="*/ 742 h 44077"/>
                  <a:gd name="connsiteX8" fmla="*/ 53131 w 193231"/>
                  <a:gd name="connsiteY8" fmla="*/ 0 h 44077"/>
                  <a:gd name="connsiteX9" fmla="*/ 0 w 193231"/>
                  <a:gd name="connsiteY9" fmla="*/ 11279 h 44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231" h="44077">
                    <a:moveTo>
                      <a:pt x="0" y="11279"/>
                    </a:moveTo>
                    <a:lnTo>
                      <a:pt x="36806" y="32799"/>
                    </a:lnTo>
                    <a:lnTo>
                      <a:pt x="77916" y="44078"/>
                    </a:lnTo>
                    <a:lnTo>
                      <a:pt x="107005" y="44078"/>
                    </a:lnTo>
                    <a:lnTo>
                      <a:pt x="155387" y="28940"/>
                    </a:lnTo>
                    <a:lnTo>
                      <a:pt x="193232" y="11279"/>
                    </a:lnTo>
                    <a:lnTo>
                      <a:pt x="155387" y="742"/>
                    </a:lnTo>
                    <a:lnTo>
                      <a:pt x="96022" y="742"/>
                    </a:lnTo>
                    <a:lnTo>
                      <a:pt x="53131" y="0"/>
                    </a:lnTo>
                    <a:lnTo>
                      <a:pt x="0" y="11279"/>
                    </a:lnTo>
                    <a:close/>
                  </a:path>
                </a:pathLst>
              </a:custGeom>
              <a:solidFill>
                <a:srgbClr val="2978FF">
                  <a:alpha val="50000"/>
                </a:srgbClr>
              </a:solidFill>
              <a:ln w="14828" cap="flat">
                <a:noFill/>
                <a:prstDash val="solid"/>
                <a:miter/>
              </a:ln>
            </p:spPr>
            <p:txBody>
              <a:bodyPr rtlCol="0" anchor="ctr"/>
              <a:lstStyle/>
              <a:p>
                <a:endParaRPr lang="en-DK"/>
              </a:p>
            </p:txBody>
          </p:sp>
          <p:sp>
            <p:nvSpPr>
              <p:cNvPr id="156" name="Freeform 155">
                <a:extLst>
                  <a:ext uri="{FF2B5EF4-FFF2-40B4-BE49-F238E27FC236}">
                    <a16:creationId xmlns:a16="http://schemas.microsoft.com/office/drawing/2014/main" id="{2B609A88-D0D4-E0EF-C672-045CC8C2F159}"/>
                  </a:ext>
                </a:extLst>
              </p:cNvPr>
              <p:cNvSpPr/>
              <p:nvPr/>
            </p:nvSpPr>
            <p:spPr>
              <a:xfrm>
                <a:off x="4601962" y="3778830"/>
                <a:ext cx="101365" cy="89194"/>
              </a:xfrm>
              <a:custGeom>
                <a:avLst/>
                <a:gdLst>
                  <a:gd name="connsiteX0" fmla="*/ 0 w 101365"/>
                  <a:gd name="connsiteY0" fmla="*/ 32205 h 89194"/>
                  <a:gd name="connsiteX1" fmla="*/ 18997 w 101365"/>
                  <a:gd name="connsiteY1" fmla="*/ 63965 h 89194"/>
                  <a:gd name="connsiteX2" fmla="*/ 44375 w 101365"/>
                  <a:gd name="connsiteY2" fmla="*/ 81329 h 89194"/>
                  <a:gd name="connsiteX3" fmla="*/ 82368 w 101365"/>
                  <a:gd name="connsiteY3" fmla="*/ 89195 h 89194"/>
                  <a:gd name="connsiteX4" fmla="*/ 101365 w 101365"/>
                  <a:gd name="connsiteY4" fmla="*/ 70198 h 89194"/>
                  <a:gd name="connsiteX5" fmla="*/ 94241 w 101365"/>
                  <a:gd name="connsiteY5" fmla="*/ 32205 h 89194"/>
                  <a:gd name="connsiteX6" fmla="*/ 68566 w 101365"/>
                  <a:gd name="connsiteY6" fmla="*/ 8014 h 89194"/>
                  <a:gd name="connsiteX7" fmla="*/ 37251 w 101365"/>
                  <a:gd name="connsiteY7" fmla="*/ 0 h 89194"/>
                  <a:gd name="connsiteX8" fmla="*/ 10686 w 101365"/>
                  <a:gd name="connsiteY8" fmla="*/ 5046 h 89194"/>
                  <a:gd name="connsiteX9" fmla="*/ 0 w 101365"/>
                  <a:gd name="connsiteY9" fmla="*/ 32205 h 8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365" h="89194">
                    <a:moveTo>
                      <a:pt x="0" y="32205"/>
                    </a:moveTo>
                    <a:lnTo>
                      <a:pt x="18997" y="63965"/>
                    </a:lnTo>
                    <a:lnTo>
                      <a:pt x="44375" y="81329"/>
                    </a:lnTo>
                    <a:lnTo>
                      <a:pt x="82368" y="89195"/>
                    </a:lnTo>
                    <a:lnTo>
                      <a:pt x="101365" y="70198"/>
                    </a:lnTo>
                    <a:lnTo>
                      <a:pt x="94241" y="32205"/>
                    </a:lnTo>
                    <a:lnTo>
                      <a:pt x="68566" y="8014"/>
                    </a:lnTo>
                    <a:lnTo>
                      <a:pt x="37251" y="0"/>
                    </a:lnTo>
                    <a:lnTo>
                      <a:pt x="10686" y="5046"/>
                    </a:lnTo>
                    <a:lnTo>
                      <a:pt x="0" y="32205"/>
                    </a:lnTo>
                    <a:close/>
                  </a:path>
                </a:pathLst>
              </a:custGeom>
              <a:solidFill>
                <a:srgbClr val="2978FF">
                  <a:alpha val="50000"/>
                </a:srgbClr>
              </a:solidFill>
              <a:ln w="14828" cap="flat">
                <a:noFill/>
                <a:prstDash val="solid"/>
                <a:miter/>
              </a:ln>
            </p:spPr>
            <p:txBody>
              <a:bodyPr rtlCol="0" anchor="ctr"/>
              <a:lstStyle/>
              <a:p>
                <a:endParaRPr lang="en-DK"/>
              </a:p>
            </p:txBody>
          </p:sp>
          <p:sp>
            <p:nvSpPr>
              <p:cNvPr id="157" name="Freeform 156">
                <a:extLst>
                  <a:ext uri="{FF2B5EF4-FFF2-40B4-BE49-F238E27FC236}">
                    <a16:creationId xmlns:a16="http://schemas.microsoft.com/office/drawing/2014/main" id="{8D5606C5-E1ED-5EB7-A0B3-F20ECA609AC8}"/>
                  </a:ext>
                </a:extLst>
              </p:cNvPr>
              <p:cNvSpPr/>
              <p:nvPr/>
            </p:nvSpPr>
            <p:spPr>
              <a:xfrm>
                <a:off x="5013805" y="3778830"/>
                <a:ext cx="102997" cy="89194"/>
              </a:xfrm>
              <a:custGeom>
                <a:avLst/>
                <a:gdLst>
                  <a:gd name="connsiteX0" fmla="*/ 94390 w 102997"/>
                  <a:gd name="connsiteY0" fmla="*/ 8014 h 89194"/>
                  <a:gd name="connsiteX1" fmla="*/ 71683 w 102997"/>
                  <a:gd name="connsiteY1" fmla="*/ 0 h 89194"/>
                  <a:gd name="connsiteX2" fmla="*/ 40368 w 102997"/>
                  <a:gd name="connsiteY2" fmla="*/ 4007 h 89194"/>
                  <a:gd name="connsiteX3" fmla="*/ 10686 w 102997"/>
                  <a:gd name="connsiteY3" fmla="*/ 29088 h 89194"/>
                  <a:gd name="connsiteX4" fmla="*/ 0 w 102997"/>
                  <a:gd name="connsiteY4" fmla="*/ 57583 h 89194"/>
                  <a:gd name="connsiteX5" fmla="*/ 10686 w 102997"/>
                  <a:gd name="connsiteY5" fmla="*/ 81329 h 89194"/>
                  <a:gd name="connsiteX6" fmla="*/ 36806 w 102997"/>
                  <a:gd name="connsiteY6" fmla="*/ 89195 h 89194"/>
                  <a:gd name="connsiteX7" fmla="*/ 68121 w 102997"/>
                  <a:gd name="connsiteY7" fmla="*/ 81329 h 89194"/>
                  <a:gd name="connsiteX8" fmla="*/ 88750 w 102997"/>
                  <a:gd name="connsiteY8" fmla="*/ 70198 h 89194"/>
                  <a:gd name="connsiteX9" fmla="*/ 102998 w 102997"/>
                  <a:gd name="connsiteY9" fmla="*/ 44672 h 89194"/>
                  <a:gd name="connsiteX10" fmla="*/ 102998 w 102997"/>
                  <a:gd name="connsiteY10" fmla="*/ 19293 h 89194"/>
                  <a:gd name="connsiteX11" fmla="*/ 94390 w 102997"/>
                  <a:gd name="connsiteY11" fmla="*/ 8014 h 8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997" h="89194">
                    <a:moveTo>
                      <a:pt x="94390" y="8014"/>
                    </a:moveTo>
                    <a:lnTo>
                      <a:pt x="71683" y="0"/>
                    </a:lnTo>
                    <a:lnTo>
                      <a:pt x="40368" y="4007"/>
                    </a:lnTo>
                    <a:lnTo>
                      <a:pt x="10686" y="29088"/>
                    </a:lnTo>
                    <a:lnTo>
                      <a:pt x="0" y="57583"/>
                    </a:lnTo>
                    <a:lnTo>
                      <a:pt x="10686" y="81329"/>
                    </a:lnTo>
                    <a:lnTo>
                      <a:pt x="36806" y="89195"/>
                    </a:lnTo>
                    <a:lnTo>
                      <a:pt x="68121" y="81329"/>
                    </a:lnTo>
                    <a:lnTo>
                      <a:pt x="88750" y="70198"/>
                    </a:lnTo>
                    <a:lnTo>
                      <a:pt x="102998" y="44672"/>
                    </a:lnTo>
                    <a:lnTo>
                      <a:pt x="102998" y="19293"/>
                    </a:lnTo>
                    <a:lnTo>
                      <a:pt x="94390" y="8014"/>
                    </a:lnTo>
                    <a:close/>
                  </a:path>
                </a:pathLst>
              </a:custGeom>
              <a:solidFill>
                <a:srgbClr val="2978FF">
                  <a:alpha val="50000"/>
                </a:srgbClr>
              </a:solidFill>
              <a:ln w="14828" cap="flat">
                <a:noFill/>
                <a:prstDash val="solid"/>
                <a:miter/>
              </a:ln>
            </p:spPr>
            <p:txBody>
              <a:bodyPr rtlCol="0" anchor="ctr"/>
              <a:lstStyle/>
              <a:p>
                <a:endParaRPr lang="en-DK"/>
              </a:p>
            </p:txBody>
          </p:sp>
          <p:sp>
            <p:nvSpPr>
              <p:cNvPr id="158" name="Freeform 157">
                <a:extLst>
                  <a:ext uri="{FF2B5EF4-FFF2-40B4-BE49-F238E27FC236}">
                    <a16:creationId xmlns:a16="http://schemas.microsoft.com/office/drawing/2014/main" id="{F538920B-D9FF-3910-C361-A27358E83E58}"/>
                  </a:ext>
                </a:extLst>
              </p:cNvPr>
              <p:cNvSpPr/>
              <p:nvPr/>
            </p:nvSpPr>
            <p:spPr>
              <a:xfrm>
                <a:off x="4554590" y="3665114"/>
                <a:ext cx="612403" cy="537578"/>
              </a:xfrm>
              <a:custGeom>
                <a:avLst/>
                <a:gdLst>
                  <a:gd name="connsiteX0" fmla="*/ 574679 w 612403"/>
                  <a:gd name="connsiteY0" fmla="*/ 114903 h 537578"/>
                  <a:gd name="connsiteX1" fmla="*/ 565032 w 612403"/>
                  <a:gd name="connsiteY1" fmla="*/ 124550 h 537578"/>
                  <a:gd name="connsiteX2" fmla="*/ 563400 w 612403"/>
                  <a:gd name="connsiteY2" fmla="*/ 121878 h 537578"/>
                  <a:gd name="connsiteX3" fmla="*/ 550488 w 612403"/>
                  <a:gd name="connsiteY3" fmla="*/ 110599 h 537578"/>
                  <a:gd name="connsiteX4" fmla="*/ 559838 w 612403"/>
                  <a:gd name="connsiteY4" fmla="*/ 101249 h 537578"/>
                  <a:gd name="connsiteX5" fmla="*/ 560135 w 612403"/>
                  <a:gd name="connsiteY5" fmla="*/ 100804 h 537578"/>
                  <a:gd name="connsiteX6" fmla="*/ 574827 w 612403"/>
                  <a:gd name="connsiteY6" fmla="*/ 65928 h 537578"/>
                  <a:gd name="connsiteX7" fmla="*/ 569485 w 612403"/>
                  <a:gd name="connsiteY7" fmla="*/ 49751 h 537578"/>
                  <a:gd name="connsiteX8" fmla="*/ 555237 w 612403"/>
                  <a:gd name="connsiteY8" fmla="*/ 39362 h 537578"/>
                  <a:gd name="connsiteX9" fmla="*/ 507597 w 612403"/>
                  <a:gd name="connsiteY9" fmla="*/ 44408 h 537578"/>
                  <a:gd name="connsiteX10" fmla="*/ 464854 w 612403"/>
                  <a:gd name="connsiteY10" fmla="*/ 63850 h 537578"/>
                  <a:gd name="connsiteX11" fmla="*/ 414691 w 612403"/>
                  <a:gd name="connsiteY11" fmla="*/ 86408 h 537578"/>
                  <a:gd name="connsiteX12" fmla="*/ 373136 w 612403"/>
                  <a:gd name="connsiteY12" fmla="*/ 102288 h 537578"/>
                  <a:gd name="connsiteX13" fmla="*/ 305757 w 612403"/>
                  <a:gd name="connsiteY13" fmla="*/ 114606 h 537578"/>
                  <a:gd name="connsiteX14" fmla="*/ 238230 w 612403"/>
                  <a:gd name="connsiteY14" fmla="*/ 102288 h 537578"/>
                  <a:gd name="connsiteX15" fmla="*/ 196674 w 612403"/>
                  <a:gd name="connsiteY15" fmla="*/ 86408 h 537578"/>
                  <a:gd name="connsiteX16" fmla="*/ 146511 w 612403"/>
                  <a:gd name="connsiteY16" fmla="*/ 63850 h 537578"/>
                  <a:gd name="connsiteX17" fmla="*/ 145324 w 612403"/>
                  <a:gd name="connsiteY17" fmla="*/ 63256 h 537578"/>
                  <a:gd name="connsiteX18" fmla="*/ 103620 w 612403"/>
                  <a:gd name="connsiteY18" fmla="*/ 44408 h 537578"/>
                  <a:gd name="connsiteX19" fmla="*/ 55980 w 612403"/>
                  <a:gd name="connsiteY19" fmla="*/ 39362 h 537578"/>
                  <a:gd name="connsiteX20" fmla="*/ 41881 w 612403"/>
                  <a:gd name="connsiteY20" fmla="*/ 49603 h 537578"/>
                  <a:gd name="connsiteX21" fmla="*/ 36538 w 612403"/>
                  <a:gd name="connsiteY21" fmla="*/ 65779 h 537578"/>
                  <a:gd name="connsiteX22" fmla="*/ 51231 w 612403"/>
                  <a:gd name="connsiteY22" fmla="*/ 100656 h 537578"/>
                  <a:gd name="connsiteX23" fmla="*/ 51528 w 612403"/>
                  <a:gd name="connsiteY23" fmla="*/ 101101 h 537578"/>
                  <a:gd name="connsiteX24" fmla="*/ 60878 w 612403"/>
                  <a:gd name="connsiteY24" fmla="*/ 110451 h 537578"/>
                  <a:gd name="connsiteX25" fmla="*/ 47965 w 612403"/>
                  <a:gd name="connsiteY25" fmla="*/ 121730 h 537578"/>
                  <a:gd name="connsiteX26" fmla="*/ 46333 w 612403"/>
                  <a:gd name="connsiteY26" fmla="*/ 124401 h 537578"/>
                  <a:gd name="connsiteX27" fmla="*/ 36835 w 612403"/>
                  <a:gd name="connsiteY27" fmla="*/ 114903 h 537578"/>
                  <a:gd name="connsiteX28" fmla="*/ 36835 w 612403"/>
                  <a:gd name="connsiteY28" fmla="*/ 114903 h 537578"/>
                  <a:gd name="connsiteX29" fmla="*/ 16354 w 612403"/>
                  <a:gd name="connsiteY29" fmla="*/ 65334 h 537578"/>
                  <a:gd name="connsiteX30" fmla="*/ 25556 w 612403"/>
                  <a:gd name="connsiteY30" fmla="*/ 38027 h 537578"/>
                  <a:gd name="connsiteX31" fmla="*/ 49301 w 612403"/>
                  <a:gd name="connsiteY31" fmla="*/ 20514 h 537578"/>
                  <a:gd name="connsiteX32" fmla="*/ 111634 w 612403"/>
                  <a:gd name="connsiteY32" fmla="*/ 26005 h 537578"/>
                  <a:gd name="connsiteX33" fmla="*/ 151557 w 612403"/>
                  <a:gd name="connsiteY33" fmla="*/ 44111 h 537578"/>
                  <a:gd name="connsiteX34" fmla="*/ 154971 w 612403"/>
                  <a:gd name="connsiteY34" fmla="*/ 45744 h 537578"/>
                  <a:gd name="connsiteX35" fmla="*/ 190292 w 612403"/>
                  <a:gd name="connsiteY35" fmla="*/ 62069 h 537578"/>
                  <a:gd name="connsiteX36" fmla="*/ 305609 w 612403"/>
                  <a:gd name="connsiteY36" fmla="*/ 94719 h 537578"/>
                  <a:gd name="connsiteX37" fmla="*/ 420924 w 612403"/>
                  <a:gd name="connsiteY37" fmla="*/ 62069 h 537578"/>
                  <a:gd name="connsiteX38" fmla="*/ 456246 w 612403"/>
                  <a:gd name="connsiteY38" fmla="*/ 45744 h 537578"/>
                  <a:gd name="connsiteX39" fmla="*/ 460402 w 612403"/>
                  <a:gd name="connsiteY39" fmla="*/ 43815 h 537578"/>
                  <a:gd name="connsiteX40" fmla="*/ 499583 w 612403"/>
                  <a:gd name="connsiteY40" fmla="*/ 26005 h 537578"/>
                  <a:gd name="connsiteX41" fmla="*/ 561916 w 612403"/>
                  <a:gd name="connsiteY41" fmla="*/ 20514 h 537578"/>
                  <a:gd name="connsiteX42" fmla="*/ 585662 w 612403"/>
                  <a:gd name="connsiteY42" fmla="*/ 38027 h 537578"/>
                  <a:gd name="connsiteX43" fmla="*/ 594863 w 612403"/>
                  <a:gd name="connsiteY43" fmla="*/ 65483 h 537578"/>
                  <a:gd name="connsiteX44" fmla="*/ 574531 w 612403"/>
                  <a:gd name="connsiteY44" fmla="*/ 114903 h 537578"/>
                  <a:gd name="connsiteX45" fmla="*/ 553159 w 612403"/>
                  <a:gd name="connsiteY45" fmla="*/ 149928 h 537578"/>
                  <a:gd name="connsiteX46" fmla="*/ 529710 w 612403"/>
                  <a:gd name="connsiteY46" fmla="*/ 183617 h 537578"/>
                  <a:gd name="connsiteX47" fmla="*/ 496614 w 612403"/>
                  <a:gd name="connsiteY47" fmla="*/ 195045 h 537578"/>
                  <a:gd name="connsiteX48" fmla="*/ 496318 w 612403"/>
                  <a:gd name="connsiteY48" fmla="*/ 195045 h 537578"/>
                  <a:gd name="connsiteX49" fmla="*/ 473908 w 612403"/>
                  <a:gd name="connsiteY49" fmla="*/ 185101 h 537578"/>
                  <a:gd name="connsiteX50" fmla="*/ 493943 w 612403"/>
                  <a:gd name="connsiteY50" fmla="*/ 133009 h 537578"/>
                  <a:gd name="connsiteX51" fmla="*/ 527039 w 612403"/>
                  <a:gd name="connsiteY51" fmla="*/ 121730 h 537578"/>
                  <a:gd name="connsiteX52" fmla="*/ 549598 w 612403"/>
                  <a:gd name="connsiteY52" fmla="*/ 131525 h 537578"/>
                  <a:gd name="connsiteX53" fmla="*/ 553011 w 612403"/>
                  <a:gd name="connsiteY53" fmla="*/ 149928 h 537578"/>
                  <a:gd name="connsiteX54" fmla="*/ 354733 w 612403"/>
                  <a:gd name="connsiteY54" fmla="*/ 371059 h 537578"/>
                  <a:gd name="connsiteX55" fmla="*/ 355178 w 612403"/>
                  <a:gd name="connsiteY55" fmla="*/ 395992 h 537578"/>
                  <a:gd name="connsiteX56" fmla="*/ 365864 w 612403"/>
                  <a:gd name="connsiteY56" fmla="*/ 410833 h 537578"/>
                  <a:gd name="connsiteX57" fmla="*/ 368684 w 612403"/>
                  <a:gd name="connsiteY57" fmla="*/ 425971 h 537578"/>
                  <a:gd name="connsiteX58" fmla="*/ 344492 w 612403"/>
                  <a:gd name="connsiteY58" fmla="*/ 517243 h 537578"/>
                  <a:gd name="connsiteX59" fmla="*/ 339298 w 612403"/>
                  <a:gd name="connsiteY59" fmla="*/ 521251 h 537578"/>
                  <a:gd name="connsiteX60" fmla="*/ 337072 w 612403"/>
                  <a:gd name="connsiteY60" fmla="*/ 521251 h 537578"/>
                  <a:gd name="connsiteX61" fmla="*/ 342414 w 612403"/>
                  <a:gd name="connsiteY61" fmla="*/ 462777 h 537578"/>
                  <a:gd name="connsiteX62" fmla="*/ 342414 w 612403"/>
                  <a:gd name="connsiteY62" fmla="*/ 462035 h 537578"/>
                  <a:gd name="connsiteX63" fmla="*/ 336627 w 612403"/>
                  <a:gd name="connsiteY63" fmla="*/ 425971 h 537578"/>
                  <a:gd name="connsiteX64" fmla="*/ 336923 w 612403"/>
                  <a:gd name="connsiteY64" fmla="*/ 358890 h 537578"/>
                  <a:gd name="connsiteX65" fmla="*/ 371503 w 612403"/>
                  <a:gd name="connsiteY65" fmla="*/ 179313 h 537578"/>
                  <a:gd name="connsiteX66" fmla="*/ 361412 w 612403"/>
                  <a:gd name="connsiteY66" fmla="*/ 123808 h 537578"/>
                  <a:gd name="connsiteX67" fmla="*/ 378330 w 612403"/>
                  <a:gd name="connsiteY67" fmla="*/ 118613 h 537578"/>
                  <a:gd name="connsiteX68" fmla="*/ 413801 w 612403"/>
                  <a:gd name="connsiteY68" fmla="*/ 105257 h 537578"/>
                  <a:gd name="connsiteX69" fmla="*/ 415730 w 612403"/>
                  <a:gd name="connsiteY69" fmla="*/ 173970 h 537578"/>
                  <a:gd name="connsiteX70" fmla="*/ 354584 w 612403"/>
                  <a:gd name="connsiteY70" fmla="*/ 371208 h 537578"/>
                  <a:gd name="connsiteX71" fmla="*/ 344938 w 612403"/>
                  <a:gd name="connsiteY71" fmla="*/ 127518 h 537578"/>
                  <a:gd name="connsiteX72" fmla="*/ 355475 w 612403"/>
                  <a:gd name="connsiteY72" fmla="*/ 183617 h 537578"/>
                  <a:gd name="connsiteX73" fmla="*/ 322824 w 612403"/>
                  <a:gd name="connsiteY73" fmla="*/ 349985 h 537578"/>
                  <a:gd name="connsiteX74" fmla="*/ 322231 w 612403"/>
                  <a:gd name="connsiteY74" fmla="*/ 351024 h 537578"/>
                  <a:gd name="connsiteX75" fmla="*/ 320450 w 612403"/>
                  <a:gd name="connsiteY75" fmla="*/ 429681 h 537578"/>
                  <a:gd name="connsiteX76" fmla="*/ 325792 w 612403"/>
                  <a:gd name="connsiteY76" fmla="*/ 461441 h 537578"/>
                  <a:gd name="connsiteX77" fmla="*/ 320301 w 612403"/>
                  <a:gd name="connsiteY77" fmla="*/ 521102 h 537578"/>
                  <a:gd name="connsiteX78" fmla="*/ 291361 w 612403"/>
                  <a:gd name="connsiteY78" fmla="*/ 521102 h 537578"/>
                  <a:gd name="connsiteX79" fmla="*/ 285870 w 612403"/>
                  <a:gd name="connsiteY79" fmla="*/ 461441 h 537578"/>
                  <a:gd name="connsiteX80" fmla="*/ 291213 w 612403"/>
                  <a:gd name="connsiteY80" fmla="*/ 429681 h 537578"/>
                  <a:gd name="connsiteX81" fmla="*/ 289432 w 612403"/>
                  <a:gd name="connsiteY81" fmla="*/ 351024 h 537578"/>
                  <a:gd name="connsiteX82" fmla="*/ 288838 w 612403"/>
                  <a:gd name="connsiteY82" fmla="*/ 349985 h 537578"/>
                  <a:gd name="connsiteX83" fmla="*/ 256187 w 612403"/>
                  <a:gd name="connsiteY83" fmla="*/ 183617 h 537578"/>
                  <a:gd name="connsiteX84" fmla="*/ 266725 w 612403"/>
                  <a:gd name="connsiteY84" fmla="*/ 127518 h 537578"/>
                  <a:gd name="connsiteX85" fmla="*/ 345086 w 612403"/>
                  <a:gd name="connsiteY85" fmla="*/ 127518 h 537578"/>
                  <a:gd name="connsiteX86" fmla="*/ 345086 w 612403"/>
                  <a:gd name="connsiteY86" fmla="*/ 127518 h 537578"/>
                  <a:gd name="connsiteX87" fmla="*/ 267021 w 612403"/>
                  <a:gd name="connsiteY87" fmla="*/ 517095 h 537578"/>
                  <a:gd name="connsiteX88" fmla="*/ 242830 w 612403"/>
                  <a:gd name="connsiteY88" fmla="*/ 425823 h 537578"/>
                  <a:gd name="connsiteX89" fmla="*/ 245650 w 612403"/>
                  <a:gd name="connsiteY89" fmla="*/ 410833 h 537578"/>
                  <a:gd name="connsiteX90" fmla="*/ 256336 w 612403"/>
                  <a:gd name="connsiteY90" fmla="*/ 395992 h 537578"/>
                  <a:gd name="connsiteX91" fmla="*/ 256781 w 612403"/>
                  <a:gd name="connsiteY91" fmla="*/ 371059 h 537578"/>
                  <a:gd name="connsiteX92" fmla="*/ 195635 w 612403"/>
                  <a:gd name="connsiteY92" fmla="*/ 173822 h 537578"/>
                  <a:gd name="connsiteX93" fmla="*/ 197565 w 612403"/>
                  <a:gd name="connsiteY93" fmla="*/ 105108 h 537578"/>
                  <a:gd name="connsiteX94" fmla="*/ 233184 w 612403"/>
                  <a:gd name="connsiteY94" fmla="*/ 118465 h 537578"/>
                  <a:gd name="connsiteX95" fmla="*/ 250103 w 612403"/>
                  <a:gd name="connsiteY95" fmla="*/ 123511 h 537578"/>
                  <a:gd name="connsiteX96" fmla="*/ 240010 w 612403"/>
                  <a:gd name="connsiteY96" fmla="*/ 179016 h 537578"/>
                  <a:gd name="connsiteX97" fmla="*/ 274442 w 612403"/>
                  <a:gd name="connsiteY97" fmla="*/ 358593 h 537578"/>
                  <a:gd name="connsiteX98" fmla="*/ 274887 w 612403"/>
                  <a:gd name="connsiteY98" fmla="*/ 425674 h 537578"/>
                  <a:gd name="connsiteX99" fmla="*/ 269099 w 612403"/>
                  <a:gd name="connsiteY99" fmla="*/ 461738 h 537578"/>
                  <a:gd name="connsiteX100" fmla="*/ 269099 w 612403"/>
                  <a:gd name="connsiteY100" fmla="*/ 462480 h 537578"/>
                  <a:gd name="connsiteX101" fmla="*/ 274591 w 612403"/>
                  <a:gd name="connsiteY101" fmla="*/ 520954 h 537578"/>
                  <a:gd name="connsiteX102" fmla="*/ 272365 w 612403"/>
                  <a:gd name="connsiteY102" fmla="*/ 520954 h 537578"/>
                  <a:gd name="connsiteX103" fmla="*/ 267170 w 612403"/>
                  <a:gd name="connsiteY103" fmla="*/ 516947 h 537578"/>
                  <a:gd name="connsiteX104" fmla="*/ 117719 w 612403"/>
                  <a:gd name="connsiteY104" fmla="*/ 133158 h 537578"/>
                  <a:gd name="connsiteX105" fmla="*/ 139684 w 612403"/>
                  <a:gd name="connsiteY105" fmla="*/ 160762 h 537578"/>
                  <a:gd name="connsiteX106" fmla="*/ 137903 w 612403"/>
                  <a:gd name="connsiteY106" fmla="*/ 185101 h 537578"/>
                  <a:gd name="connsiteX107" fmla="*/ 115493 w 612403"/>
                  <a:gd name="connsiteY107" fmla="*/ 195045 h 537578"/>
                  <a:gd name="connsiteX108" fmla="*/ 115196 w 612403"/>
                  <a:gd name="connsiteY108" fmla="*/ 195045 h 537578"/>
                  <a:gd name="connsiteX109" fmla="*/ 82100 w 612403"/>
                  <a:gd name="connsiteY109" fmla="*/ 183617 h 537578"/>
                  <a:gd name="connsiteX110" fmla="*/ 58651 w 612403"/>
                  <a:gd name="connsiteY110" fmla="*/ 149928 h 537578"/>
                  <a:gd name="connsiteX111" fmla="*/ 62065 w 612403"/>
                  <a:gd name="connsiteY111" fmla="*/ 131525 h 537578"/>
                  <a:gd name="connsiteX112" fmla="*/ 62065 w 612403"/>
                  <a:gd name="connsiteY112" fmla="*/ 131525 h 537578"/>
                  <a:gd name="connsiteX113" fmla="*/ 84623 w 612403"/>
                  <a:gd name="connsiteY113" fmla="*/ 121730 h 537578"/>
                  <a:gd name="connsiteX114" fmla="*/ 117719 w 612403"/>
                  <a:gd name="connsiteY114" fmla="*/ 133009 h 537578"/>
                  <a:gd name="connsiteX115" fmla="*/ 381447 w 612403"/>
                  <a:gd name="connsiteY115" fmla="*/ 60585 h 537578"/>
                  <a:gd name="connsiteX116" fmla="*/ 230215 w 612403"/>
                  <a:gd name="connsiteY116" fmla="*/ 60585 h 537578"/>
                  <a:gd name="connsiteX117" fmla="*/ 381447 w 612403"/>
                  <a:gd name="connsiteY117" fmla="*/ 60585 h 537578"/>
                  <a:gd name="connsiteX118" fmla="*/ 611782 w 612403"/>
                  <a:gd name="connsiteY118" fmla="*/ 64889 h 537578"/>
                  <a:gd name="connsiteX119" fmla="*/ 599464 w 612403"/>
                  <a:gd name="connsiteY119" fmla="*/ 28232 h 537578"/>
                  <a:gd name="connsiteX120" fmla="*/ 567852 w 612403"/>
                  <a:gd name="connsiteY120" fmla="*/ 4783 h 537578"/>
                  <a:gd name="connsiteX121" fmla="*/ 493349 w 612403"/>
                  <a:gd name="connsiteY121" fmla="*/ 10571 h 537578"/>
                  <a:gd name="connsiteX122" fmla="*/ 453575 w 612403"/>
                  <a:gd name="connsiteY122" fmla="*/ 28528 h 537578"/>
                  <a:gd name="connsiteX123" fmla="*/ 449420 w 612403"/>
                  <a:gd name="connsiteY123" fmla="*/ 30458 h 537578"/>
                  <a:gd name="connsiteX124" fmla="*/ 414394 w 612403"/>
                  <a:gd name="connsiteY124" fmla="*/ 46634 h 537578"/>
                  <a:gd name="connsiteX125" fmla="*/ 408606 w 612403"/>
                  <a:gd name="connsiteY125" fmla="*/ 49157 h 537578"/>
                  <a:gd name="connsiteX126" fmla="*/ 203205 w 612403"/>
                  <a:gd name="connsiteY126" fmla="*/ 49157 h 537578"/>
                  <a:gd name="connsiteX127" fmla="*/ 197416 w 612403"/>
                  <a:gd name="connsiteY127" fmla="*/ 46634 h 537578"/>
                  <a:gd name="connsiteX128" fmla="*/ 162391 w 612403"/>
                  <a:gd name="connsiteY128" fmla="*/ 30458 h 537578"/>
                  <a:gd name="connsiteX129" fmla="*/ 158829 w 612403"/>
                  <a:gd name="connsiteY129" fmla="*/ 28825 h 537578"/>
                  <a:gd name="connsiteX130" fmla="*/ 118461 w 612403"/>
                  <a:gd name="connsiteY130" fmla="*/ 10422 h 537578"/>
                  <a:gd name="connsiteX131" fmla="*/ 43959 w 612403"/>
                  <a:gd name="connsiteY131" fmla="*/ 4634 h 537578"/>
                  <a:gd name="connsiteX132" fmla="*/ 12347 w 612403"/>
                  <a:gd name="connsiteY132" fmla="*/ 28083 h 537578"/>
                  <a:gd name="connsiteX133" fmla="*/ 29 w 612403"/>
                  <a:gd name="connsiteY133" fmla="*/ 64740 h 537578"/>
                  <a:gd name="connsiteX134" fmla="*/ 24517 w 612403"/>
                  <a:gd name="connsiteY134" fmla="*/ 125737 h 537578"/>
                  <a:gd name="connsiteX135" fmla="*/ 25110 w 612403"/>
                  <a:gd name="connsiteY135" fmla="*/ 126479 h 537578"/>
                  <a:gd name="connsiteX136" fmla="*/ 41435 w 612403"/>
                  <a:gd name="connsiteY136" fmla="*/ 142804 h 537578"/>
                  <a:gd name="connsiteX137" fmla="*/ 42029 w 612403"/>
                  <a:gd name="connsiteY137" fmla="*/ 152599 h 537578"/>
                  <a:gd name="connsiteX138" fmla="*/ 72454 w 612403"/>
                  <a:gd name="connsiteY138" fmla="*/ 197122 h 537578"/>
                  <a:gd name="connsiteX139" fmla="*/ 115196 w 612403"/>
                  <a:gd name="connsiteY139" fmla="*/ 211667 h 537578"/>
                  <a:gd name="connsiteX140" fmla="*/ 115641 w 612403"/>
                  <a:gd name="connsiteY140" fmla="*/ 211667 h 537578"/>
                  <a:gd name="connsiteX141" fmla="*/ 151557 w 612403"/>
                  <a:gd name="connsiteY141" fmla="*/ 194599 h 537578"/>
                  <a:gd name="connsiteX142" fmla="*/ 155564 w 612403"/>
                  <a:gd name="connsiteY142" fmla="*/ 155122 h 537578"/>
                  <a:gd name="connsiteX143" fmla="*/ 127514 w 612403"/>
                  <a:gd name="connsiteY143" fmla="*/ 119207 h 537578"/>
                  <a:gd name="connsiteX144" fmla="*/ 79726 w 612403"/>
                  <a:gd name="connsiteY144" fmla="*/ 105108 h 537578"/>
                  <a:gd name="connsiteX145" fmla="*/ 63994 w 612403"/>
                  <a:gd name="connsiteY145" fmla="*/ 89377 h 537578"/>
                  <a:gd name="connsiteX146" fmla="*/ 53605 w 612403"/>
                  <a:gd name="connsiteY146" fmla="*/ 66373 h 537578"/>
                  <a:gd name="connsiteX147" fmla="*/ 55831 w 612403"/>
                  <a:gd name="connsiteY147" fmla="*/ 59546 h 537578"/>
                  <a:gd name="connsiteX148" fmla="*/ 62213 w 612403"/>
                  <a:gd name="connsiteY148" fmla="*/ 55094 h 537578"/>
                  <a:gd name="connsiteX149" fmla="*/ 97535 w 612403"/>
                  <a:gd name="connsiteY149" fmla="*/ 59695 h 537578"/>
                  <a:gd name="connsiteX150" fmla="*/ 138645 w 612403"/>
                  <a:gd name="connsiteY150" fmla="*/ 78394 h 537578"/>
                  <a:gd name="connsiteX151" fmla="*/ 139832 w 612403"/>
                  <a:gd name="connsiteY151" fmla="*/ 78988 h 537578"/>
                  <a:gd name="connsiteX152" fmla="*/ 179904 w 612403"/>
                  <a:gd name="connsiteY152" fmla="*/ 97242 h 537578"/>
                  <a:gd name="connsiteX153" fmla="*/ 179310 w 612403"/>
                  <a:gd name="connsiteY153" fmla="*/ 171893 h 537578"/>
                  <a:gd name="connsiteX154" fmla="*/ 180794 w 612403"/>
                  <a:gd name="connsiteY154" fmla="*/ 266133 h 537578"/>
                  <a:gd name="connsiteX155" fmla="*/ 244611 w 612403"/>
                  <a:gd name="connsiteY155" fmla="*/ 381745 h 537578"/>
                  <a:gd name="connsiteX156" fmla="*/ 243127 w 612403"/>
                  <a:gd name="connsiteY156" fmla="*/ 385900 h 537578"/>
                  <a:gd name="connsiteX157" fmla="*/ 232442 w 612403"/>
                  <a:gd name="connsiteY157" fmla="*/ 400742 h 537578"/>
                  <a:gd name="connsiteX158" fmla="*/ 227099 w 612403"/>
                  <a:gd name="connsiteY158" fmla="*/ 429830 h 537578"/>
                  <a:gd name="connsiteX159" fmla="*/ 251290 w 612403"/>
                  <a:gd name="connsiteY159" fmla="*/ 521102 h 537578"/>
                  <a:gd name="connsiteX160" fmla="*/ 272661 w 612403"/>
                  <a:gd name="connsiteY160" fmla="*/ 537576 h 537578"/>
                  <a:gd name="connsiteX161" fmla="*/ 339595 w 612403"/>
                  <a:gd name="connsiteY161" fmla="*/ 537576 h 537578"/>
                  <a:gd name="connsiteX162" fmla="*/ 360966 w 612403"/>
                  <a:gd name="connsiteY162" fmla="*/ 521102 h 537578"/>
                  <a:gd name="connsiteX163" fmla="*/ 385157 w 612403"/>
                  <a:gd name="connsiteY163" fmla="*/ 429830 h 537578"/>
                  <a:gd name="connsiteX164" fmla="*/ 379814 w 612403"/>
                  <a:gd name="connsiteY164" fmla="*/ 400742 h 537578"/>
                  <a:gd name="connsiteX165" fmla="*/ 369129 w 612403"/>
                  <a:gd name="connsiteY165" fmla="*/ 385900 h 537578"/>
                  <a:gd name="connsiteX166" fmla="*/ 367645 w 612403"/>
                  <a:gd name="connsiteY166" fmla="*/ 381745 h 537578"/>
                  <a:gd name="connsiteX167" fmla="*/ 431462 w 612403"/>
                  <a:gd name="connsiteY167" fmla="*/ 266133 h 537578"/>
                  <a:gd name="connsiteX168" fmla="*/ 432946 w 612403"/>
                  <a:gd name="connsiteY168" fmla="*/ 171744 h 537578"/>
                  <a:gd name="connsiteX169" fmla="*/ 432352 w 612403"/>
                  <a:gd name="connsiteY169" fmla="*/ 97094 h 537578"/>
                  <a:gd name="connsiteX170" fmla="*/ 472423 w 612403"/>
                  <a:gd name="connsiteY170" fmla="*/ 78840 h 537578"/>
                  <a:gd name="connsiteX171" fmla="*/ 514721 w 612403"/>
                  <a:gd name="connsiteY171" fmla="*/ 59695 h 537578"/>
                  <a:gd name="connsiteX172" fmla="*/ 550043 w 612403"/>
                  <a:gd name="connsiteY172" fmla="*/ 54945 h 537578"/>
                  <a:gd name="connsiteX173" fmla="*/ 556424 w 612403"/>
                  <a:gd name="connsiteY173" fmla="*/ 59398 h 537578"/>
                  <a:gd name="connsiteX174" fmla="*/ 558502 w 612403"/>
                  <a:gd name="connsiteY174" fmla="*/ 66225 h 537578"/>
                  <a:gd name="connsiteX175" fmla="*/ 548113 w 612403"/>
                  <a:gd name="connsiteY175" fmla="*/ 89228 h 537578"/>
                  <a:gd name="connsiteX176" fmla="*/ 532382 w 612403"/>
                  <a:gd name="connsiteY176" fmla="*/ 104960 h 537578"/>
                  <a:gd name="connsiteX177" fmla="*/ 484593 w 612403"/>
                  <a:gd name="connsiteY177" fmla="*/ 119059 h 537578"/>
                  <a:gd name="connsiteX178" fmla="*/ 460551 w 612403"/>
                  <a:gd name="connsiteY178" fmla="*/ 194451 h 537578"/>
                  <a:gd name="connsiteX179" fmla="*/ 496466 w 612403"/>
                  <a:gd name="connsiteY179" fmla="*/ 211518 h 537578"/>
                  <a:gd name="connsiteX180" fmla="*/ 496911 w 612403"/>
                  <a:gd name="connsiteY180" fmla="*/ 211518 h 537578"/>
                  <a:gd name="connsiteX181" fmla="*/ 539654 w 612403"/>
                  <a:gd name="connsiteY181" fmla="*/ 196974 h 537578"/>
                  <a:gd name="connsiteX182" fmla="*/ 570079 w 612403"/>
                  <a:gd name="connsiteY182" fmla="*/ 152451 h 537578"/>
                  <a:gd name="connsiteX183" fmla="*/ 570820 w 612403"/>
                  <a:gd name="connsiteY183" fmla="*/ 142656 h 537578"/>
                  <a:gd name="connsiteX184" fmla="*/ 587294 w 612403"/>
                  <a:gd name="connsiteY184" fmla="*/ 126182 h 537578"/>
                  <a:gd name="connsiteX185" fmla="*/ 587591 w 612403"/>
                  <a:gd name="connsiteY185" fmla="*/ 125886 h 537578"/>
                  <a:gd name="connsiteX186" fmla="*/ 612376 w 612403"/>
                  <a:gd name="connsiteY186" fmla="*/ 64592 h 537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612403" h="537578">
                    <a:moveTo>
                      <a:pt x="574679" y="114903"/>
                    </a:moveTo>
                    <a:lnTo>
                      <a:pt x="565032" y="124550"/>
                    </a:lnTo>
                    <a:cubicBezTo>
                      <a:pt x="564439" y="123659"/>
                      <a:pt x="563994" y="122769"/>
                      <a:pt x="563400" y="121878"/>
                    </a:cubicBezTo>
                    <a:cubicBezTo>
                      <a:pt x="559986" y="117129"/>
                      <a:pt x="555683" y="113271"/>
                      <a:pt x="550488" y="110599"/>
                    </a:cubicBezTo>
                    <a:lnTo>
                      <a:pt x="559838" y="101249"/>
                    </a:lnTo>
                    <a:cubicBezTo>
                      <a:pt x="559838" y="101249"/>
                      <a:pt x="560135" y="100953"/>
                      <a:pt x="560135" y="100804"/>
                    </a:cubicBezTo>
                    <a:cubicBezTo>
                      <a:pt x="565923" y="94274"/>
                      <a:pt x="575421" y="81214"/>
                      <a:pt x="574827" y="65928"/>
                    </a:cubicBezTo>
                    <a:cubicBezTo>
                      <a:pt x="574827" y="60140"/>
                      <a:pt x="572898" y="54500"/>
                      <a:pt x="569485" y="49751"/>
                    </a:cubicBezTo>
                    <a:cubicBezTo>
                      <a:pt x="565923" y="45002"/>
                      <a:pt x="560877" y="41292"/>
                      <a:pt x="555237" y="39362"/>
                    </a:cubicBezTo>
                    <a:cubicBezTo>
                      <a:pt x="539060" y="33574"/>
                      <a:pt x="520509" y="38917"/>
                      <a:pt x="507597" y="44408"/>
                    </a:cubicBezTo>
                    <a:cubicBezTo>
                      <a:pt x="493201" y="50642"/>
                      <a:pt x="478805" y="57320"/>
                      <a:pt x="464854" y="63850"/>
                    </a:cubicBezTo>
                    <a:cubicBezTo>
                      <a:pt x="451201" y="70232"/>
                      <a:pt x="433094" y="78543"/>
                      <a:pt x="414691" y="86408"/>
                    </a:cubicBezTo>
                    <a:cubicBezTo>
                      <a:pt x="398663" y="93235"/>
                      <a:pt x="385454" y="98281"/>
                      <a:pt x="373136" y="102288"/>
                    </a:cubicBezTo>
                    <a:cubicBezTo>
                      <a:pt x="347609" y="110748"/>
                      <a:pt x="326238" y="114606"/>
                      <a:pt x="305757" y="114606"/>
                    </a:cubicBezTo>
                    <a:cubicBezTo>
                      <a:pt x="285276" y="114606"/>
                      <a:pt x="263905" y="110748"/>
                      <a:pt x="238230" y="102288"/>
                    </a:cubicBezTo>
                    <a:cubicBezTo>
                      <a:pt x="225912" y="98133"/>
                      <a:pt x="212703" y="93087"/>
                      <a:pt x="196674" y="86408"/>
                    </a:cubicBezTo>
                    <a:cubicBezTo>
                      <a:pt x="178568" y="78691"/>
                      <a:pt x="161204" y="70677"/>
                      <a:pt x="146511" y="63850"/>
                    </a:cubicBezTo>
                    <a:lnTo>
                      <a:pt x="145324" y="63256"/>
                    </a:lnTo>
                    <a:cubicBezTo>
                      <a:pt x="131819" y="56875"/>
                      <a:pt x="117719" y="50345"/>
                      <a:pt x="103620" y="44408"/>
                    </a:cubicBezTo>
                    <a:cubicBezTo>
                      <a:pt x="90857" y="38917"/>
                      <a:pt x="72157" y="33574"/>
                      <a:pt x="55980" y="39362"/>
                    </a:cubicBezTo>
                    <a:cubicBezTo>
                      <a:pt x="50340" y="41292"/>
                      <a:pt x="45443" y="44854"/>
                      <a:pt x="41881" y="49603"/>
                    </a:cubicBezTo>
                    <a:cubicBezTo>
                      <a:pt x="38467" y="54352"/>
                      <a:pt x="36538" y="59991"/>
                      <a:pt x="36538" y="65779"/>
                    </a:cubicBezTo>
                    <a:cubicBezTo>
                      <a:pt x="36093" y="80917"/>
                      <a:pt x="45591" y="94126"/>
                      <a:pt x="51231" y="100656"/>
                    </a:cubicBezTo>
                    <a:cubicBezTo>
                      <a:pt x="51231" y="100656"/>
                      <a:pt x="51528" y="100953"/>
                      <a:pt x="51528" y="101101"/>
                    </a:cubicBezTo>
                    <a:lnTo>
                      <a:pt x="60878" y="110451"/>
                    </a:lnTo>
                    <a:cubicBezTo>
                      <a:pt x="55683" y="113122"/>
                      <a:pt x="51379" y="116981"/>
                      <a:pt x="47965" y="121730"/>
                    </a:cubicBezTo>
                    <a:cubicBezTo>
                      <a:pt x="47372" y="122621"/>
                      <a:pt x="46778" y="123363"/>
                      <a:pt x="46333" y="124401"/>
                    </a:cubicBezTo>
                    <a:lnTo>
                      <a:pt x="36835" y="114903"/>
                    </a:lnTo>
                    <a:cubicBezTo>
                      <a:pt x="36835" y="114903"/>
                      <a:pt x="36835" y="114903"/>
                      <a:pt x="36835" y="114903"/>
                    </a:cubicBezTo>
                    <a:cubicBezTo>
                      <a:pt x="23181" y="99617"/>
                      <a:pt x="15760" y="82104"/>
                      <a:pt x="16354" y="65334"/>
                    </a:cubicBezTo>
                    <a:cubicBezTo>
                      <a:pt x="16651" y="55539"/>
                      <a:pt x="19767" y="45892"/>
                      <a:pt x="25556" y="38027"/>
                    </a:cubicBezTo>
                    <a:cubicBezTo>
                      <a:pt x="31492" y="30013"/>
                      <a:pt x="39803" y="23779"/>
                      <a:pt x="49301" y="20514"/>
                    </a:cubicBezTo>
                    <a:cubicBezTo>
                      <a:pt x="71563" y="12500"/>
                      <a:pt x="95457" y="19030"/>
                      <a:pt x="111634" y="26005"/>
                    </a:cubicBezTo>
                    <a:cubicBezTo>
                      <a:pt x="124991" y="31793"/>
                      <a:pt x="138497" y="38027"/>
                      <a:pt x="151557" y="44111"/>
                    </a:cubicBezTo>
                    <a:lnTo>
                      <a:pt x="154971" y="45744"/>
                    </a:lnTo>
                    <a:cubicBezTo>
                      <a:pt x="165656" y="50790"/>
                      <a:pt x="178123" y="56578"/>
                      <a:pt x="190292" y="62069"/>
                    </a:cubicBezTo>
                    <a:cubicBezTo>
                      <a:pt x="239269" y="83885"/>
                      <a:pt x="272513" y="94719"/>
                      <a:pt x="305609" y="94719"/>
                    </a:cubicBezTo>
                    <a:cubicBezTo>
                      <a:pt x="338704" y="94719"/>
                      <a:pt x="371800" y="83737"/>
                      <a:pt x="420924" y="62069"/>
                    </a:cubicBezTo>
                    <a:cubicBezTo>
                      <a:pt x="433094" y="56578"/>
                      <a:pt x="445116" y="51087"/>
                      <a:pt x="456246" y="45744"/>
                    </a:cubicBezTo>
                    <a:lnTo>
                      <a:pt x="460402" y="43815"/>
                    </a:lnTo>
                    <a:cubicBezTo>
                      <a:pt x="473166" y="37878"/>
                      <a:pt x="486523" y="31645"/>
                      <a:pt x="499583" y="26005"/>
                    </a:cubicBezTo>
                    <a:cubicBezTo>
                      <a:pt x="515611" y="19179"/>
                      <a:pt x="539506" y="12648"/>
                      <a:pt x="561916" y="20514"/>
                    </a:cubicBezTo>
                    <a:cubicBezTo>
                      <a:pt x="571414" y="23779"/>
                      <a:pt x="579725" y="29864"/>
                      <a:pt x="585662" y="38027"/>
                    </a:cubicBezTo>
                    <a:cubicBezTo>
                      <a:pt x="591450" y="46041"/>
                      <a:pt x="594566" y="55539"/>
                      <a:pt x="594863" y="65483"/>
                    </a:cubicBezTo>
                    <a:cubicBezTo>
                      <a:pt x="595308" y="82104"/>
                      <a:pt x="588185" y="99617"/>
                      <a:pt x="574531" y="114903"/>
                    </a:cubicBezTo>
                    <a:moveTo>
                      <a:pt x="553159" y="149928"/>
                    </a:moveTo>
                    <a:cubicBezTo>
                      <a:pt x="551082" y="162098"/>
                      <a:pt x="542325" y="174713"/>
                      <a:pt x="529710" y="183617"/>
                    </a:cubicBezTo>
                    <a:cubicBezTo>
                      <a:pt x="519321" y="191038"/>
                      <a:pt x="507597" y="195045"/>
                      <a:pt x="496614" y="195045"/>
                    </a:cubicBezTo>
                    <a:lnTo>
                      <a:pt x="496318" y="195045"/>
                    </a:lnTo>
                    <a:cubicBezTo>
                      <a:pt x="486374" y="195045"/>
                      <a:pt x="478360" y="191483"/>
                      <a:pt x="473908" y="185101"/>
                    </a:cubicBezTo>
                    <a:cubicBezTo>
                      <a:pt x="464261" y="171448"/>
                      <a:pt x="473462" y="147553"/>
                      <a:pt x="493943" y="133009"/>
                    </a:cubicBezTo>
                    <a:cubicBezTo>
                      <a:pt x="504629" y="125440"/>
                      <a:pt x="516650" y="121730"/>
                      <a:pt x="527039" y="121730"/>
                    </a:cubicBezTo>
                    <a:cubicBezTo>
                      <a:pt x="536686" y="121730"/>
                      <a:pt x="544997" y="124995"/>
                      <a:pt x="549598" y="131525"/>
                    </a:cubicBezTo>
                    <a:cubicBezTo>
                      <a:pt x="553901" y="137758"/>
                      <a:pt x="553901" y="144882"/>
                      <a:pt x="553011" y="149928"/>
                    </a:cubicBezTo>
                    <a:moveTo>
                      <a:pt x="354733" y="371059"/>
                    </a:moveTo>
                    <a:cubicBezTo>
                      <a:pt x="348945" y="377589"/>
                      <a:pt x="349093" y="387681"/>
                      <a:pt x="355178" y="395992"/>
                    </a:cubicBezTo>
                    <a:lnTo>
                      <a:pt x="365864" y="410833"/>
                    </a:lnTo>
                    <a:cubicBezTo>
                      <a:pt x="369129" y="415137"/>
                      <a:pt x="370168" y="420777"/>
                      <a:pt x="368684" y="425971"/>
                    </a:cubicBezTo>
                    <a:lnTo>
                      <a:pt x="344492" y="517243"/>
                    </a:lnTo>
                    <a:cubicBezTo>
                      <a:pt x="343899" y="519618"/>
                      <a:pt x="341821" y="521251"/>
                      <a:pt x="339298" y="521251"/>
                    </a:cubicBezTo>
                    <a:lnTo>
                      <a:pt x="337072" y="521251"/>
                    </a:lnTo>
                    <a:lnTo>
                      <a:pt x="342414" y="462777"/>
                    </a:lnTo>
                    <a:cubicBezTo>
                      <a:pt x="342414" y="462777"/>
                      <a:pt x="342414" y="462183"/>
                      <a:pt x="342414" y="462035"/>
                    </a:cubicBezTo>
                    <a:cubicBezTo>
                      <a:pt x="342414" y="450162"/>
                      <a:pt x="339595" y="438438"/>
                      <a:pt x="336627" y="425971"/>
                    </a:cubicBezTo>
                    <a:cubicBezTo>
                      <a:pt x="331432" y="404452"/>
                      <a:pt x="326090" y="382042"/>
                      <a:pt x="336923" y="358890"/>
                    </a:cubicBezTo>
                    <a:cubicBezTo>
                      <a:pt x="396140" y="268508"/>
                      <a:pt x="383673" y="223243"/>
                      <a:pt x="371503" y="179313"/>
                    </a:cubicBezTo>
                    <a:cubicBezTo>
                      <a:pt x="366458" y="161356"/>
                      <a:pt x="361708" y="144288"/>
                      <a:pt x="361412" y="123808"/>
                    </a:cubicBezTo>
                    <a:cubicBezTo>
                      <a:pt x="366903" y="122324"/>
                      <a:pt x="372542" y="120543"/>
                      <a:pt x="378330" y="118613"/>
                    </a:cubicBezTo>
                    <a:cubicBezTo>
                      <a:pt x="389165" y="115052"/>
                      <a:pt x="400592" y="110748"/>
                      <a:pt x="413801" y="105257"/>
                    </a:cubicBezTo>
                    <a:cubicBezTo>
                      <a:pt x="411278" y="129002"/>
                      <a:pt x="413504" y="151857"/>
                      <a:pt x="415730" y="173970"/>
                    </a:cubicBezTo>
                    <a:cubicBezTo>
                      <a:pt x="421370" y="230515"/>
                      <a:pt x="427158" y="288989"/>
                      <a:pt x="354584" y="371208"/>
                    </a:cubicBezTo>
                    <a:close/>
                    <a:moveTo>
                      <a:pt x="344938" y="127518"/>
                    </a:moveTo>
                    <a:cubicBezTo>
                      <a:pt x="345828" y="148592"/>
                      <a:pt x="350726" y="166402"/>
                      <a:pt x="355475" y="183617"/>
                    </a:cubicBezTo>
                    <a:cubicBezTo>
                      <a:pt x="367199" y="225766"/>
                      <a:pt x="378330" y="265540"/>
                      <a:pt x="322824" y="349985"/>
                    </a:cubicBezTo>
                    <a:cubicBezTo>
                      <a:pt x="322676" y="350282"/>
                      <a:pt x="322379" y="350579"/>
                      <a:pt x="322231" y="351024"/>
                    </a:cubicBezTo>
                    <a:cubicBezTo>
                      <a:pt x="308577" y="379816"/>
                      <a:pt x="314959" y="406381"/>
                      <a:pt x="320450" y="429681"/>
                    </a:cubicBezTo>
                    <a:cubicBezTo>
                      <a:pt x="323121" y="440961"/>
                      <a:pt x="325644" y="451646"/>
                      <a:pt x="325792" y="461441"/>
                    </a:cubicBezTo>
                    <a:lnTo>
                      <a:pt x="320301" y="521102"/>
                    </a:lnTo>
                    <a:lnTo>
                      <a:pt x="291361" y="521102"/>
                    </a:lnTo>
                    <a:lnTo>
                      <a:pt x="285870" y="461441"/>
                    </a:lnTo>
                    <a:cubicBezTo>
                      <a:pt x="285870" y="451498"/>
                      <a:pt x="288393" y="440961"/>
                      <a:pt x="291213" y="429681"/>
                    </a:cubicBezTo>
                    <a:cubicBezTo>
                      <a:pt x="296852" y="406233"/>
                      <a:pt x="303085" y="379816"/>
                      <a:pt x="289432" y="351024"/>
                    </a:cubicBezTo>
                    <a:cubicBezTo>
                      <a:pt x="289283" y="350727"/>
                      <a:pt x="289135" y="350282"/>
                      <a:pt x="288838" y="349985"/>
                    </a:cubicBezTo>
                    <a:cubicBezTo>
                      <a:pt x="233332" y="265688"/>
                      <a:pt x="244463" y="225766"/>
                      <a:pt x="256187" y="183617"/>
                    </a:cubicBezTo>
                    <a:cubicBezTo>
                      <a:pt x="260937" y="166402"/>
                      <a:pt x="265834" y="148592"/>
                      <a:pt x="266725" y="127518"/>
                    </a:cubicBezTo>
                    <a:cubicBezTo>
                      <a:pt x="292548" y="133009"/>
                      <a:pt x="319262" y="133009"/>
                      <a:pt x="345086" y="127518"/>
                    </a:cubicBezTo>
                    <a:lnTo>
                      <a:pt x="345086" y="127518"/>
                    </a:lnTo>
                    <a:close/>
                    <a:moveTo>
                      <a:pt x="267021" y="517095"/>
                    </a:moveTo>
                    <a:lnTo>
                      <a:pt x="242830" y="425823"/>
                    </a:lnTo>
                    <a:cubicBezTo>
                      <a:pt x="241346" y="420628"/>
                      <a:pt x="242385" y="415137"/>
                      <a:pt x="245650" y="410833"/>
                    </a:cubicBezTo>
                    <a:lnTo>
                      <a:pt x="256336" y="395992"/>
                    </a:lnTo>
                    <a:cubicBezTo>
                      <a:pt x="262272" y="387533"/>
                      <a:pt x="262421" y="377589"/>
                      <a:pt x="256781" y="371059"/>
                    </a:cubicBezTo>
                    <a:cubicBezTo>
                      <a:pt x="184208" y="288840"/>
                      <a:pt x="189996" y="230366"/>
                      <a:pt x="195635" y="173822"/>
                    </a:cubicBezTo>
                    <a:cubicBezTo>
                      <a:pt x="197861" y="151709"/>
                      <a:pt x="200088" y="128854"/>
                      <a:pt x="197565" y="105108"/>
                    </a:cubicBezTo>
                    <a:cubicBezTo>
                      <a:pt x="210773" y="110599"/>
                      <a:pt x="222349" y="114903"/>
                      <a:pt x="233184" y="118465"/>
                    </a:cubicBezTo>
                    <a:cubicBezTo>
                      <a:pt x="238972" y="120394"/>
                      <a:pt x="244611" y="122027"/>
                      <a:pt x="250103" y="123511"/>
                    </a:cubicBezTo>
                    <a:cubicBezTo>
                      <a:pt x="249806" y="143992"/>
                      <a:pt x="245056" y="161059"/>
                      <a:pt x="240010" y="179016"/>
                    </a:cubicBezTo>
                    <a:cubicBezTo>
                      <a:pt x="227841" y="222797"/>
                      <a:pt x="215226" y="268211"/>
                      <a:pt x="274442" y="358593"/>
                    </a:cubicBezTo>
                    <a:cubicBezTo>
                      <a:pt x="285276" y="381893"/>
                      <a:pt x="279933" y="404155"/>
                      <a:pt x="274887" y="425674"/>
                    </a:cubicBezTo>
                    <a:cubicBezTo>
                      <a:pt x="271919" y="438141"/>
                      <a:pt x="269099" y="449865"/>
                      <a:pt x="269099" y="461738"/>
                    </a:cubicBezTo>
                    <a:cubicBezTo>
                      <a:pt x="269099" y="462035"/>
                      <a:pt x="269099" y="462332"/>
                      <a:pt x="269099" y="462480"/>
                    </a:cubicBezTo>
                    <a:lnTo>
                      <a:pt x="274591" y="520954"/>
                    </a:lnTo>
                    <a:lnTo>
                      <a:pt x="272365" y="520954"/>
                    </a:lnTo>
                    <a:cubicBezTo>
                      <a:pt x="269841" y="520954"/>
                      <a:pt x="267763" y="519321"/>
                      <a:pt x="267170" y="516947"/>
                    </a:cubicBezTo>
                    <a:moveTo>
                      <a:pt x="117719" y="133158"/>
                    </a:moveTo>
                    <a:cubicBezTo>
                      <a:pt x="128256" y="140578"/>
                      <a:pt x="135974" y="150373"/>
                      <a:pt x="139684" y="160762"/>
                    </a:cubicBezTo>
                    <a:cubicBezTo>
                      <a:pt x="142949" y="170112"/>
                      <a:pt x="142356" y="178868"/>
                      <a:pt x="137903" y="185101"/>
                    </a:cubicBezTo>
                    <a:cubicBezTo>
                      <a:pt x="133451" y="191334"/>
                      <a:pt x="125585" y="194896"/>
                      <a:pt x="115493" y="195045"/>
                    </a:cubicBezTo>
                    <a:lnTo>
                      <a:pt x="115196" y="195045"/>
                    </a:lnTo>
                    <a:cubicBezTo>
                      <a:pt x="104362" y="195045"/>
                      <a:pt x="92489" y="191038"/>
                      <a:pt x="82100" y="183617"/>
                    </a:cubicBezTo>
                    <a:cubicBezTo>
                      <a:pt x="69485" y="174713"/>
                      <a:pt x="60729" y="162098"/>
                      <a:pt x="58651" y="149928"/>
                    </a:cubicBezTo>
                    <a:cubicBezTo>
                      <a:pt x="57761" y="145030"/>
                      <a:pt x="57761" y="137758"/>
                      <a:pt x="62065" y="131525"/>
                    </a:cubicBezTo>
                    <a:lnTo>
                      <a:pt x="62065" y="131525"/>
                    </a:lnTo>
                    <a:cubicBezTo>
                      <a:pt x="66666" y="124995"/>
                      <a:pt x="74977" y="121730"/>
                      <a:pt x="84623" y="121730"/>
                    </a:cubicBezTo>
                    <a:cubicBezTo>
                      <a:pt x="95012" y="121730"/>
                      <a:pt x="107034" y="125589"/>
                      <a:pt x="117719" y="133009"/>
                    </a:cubicBezTo>
                    <a:moveTo>
                      <a:pt x="381447" y="60585"/>
                    </a:moveTo>
                    <a:cubicBezTo>
                      <a:pt x="322379" y="83589"/>
                      <a:pt x="289283" y="83589"/>
                      <a:pt x="230215" y="60585"/>
                    </a:cubicBezTo>
                    <a:cubicBezTo>
                      <a:pt x="278004" y="52126"/>
                      <a:pt x="333807" y="52126"/>
                      <a:pt x="381447" y="60585"/>
                    </a:cubicBezTo>
                    <a:close/>
                    <a:moveTo>
                      <a:pt x="611782" y="64889"/>
                    </a:moveTo>
                    <a:cubicBezTo>
                      <a:pt x="611485" y="51680"/>
                      <a:pt x="607181" y="38917"/>
                      <a:pt x="599464" y="28232"/>
                    </a:cubicBezTo>
                    <a:cubicBezTo>
                      <a:pt x="591450" y="17398"/>
                      <a:pt x="580467" y="9235"/>
                      <a:pt x="567852" y="4783"/>
                    </a:cubicBezTo>
                    <a:cubicBezTo>
                      <a:pt x="540396" y="-5012"/>
                      <a:pt x="512198" y="2557"/>
                      <a:pt x="493349" y="10571"/>
                    </a:cubicBezTo>
                    <a:cubicBezTo>
                      <a:pt x="479992" y="16359"/>
                      <a:pt x="466635" y="22592"/>
                      <a:pt x="453575" y="28528"/>
                    </a:cubicBezTo>
                    <a:lnTo>
                      <a:pt x="449420" y="30458"/>
                    </a:lnTo>
                    <a:cubicBezTo>
                      <a:pt x="438289" y="35652"/>
                      <a:pt x="426416" y="41143"/>
                      <a:pt x="414394" y="46634"/>
                    </a:cubicBezTo>
                    <a:cubicBezTo>
                      <a:pt x="412465" y="47525"/>
                      <a:pt x="410536" y="48415"/>
                      <a:pt x="408606" y="49157"/>
                    </a:cubicBezTo>
                    <a:cubicBezTo>
                      <a:pt x="346719" y="33426"/>
                      <a:pt x="265092" y="33426"/>
                      <a:pt x="203205" y="49157"/>
                    </a:cubicBezTo>
                    <a:cubicBezTo>
                      <a:pt x="201275" y="48267"/>
                      <a:pt x="199346" y="47525"/>
                      <a:pt x="197416" y="46634"/>
                    </a:cubicBezTo>
                    <a:cubicBezTo>
                      <a:pt x="185246" y="41292"/>
                      <a:pt x="172928" y="35504"/>
                      <a:pt x="162391" y="30458"/>
                    </a:cubicBezTo>
                    <a:lnTo>
                      <a:pt x="158829" y="28825"/>
                    </a:lnTo>
                    <a:cubicBezTo>
                      <a:pt x="145621" y="22740"/>
                      <a:pt x="132115" y="16359"/>
                      <a:pt x="118461" y="10422"/>
                    </a:cubicBezTo>
                    <a:cubicBezTo>
                      <a:pt x="99613" y="2408"/>
                      <a:pt x="71266" y="-5161"/>
                      <a:pt x="43959" y="4634"/>
                    </a:cubicBezTo>
                    <a:cubicBezTo>
                      <a:pt x="31343" y="9087"/>
                      <a:pt x="20213" y="17249"/>
                      <a:pt x="12347" y="28083"/>
                    </a:cubicBezTo>
                    <a:cubicBezTo>
                      <a:pt x="4630" y="38769"/>
                      <a:pt x="325" y="51532"/>
                      <a:pt x="29" y="64740"/>
                    </a:cubicBezTo>
                    <a:cubicBezTo>
                      <a:pt x="-565" y="85666"/>
                      <a:pt x="8043" y="107334"/>
                      <a:pt x="24517" y="125737"/>
                    </a:cubicBezTo>
                    <a:cubicBezTo>
                      <a:pt x="24665" y="126034"/>
                      <a:pt x="24962" y="126182"/>
                      <a:pt x="25110" y="126479"/>
                    </a:cubicBezTo>
                    <a:lnTo>
                      <a:pt x="41435" y="142804"/>
                    </a:lnTo>
                    <a:cubicBezTo>
                      <a:pt x="41435" y="146069"/>
                      <a:pt x="41435" y="149334"/>
                      <a:pt x="42029" y="152599"/>
                    </a:cubicBezTo>
                    <a:cubicBezTo>
                      <a:pt x="44998" y="169370"/>
                      <a:pt x="55980" y="185546"/>
                      <a:pt x="72454" y="197122"/>
                    </a:cubicBezTo>
                    <a:cubicBezTo>
                      <a:pt x="85662" y="206472"/>
                      <a:pt x="100949" y="211667"/>
                      <a:pt x="115196" y="211667"/>
                    </a:cubicBezTo>
                    <a:lnTo>
                      <a:pt x="115641" y="211667"/>
                    </a:lnTo>
                    <a:cubicBezTo>
                      <a:pt x="131225" y="211667"/>
                      <a:pt x="143840" y="205582"/>
                      <a:pt x="151557" y="194599"/>
                    </a:cubicBezTo>
                    <a:cubicBezTo>
                      <a:pt x="159274" y="183766"/>
                      <a:pt x="160610" y="169667"/>
                      <a:pt x="155564" y="155122"/>
                    </a:cubicBezTo>
                    <a:cubicBezTo>
                      <a:pt x="150815" y="141469"/>
                      <a:pt x="140871" y="128705"/>
                      <a:pt x="127514" y="119207"/>
                    </a:cubicBezTo>
                    <a:cubicBezTo>
                      <a:pt x="112228" y="108373"/>
                      <a:pt x="94864" y="103772"/>
                      <a:pt x="79726" y="105108"/>
                    </a:cubicBezTo>
                    <a:lnTo>
                      <a:pt x="63994" y="89377"/>
                    </a:lnTo>
                    <a:cubicBezTo>
                      <a:pt x="59839" y="84628"/>
                      <a:pt x="53309" y="75723"/>
                      <a:pt x="53605" y="66373"/>
                    </a:cubicBezTo>
                    <a:cubicBezTo>
                      <a:pt x="53605" y="63998"/>
                      <a:pt x="54348" y="61475"/>
                      <a:pt x="55831" y="59546"/>
                    </a:cubicBezTo>
                    <a:cubicBezTo>
                      <a:pt x="57464" y="57468"/>
                      <a:pt x="59690" y="55836"/>
                      <a:pt x="62213" y="55094"/>
                    </a:cubicBezTo>
                    <a:cubicBezTo>
                      <a:pt x="70672" y="51977"/>
                      <a:pt x="83585" y="53758"/>
                      <a:pt x="97535" y="59695"/>
                    </a:cubicBezTo>
                    <a:cubicBezTo>
                      <a:pt x="111338" y="65631"/>
                      <a:pt x="125140" y="72161"/>
                      <a:pt x="138645" y="78394"/>
                    </a:cubicBezTo>
                    <a:lnTo>
                      <a:pt x="139832" y="78988"/>
                    </a:lnTo>
                    <a:cubicBezTo>
                      <a:pt x="151706" y="84628"/>
                      <a:pt x="165508" y="90861"/>
                      <a:pt x="179904" y="97242"/>
                    </a:cubicBezTo>
                    <a:cubicBezTo>
                      <a:pt x="184208" y="122472"/>
                      <a:pt x="181833" y="146515"/>
                      <a:pt x="179310" y="171893"/>
                    </a:cubicBezTo>
                    <a:cubicBezTo>
                      <a:pt x="176342" y="201426"/>
                      <a:pt x="173374" y="231851"/>
                      <a:pt x="180794" y="266133"/>
                    </a:cubicBezTo>
                    <a:cubicBezTo>
                      <a:pt x="189105" y="304720"/>
                      <a:pt x="210031" y="342565"/>
                      <a:pt x="244611" y="381745"/>
                    </a:cubicBezTo>
                    <a:cubicBezTo>
                      <a:pt x="244611" y="383229"/>
                      <a:pt x="244166" y="384713"/>
                      <a:pt x="243127" y="385900"/>
                    </a:cubicBezTo>
                    <a:lnTo>
                      <a:pt x="232442" y="400742"/>
                    </a:lnTo>
                    <a:cubicBezTo>
                      <a:pt x="226357" y="409201"/>
                      <a:pt x="224279" y="419886"/>
                      <a:pt x="227099" y="429830"/>
                    </a:cubicBezTo>
                    <a:lnTo>
                      <a:pt x="251290" y="521102"/>
                    </a:lnTo>
                    <a:cubicBezTo>
                      <a:pt x="253813" y="530897"/>
                      <a:pt x="262569" y="537724"/>
                      <a:pt x="272661" y="537576"/>
                    </a:cubicBezTo>
                    <a:lnTo>
                      <a:pt x="339595" y="537576"/>
                    </a:lnTo>
                    <a:cubicBezTo>
                      <a:pt x="349687" y="537576"/>
                      <a:pt x="358443" y="530897"/>
                      <a:pt x="360966" y="521102"/>
                    </a:cubicBezTo>
                    <a:lnTo>
                      <a:pt x="385157" y="429830"/>
                    </a:lnTo>
                    <a:cubicBezTo>
                      <a:pt x="387977" y="419738"/>
                      <a:pt x="385899" y="409052"/>
                      <a:pt x="379814" y="400742"/>
                    </a:cubicBezTo>
                    <a:lnTo>
                      <a:pt x="369129" y="385900"/>
                    </a:lnTo>
                    <a:cubicBezTo>
                      <a:pt x="368238" y="384713"/>
                      <a:pt x="367645" y="383229"/>
                      <a:pt x="367645" y="381745"/>
                    </a:cubicBezTo>
                    <a:cubicBezTo>
                      <a:pt x="402225" y="342565"/>
                      <a:pt x="423002" y="304720"/>
                      <a:pt x="431462" y="266133"/>
                    </a:cubicBezTo>
                    <a:cubicBezTo>
                      <a:pt x="438882" y="231851"/>
                      <a:pt x="435914" y="201278"/>
                      <a:pt x="432946" y="171744"/>
                    </a:cubicBezTo>
                    <a:cubicBezTo>
                      <a:pt x="430423" y="146366"/>
                      <a:pt x="428048" y="122472"/>
                      <a:pt x="432352" y="97094"/>
                    </a:cubicBezTo>
                    <a:cubicBezTo>
                      <a:pt x="447194" y="90564"/>
                      <a:pt x="461292" y="84034"/>
                      <a:pt x="472423" y="78840"/>
                    </a:cubicBezTo>
                    <a:cubicBezTo>
                      <a:pt x="486225" y="72309"/>
                      <a:pt x="500473" y="65631"/>
                      <a:pt x="514721" y="59695"/>
                    </a:cubicBezTo>
                    <a:cubicBezTo>
                      <a:pt x="528820" y="53610"/>
                      <a:pt x="541583" y="51977"/>
                      <a:pt x="550043" y="54945"/>
                    </a:cubicBezTo>
                    <a:cubicBezTo>
                      <a:pt x="552566" y="55687"/>
                      <a:pt x="554792" y="57320"/>
                      <a:pt x="556424" y="59398"/>
                    </a:cubicBezTo>
                    <a:cubicBezTo>
                      <a:pt x="557760" y="61475"/>
                      <a:pt x="558502" y="63850"/>
                      <a:pt x="558502" y="66225"/>
                    </a:cubicBezTo>
                    <a:cubicBezTo>
                      <a:pt x="558799" y="75574"/>
                      <a:pt x="552120" y="84628"/>
                      <a:pt x="548113" y="89228"/>
                    </a:cubicBezTo>
                    <a:lnTo>
                      <a:pt x="532382" y="104960"/>
                    </a:lnTo>
                    <a:cubicBezTo>
                      <a:pt x="517244" y="103624"/>
                      <a:pt x="499880" y="108225"/>
                      <a:pt x="484593" y="119059"/>
                    </a:cubicBezTo>
                    <a:cubicBezTo>
                      <a:pt x="456098" y="139094"/>
                      <a:pt x="445412" y="172932"/>
                      <a:pt x="460551" y="194451"/>
                    </a:cubicBezTo>
                    <a:cubicBezTo>
                      <a:pt x="468268" y="205285"/>
                      <a:pt x="481031" y="211370"/>
                      <a:pt x="496466" y="211518"/>
                    </a:cubicBezTo>
                    <a:lnTo>
                      <a:pt x="496911" y="211518"/>
                    </a:lnTo>
                    <a:cubicBezTo>
                      <a:pt x="511307" y="211518"/>
                      <a:pt x="526445" y="206324"/>
                      <a:pt x="539654" y="196974"/>
                    </a:cubicBezTo>
                    <a:cubicBezTo>
                      <a:pt x="556128" y="185398"/>
                      <a:pt x="567110" y="169221"/>
                      <a:pt x="570079" y="152451"/>
                    </a:cubicBezTo>
                    <a:cubicBezTo>
                      <a:pt x="570672" y="149186"/>
                      <a:pt x="570820" y="145921"/>
                      <a:pt x="570820" y="142656"/>
                    </a:cubicBezTo>
                    <a:lnTo>
                      <a:pt x="587294" y="126182"/>
                    </a:lnTo>
                    <a:cubicBezTo>
                      <a:pt x="587294" y="126182"/>
                      <a:pt x="587442" y="126034"/>
                      <a:pt x="587591" y="125886"/>
                    </a:cubicBezTo>
                    <a:cubicBezTo>
                      <a:pt x="604213" y="107483"/>
                      <a:pt x="612969" y="85666"/>
                      <a:pt x="612376" y="64592"/>
                    </a:cubicBezTo>
                  </a:path>
                </a:pathLst>
              </a:custGeom>
              <a:solidFill>
                <a:srgbClr val="FFFFFF"/>
              </a:solidFill>
              <a:ln w="14828" cap="flat">
                <a:noFill/>
                <a:prstDash val="solid"/>
                <a:miter/>
              </a:ln>
            </p:spPr>
            <p:txBody>
              <a:bodyPr rtlCol="0" anchor="ctr"/>
              <a:lstStyle/>
              <a:p>
                <a:endParaRPr lang="en-DK"/>
              </a:p>
            </p:txBody>
          </p:sp>
          <p:sp>
            <p:nvSpPr>
              <p:cNvPr id="159" name="Freeform 158">
                <a:extLst>
                  <a:ext uri="{FF2B5EF4-FFF2-40B4-BE49-F238E27FC236}">
                    <a16:creationId xmlns:a16="http://schemas.microsoft.com/office/drawing/2014/main" id="{9042EB74-32D2-ED57-22B3-3D21E823352B}"/>
                  </a:ext>
                </a:extLst>
              </p:cNvPr>
              <p:cNvSpPr/>
              <p:nvPr/>
            </p:nvSpPr>
            <p:spPr>
              <a:xfrm>
                <a:off x="4359012" y="2223786"/>
                <a:ext cx="1007122" cy="1007112"/>
              </a:xfrm>
              <a:custGeom>
                <a:avLst/>
                <a:gdLst>
                  <a:gd name="connsiteX0" fmla="*/ 503561 w 1007122"/>
                  <a:gd name="connsiteY0" fmla="*/ 1007112 h 1007112"/>
                  <a:gd name="connsiteX1" fmla="*/ 1007122 w 1007122"/>
                  <a:gd name="connsiteY1" fmla="*/ 503556 h 1007112"/>
                  <a:gd name="connsiteX2" fmla="*/ 503561 w 1007122"/>
                  <a:gd name="connsiteY2" fmla="*/ 0 h 1007112"/>
                  <a:gd name="connsiteX3" fmla="*/ 0 w 1007122"/>
                  <a:gd name="connsiteY3" fmla="*/ 503556 h 1007112"/>
                  <a:gd name="connsiteX4" fmla="*/ 503561 w 1007122"/>
                  <a:gd name="connsiteY4" fmla="*/ 1007112 h 100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122" h="1007112">
                    <a:moveTo>
                      <a:pt x="503561" y="1007112"/>
                    </a:moveTo>
                    <a:cubicBezTo>
                      <a:pt x="781685" y="1007112"/>
                      <a:pt x="1007122" y="781677"/>
                      <a:pt x="1007122" y="503556"/>
                    </a:cubicBezTo>
                    <a:cubicBezTo>
                      <a:pt x="1007122" y="225435"/>
                      <a:pt x="781685" y="0"/>
                      <a:pt x="503561" y="0"/>
                    </a:cubicBezTo>
                    <a:cubicBezTo>
                      <a:pt x="225437" y="0"/>
                      <a:pt x="0" y="225435"/>
                      <a:pt x="0" y="503556"/>
                    </a:cubicBezTo>
                    <a:cubicBezTo>
                      <a:pt x="0" y="781677"/>
                      <a:pt x="225437" y="1007112"/>
                      <a:pt x="503561" y="1007112"/>
                    </a:cubicBezTo>
                  </a:path>
                </a:pathLst>
              </a:custGeom>
              <a:solidFill>
                <a:srgbClr val="001965"/>
              </a:solidFill>
              <a:ln w="14828" cap="flat">
                <a:noFill/>
                <a:prstDash val="solid"/>
                <a:miter/>
              </a:ln>
            </p:spPr>
            <p:txBody>
              <a:bodyPr rtlCol="0" anchor="ctr"/>
              <a:lstStyle/>
              <a:p>
                <a:endParaRPr lang="en-DK"/>
              </a:p>
            </p:txBody>
          </p:sp>
          <p:sp>
            <p:nvSpPr>
              <p:cNvPr id="160" name="Freeform 159">
                <a:extLst>
                  <a:ext uri="{FF2B5EF4-FFF2-40B4-BE49-F238E27FC236}">
                    <a16:creationId xmlns:a16="http://schemas.microsoft.com/office/drawing/2014/main" id="{038148D4-970C-DF1D-78C8-EDFFC5227CFC}"/>
                  </a:ext>
                </a:extLst>
              </p:cNvPr>
              <p:cNvSpPr/>
              <p:nvPr/>
            </p:nvSpPr>
            <p:spPr>
              <a:xfrm>
                <a:off x="4344171" y="2208945"/>
                <a:ext cx="1036804" cy="1036794"/>
              </a:xfrm>
              <a:custGeom>
                <a:avLst/>
                <a:gdLst>
                  <a:gd name="connsiteX0" fmla="*/ 518402 w 1036804"/>
                  <a:gd name="connsiteY0" fmla="*/ 1021953 h 1036794"/>
                  <a:gd name="connsiteX1" fmla="*/ 518402 w 1036804"/>
                  <a:gd name="connsiteY1" fmla="*/ 1007112 h 1036794"/>
                  <a:gd name="connsiteX2" fmla="*/ 1007122 w 1036804"/>
                  <a:gd name="connsiteY2" fmla="*/ 518397 h 1036794"/>
                  <a:gd name="connsiteX3" fmla="*/ 518402 w 1036804"/>
                  <a:gd name="connsiteY3" fmla="*/ 29682 h 1036794"/>
                  <a:gd name="connsiteX4" fmla="*/ 29682 w 1036804"/>
                  <a:gd name="connsiteY4" fmla="*/ 518397 h 1036794"/>
                  <a:gd name="connsiteX5" fmla="*/ 518402 w 1036804"/>
                  <a:gd name="connsiteY5" fmla="*/ 1007112 h 1036794"/>
                  <a:gd name="connsiteX6" fmla="*/ 518402 w 1036804"/>
                  <a:gd name="connsiteY6" fmla="*/ 1036794 h 1036794"/>
                  <a:gd name="connsiteX7" fmla="*/ 0 w 1036804"/>
                  <a:gd name="connsiteY7" fmla="*/ 518397 h 1036794"/>
                  <a:gd name="connsiteX8" fmla="*/ 518402 w 1036804"/>
                  <a:gd name="connsiteY8" fmla="*/ 0 h 1036794"/>
                  <a:gd name="connsiteX9" fmla="*/ 1036805 w 1036804"/>
                  <a:gd name="connsiteY9" fmla="*/ 518397 h 1036794"/>
                  <a:gd name="connsiteX10" fmla="*/ 518402 w 1036804"/>
                  <a:gd name="connsiteY10" fmla="*/ 1036794 h 1036794"/>
                  <a:gd name="connsiteX11" fmla="*/ 518402 w 1036804"/>
                  <a:gd name="connsiteY11" fmla="*/ 1021953 h 1036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6804" h="1036794">
                    <a:moveTo>
                      <a:pt x="518402" y="1021953"/>
                    </a:moveTo>
                    <a:lnTo>
                      <a:pt x="518402" y="1007112"/>
                    </a:lnTo>
                    <a:cubicBezTo>
                      <a:pt x="788364" y="1006667"/>
                      <a:pt x="1006677" y="788356"/>
                      <a:pt x="1007122" y="518397"/>
                    </a:cubicBezTo>
                    <a:cubicBezTo>
                      <a:pt x="1006677" y="248439"/>
                      <a:pt x="788364" y="30127"/>
                      <a:pt x="518402" y="29682"/>
                    </a:cubicBezTo>
                    <a:cubicBezTo>
                      <a:pt x="248441" y="30127"/>
                      <a:pt x="30128" y="248439"/>
                      <a:pt x="29682" y="518397"/>
                    </a:cubicBezTo>
                    <a:cubicBezTo>
                      <a:pt x="30128" y="788356"/>
                      <a:pt x="248441" y="1006667"/>
                      <a:pt x="518402" y="1007112"/>
                    </a:cubicBezTo>
                    <a:lnTo>
                      <a:pt x="518402" y="1036794"/>
                    </a:lnTo>
                    <a:cubicBezTo>
                      <a:pt x="232116" y="1036794"/>
                      <a:pt x="0" y="804681"/>
                      <a:pt x="0" y="518397"/>
                    </a:cubicBezTo>
                    <a:cubicBezTo>
                      <a:pt x="0" y="232114"/>
                      <a:pt x="232116" y="0"/>
                      <a:pt x="518402" y="0"/>
                    </a:cubicBezTo>
                    <a:cubicBezTo>
                      <a:pt x="804689" y="0"/>
                      <a:pt x="1036805" y="232114"/>
                      <a:pt x="1036805" y="518397"/>
                    </a:cubicBezTo>
                    <a:cubicBezTo>
                      <a:pt x="1036805" y="804681"/>
                      <a:pt x="804689" y="1036794"/>
                      <a:pt x="518402" y="1036794"/>
                    </a:cubicBezTo>
                    <a:lnTo>
                      <a:pt x="518402" y="1021953"/>
                    </a:lnTo>
                    <a:close/>
                  </a:path>
                </a:pathLst>
              </a:custGeom>
              <a:gradFill>
                <a:gsLst>
                  <a:gs pos="0">
                    <a:srgbClr val="F3E700"/>
                  </a:gs>
                  <a:gs pos="33000">
                    <a:srgbClr val="8CC3CA"/>
                  </a:gs>
                  <a:gs pos="67000">
                    <a:srgbClr val="2878FF"/>
                  </a:gs>
                  <a:gs pos="100000">
                    <a:srgbClr val="E229E2"/>
                  </a:gs>
                </a:gsLst>
                <a:lin ang="0" scaled="1"/>
              </a:gradFill>
              <a:ln w="14828" cap="flat">
                <a:noFill/>
                <a:prstDash val="solid"/>
                <a:miter/>
              </a:ln>
            </p:spPr>
            <p:txBody>
              <a:bodyPr rtlCol="0" anchor="ctr"/>
              <a:lstStyle/>
              <a:p>
                <a:endParaRPr lang="en-DK"/>
              </a:p>
            </p:txBody>
          </p:sp>
          <p:sp>
            <p:nvSpPr>
              <p:cNvPr id="161" name="Freeform 160">
                <a:extLst>
                  <a:ext uri="{FF2B5EF4-FFF2-40B4-BE49-F238E27FC236}">
                    <a16:creationId xmlns:a16="http://schemas.microsoft.com/office/drawing/2014/main" id="{28BE579B-F15C-03F5-C681-16733F95EA72}"/>
                  </a:ext>
                </a:extLst>
              </p:cNvPr>
              <p:cNvSpPr/>
              <p:nvPr/>
            </p:nvSpPr>
            <p:spPr>
              <a:xfrm>
                <a:off x="1480120" y="2552515"/>
                <a:ext cx="430394" cy="439442"/>
              </a:xfrm>
              <a:custGeom>
                <a:avLst/>
                <a:gdLst>
                  <a:gd name="connsiteX0" fmla="*/ 124517 w 430394"/>
                  <a:gd name="connsiteY0" fmla="*/ 0 h 439442"/>
                  <a:gd name="connsiteX1" fmla="*/ 63817 w 430394"/>
                  <a:gd name="connsiteY1" fmla="*/ 0 h 439442"/>
                  <a:gd name="connsiteX2" fmla="*/ 25972 w 430394"/>
                  <a:gd name="connsiteY2" fmla="*/ 8756 h 439442"/>
                  <a:gd name="connsiteX3" fmla="*/ 4749 w 430394"/>
                  <a:gd name="connsiteY3" fmla="*/ 32353 h 439442"/>
                  <a:gd name="connsiteX4" fmla="*/ 0 w 430394"/>
                  <a:gd name="connsiteY4" fmla="*/ 68417 h 439442"/>
                  <a:gd name="connsiteX5" fmla="*/ 0 w 430394"/>
                  <a:gd name="connsiteY5" fmla="*/ 201986 h 439442"/>
                  <a:gd name="connsiteX6" fmla="*/ 0 w 430394"/>
                  <a:gd name="connsiteY6" fmla="*/ 380079 h 439442"/>
                  <a:gd name="connsiteX7" fmla="*/ 0 w 430394"/>
                  <a:gd name="connsiteY7" fmla="*/ 400411 h 439442"/>
                  <a:gd name="connsiteX8" fmla="*/ 14841 w 430394"/>
                  <a:gd name="connsiteY8" fmla="*/ 424602 h 439442"/>
                  <a:gd name="connsiteX9" fmla="*/ 29682 w 430394"/>
                  <a:gd name="connsiteY9" fmla="*/ 439443 h 439442"/>
                  <a:gd name="connsiteX10" fmla="*/ 381567 w 430394"/>
                  <a:gd name="connsiteY10" fmla="*/ 439443 h 439442"/>
                  <a:gd name="connsiteX11" fmla="*/ 408132 w 430394"/>
                  <a:gd name="connsiteY11" fmla="*/ 428015 h 439442"/>
                  <a:gd name="connsiteX12" fmla="*/ 430394 w 430394"/>
                  <a:gd name="connsiteY12" fmla="*/ 394920 h 439442"/>
                  <a:gd name="connsiteX13" fmla="*/ 430394 w 430394"/>
                  <a:gd name="connsiteY13" fmla="*/ 305874 h 439442"/>
                  <a:gd name="connsiteX14" fmla="*/ 430394 w 430394"/>
                  <a:gd name="connsiteY14" fmla="*/ 43484 h 439442"/>
                  <a:gd name="connsiteX15" fmla="*/ 415701 w 430394"/>
                  <a:gd name="connsiteY15" fmla="*/ 18403 h 439442"/>
                  <a:gd name="connsiteX16" fmla="*/ 400712 w 430394"/>
                  <a:gd name="connsiteY16" fmla="*/ 9053 h 439442"/>
                  <a:gd name="connsiteX17" fmla="*/ 334075 w 430394"/>
                  <a:gd name="connsiteY17" fmla="*/ 0 h 439442"/>
                  <a:gd name="connsiteX18" fmla="*/ 302612 w 430394"/>
                  <a:gd name="connsiteY18" fmla="*/ 0 h 439442"/>
                  <a:gd name="connsiteX19" fmla="*/ 296824 w 430394"/>
                  <a:gd name="connsiteY19" fmla="*/ 38735 h 439442"/>
                  <a:gd name="connsiteX20" fmla="*/ 270258 w 430394"/>
                  <a:gd name="connsiteY20" fmla="*/ 63668 h 439442"/>
                  <a:gd name="connsiteX21" fmla="*/ 237459 w 430394"/>
                  <a:gd name="connsiteY21" fmla="*/ 83258 h 439442"/>
                  <a:gd name="connsiteX22" fmla="*/ 207776 w 430394"/>
                  <a:gd name="connsiteY22" fmla="*/ 83258 h 439442"/>
                  <a:gd name="connsiteX23" fmla="*/ 173345 w 430394"/>
                  <a:gd name="connsiteY23" fmla="*/ 78361 h 439442"/>
                  <a:gd name="connsiteX24" fmla="*/ 133571 w 430394"/>
                  <a:gd name="connsiteY24" fmla="*/ 38735 h 439442"/>
                  <a:gd name="connsiteX25" fmla="*/ 133571 w 430394"/>
                  <a:gd name="connsiteY25" fmla="*/ 9053 h 439442"/>
                  <a:gd name="connsiteX26" fmla="*/ 124517 w 430394"/>
                  <a:gd name="connsiteY26" fmla="*/ 0 h 43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0394" h="439442">
                    <a:moveTo>
                      <a:pt x="124517" y="0"/>
                    </a:moveTo>
                    <a:lnTo>
                      <a:pt x="63817" y="0"/>
                    </a:lnTo>
                    <a:lnTo>
                      <a:pt x="25972" y="8756"/>
                    </a:lnTo>
                    <a:lnTo>
                      <a:pt x="4749" y="32353"/>
                    </a:lnTo>
                    <a:lnTo>
                      <a:pt x="0" y="68417"/>
                    </a:lnTo>
                    <a:lnTo>
                      <a:pt x="0" y="201986"/>
                    </a:lnTo>
                    <a:lnTo>
                      <a:pt x="0" y="380079"/>
                    </a:lnTo>
                    <a:lnTo>
                      <a:pt x="0" y="400411"/>
                    </a:lnTo>
                    <a:lnTo>
                      <a:pt x="14841" y="424602"/>
                    </a:lnTo>
                    <a:lnTo>
                      <a:pt x="29682" y="439443"/>
                    </a:lnTo>
                    <a:lnTo>
                      <a:pt x="381567" y="439443"/>
                    </a:lnTo>
                    <a:lnTo>
                      <a:pt x="408132" y="428015"/>
                    </a:lnTo>
                    <a:lnTo>
                      <a:pt x="430394" y="394920"/>
                    </a:lnTo>
                    <a:lnTo>
                      <a:pt x="430394" y="305874"/>
                    </a:lnTo>
                    <a:lnTo>
                      <a:pt x="430394" y="43484"/>
                    </a:lnTo>
                    <a:lnTo>
                      <a:pt x="415701" y="18403"/>
                    </a:lnTo>
                    <a:lnTo>
                      <a:pt x="400712" y="9053"/>
                    </a:lnTo>
                    <a:lnTo>
                      <a:pt x="334075" y="0"/>
                    </a:lnTo>
                    <a:lnTo>
                      <a:pt x="302612" y="0"/>
                    </a:lnTo>
                    <a:lnTo>
                      <a:pt x="296824" y="38735"/>
                    </a:lnTo>
                    <a:lnTo>
                      <a:pt x="270258" y="63668"/>
                    </a:lnTo>
                    <a:lnTo>
                      <a:pt x="237459" y="83258"/>
                    </a:lnTo>
                    <a:lnTo>
                      <a:pt x="207776" y="83258"/>
                    </a:lnTo>
                    <a:lnTo>
                      <a:pt x="173345" y="78361"/>
                    </a:lnTo>
                    <a:lnTo>
                      <a:pt x="133571" y="38735"/>
                    </a:lnTo>
                    <a:lnTo>
                      <a:pt x="133571" y="9053"/>
                    </a:lnTo>
                    <a:lnTo>
                      <a:pt x="124517" y="0"/>
                    </a:lnTo>
                    <a:close/>
                  </a:path>
                </a:pathLst>
              </a:custGeom>
              <a:solidFill>
                <a:srgbClr val="2978FF">
                  <a:alpha val="50000"/>
                </a:srgbClr>
              </a:solidFill>
              <a:ln w="14828" cap="flat">
                <a:noFill/>
                <a:prstDash val="solid"/>
                <a:miter/>
              </a:ln>
            </p:spPr>
            <p:txBody>
              <a:bodyPr rtlCol="0" anchor="ctr"/>
              <a:lstStyle/>
              <a:p>
                <a:endParaRPr lang="en-DK"/>
              </a:p>
            </p:txBody>
          </p:sp>
          <p:sp>
            <p:nvSpPr>
              <p:cNvPr id="162" name="Freeform 161">
                <a:extLst>
                  <a:ext uri="{FF2B5EF4-FFF2-40B4-BE49-F238E27FC236}">
                    <a16:creationId xmlns:a16="http://schemas.microsoft.com/office/drawing/2014/main" id="{30F5A28D-B0FF-32DE-782E-2498FE5D8ADD}"/>
                  </a:ext>
                </a:extLst>
              </p:cNvPr>
              <p:cNvSpPr/>
              <p:nvPr/>
            </p:nvSpPr>
            <p:spPr>
              <a:xfrm>
                <a:off x="1467505" y="2456642"/>
                <a:ext cx="454288" cy="541549"/>
              </a:xfrm>
              <a:custGeom>
                <a:avLst/>
                <a:gdLst>
                  <a:gd name="connsiteX0" fmla="*/ 214900 w 454288"/>
                  <a:gd name="connsiteY0" fmla="*/ 109230 h 541549"/>
                  <a:gd name="connsiteX1" fmla="*/ 212080 w 454288"/>
                  <a:gd name="connsiteY1" fmla="*/ 99138 h 541549"/>
                  <a:gd name="connsiteX2" fmla="*/ 218462 w 454288"/>
                  <a:gd name="connsiteY2" fmla="*/ 89640 h 541549"/>
                  <a:gd name="connsiteX3" fmla="*/ 244434 w 454288"/>
                  <a:gd name="connsiteY3" fmla="*/ 72721 h 541549"/>
                  <a:gd name="connsiteX4" fmla="*/ 267586 w 454288"/>
                  <a:gd name="connsiteY4" fmla="*/ 57732 h 541549"/>
                  <a:gd name="connsiteX5" fmla="*/ 267290 w 454288"/>
                  <a:gd name="connsiteY5" fmla="*/ 57732 h 541549"/>
                  <a:gd name="connsiteX6" fmla="*/ 271000 w 454288"/>
                  <a:gd name="connsiteY6" fmla="*/ 55357 h 541549"/>
                  <a:gd name="connsiteX7" fmla="*/ 272484 w 454288"/>
                  <a:gd name="connsiteY7" fmla="*/ 54318 h 541549"/>
                  <a:gd name="connsiteX8" fmla="*/ 272632 w 454288"/>
                  <a:gd name="connsiteY8" fmla="*/ 54318 h 541549"/>
                  <a:gd name="connsiteX9" fmla="*/ 272929 w 454288"/>
                  <a:gd name="connsiteY9" fmla="*/ 54021 h 541549"/>
                  <a:gd name="connsiteX10" fmla="*/ 273671 w 454288"/>
                  <a:gd name="connsiteY10" fmla="*/ 53576 h 541549"/>
                  <a:gd name="connsiteX11" fmla="*/ 274265 w 454288"/>
                  <a:gd name="connsiteY11" fmla="*/ 53131 h 541549"/>
                  <a:gd name="connsiteX12" fmla="*/ 274265 w 454288"/>
                  <a:gd name="connsiteY12" fmla="*/ 53131 h 541549"/>
                  <a:gd name="connsiteX13" fmla="*/ 276640 w 454288"/>
                  <a:gd name="connsiteY13" fmla="*/ 52537 h 541549"/>
                  <a:gd name="connsiteX14" fmla="*/ 281537 w 454288"/>
                  <a:gd name="connsiteY14" fmla="*/ 55209 h 541549"/>
                  <a:gd name="connsiteX15" fmla="*/ 279905 w 454288"/>
                  <a:gd name="connsiteY15" fmla="*/ 63371 h 541549"/>
                  <a:gd name="connsiteX16" fmla="*/ 257494 w 454288"/>
                  <a:gd name="connsiteY16" fmla="*/ 86375 h 541549"/>
                  <a:gd name="connsiteX17" fmla="*/ 234342 w 454288"/>
                  <a:gd name="connsiteY17" fmla="*/ 110120 h 541549"/>
                  <a:gd name="connsiteX18" fmla="*/ 224399 w 454288"/>
                  <a:gd name="connsiteY18" fmla="*/ 114424 h 541549"/>
                  <a:gd name="connsiteX19" fmla="*/ 214455 w 454288"/>
                  <a:gd name="connsiteY19" fmla="*/ 109378 h 541549"/>
                  <a:gd name="connsiteX20" fmla="*/ 436627 w 454288"/>
                  <a:gd name="connsiteY20" fmla="*/ 476842 h 541549"/>
                  <a:gd name="connsiteX21" fmla="*/ 389878 w 454288"/>
                  <a:gd name="connsiteY21" fmla="*/ 523888 h 541549"/>
                  <a:gd name="connsiteX22" fmla="*/ 63965 w 454288"/>
                  <a:gd name="connsiteY22" fmla="*/ 523888 h 541549"/>
                  <a:gd name="connsiteX23" fmla="*/ 17216 w 454288"/>
                  <a:gd name="connsiteY23" fmla="*/ 476842 h 541549"/>
                  <a:gd name="connsiteX24" fmla="*/ 17216 w 454288"/>
                  <a:gd name="connsiteY24" fmla="*/ 151527 h 541549"/>
                  <a:gd name="connsiteX25" fmla="*/ 63965 w 454288"/>
                  <a:gd name="connsiteY25" fmla="*/ 104481 h 541549"/>
                  <a:gd name="connsiteX26" fmla="*/ 131493 w 454288"/>
                  <a:gd name="connsiteY26" fmla="*/ 104481 h 541549"/>
                  <a:gd name="connsiteX27" fmla="*/ 226922 w 454288"/>
                  <a:gd name="connsiteY27" fmla="*/ 191598 h 541549"/>
                  <a:gd name="connsiteX28" fmla="*/ 322350 w 454288"/>
                  <a:gd name="connsiteY28" fmla="*/ 104481 h 541549"/>
                  <a:gd name="connsiteX29" fmla="*/ 389878 w 454288"/>
                  <a:gd name="connsiteY29" fmla="*/ 104481 h 541549"/>
                  <a:gd name="connsiteX30" fmla="*/ 436627 w 454288"/>
                  <a:gd name="connsiteY30" fmla="*/ 151527 h 541549"/>
                  <a:gd name="connsiteX31" fmla="*/ 436627 w 454288"/>
                  <a:gd name="connsiteY31" fmla="*/ 476842 h 541549"/>
                  <a:gd name="connsiteX32" fmla="*/ 227070 w 454288"/>
                  <a:gd name="connsiteY32" fmla="*/ 17512 h 541549"/>
                  <a:gd name="connsiteX33" fmla="*/ 305431 w 454288"/>
                  <a:gd name="connsiteY33" fmla="*/ 95873 h 541549"/>
                  <a:gd name="connsiteX34" fmla="*/ 227070 w 454288"/>
                  <a:gd name="connsiteY34" fmla="*/ 174234 h 541549"/>
                  <a:gd name="connsiteX35" fmla="*/ 148709 w 454288"/>
                  <a:gd name="connsiteY35" fmla="*/ 95873 h 541549"/>
                  <a:gd name="connsiteX36" fmla="*/ 227070 w 454288"/>
                  <a:gd name="connsiteY36" fmla="*/ 17512 h 541549"/>
                  <a:gd name="connsiteX37" fmla="*/ 390026 w 454288"/>
                  <a:gd name="connsiteY37" fmla="*/ 87117 h 541549"/>
                  <a:gd name="connsiteX38" fmla="*/ 322499 w 454288"/>
                  <a:gd name="connsiteY38" fmla="*/ 87117 h 541549"/>
                  <a:gd name="connsiteX39" fmla="*/ 227070 w 454288"/>
                  <a:gd name="connsiteY39" fmla="*/ 0 h 541549"/>
                  <a:gd name="connsiteX40" fmla="*/ 131641 w 454288"/>
                  <a:gd name="connsiteY40" fmla="*/ 87117 h 541549"/>
                  <a:gd name="connsiteX41" fmla="*/ 64114 w 454288"/>
                  <a:gd name="connsiteY41" fmla="*/ 87117 h 541549"/>
                  <a:gd name="connsiteX42" fmla="*/ 0 w 454288"/>
                  <a:gd name="connsiteY42" fmla="*/ 151675 h 541549"/>
                  <a:gd name="connsiteX43" fmla="*/ 0 w 454288"/>
                  <a:gd name="connsiteY43" fmla="*/ 476991 h 541549"/>
                  <a:gd name="connsiteX44" fmla="*/ 64114 w 454288"/>
                  <a:gd name="connsiteY44" fmla="*/ 541549 h 541549"/>
                  <a:gd name="connsiteX45" fmla="*/ 390026 w 454288"/>
                  <a:gd name="connsiteY45" fmla="*/ 541549 h 541549"/>
                  <a:gd name="connsiteX46" fmla="*/ 454288 w 454288"/>
                  <a:gd name="connsiteY46" fmla="*/ 476991 h 541549"/>
                  <a:gd name="connsiteX47" fmla="*/ 454288 w 454288"/>
                  <a:gd name="connsiteY47" fmla="*/ 151675 h 541549"/>
                  <a:gd name="connsiteX48" fmla="*/ 390026 w 454288"/>
                  <a:gd name="connsiteY48" fmla="*/ 87117 h 541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54288" h="541549">
                    <a:moveTo>
                      <a:pt x="214900" y="109230"/>
                    </a:moveTo>
                    <a:cubicBezTo>
                      <a:pt x="212526" y="106113"/>
                      <a:pt x="211487" y="102552"/>
                      <a:pt x="212080" y="99138"/>
                    </a:cubicBezTo>
                    <a:cubicBezTo>
                      <a:pt x="212674" y="95428"/>
                      <a:pt x="214900" y="92014"/>
                      <a:pt x="218462" y="89640"/>
                    </a:cubicBezTo>
                    <a:cubicBezTo>
                      <a:pt x="230929" y="81032"/>
                      <a:pt x="237756" y="76877"/>
                      <a:pt x="244434" y="72721"/>
                    </a:cubicBezTo>
                    <a:cubicBezTo>
                      <a:pt x="250519" y="68862"/>
                      <a:pt x="256752" y="65004"/>
                      <a:pt x="267586" y="57732"/>
                    </a:cubicBezTo>
                    <a:lnTo>
                      <a:pt x="267290" y="57732"/>
                    </a:lnTo>
                    <a:cubicBezTo>
                      <a:pt x="267290" y="57732"/>
                      <a:pt x="271000" y="55357"/>
                      <a:pt x="271000" y="55357"/>
                    </a:cubicBezTo>
                    <a:cubicBezTo>
                      <a:pt x="271445" y="55060"/>
                      <a:pt x="272039" y="54763"/>
                      <a:pt x="272484" y="54318"/>
                    </a:cubicBezTo>
                    <a:lnTo>
                      <a:pt x="272632" y="54318"/>
                    </a:lnTo>
                    <a:cubicBezTo>
                      <a:pt x="272632" y="54318"/>
                      <a:pt x="272929" y="54021"/>
                      <a:pt x="272929" y="54021"/>
                    </a:cubicBezTo>
                    <a:cubicBezTo>
                      <a:pt x="273078" y="54021"/>
                      <a:pt x="273374" y="53725"/>
                      <a:pt x="273671" y="53576"/>
                    </a:cubicBezTo>
                    <a:lnTo>
                      <a:pt x="274265" y="53131"/>
                    </a:lnTo>
                    <a:lnTo>
                      <a:pt x="274265" y="53131"/>
                    </a:lnTo>
                    <a:cubicBezTo>
                      <a:pt x="274265" y="53131"/>
                      <a:pt x="275898" y="52537"/>
                      <a:pt x="276640" y="52537"/>
                    </a:cubicBezTo>
                    <a:cubicBezTo>
                      <a:pt x="278717" y="52537"/>
                      <a:pt x="280498" y="53576"/>
                      <a:pt x="281537" y="55209"/>
                    </a:cubicBezTo>
                    <a:cubicBezTo>
                      <a:pt x="283318" y="58028"/>
                      <a:pt x="281982" y="61293"/>
                      <a:pt x="279905" y="63371"/>
                    </a:cubicBezTo>
                    <a:cubicBezTo>
                      <a:pt x="268922" y="74205"/>
                      <a:pt x="262986" y="80438"/>
                      <a:pt x="257494" y="86375"/>
                    </a:cubicBezTo>
                    <a:cubicBezTo>
                      <a:pt x="251706" y="92460"/>
                      <a:pt x="245770" y="98841"/>
                      <a:pt x="234342" y="110120"/>
                    </a:cubicBezTo>
                    <a:cubicBezTo>
                      <a:pt x="231522" y="112940"/>
                      <a:pt x="227961" y="114424"/>
                      <a:pt x="224399" y="114424"/>
                    </a:cubicBezTo>
                    <a:cubicBezTo>
                      <a:pt x="220540" y="114424"/>
                      <a:pt x="216978" y="112643"/>
                      <a:pt x="214455" y="109378"/>
                    </a:cubicBezTo>
                    <a:moveTo>
                      <a:pt x="436627" y="476842"/>
                    </a:moveTo>
                    <a:cubicBezTo>
                      <a:pt x="436627" y="502814"/>
                      <a:pt x="415701" y="523888"/>
                      <a:pt x="389878" y="523888"/>
                    </a:cubicBezTo>
                    <a:lnTo>
                      <a:pt x="63965" y="523888"/>
                    </a:lnTo>
                    <a:cubicBezTo>
                      <a:pt x="38142" y="523888"/>
                      <a:pt x="17216" y="502814"/>
                      <a:pt x="17216" y="476842"/>
                    </a:cubicBezTo>
                    <a:lnTo>
                      <a:pt x="17216" y="151527"/>
                    </a:lnTo>
                    <a:cubicBezTo>
                      <a:pt x="17216" y="125555"/>
                      <a:pt x="38142" y="104481"/>
                      <a:pt x="63965" y="104481"/>
                    </a:cubicBezTo>
                    <a:lnTo>
                      <a:pt x="131493" y="104481"/>
                    </a:lnTo>
                    <a:cubicBezTo>
                      <a:pt x="135945" y="153308"/>
                      <a:pt x="177055" y="191598"/>
                      <a:pt x="226922" y="191598"/>
                    </a:cubicBezTo>
                    <a:cubicBezTo>
                      <a:pt x="276788" y="191598"/>
                      <a:pt x="317898" y="153308"/>
                      <a:pt x="322350" y="104481"/>
                    </a:cubicBezTo>
                    <a:lnTo>
                      <a:pt x="389878" y="104481"/>
                    </a:lnTo>
                    <a:cubicBezTo>
                      <a:pt x="415701" y="104481"/>
                      <a:pt x="436627" y="125555"/>
                      <a:pt x="436627" y="151527"/>
                    </a:cubicBezTo>
                    <a:lnTo>
                      <a:pt x="436627" y="476842"/>
                    </a:lnTo>
                    <a:close/>
                    <a:moveTo>
                      <a:pt x="227070" y="17512"/>
                    </a:moveTo>
                    <a:cubicBezTo>
                      <a:pt x="270258" y="17512"/>
                      <a:pt x="305431" y="52686"/>
                      <a:pt x="305431" y="95873"/>
                    </a:cubicBezTo>
                    <a:cubicBezTo>
                      <a:pt x="305431" y="139060"/>
                      <a:pt x="270258" y="174234"/>
                      <a:pt x="227070" y="174234"/>
                    </a:cubicBezTo>
                    <a:cubicBezTo>
                      <a:pt x="183882" y="174234"/>
                      <a:pt x="148709" y="139060"/>
                      <a:pt x="148709" y="95873"/>
                    </a:cubicBezTo>
                    <a:cubicBezTo>
                      <a:pt x="148709" y="52686"/>
                      <a:pt x="183882" y="17512"/>
                      <a:pt x="227070" y="17512"/>
                    </a:cubicBezTo>
                    <a:moveTo>
                      <a:pt x="390026" y="87117"/>
                    </a:moveTo>
                    <a:lnTo>
                      <a:pt x="322499" y="87117"/>
                    </a:lnTo>
                    <a:cubicBezTo>
                      <a:pt x="318046" y="38290"/>
                      <a:pt x="276936" y="0"/>
                      <a:pt x="227070" y="0"/>
                    </a:cubicBezTo>
                    <a:cubicBezTo>
                      <a:pt x="177204" y="0"/>
                      <a:pt x="136094" y="38290"/>
                      <a:pt x="131641" y="87117"/>
                    </a:cubicBezTo>
                    <a:lnTo>
                      <a:pt x="64114" y="87117"/>
                    </a:lnTo>
                    <a:cubicBezTo>
                      <a:pt x="28792" y="87117"/>
                      <a:pt x="0" y="116057"/>
                      <a:pt x="0" y="151675"/>
                    </a:cubicBezTo>
                    <a:lnTo>
                      <a:pt x="0" y="476991"/>
                    </a:lnTo>
                    <a:cubicBezTo>
                      <a:pt x="0" y="512609"/>
                      <a:pt x="28792" y="541549"/>
                      <a:pt x="64114" y="541549"/>
                    </a:cubicBezTo>
                    <a:lnTo>
                      <a:pt x="390026" y="541549"/>
                    </a:lnTo>
                    <a:cubicBezTo>
                      <a:pt x="425497" y="541549"/>
                      <a:pt x="454288" y="512609"/>
                      <a:pt x="454288" y="476991"/>
                    </a:cubicBezTo>
                    <a:lnTo>
                      <a:pt x="454288" y="151675"/>
                    </a:lnTo>
                    <a:cubicBezTo>
                      <a:pt x="454288" y="116057"/>
                      <a:pt x="425497" y="87117"/>
                      <a:pt x="390026" y="87117"/>
                    </a:cubicBezTo>
                  </a:path>
                </a:pathLst>
              </a:custGeom>
              <a:solidFill>
                <a:srgbClr val="FFFFFF"/>
              </a:solidFill>
              <a:ln w="14828" cap="flat">
                <a:noFill/>
                <a:prstDash val="solid"/>
                <a:miter/>
              </a:ln>
            </p:spPr>
            <p:txBody>
              <a:bodyPr rtlCol="0" anchor="ctr"/>
              <a:lstStyle/>
              <a:p>
                <a:endParaRPr lang="en-DK"/>
              </a:p>
            </p:txBody>
          </p:sp>
          <p:sp>
            <p:nvSpPr>
              <p:cNvPr id="163" name="Freeform 162">
                <a:extLst>
                  <a:ext uri="{FF2B5EF4-FFF2-40B4-BE49-F238E27FC236}">
                    <a16:creationId xmlns:a16="http://schemas.microsoft.com/office/drawing/2014/main" id="{A86B1E7C-1588-24E6-8DFF-DD959C03F0A3}"/>
                  </a:ext>
                </a:extLst>
              </p:cNvPr>
              <p:cNvSpPr/>
              <p:nvPr/>
            </p:nvSpPr>
            <p:spPr>
              <a:xfrm>
                <a:off x="4608789" y="2538565"/>
                <a:ext cx="529236" cy="382008"/>
              </a:xfrm>
              <a:custGeom>
                <a:avLst/>
                <a:gdLst>
                  <a:gd name="connsiteX0" fmla="*/ 291332 w 529236"/>
                  <a:gd name="connsiteY0" fmla="*/ 239831 h 382008"/>
                  <a:gd name="connsiteX1" fmla="*/ 299643 w 529236"/>
                  <a:gd name="connsiteY1" fmla="*/ 241315 h 382008"/>
                  <a:gd name="connsiteX2" fmla="*/ 355892 w 529236"/>
                  <a:gd name="connsiteY2" fmla="*/ 239534 h 382008"/>
                  <a:gd name="connsiteX3" fmla="*/ 439892 w 529236"/>
                  <a:gd name="connsiteY3" fmla="*/ 170078 h 382008"/>
                  <a:gd name="connsiteX4" fmla="*/ 455476 w 529236"/>
                  <a:gd name="connsiteY4" fmla="*/ 151675 h 382008"/>
                  <a:gd name="connsiteX5" fmla="*/ 489462 w 529236"/>
                  <a:gd name="connsiteY5" fmla="*/ 116947 h 382008"/>
                  <a:gd name="connsiteX6" fmla="*/ 529236 w 529236"/>
                  <a:gd name="connsiteY6" fmla="*/ 65449 h 382008"/>
                  <a:gd name="connsiteX7" fmla="*/ 446126 w 529236"/>
                  <a:gd name="connsiteY7" fmla="*/ 41852 h 382008"/>
                  <a:gd name="connsiteX8" fmla="*/ 355446 w 529236"/>
                  <a:gd name="connsiteY8" fmla="*/ 41852 h 382008"/>
                  <a:gd name="connsiteX9" fmla="*/ 280498 w 529236"/>
                  <a:gd name="connsiteY9" fmla="*/ 25230 h 382008"/>
                  <a:gd name="connsiteX10" fmla="*/ 153903 w 529236"/>
                  <a:gd name="connsiteY10" fmla="*/ 0 h 382008"/>
                  <a:gd name="connsiteX11" fmla="*/ 149 w 529236"/>
                  <a:gd name="connsiteY11" fmla="*/ 180467 h 382008"/>
                  <a:gd name="connsiteX12" fmla="*/ 11279 w 529236"/>
                  <a:gd name="connsiteY12" fmla="*/ 240425 h 382008"/>
                  <a:gd name="connsiteX13" fmla="*/ 20184 w 529236"/>
                  <a:gd name="connsiteY13" fmla="*/ 285096 h 382008"/>
                  <a:gd name="connsiteX14" fmla="*/ 6530 w 529236"/>
                  <a:gd name="connsiteY14" fmla="*/ 338524 h 382008"/>
                  <a:gd name="connsiteX15" fmla="*/ 0 w 529236"/>
                  <a:gd name="connsiteY15" fmla="*/ 358411 h 382008"/>
                  <a:gd name="connsiteX16" fmla="*/ 32799 w 529236"/>
                  <a:gd name="connsiteY16" fmla="*/ 382008 h 382008"/>
                  <a:gd name="connsiteX17" fmla="*/ 86821 w 529236"/>
                  <a:gd name="connsiteY17" fmla="*/ 348319 h 382008"/>
                  <a:gd name="connsiteX18" fmla="*/ 150786 w 529236"/>
                  <a:gd name="connsiteY18" fmla="*/ 299047 h 382008"/>
                  <a:gd name="connsiteX19" fmla="*/ 208815 w 529236"/>
                  <a:gd name="connsiteY19" fmla="*/ 287025 h 382008"/>
                  <a:gd name="connsiteX20" fmla="*/ 259275 w 529236"/>
                  <a:gd name="connsiteY20" fmla="*/ 269365 h 382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9236" h="382008">
                    <a:moveTo>
                      <a:pt x="291332" y="239831"/>
                    </a:moveTo>
                    <a:cubicBezTo>
                      <a:pt x="294449" y="240425"/>
                      <a:pt x="297120" y="240870"/>
                      <a:pt x="299643" y="241315"/>
                    </a:cubicBezTo>
                    <a:cubicBezTo>
                      <a:pt x="316414" y="244580"/>
                      <a:pt x="321460" y="245471"/>
                      <a:pt x="355892" y="239534"/>
                    </a:cubicBezTo>
                    <a:cubicBezTo>
                      <a:pt x="385722" y="234340"/>
                      <a:pt x="413178" y="201690"/>
                      <a:pt x="439892" y="170078"/>
                    </a:cubicBezTo>
                    <a:cubicBezTo>
                      <a:pt x="445087" y="163845"/>
                      <a:pt x="450281" y="157760"/>
                      <a:pt x="455476" y="151675"/>
                    </a:cubicBezTo>
                    <a:cubicBezTo>
                      <a:pt x="466458" y="139209"/>
                      <a:pt x="478034" y="127930"/>
                      <a:pt x="489462" y="116947"/>
                    </a:cubicBezTo>
                    <a:cubicBezTo>
                      <a:pt x="509943" y="97209"/>
                      <a:pt x="529236" y="78509"/>
                      <a:pt x="529236" y="65449"/>
                    </a:cubicBezTo>
                    <a:cubicBezTo>
                      <a:pt x="529236" y="52389"/>
                      <a:pt x="485307" y="41852"/>
                      <a:pt x="446126" y="41852"/>
                    </a:cubicBezTo>
                    <a:lnTo>
                      <a:pt x="355446" y="41852"/>
                    </a:lnTo>
                    <a:cubicBezTo>
                      <a:pt x="336449" y="41852"/>
                      <a:pt x="310477" y="34134"/>
                      <a:pt x="280498" y="25230"/>
                    </a:cubicBezTo>
                    <a:cubicBezTo>
                      <a:pt x="240872" y="13505"/>
                      <a:pt x="196052" y="0"/>
                      <a:pt x="153903" y="0"/>
                    </a:cubicBezTo>
                    <a:cubicBezTo>
                      <a:pt x="37697" y="0"/>
                      <a:pt x="149" y="121548"/>
                      <a:pt x="149" y="180467"/>
                    </a:cubicBezTo>
                    <a:cubicBezTo>
                      <a:pt x="149" y="202877"/>
                      <a:pt x="5788" y="222022"/>
                      <a:pt x="11279" y="240425"/>
                    </a:cubicBezTo>
                    <a:cubicBezTo>
                      <a:pt x="15880" y="255859"/>
                      <a:pt x="20184" y="270552"/>
                      <a:pt x="20184" y="285096"/>
                    </a:cubicBezTo>
                    <a:cubicBezTo>
                      <a:pt x="20184" y="307061"/>
                      <a:pt x="12615" y="324425"/>
                      <a:pt x="6530" y="338524"/>
                    </a:cubicBezTo>
                    <a:cubicBezTo>
                      <a:pt x="2968" y="346686"/>
                      <a:pt x="0" y="353662"/>
                      <a:pt x="0" y="358411"/>
                    </a:cubicBezTo>
                    <a:cubicBezTo>
                      <a:pt x="0" y="369838"/>
                      <a:pt x="2523" y="382008"/>
                      <a:pt x="32799" y="382008"/>
                    </a:cubicBezTo>
                    <a:cubicBezTo>
                      <a:pt x="54467" y="382008"/>
                      <a:pt x="68715" y="367167"/>
                      <a:pt x="86821" y="348319"/>
                    </a:cubicBezTo>
                    <a:cubicBezTo>
                      <a:pt x="103294" y="331103"/>
                      <a:pt x="121995" y="311662"/>
                      <a:pt x="150786" y="299047"/>
                    </a:cubicBezTo>
                    <a:cubicBezTo>
                      <a:pt x="173196" y="289252"/>
                      <a:pt x="192193" y="288064"/>
                      <a:pt x="208815" y="287025"/>
                    </a:cubicBezTo>
                    <a:cubicBezTo>
                      <a:pt x="228703" y="285838"/>
                      <a:pt x="244286" y="284799"/>
                      <a:pt x="259275" y="269365"/>
                    </a:cubicBezTo>
                  </a:path>
                </a:pathLst>
              </a:custGeom>
              <a:solidFill>
                <a:srgbClr val="2978FF">
                  <a:alpha val="50000"/>
                </a:srgbClr>
              </a:solidFill>
              <a:ln w="14828" cap="flat">
                <a:noFill/>
                <a:prstDash val="solid"/>
                <a:miter/>
              </a:ln>
            </p:spPr>
            <p:txBody>
              <a:bodyPr rtlCol="0" anchor="ctr"/>
              <a:lstStyle/>
              <a:p>
                <a:endParaRPr lang="en-DK"/>
              </a:p>
            </p:txBody>
          </p:sp>
          <p:sp>
            <p:nvSpPr>
              <p:cNvPr id="164" name="Freeform 163">
                <a:extLst>
                  <a:ext uri="{FF2B5EF4-FFF2-40B4-BE49-F238E27FC236}">
                    <a16:creationId xmlns:a16="http://schemas.microsoft.com/office/drawing/2014/main" id="{438D125B-8DC9-24D0-58C7-C13DA74130B6}"/>
                  </a:ext>
                </a:extLst>
              </p:cNvPr>
              <p:cNvSpPr/>
              <p:nvPr/>
            </p:nvSpPr>
            <p:spPr>
              <a:xfrm>
                <a:off x="4596471" y="2529660"/>
                <a:ext cx="555357" cy="395216"/>
              </a:xfrm>
              <a:custGeom>
                <a:avLst/>
                <a:gdLst>
                  <a:gd name="connsiteX0" fmla="*/ 167557 w 555357"/>
                  <a:gd name="connsiteY0" fmla="*/ 14989 h 395216"/>
                  <a:gd name="connsiteX1" fmla="*/ 14990 w 555357"/>
                  <a:gd name="connsiteY1" fmla="*/ 187591 h 395216"/>
                  <a:gd name="connsiteX2" fmla="*/ 26121 w 555357"/>
                  <a:gd name="connsiteY2" fmla="*/ 245025 h 395216"/>
                  <a:gd name="connsiteX3" fmla="*/ 35025 w 555357"/>
                  <a:gd name="connsiteY3" fmla="*/ 287768 h 395216"/>
                  <a:gd name="connsiteX4" fmla="*/ 21520 w 555357"/>
                  <a:gd name="connsiteY4" fmla="*/ 338821 h 395216"/>
                  <a:gd name="connsiteX5" fmla="*/ 14990 w 555357"/>
                  <a:gd name="connsiteY5" fmla="*/ 357817 h 395216"/>
                  <a:gd name="connsiteX6" fmla="*/ 47492 w 555357"/>
                  <a:gd name="connsiteY6" fmla="*/ 380376 h 395216"/>
                  <a:gd name="connsiteX7" fmla="*/ 101069 w 555357"/>
                  <a:gd name="connsiteY7" fmla="*/ 348022 h 395216"/>
                  <a:gd name="connsiteX8" fmla="*/ 164589 w 555357"/>
                  <a:gd name="connsiteY8" fmla="*/ 300828 h 395216"/>
                  <a:gd name="connsiteX9" fmla="*/ 222172 w 555357"/>
                  <a:gd name="connsiteY9" fmla="*/ 289252 h 395216"/>
                  <a:gd name="connsiteX10" fmla="*/ 272188 w 555357"/>
                  <a:gd name="connsiteY10" fmla="*/ 272333 h 395216"/>
                  <a:gd name="connsiteX11" fmla="*/ 298902 w 555357"/>
                  <a:gd name="connsiteY11" fmla="*/ 207774 h 395216"/>
                  <a:gd name="connsiteX12" fmla="*/ 341347 w 555357"/>
                  <a:gd name="connsiteY12" fmla="*/ 103294 h 395216"/>
                  <a:gd name="connsiteX13" fmla="*/ 353666 w 555357"/>
                  <a:gd name="connsiteY13" fmla="*/ 111753 h 395216"/>
                  <a:gd name="connsiteX14" fmla="*/ 313298 w 555357"/>
                  <a:gd name="connsiteY14" fmla="*/ 211633 h 395216"/>
                  <a:gd name="connsiteX15" fmla="*/ 303948 w 555357"/>
                  <a:gd name="connsiteY15" fmla="*/ 244135 h 395216"/>
                  <a:gd name="connsiteX16" fmla="*/ 312259 w 555357"/>
                  <a:gd name="connsiteY16" fmla="*/ 245619 h 395216"/>
                  <a:gd name="connsiteX17" fmla="*/ 368062 w 555357"/>
                  <a:gd name="connsiteY17" fmla="*/ 243838 h 395216"/>
                  <a:gd name="connsiteX18" fmla="*/ 451469 w 555357"/>
                  <a:gd name="connsiteY18" fmla="*/ 177499 h 395216"/>
                  <a:gd name="connsiteX19" fmla="*/ 467052 w 555357"/>
                  <a:gd name="connsiteY19" fmla="*/ 159986 h 395216"/>
                  <a:gd name="connsiteX20" fmla="*/ 500742 w 555357"/>
                  <a:gd name="connsiteY20" fmla="*/ 126742 h 395216"/>
                  <a:gd name="connsiteX21" fmla="*/ 540071 w 555357"/>
                  <a:gd name="connsiteY21" fmla="*/ 77470 h 395216"/>
                  <a:gd name="connsiteX22" fmla="*/ 457554 w 555357"/>
                  <a:gd name="connsiteY22" fmla="*/ 54912 h 395216"/>
                  <a:gd name="connsiteX23" fmla="*/ 367468 w 555357"/>
                  <a:gd name="connsiteY23" fmla="*/ 54912 h 395216"/>
                  <a:gd name="connsiteX24" fmla="*/ 293113 w 555357"/>
                  <a:gd name="connsiteY24" fmla="*/ 38883 h 395216"/>
                  <a:gd name="connsiteX25" fmla="*/ 167409 w 555357"/>
                  <a:gd name="connsiteY25" fmla="*/ 14841 h 395216"/>
                  <a:gd name="connsiteX26" fmla="*/ 47492 w 555357"/>
                  <a:gd name="connsiteY26" fmla="*/ 395217 h 395216"/>
                  <a:gd name="connsiteX27" fmla="*/ 0 w 555357"/>
                  <a:gd name="connsiteY27" fmla="*/ 357669 h 395216"/>
                  <a:gd name="connsiteX28" fmla="*/ 7866 w 555357"/>
                  <a:gd name="connsiteY28" fmla="*/ 332588 h 395216"/>
                  <a:gd name="connsiteX29" fmla="*/ 20036 w 555357"/>
                  <a:gd name="connsiteY29" fmla="*/ 287619 h 395216"/>
                  <a:gd name="connsiteX30" fmla="*/ 11873 w 555357"/>
                  <a:gd name="connsiteY30" fmla="*/ 249329 h 395216"/>
                  <a:gd name="connsiteX31" fmla="*/ 149 w 555357"/>
                  <a:gd name="connsiteY31" fmla="*/ 187591 h 395216"/>
                  <a:gd name="connsiteX32" fmla="*/ 167706 w 555357"/>
                  <a:gd name="connsiteY32" fmla="*/ 0 h 395216"/>
                  <a:gd name="connsiteX33" fmla="*/ 297566 w 555357"/>
                  <a:gd name="connsiteY33" fmla="*/ 24636 h 395216"/>
                  <a:gd name="connsiteX34" fmla="*/ 367765 w 555357"/>
                  <a:gd name="connsiteY34" fmla="*/ 40071 h 395216"/>
                  <a:gd name="connsiteX35" fmla="*/ 457850 w 555357"/>
                  <a:gd name="connsiteY35" fmla="*/ 40071 h 395216"/>
                  <a:gd name="connsiteX36" fmla="*/ 555357 w 555357"/>
                  <a:gd name="connsiteY36" fmla="*/ 77619 h 395216"/>
                  <a:gd name="connsiteX37" fmla="*/ 511130 w 555357"/>
                  <a:gd name="connsiteY37" fmla="*/ 137873 h 395216"/>
                  <a:gd name="connsiteX38" fmla="*/ 478331 w 555357"/>
                  <a:gd name="connsiteY38" fmla="*/ 170227 h 395216"/>
                  <a:gd name="connsiteX39" fmla="*/ 462896 w 555357"/>
                  <a:gd name="connsiteY39" fmla="*/ 187591 h 395216"/>
                  <a:gd name="connsiteX40" fmla="*/ 370733 w 555357"/>
                  <a:gd name="connsiteY40" fmla="*/ 258828 h 395216"/>
                  <a:gd name="connsiteX41" fmla="*/ 309587 w 555357"/>
                  <a:gd name="connsiteY41" fmla="*/ 260460 h 395216"/>
                  <a:gd name="connsiteX42" fmla="*/ 298605 w 555357"/>
                  <a:gd name="connsiteY42" fmla="*/ 258531 h 395216"/>
                  <a:gd name="connsiteX43" fmla="*/ 282873 w 555357"/>
                  <a:gd name="connsiteY43" fmla="*/ 283018 h 395216"/>
                  <a:gd name="connsiteX44" fmla="*/ 223063 w 555357"/>
                  <a:gd name="connsiteY44" fmla="*/ 304241 h 395216"/>
                  <a:gd name="connsiteX45" fmla="*/ 170377 w 555357"/>
                  <a:gd name="connsiteY45" fmla="*/ 314630 h 395216"/>
                  <a:gd name="connsiteX46" fmla="*/ 111606 w 555357"/>
                  <a:gd name="connsiteY46" fmla="*/ 358559 h 395216"/>
                  <a:gd name="connsiteX47" fmla="*/ 47343 w 555357"/>
                  <a:gd name="connsiteY47" fmla="*/ 395217 h 395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55357" h="395216">
                    <a:moveTo>
                      <a:pt x="167557" y="14989"/>
                    </a:moveTo>
                    <a:cubicBezTo>
                      <a:pt x="52241" y="14989"/>
                      <a:pt x="14990" y="131343"/>
                      <a:pt x="14990" y="187591"/>
                    </a:cubicBezTo>
                    <a:cubicBezTo>
                      <a:pt x="14990" y="209110"/>
                      <a:pt x="20629" y="227365"/>
                      <a:pt x="26121" y="245025"/>
                    </a:cubicBezTo>
                    <a:cubicBezTo>
                      <a:pt x="30721" y="259866"/>
                      <a:pt x="35025" y="273817"/>
                      <a:pt x="35025" y="287768"/>
                    </a:cubicBezTo>
                    <a:cubicBezTo>
                      <a:pt x="35025" y="308693"/>
                      <a:pt x="27605" y="325464"/>
                      <a:pt x="21520" y="338821"/>
                    </a:cubicBezTo>
                    <a:cubicBezTo>
                      <a:pt x="17958" y="346538"/>
                      <a:pt x="14990" y="353365"/>
                      <a:pt x="14990" y="357817"/>
                    </a:cubicBezTo>
                    <a:cubicBezTo>
                      <a:pt x="14990" y="368651"/>
                      <a:pt x="17513" y="380376"/>
                      <a:pt x="47492" y="380376"/>
                    </a:cubicBezTo>
                    <a:cubicBezTo>
                      <a:pt x="68863" y="380376"/>
                      <a:pt x="83111" y="366128"/>
                      <a:pt x="101069" y="348022"/>
                    </a:cubicBezTo>
                    <a:cubicBezTo>
                      <a:pt x="117394" y="331549"/>
                      <a:pt x="136094" y="312997"/>
                      <a:pt x="164589" y="300828"/>
                    </a:cubicBezTo>
                    <a:cubicBezTo>
                      <a:pt x="186702" y="291329"/>
                      <a:pt x="205550" y="290291"/>
                      <a:pt x="222172" y="289252"/>
                    </a:cubicBezTo>
                    <a:cubicBezTo>
                      <a:pt x="241911" y="288064"/>
                      <a:pt x="257495" y="287174"/>
                      <a:pt x="272188" y="272333"/>
                    </a:cubicBezTo>
                    <a:cubicBezTo>
                      <a:pt x="285099" y="259421"/>
                      <a:pt x="291481" y="235527"/>
                      <a:pt x="298902" y="207774"/>
                    </a:cubicBezTo>
                    <a:cubicBezTo>
                      <a:pt x="307658" y="174976"/>
                      <a:pt x="317602" y="137873"/>
                      <a:pt x="341347" y="103294"/>
                    </a:cubicBezTo>
                    <a:lnTo>
                      <a:pt x="353666" y="111753"/>
                    </a:lnTo>
                    <a:cubicBezTo>
                      <a:pt x="331404" y="144106"/>
                      <a:pt x="321905" y="180022"/>
                      <a:pt x="313298" y="211633"/>
                    </a:cubicBezTo>
                    <a:cubicBezTo>
                      <a:pt x="310181" y="223209"/>
                      <a:pt x="307213" y="234191"/>
                      <a:pt x="303948" y="244135"/>
                    </a:cubicBezTo>
                    <a:cubicBezTo>
                      <a:pt x="307064" y="244729"/>
                      <a:pt x="309736" y="245174"/>
                      <a:pt x="312259" y="245619"/>
                    </a:cubicBezTo>
                    <a:cubicBezTo>
                      <a:pt x="328881" y="248736"/>
                      <a:pt x="333927" y="249626"/>
                      <a:pt x="368062" y="243838"/>
                    </a:cubicBezTo>
                    <a:cubicBezTo>
                      <a:pt x="397595" y="238941"/>
                      <a:pt x="424903" y="207626"/>
                      <a:pt x="451469" y="177499"/>
                    </a:cubicBezTo>
                    <a:cubicBezTo>
                      <a:pt x="456663" y="171562"/>
                      <a:pt x="461858" y="165626"/>
                      <a:pt x="467052" y="159986"/>
                    </a:cubicBezTo>
                    <a:cubicBezTo>
                      <a:pt x="477886" y="147965"/>
                      <a:pt x="489462" y="137131"/>
                      <a:pt x="500742" y="126742"/>
                    </a:cubicBezTo>
                    <a:cubicBezTo>
                      <a:pt x="520925" y="107746"/>
                      <a:pt x="540071" y="89937"/>
                      <a:pt x="540071" y="77470"/>
                    </a:cubicBezTo>
                    <a:cubicBezTo>
                      <a:pt x="540071" y="65004"/>
                      <a:pt x="496438" y="54912"/>
                      <a:pt x="457554" y="54912"/>
                    </a:cubicBezTo>
                    <a:lnTo>
                      <a:pt x="367468" y="54912"/>
                    </a:lnTo>
                    <a:cubicBezTo>
                      <a:pt x="348620" y="54912"/>
                      <a:pt x="322944" y="47491"/>
                      <a:pt x="293113" y="38883"/>
                    </a:cubicBezTo>
                    <a:cubicBezTo>
                      <a:pt x="253784" y="27604"/>
                      <a:pt x="209261" y="14841"/>
                      <a:pt x="167409" y="14841"/>
                    </a:cubicBezTo>
                    <a:moveTo>
                      <a:pt x="47492" y="395217"/>
                    </a:moveTo>
                    <a:cubicBezTo>
                      <a:pt x="16029" y="395217"/>
                      <a:pt x="0" y="382602"/>
                      <a:pt x="0" y="357669"/>
                    </a:cubicBezTo>
                    <a:cubicBezTo>
                      <a:pt x="0" y="349952"/>
                      <a:pt x="3562" y="341937"/>
                      <a:pt x="7866" y="332588"/>
                    </a:cubicBezTo>
                    <a:cubicBezTo>
                      <a:pt x="13506" y="319824"/>
                      <a:pt x="20036" y="305428"/>
                      <a:pt x="20036" y="287619"/>
                    </a:cubicBezTo>
                    <a:cubicBezTo>
                      <a:pt x="20036" y="276043"/>
                      <a:pt x="16177" y="263725"/>
                      <a:pt x="11873" y="249329"/>
                    </a:cubicBezTo>
                    <a:cubicBezTo>
                      <a:pt x="6382" y="231520"/>
                      <a:pt x="149" y="211188"/>
                      <a:pt x="149" y="187591"/>
                    </a:cubicBezTo>
                    <a:cubicBezTo>
                      <a:pt x="149" y="109675"/>
                      <a:pt x="52093" y="0"/>
                      <a:pt x="167706" y="0"/>
                    </a:cubicBezTo>
                    <a:cubicBezTo>
                      <a:pt x="211784" y="0"/>
                      <a:pt x="257346" y="13060"/>
                      <a:pt x="297566" y="24636"/>
                    </a:cubicBezTo>
                    <a:cubicBezTo>
                      <a:pt x="326209" y="32947"/>
                      <a:pt x="351142" y="40071"/>
                      <a:pt x="367765" y="40071"/>
                    </a:cubicBezTo>
                    <a:lnTo>
                      <a:pt x="457850" y="40071"/>
                    </a:lnTo>
                    <a:cubicBezTo>
                      <a:pt x="467794" y="40071"/>
                      <a:pt x="555357" y="41110"/>
                      <a:pt x="555357" y="77619"/>
                    </a:cubicBezTo>
                    <a:cubicBezTo>
                      <a:pt x="555357" y="96615"/>
                      <a:pt x="535915" y="114870"/>
                      <a:pt x="511130" y="137873"/>
                    </a:cubicBezTo>
                    <a:cubicBezTo>
                      <a:pt x="500148" y="148113"/>
                      <a:pt x="488720" y="158799"/>
                      <a:pt x="478331" y="170227"/>
                    </a:cubicBezTo>
                    <a:cubicBezTo>
                      <a:pt x="473137" y="175866"/>
                      <a:pt x="468091" y="181654"/>
                      <a:pt x="462896" y="187591"/>
                    </a:cubicBezTo>
                    <a:cubicBezTo>
                      <a:pt x="434698" y="219796"/>
                      <a:pt x="405610" y="253040"/>
                      <a:pt x="370733" y="258828"/>
                    </a:cubicBezTo>
                    <a:cubicBezTo>
                      <a:pt x="333927" y="264912"/>
                      <a:pt x="327248" y="263725"/>
                      <a:pt x="309587" y="260460"/>
                    </a:cubicBezTo>
                    <a:cubicBezTo>
                      <a:pt x="306471" y="259866"/>
                      <a:pt x="302760" y="259273"/>
                      <a:pt x="298605" y="258531"/>
                    </a:cubicBezTo>
                    <a:cubicBezTo>
                      <a:pt x="294449" y="268177"/>
                      <a:pt x="289403" y="276488"/>
                      <a:pt x="282873" y="283018"/>
                    </a:cubicBezTo>
                    <a:cubicBezTo>
                      <a:pt x="264025" y="301867"/>
                      <a:pt x="244138" y="303054"/>
                      <a:pt x="223063" y="304241"/>
                    </a:cubicBezTo>
                    <a:cubicBezTo>
                      <a:pt x="206886" y="305280"/>
                      <a:pt x="190264" y="306170"/>
                      <a:pt x="170377" y="314630"/>
                    </a:cubicBezTo>
                    <a:cubicBezTo>
                      <a:pt x="144553" y="325612"/>
                      <a:pt x="127041" y="343125"/>
                      <a:pt x="111606" y="358559"/>
                    </a:cubicBezTo>
                    <a:cubicBezTo>
                      <a:pt x="92757" y="377407"/>
                      <a:pt x="74948" y="395217"/>
                      <a:pt x="47343" y="395217"/>
                    </a:cubicBezTo>
                  </a:path>
                </a:pathLst>
              </a:custGeom>
              <a:solidFill>
                <a:srgbClr val="FFFFFF"/>
              </a:solidFill>
              <a:ln w="14828" cap="flat">
                <a:noFill/>
                <a:prstDash val="solid"/>
                <a:miter/>
              </a:ln>
            </p:spPr>
            <p:txBody>
              <a:bodyPr rtlCol="0" anchor="ctr"/>
              <a:lstStyle/>
              <a:p>
                <a:endParaRPr lang="en-DK"/>
              </a:p>
            </p:txBody>
          </p:sp>
          <p:sp>
            <p:nvSpPr>
              <p:cNvPr id="165" name="Freeform 164">
                <a:extLst>
                  <a:ext uri="{FF2B5EF4-FFF2-40B4-BE49-F238E27FC236}">
                    <a16:creationId xmlns:a16="http://schemas.microsoft.com/office/drawing/2014/main" id="{554369DC-745C-DC69-D836-AF8C25114C23}"/>
                  </a:ext>
                </a:extLst>
              </p:cNvPr>
              <p:cNvSpPr/>
              <p:nvPr/>
            </p:nvSpPr>
            <p:spPr>
              <a:xfrm>
                <a:off x="3061745" y="2556077"/>
                <a:ext cx="465716" cy="261944"/>
              </a:xfrm>
              <a:custGeom>
                <a:avLst/>
                <a:gdLst>
                  <a:gd name="connsiteX0" fmla="*/ 56990 w 465716"/>
                  <a:gd name="connsiteY0" fmla="*/ 43633 h 261944"/>
                  <a:gd name="connsiteX1" fmla="*/ 23301 w 465716"/>
                  <a:gd name="connsiteY1" fmla="*/ 69011 h 261944"/>
                  <a:gd name="connsiteX2" fmla="*/ 0 w 465716"/>
                  <a:gd name="connsiteY2" fmla="*/ 124219 h 261944"/>
                  <a:gd name="connsiteX3" fmla="*/ 0 w 465716"/>
                  <a:gd name="connsiteY3" fmla="*/ 190707 h 261944"/>
                  <a:gd name="connsiteX4" fmla="*/ 38290 w 465716"/>
                  <a:gd name="connsiteY4" fmla="*/ 235676 h 261944"/>
                  <a:gd name="connsiteX5" fmla="*/ 63520 w 465716"/>
                  <a:gd name="connsiteY5" fmla="*/ 258382 h 261944"/>
                  <a:gd name="connsiteX6" fmla="*/ 99139 w 465716"/>
                  <a:gd name="connsiteY6" fmla="*/ 261944 h 261944"/>
                  <a:gd name="connsiteX7" fmla="*/ 142327 w 465716"/>
                  <a:gd name="connsiteY7" fmla="*/ 253782 h 261944"/>
                  <a:gd name="connsiteX8" fmla="*/ 198575 w 465716"/>
                  <a:gd name="connsiteY8" fmla="*/ 221428 h 261944"/>
                  <a:gd name="connsiteX9" fmla="*/ 251558 w 465716"/>
                  <a:gd name="connsiteY9" fmla="*/ 189965 h 261944"/>
                  <a:gd name="connsiteX10" fmla="*/ 333778 w 465716"/>
                  <a:gd name="connsiteY10" fmla="*/ 160283 h 261944"/>
                  <a:gd name="connsiteX11" fmla="*/ 407094 w 465716"/>
                  <a:gd name="connsiteY11" fmla="*/ 124219 h 261944"/>
                  <a:gd name="connsiteX12" fmla="*/ 449688 w 465716"/>
                  <a:gd name="connsiteY12" fmla="*/ 98396 h 261944"/>
                  <a:gd name="connsiteX13" fmla="*/ 465716 w 465716"/>
                  <a:gd name="connsiteY13" fmla="*/ 74502 h 261944"/>
                  <a:gd name="connsiteX14" fmla="*/ 465716 w 465716"/>
                  <a:gd name="connsiteY14" fmla="*/ 40071 h 261944"/>
                  <a:gd name="connsiteX15" fmla="*/ 451766 w 465716"/>
                  <a:gd name="connsiteY15" fmla="*/ 17216 h 261944"/>
                  <a:gd name="connsiteX16" fmla="*/ 409765 w 465716"/>
                  <a:gd name="connsiteY16" fmla="*/ 7421 h 261944"/>
                  <a:gd name="connsiteX17" fmla="*/ 349213 w 465716"/>
                  <a:gd name="connsiteY17" fmla="*/ 7421 h 261944"/>
                  <a:gd name="connsiteX18" fmla="*/ 280202 w 465716"/>
                  <a:gd name="connsiteY18" fmla="*/ 8905 h 261944"/>
                  <a:gd name="connsiteX19" fmla="*/ 216830 w 465716"/>
                  <a:gd name="connsiteY19" fmla="*/ 0 h 261944"/>
                  <a:gd name="connsiteX20" fmla="*/ 173790 w 465716"/>
                  <a:gd name="connsiteY20" fmla="*/ 0 h 261944"/>
                  <a:gd name="connsiteX21" fmla="*/ 122588 w 465716"/>
                  <a:gd name="connsiteY21" fmla="*/ 5640 h 261944"/>
                  <a:gd name="connsiteX22" fmla="*/ 90680 w 465716"/>
                  <a:gd name="connsiteY22" fmla="*/ 21371 h 261944"/>
                  <a:gd name="connsiteX23" fmla="*/ 56990 w 465716"/>
                  <a:gd name="connsiteY23" fmla="*/ 43633 h 26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65716" h="261944">
                    <a:moveTo>
                      <a:pt x="56990" y="43633"/>
                    </a:moveTo>
                    <a:lnTo>
                      <a:pt x="23301" y="69011"/>
                    </a:lnTo>
                    <a:lnTo>
                      <a:pt x="0" y="124219"/>
                    </a:lnTo>
                    <a:lnTo>
                      <a:pt x="0" y="190707"/>
                    </a:lnTo>
                    <a:lnTo>
                      <a:pt x="38290" y="235676"/>
                    </a:lnTo>
                    <a:lnTo>
                      <a:pt x="63520" y="258382"/>
                    </a:lnTo>
                    <a:lnTo>
                      <a:pt x="99139" y="261944"/>
                    </a:lnTo>
                    <a:lnTo>
                      <a:pt x="142327" y="253782"/>
                    </a:lnTo>
                    <a:lnTo>
                      <a:pt x="198575" y="221428"/>
                    </a:lnTo>
                    <a:lnTo>
                      <a:pt x="251558" y="189965"/>
                    </a:lnTo>
                    <a:lnTo>
                      <a:pt x="333778" y="160283"/>
                    </a:lnTo>
                    <a:lnTo>
                      <a:pt x="407094" y="124219"/>
                    </a:lnTo>
                    <a:lnTo>
                      <a:pt x="449688" y="98396"/>
                    </a:lnTo>
                    <a:lnTo>
                      <a:pt x="465716" y="74502"/>
                    </a:lnTo>
                    <a:lnTo>
                      <a:pt x="465716" y="40071"/>
                    </a:lnTo>
                    <a:lnTo>
                      <a:pt x="451766" y="17216"/>
                    </a:lnTo>
                    <a:lnTo>
                      <a:pt x="409765" y="7421"/>
                    </a:lnTo>
                    <a:lnTo>
                      <a:pt x="349213" y="7421"/>
                    </a:lnTo>
                    <a:lnTo>
                      <a:pt x="280202" y="8905"/>
                    </a:lnTo>
                    <a:lnTo>
                      <a:pt x="216830" y="0"/>
                    </a:lnTo>
                    <a:lnTo>
                      <a:pt x="173790" y="0"/>
                    </a:lnTo>
                    <a:lnTo>
                      <a:pt x="122588" y="5640"/>
                    </a:lnTo>
                    <a:lnTo>
                      <a:pt x="90680" y="21371"/>
                    </a:lnTo>
                    <a:lnTo>
                      <a:pt x="56990" y="43633"/>
                    </a:lnTo>
                    <a:close/>
                  </a:path>
                </a:pathLst>
              </a:custGeom>
              <a:solidFill>
                <a:srgbClr val="2978FF">
                  <a:alpha val="50000"/>
                </a:srgbClr>
              </a:solidFill>
              <a:ln w="14828" cap="flat">
                <a:noFill/>
                <a:prstDash val="solid"/>
                <a:miter/>
              </a:ln>
            </p:spPr>
            <p:txBody>
              <a:bodyPr rtlCol="0" anchor="ctr"/>
              <a:lstStyle/>
              <a:p>
                <a:endParaRPr lang="en-DK"/>
              </a:p>
            </p:txBody>
          </p:sp>
          <p:sp>
            <p:nvSpPr>
              <p:cNvPr id="166" name="Freeform 165">
                <a:extLst>
                  <a:ext uri="{FF2B5EF4-FFF2-40B4-BE49-F238E27FC236}">
                    <a16:creationId xmlns:a16="http://schemas.microsoft.com/office/drawing/2014/main" id="{EC5EA71A-FD8F-6773-EDB0-F0508921A34E}"/>
                  </a:ext>
                </a:extLst>
              </p:cNvPr>
              <p:cNvSpPr/>
              <p:nvPr/>
            </p:nvSpPr>
            <p:spPr>
              <a:xfrm>
                <a:off x="2987687" y="2533816"/>
                <a:ext cx="454139" cy="353661"/>
              </a:xfrm>
              <a:custGeom>
                <a:avLst/>
                <a:gdLst>
                  <a:gd name="connsiteX0" fmla="*/ 68269 w 454139"/>
                  <a:gd name="connsiteY0" fmla="*/ 0 h 353661"/>
                  <a:gd name="connsiteX1" fmla="*/ 42594 w 454139"/>
                  <a:gd name="connsiteY1" fmla="*/ 31166 h 353661"/>
                  <a:gd name="connsiteX2" fmla="*/ 9944 w 454139"/>
                  <a:gd name="connsiteY2" fmla="*/ 106113 h 353661"/>
                  <a:gd name="connsiteX3" fmla="*/ 0 w 454139"/>
                  <a:gd name="connsiteY3" fmla="*/ 178538 h 353661"/>
                  <a:gd name="connsiteX4" fmla="*/ 13209 w 454139"/>
                  <a:gd name="connsiteY4" fmla="*/ 233153 h 353661"/>
                  <a:gd name="connsiteX5" fmla="*/ 38587 w 454139"/>
                  <a:gd name="connsiteY5" fmla="*/ 281980 h 353661"/>
                  <a:gd name="connsiteX6" fmla="*/ 74057 w 454139"/>
                  <a:gd name="connsiteY6" fmla="*/ 323238 h 353661"/>
                  <a:gd name="connsiteX7" fmla="*/ 108192 w 454139"/>
                  <a:gd name="connsiteY7" fmla="*/ 346093 h 353661"/>
                  <a:gd name="connsiteX8" fmla="*/ 145295 w 454139"/>
                  <a:gd name="connsiteY8" fmla="*/ 353662 h 353661"/>
                  <a:gd name="connsiteX9" fmla="*/ 192638 w 454139"/>
                  <a:gd name="connsiteY9" fmla="*/ 346093 h 353661"/>
                  <a:gd name="connsiteX10" fmla="*/ 247848 w 454139"/>
                  <a:gd name="connsiteY10" fmla="*/ 326800 h 353661"/>
                  <a:gd name="connsiteX11" fmla="*/ 294004 w 454139"/>
                  <a:gd name="connsiteY11" fmla="*/ 308545 h 353661"/>
                  <a:gd name="connsiteX12" fmla="*/ 306915 w 454139"/>
                  <a:gd name="connsiteY12" fmla="*/ 303796 h 353661"/>
                  <a:gd name="connsiteX13" fmla="*/ 333927 w 454139"/>
                  <a:gd name="connsiteY13" fmla="*/ 310029 h 353661"/>
                  <a:gd name="connsiteX14" fmla="*/ 352033 w 454139"/>
                  <a:gd name="connsiteY14" fmla="*/ 326800 h 353661"/>
                  <a:gd name="connsiteX15" fmla="*/ 365093 w 454139"/>
                  <a:gd name="connsiteY15" fmla="*/ 341344 h 353661"/>
                  <a:gd name="connsiteX16" fmla="*/ 383051 w 454139"/>
                  <a:gd name="connsiteY16" fmla="*/ 328135 h 353661"/>
                  <a:gd name="connsiteX17" fmla="*/ 407836 w 454139"/>
                  <a:gd name="connsiteY17" fmla="*/ 325315 h 353661"/>
                  <a:gd name="connsiteX18" fmla="*/ 442416 w 454139"/>
                  <a:gd name="connsiteY18" fmla="*/ 331103 h 353661"/>
                  <a:gd name="connsiteX19" fmla="*/ 454140 w 454139"/>
                  <a:gd name="connsiteY19" fmla="*/ 341344 h 353661"/>
                  <a:gd name="connsiteX20" fmla="*/ 407836 w 454139"/>
                  <a:gd name="connsiteY20" fmla="*/ 252298 h 353661"/>
                  <a:gd name="connsiteX21" fmla="*/ 375630 w 454139"/>
                  <a:gd name="connsiteY21" fmla="*/ 218757 h 353661"/>
                  <a:gd name="connsiteX22" fmla="*/ 342238 w 454139"/>
                  <a:gd name="connsiteY22" fmla="*/ 215047 h 353661"/>
                  <a:gd name="connsiteX23" fmla="*/ 297862 w 454139"/>
                  <a:gd name="connsiteY23" fmla="*/ 228700 h 353661"/>
                  <a:gd name="connsiteX24" fmla="*/ 247848 w 454139"/>
                  <a:gd name="connsiteY24" fmla="*/ 263725 h 353661"/>
                  <a:gd name="connsiteX25" fmla="*/ 191154 w 454139"/>
                  <a:gd name="connsiteY25" fmla="*/ 280792 h 353661"/>
                  <a:gd name="connsiteX26" fmla="*/ 131047 w 454139"/>
                  <a:gd name="connsiteY26" fmla="*/ 272333 h 353661"/>
                  <a:gd name="connsiteX27" fmla="*/ 87118 w 454139"/>
                  <a:gd name="connsiteY27" fmla="*/ 228700 h 353661"/>
                  <a:gd name="connsiteX28" fmla="*/ 74057 w 454139"/>
                  <a:gd name="connsiteY28" fmla="*/ 176757 h 353661"/>
                  <a:gd name="connsiteX29" fmla="*/ 79994 w 454139"/>
                  <a:gd name="connsiteY29" fmla="*/ 132530 h 353661"/>
                  <a:gd name="connsiteX30" fmla="*/ 104037 w 454139"/>
                  <a:gd name="connsiteY30" fmla="*/ 74650 h 353661"/>
                  <a:gd name="connsiteX31" fmla="*/ 122440 w 454139"/>
                  <a:gd name="connsiteY31" fmla="*/ 43633 h 353661"/>
                  <a:gd name="connsiteX32" fmla="*/ 112348 w 454139"/>
                  <a:gd name="connsiteY32" fmla="*/ 19442 h 353661"/>
                  <a:gd name="connsiteX33" fmla="*/ 79994 w 454139"/>
                  <a:gd name="connsiteY33" fmla="*/ 0 h 353661"/>
                  <a:gd name="connsiteX34" fmla="*/ 68269 w 454139"/>
                  <a:gd name="connsiteY34" fmla="*/ 0 h 35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54139" h="353661">
                    <a:moveTo>
                      <a:pt x="68269" y="0"/>
                    </a:moveTo>
                    <a:lnTo>
                      <a:pt x="42594" y="31166"/>
                    </a:lnTo>
                    <a:lnTo>
                      <a:pt x="9944" y="106113"/>
                    </a:lnTo>
                    <a:lnTo>
                      <a:pt x="0" y="178538"/>
                    </a:lnTo>
                    <a:lnTo>
                      <a:pt x="13209" y="233153"/>
                    </a:lnTo>
                    <a:lnTo>
                      <a:pt x="38587" y="281980"/>
                    </a:lnTo>
                    <a:lnTo>
                      <a:pt x="74057" y="323238"/>
                    </a:lnTo>
                    <a:lnTo>
                      <a:pt x="108192" y="346093"/>
                    </a:lnTo>
                    <a:lnTo>
                      <a:pt x="145295" y="353662"/>
                    </a:lnTo>
                    <a:lnTo>
                      <a:pt x="192638" y="346093"/>
                    </a:lnTo>
                    <a:lnTo>
                      <a:pt x="247848" y="326800"/>
                    </a:lnTo>
                    <a:lnTo>
                      <a:pt x="294004" y="308545"/>
                    </a:lnTo>
                    <a:lnTo>
                      <a:pt x="306915" y="303796"/>
                    </a:lnTo>
                    <a:lnTo>
                      <a:pt x="333927" y="310029"/>
                    </a:lnTo>
                    <a:lnTo>
                      <a:pt x="352033" y="326800"/>
                    </a:lnTo>
                    <a:lnTo>
                      <a:pt x="365093" y="341344"/>
                    </a:lnTo>
                    <a:lnTo>
                      <a:pt x="383051" y="328135"/>
                    </a:lnTo>
                    <a:lnTo>
                      <a:pt x="407836" y="325315"/>
                    </a:lnTo>
                    <a:lnTo>
                      <a:pt x="442416" y="331103"/>
                    </a:lnTo>
                    <a:lnTo>
                      <a:pt x="454140" y="341344"/>
                    </a:lnTo>
                    <a:lnTo>
                      <a:pt x="407836" y="252298"/>
                    </a:lnTo>
                    <a:lnTo>
                      <a:pt x="375630" y="218757"/>
                    </a:lnTo>
                    <a:lnTo>
                      <a:pt x="342238" y="215047"/>
                    </a:lnTo>
                    <a:lnTo>
                      <a:pt x="297862" y="228700"/>
                    </a:lnTo>
                    <a:lnTo>
                      <a:pt x="247848" y="263725"/>
                    </a:lnTo>
                    <a:lnTo>
                      <a:pt x="191154" y="280792"/>
                    </a:lnTo>
                    <a:lnTo>
                      <a:pt x="131047" y="272333"/>
                    </a:lnTo>
                    <a:lnTo>
                      <a:pt x="87118" y="228700"/>
                    </a:lnTo>
                    <a:lnTo>
                      <a:pt x="74057" y="176757"/>
                    </a:lnTo>
                    <a:lnTo>
                      <a:pt x="79994" y="132530"/>
                    </a:lnTo>
                    <a:lnTo>
                      <a:pt x="104037" y="74650"/>
                    </a:lnTo>
                    <a:lnTo>
                      <a:pt x="122440" y="43633"/>
                    </a:lnTo>
                    <a:lnTo>
                      <a:pt x="112348" y="19442"/>
                    </a:lnTo>
                    <a:lnTo>
                      <a:pt x="79994" y="0"/>
                    </a:lnTo>
                    <a:lnTo>
                      <a:pt x="68269" y="0"/>
                    </a:lnTo>
                    <a:close/>
                  </a:path>
                </a:pathLst>
              </a:custGeom>
              <a:solidFill>
                <a:srgbClr val="2978FF">
                  <a:alpha val="50000"/>
                </a:srgbClr>
              </a:solidFill>
              <a:ln w="14828" cap="flat">
                <a:noFill/>
                <a:prstDash val="solid"/>
                <a:miter/>
              </a:ln>
            </p:spPr>
            <p:txBody>
              <a:bodyPr rtlCol="0" anchor="ctr"/>
              <a:lstStyle/>
              <a:p>
                <a:endParaRPr lang="en-DK"/>
              </a:p>
            </p:txBody>
          </p:sp>
          <p:sp>
            <p:nvSpPr>
              <p:cNvPr id="167" name="Freeform 166">
                <a:extLst>
                  <a:ext uri="{FF2B5EF4-FFF2-40B4-BE49-F238E27FC236}">
                    <a16:creationId xmlns:a16="http://schemas.microsoft.com/office/drawing/2014/main" id="{9ED5F852-723E-5747-727C-0A94312CFB62}"/>
                  </a:ext>
                </a:extLst>
              </p:cNvPr>
              <p:cNvSpPr/>
              <p:nvPr/>
            </p:nvSpPr>
            <p:spPr>
              <a:xfrm>
                <a:off x="2982344" y="2529660"/>
                <a:ext cx="555505" cy="395216"/>
              </a:xfrm>
              <a:custGeom>
                <a:avLst/>
                <a:gdLst>
                  <a:gd name="connsiteX0" fmla="*/ 510240 w 555505"/>
                  <a:gd name="connsiteY0" fmla="*/ 127781 h 395216"/>
                  <a:gd name="connsiteX1" fmla="*/ 487384 w 555505"/>
                  <a:gd name="connsiteY1" fmla="*/ 113237 h 395216"/>
                  <a:gd name="connsiteX2" fmla="*/ 482784 w 555505"/>
                  <a:gd name="connsiteY2" fmla="*/ 94983 h 395216"/>
                  <a:gd name="connsiteX3" fmla="*/ 510536 w 555505"/>
                  <a:gd name="connsiteY3" fmla="*/ 84297 h 395216"/>
                  <a:gd name="connsiteX4" fmla="*/ 535618 w 555505"/>
                  <a:gd name="connsiteY4" fmla="*/ 101216 h 395216"/>
                  <a:gd name="connsiteX5" fmla="*/ 510091 w 555505"/>
                  <a:gd name="connsiteY5" fmla="*/ 127930 h 395216"/>
                  <a:gd name="connsiteX6" fmla="*/ 474027 w 555505"/>
                  <a:gd name="connsiteY6" fmla="*/ 150488 h 395216"/>
                  <a:gd name="connsiteX7" fmla="*/ 452804 w 555505"/>
                  <a:gd name="connsiteY7" fmla="*/ 161767 h 395216"/>
                  <a:gd name="connsiteX8" fmla="*/ 436034 w 555505"/>
                  <a:gd name="connsiteY8" fmla="*/ 147520 h 395216"/>
                  <a:gd name="connsiteX9" fmla="*/ 464380 w 555505"/>
                  <a:gd name="connsiteY9" fmla="*/ 125852 h 395216"/>
                  <a:gd name="connsiteX10" fmla="*/ 497031 w 555505"/>
                  <a:gd name="connsiteY10" fmla="*/ 136241 h 395216"/>
                  <a:gd name="connsiteX11" fmla="*/ 492282 w 555505"/>
                  <a:gd name="connsiteY11" fmla="*/ 139209 h 395216"/>
                  <a:gd name="connsiteX12" fmla="*/ 474027 w 555505"/>
                  <a:gd name="connsiteY12" fmla="*/ 150488 h 395216"/>
                  <a:gd name="connsiteX13" fmla="*/ 395072 w 555505"/>
                  <a:gd name="connsiteY13" fmla="*/ 184177 h 395216"/>
                  <a:gd name="connsiteX14" fmla="*/ 388245 w 555505"/>
                  <a:gd name="connsiteY14" fmla="*/ 186552 h 395216"/>
                  <a:gd name="connsiteX15" fmla="*/ 375185 w 555505"/>
                  <a:gd name="connsiteY15" fmla="*/ 172156 h 395216"/>
                  <a:gd name="connsiteX16" fmla="*/ 407539 w 555505"/>
                  <a:gd name="connsiteY16" fmla="*/ 155534 h 395216"/>
                  <a:gd name="connsiteX17" fmla="*/ 438557 w 555505"/>
                  <a:gd name="connsiteY17" fmla="*/ 168000 h 395216"/>
                  <a:gd name="connsiteX18" fmla="*/ 395072 w 555505"/>
                  <a:gd name="connsiteY18" fmla="*/ 184177 h 395216"/>
                  <a:gd name="connsiteX19" fmla="*/ 445681 w 555505"/>
                  <a:gd name="connsiteY19" fmla="*/ 326503 h 395216"/>
                  <a:gd name="connsiteX20" fmla="*/ 418076 w 555505"/>
                  <a:gd name="connsiteY20" fmla="*/ 320269 h 395216"/>
                  <a:gd name="connsiteX21" fmla="*/ 369545 w 555505"/>
                  <a:gd name="connsiteY21" fmla="*/ 334962 h 395216"/>
                  <a:gd name="connsiteX22" fmla="*/ 318046 w 555505"/>
                  <a:gd name="connsiteY22" fmla="*/ 300234 h 395216"/>
                  <a:gd name="connsiteX23" fmla="*/ 266102 w 555505"/>
                  <a:gd name="connsiteY23" fmla="*/ 318934 h 395216"/>
                  <a:gd name="connsiteX24" fmla="*/ 168002 w 555505"/>
                  <a:gd name="connsiteY24" fmla="*/ 350248 h 395216"/>
                  <a:gd name="connsiteX25" fmla="*/ 15435 w 555505"/>
                  <a:gd name="connsiteY25" fmla="*/ 177647 h 395216"/>
                  <a:gd name="connsiteX26" fmla="*/ 77916 w 555505"/>
                  <a:gd name="connsiteY26" fmla="*/ 14989 h 395216"/>
                  <a:gd name="connsiteX27" fmla="*/ 120510 w 555505"/>
                  <a:gd name="connsiteY27" fmla="*/ 47343 h 395216"/>
                  <a:gd name="connsiteX28" fmla="*/ 109973 w 555505"/>
                  <a:gd name="connsiteY28" fmla="*/ 66785 h 395216"/>
                  <a:gd name="connsiteX29" fmla="*/ 70496 w 555505"/>
                  <a:gd name="connsiteY29" fmla="*/ 177499 h 395216"/>
                  <a:gd name="connsiteX30" fmla="*/ 178094 w 555505"/>
                  <a:gd name="connsiteY30" fmla="*/ 295040 h 395216"/>
                  <a:gd name="connsiteX31" fmla="*/ 281982 w 555505"/>
                  <a:gd name="connsiteY31" fmla="*/ 254375 h 395216"/>
                  <a:gd name="connsiteX32" fmla="*/ 348174 w 555505"/>
                  <a:gd name="connsiteY32" fmla="*/ 224990 h 395216"/>
                  <a:gd name="connsiteX33" fmla="*/ 445829 w 555505"/>
                  <a:gd name="connsiteY33" fmla="*/ 326354 h 395216"/>
                  <a:gd name="connsiteX34" fmla="*/ 418076 w 555505"/>
                  <a:gd name="connsiteY34" fmla="*/ 380227 h 395216"/>
                  <a:gd name="connsiteX35" fmla="*/ 375482 w 555505"/>
                  <a:gd name="connsiteY35" fmla="*/ 357669 h 395216"/>
                  <a:gd name="connsiteX36" fmla="*/ 418076 w 555505"/>
                  <a:gd name="connsiteY36" fmla="*/ 335111 h 395216"/>
                  <a:gd name="connsiteX37" fmla="*/ 450430 w 555505"/>
                  <a:gd name="connsiteY37" fmla="*/ 356333 h 395216"/>
                  <a:gd name="connsiteX38" fmla="*/ 418076 w 555505"/>
                  <a:gd name="connsiteY38" fmla="*/ 380079 h 395216"/>
                  <a:gd name="connsiteX39" fmla="*/ 185960 w 555505"/>
                  <a:gd name="connsiteY39" fmla="*/ 47788 h 395216"/>
                  <a:gd name="connsiteX40" fmla="*/ 172158 w 555505"/>
                  <a:gd name="connsiteY40" fmla="*/ 85633 h 395216"/>
                  <a:gd name="connsiteX41" fmla="*/ 132532 w 555505"/>
                  <a:gd name="connsiteY41" fmla="*/ 81032 h 395216"/>
                  <a:gd name="connsiteX42" fmla="*/ 137281 w 555505"/>
                  <a:gd name="connsiteY42" fmla="*/ 77619 h 395216"/>
                  <a:gd name="connsiteX43" fmla="*/ 185811 w 555505"/>
                  <a:gd name="connsiteY43" fmla="*/ 47640 h 395216"/>
                  <a:gd name="connsiteX44" fmla="*/ 331552 w 555505"/>
                  <a:gd name="connsiteY44" fmla="*/ 42000 h 395216"/>
                  <a:gd name="connsiteX45" fmla="*/ 318937 w 555505"/>
                  <a:gd name="connsiteY45" fmla="*/ 67081 h 395216"/>
                  <a:gd name="connsiteX46" fmla="*/ 289403 w 555505"/>
                  <a:gd name="connsiteY46" fmla="*/ 78657 h 395216"/>
                  <a:gd name="connsiteX47" fmla="*/ 259275 w 555505"/>
                  <a:gd name="connsiteY47" fmla="*/ 58770 h 395216"/>
                  <a:gd name="connsiteX48" fmla="*/ 258830 w 555505"/>
                  <a:gd name="connsiteY48" fmla="*/ 35025 h 395216"/>
                  <a:gd name="connsiteX49" fmla="*/ 317156 w 555505"/>
                  <a:gd name="connsiteY49" fmla="*/ 39922 h 395216"/>
                  <a:gd name="connsiteX50" fmla="*/ 331403 w 555505"/>
                  <a:gd name="connsiteY50" fmla="*/ 42000 h 395216"/>
                  <a:gd name="connsiteX51" fmla="*/ 450281 w 555505"/>
                  <a:gd name="connsiteY51" fmla="*/ 114424 h 395216"/>
                  <a:gd name="connsiteX52" fmla="*/ 413178 w 555505"/>
                  <a:gd name="connsiteY52" fmla="*/ 88007 h 395216"/>
                  <a:gd name="connsiteX53" fmla="*/ 413475 w 555505"/>
                  <a:gd name="connsiteY53" fmla="*/ 71089 h 395216"/>
                  <a:gd name="connsiteX54" fmla="*/ 452211 w 555505"/>
                  <a:gd name="connsiteY54" fmla="*/ 78806 h 395216"/>
                  <a:gd name="connsiteX55" fmla="*/ 472098 w 555505"/>
                  <a:gd name="connsiteY55" fmla="*/ 110417 h 395216"/>
                  <a:gd name="connsiteX56" fmla="*/ 462006 w 555505"/>
                  <a:gd name="connsiteY56" fmla="*/ 111011 h 395216"/>
                  <a:gd name="connsiteX57" fmla="*/ 450281 w 555505"/>
                  <a:gd name="connsiteY57" fmla="*/ 114424 h 395216"/>
                  <a:gd name="connsiteX58" fmla="*/ 362867 w 555505"/>
                  <a:gd name="connsiteY58" fmla="*/ 163845 h 395216"/>
                  <a:gd name="connsiteX59" fmla="*/ 339566 w 555505"/>
                  <a:gd name="connsiteY59" fmla="*/ 155682 h 395216"/>
                  <a:gd name="connsiteX60" fmla="*/ 330810 w 555505"/>
                  <a:gd name="connsiteY60" fmla="*/ 155534 h 395216"/>
                  <a:gd name="connsiteX61" fmla="*/ 356337 w 555505"/>
                  <a:gd name="connsiteY61" fmla="*/ 131640 h 395216"/>
                  <a:gd name="connsiteX62" fmla="*/ 388245 w 555505"/>
                  <a:gd name="connsiteY62" fmla="*/ 144700 h 395216"/>
                  <a:gd name="connsiteX63" fmla="*/ 362718 w 555505"/>
                  <a:gd name="connsiteY63" fmla="*/ 163845 h 395216"/>
                  <a:gd name="connsiteX64" fmla="*/ 292371 w 555505"/>
                  <a:gd name="connsiteY64" fmla="*/ 203619 h 395216"/>
                  <a:gd name="connsiteX65" fmla="*/ 292816 w 555505"/>
                  <a:gd name="connsiteY65" fmla="*/ 184029 h 395216"/>
                  <a:gd name="connsiteX66" fmla="*/ 337488 w 555505"/>
                  <a:gd name="connsiteY66" fmla="*/ 170672 h 395216"/>
                  <a:gd name="connsiteX67" fmla="*/ 373701 w 555505"/>
                  <a:gd name="connsiteY67" fmla="*/ 192043 h 395216"/>
                  <a:gd name="connsiteX68" fmla="*/ 309587 w 555505"/>
                  <a:gd name="connsiteY68" fmla="*/ 219350 h 395216"/>
                  <a:gd name="connsiteX69" fmla="*/ 292371 w 555505"/>
                  <a:gd name="connsiteY69" fmla="*/ 203767 h 395216"/>
                  <a:gd name="connsiteX70" fmla="*/ 180320 w 555505"/>
                  <a:gd name="connsiteY70" fmla="*/ 249626 h 395216"/>
                  <a:gd name="connsiteX71" fmla="*/ 180320 w 555505"/>
                  <a:gd name="connsiteY71" fmla="*/ 249626 h 395216"/>
                  <a:gd name="connsiteX72" fmla="*/ 214455 w 555505"/>
                  <a:gd name="connsiteY72" fmla="*/ 245767 h 395216"/>
                  <a:gd name="connsiteX73" fmla="*/ 238201 w 555505"/>
                  <a:gd name="connsiteY73" fmla="*/ 263874 h 395216"/>
                  <a:gd name="connsiteX74" fmla="*/ 177649 w 555505"/>
                  <a:gd name="connsiteY74" fmla="*/ 280347 h 395216"/>
                  <a:gd name="connsiteX75" fmla="*/ 154497 w 555505"/>
                  <a:gd name="connsiteY75" fmla="*/ 276637 h 395216"/>
                  <a:gd name="connsiteX76" fmla="*/ 180172 w 555505"/>
                  <a:gd name="connsiteY76" fmla="*/ 249626 h 395216"/>
                  <a:gd name="connsiteX77" fmla="*/ 137429 w 555505"/>
                  <a:gd name="connsiteY77" fmla="*/ 210001 h 395216"/>
                  <a:gd name="connsiteX78" fmla="*/ 138617 w 555505"/>
                  <a:gd name="connsiteY78" fmla="*/ 207032 h 395216"/>
                  <a:gd name="connsiteX79" fmla="*/ 151231 w 555505"/>
                  <a:gd name="connsiteY79" fmla="*/ 208813 h 395216"/>
                  <a:gd name="connsiteX80" fmla="*/ 164737 w 555505"/>
                  <a:gd name="connsiteY80" fmla="*/ 206736 h 395216"/>
                  <a:gd name="connsiteX81" fmla="*/ 166518 w 555505"/>
                  <a:gd name="connsiteY81" fmla="*/ 243541 h 395216"/>
                  <a:gd name="connsiteX82" fmla="*/ 134906 w 555505"/>
                  <a:gd name="connsiteY82" fmla="*/ 267881 h 395216"/>
                  <a:gd name="connsiteX83" fmla="*/ 102552 w 555505"/>
                  <a:gd name="connsiteY83" fmla="*/ 237011 h 395216"/>
                  <a:gd name="connsiteX84" fmla="*/ 137132 w 555505"/>
                  <a:gd name="connsiteY84" fmla="*/ 210001 h 395216"/>
                  <a:gd name="connsiteX85" fmla="*/ 88453 w 555505"/>
                  <a:gd name="connsiteY85" fmla="*/ 150785 h 395216"/>
                  <a:gd name="connsiteX86" fmla="*/ 120362 w 555505"/>
                  <a:gd name="connsiteY86" fmla="*/ 164587 h 395216"/>
                  <a:gd name="connsiteX87" fmla="*/ 124072 w 555505"/>
                  <a:gd name="connsiteY87" fmla="*/ 203322 h 395216"/>
                  <a:gd name="connsiteX88" fmla="*/ 95132 w 555505"/>
                  <a:gd name="connsiteY88" fmla="*/ 222912 h 395216"/>
                  <a:gd name="connsiteX89" fmla="*/ 85337 w 555505"/>
                  <a:gd name="connsiteY89" fmla="*/ 177647 h 395216"/>
                  <a:gd name="connsiteX90" fmla="*/ 88453 w 555505"/>
                  <a:gd name="connsiteY90" fmla="*/ 150785 h 395216"/>
                  <a:gd name="connsiteX91" fmla="*/ 189076 w 555505"/>
                  <a:gd name="connsiteY91" fmla="*/ 90976 h 395216"/>
                  <a:gd name="connsiteX92" fmla="*/ 211932 w 555505"/>
                  <a:gd name="connsiteY92" fmla="*/ 96615 h 395216"/>
                  <a:gd name="connsiteX93" fmla="*/ 213416 w 555505"/>
                  <a:gd name="connsiteY93" fmla="*/ 96615 h 395216"/>
                  <a:gd name="connsiteX94" fmla="*/ 195607 w 555505"/>
                  <a:gd name="connsiteY94" fmla="*/ 130750 h 395216"/>
                  <a:gd name="connsiteX95" fmla="*/ 155832 w 555505"/>
                  <a:gd name="connsiteY95" fmla="*/ 131046 h 395216"/>
                  <a:gd name="connsiteX96" fmla="*/ 156574 w 555505"/>
                  <a:gd name="connsiteY96" fmla="*/ 105223 h 395216"/>
                  <a:gd name="connsiteX97" fmla="*/ 180023 w 555505"/>
                  <a:gd name="connsiteY97" fmla="*/ 98544 h 395216"/>
                  <a:gd name="connsiteX98" fmla="*/ 189076 w 555505"/>
                  <a:gd name="connsiteY98" fmla="*/ 90976 h 395216"/>
                  <a:gd name="connsiteX99" fmla="*/ 234490 w 555505"/>
                  <a:gd name="connsiteY99" fmla="*/ 73166 h 395216"/>
                  <a:gd name="connsiteX100" fmla="*/ 197981 w 555505"/>
                  <a:gd name="connsiteY100" fmla="*/ 78212 h 395216"/>
                  <a:gd name="connsiteX101" fmla="*/ 199762 w 555505"/>
                  <a:gd name="connsiteY101" fmla="*/ 42445 h 395216"/>
                  <a:gd name="connsiteX102" fmla="*/ 242653 w 555505"/>
                  <a:gd name="connsiteY102" fmla="*/ 35322 h 395216"/>
                  <a:gd name="connsiteX103" fmla="*/ 234342 w 555505"/>
                  <a:gd name="connsiteY103" fmla="*/ 73166 h 395216"/>
                  <a:gd name="connsiteX104" fmla="*/ 289700 w 555505"/>
                  <a:gd name="connsiteY104" fmla="*/ 108340 h 395216"/>
                  <a:gd name="connsiteX105" fmla="*/ 255268 w 555505"/>
                  <a:gd name="connsiteY105" fmla="*/ 117838 h 395216"/>
                  <a:gd name="connsiteX106" fmla="*/ 228702 w 555505"/>
                  <a:gd name="connsiteY106" fmla="*/ 100919 h 395216"/>
                  <a:gd name="connsiteX107" fmla="*/ 228702 w 555505"/>
                  <a:gd name="connsiteY107" fmla="*/ 93795 h 395216"/>
                  <a:gd name="connsiteX108" fmla="*/ 244583 w 555505"/>
                  <a:gd name="connsiteY108" fmla="*/ 84445 h 395216"/>
                  <a:gd name="connsiteX109" fmla="*/ 253933 w 555505"/>
                  <a:gd name="connsiteY109" fmla="*/ 72869 h 395216"/>
                  <a:gd name="connsiteX110" fmla="*/ 289700 w 555505"/>
                  <a:gd name="connsiteY110" fmla="*/ 108340 h 395216"/>
                  <a:gd name="connsiteX111" fmla="*/ 268477 w 555505"/>
                  <a:gd name="connsiteY111" fmla="*/ 152121 h 395216"/>
                  <a:gd name="connsiteX112" fmla="*/ 263282 w 555505"/>
                  <a:gd name="connsiteY112" fmla="*/ 130453 h 395216"/>
                  <a:gd name="connsiteX113" fmla="*/ 324280 w 555505"/>
                  <a:gd name="connsiteY113" fmla="*/ 135202 h 395216"/>
                  <a:gd name="connsiteX114" fmla="*/ 315375 w 555505"/>
                  <a:gd name="connsiteY114" fmla="*/ 156870 h 395216"/>
                  <a:gd name="connsiteX115" fmla="*/ 287177 w 555505"/>
                  <a:gd name="connsiteY115" fmla="*/ 169336 h 395216"/>
                  <a:gd name="connsiteX116" fmla="*/ 268477 w 555505"/>
                  <a:gd name="connsiteY116" fmla="*/ 152121 h 395216"/>
                  <a:gd name="connsiteX117" fmla="*/ 178539 w 555505"/>
                  <a:gd name="connsiteY117" fmla="*/ 200799 h 395216"/>
                  <a:gd name="connsiteX118" fmla="*/ 187296 w 555505"/>
                  <a:gd name="connsiteY118" fmla="*/ 193972 h 395216"/>
                  <a:gd name="connsiteX119" fmla="*/ 199465 w 555505"/>
                  <a:gd name="connsiteY119" fmla="*/ 175421 h 395216"/>
                  <a:gd name="connsiteX120" fmla="*/ 224102 w 555505"/>
                  <a:gd name="connsiteY120" fmla="*/ 196792 h 395216"/>
                  <a:gd name="connsiteX121" fmla="*/ 214455 w 555505"/>
                  <a:gd name="connsiteY121" fmla="*/ 230333 h 395216"/>
                  <a:gd name="connsiteX122" fmla="*/ 184773 w 555505"/>
                  <a:gd name="connsiteY122" fmla="*/ 231372 h 395216"/>
                  <a:gd name="connsiteX123" fmla="*/ 178688 w 555505"/>
                  <a:gd name="connsiteY123" fmla="*/ 200651 h 395216"/>
                  <a:gd name="connsiteX124" fmla="*/ 225586 w 555505"/>
                  <a:gd name="connsiteY124" fmla="*/ 115612 h 395216"/>
                  <a:gd name="connsiteX125" fmla="*/ 253042 w 555505"/>
                  <a:gd name="connsiteY125" fmla="*/ 147965 h 395216"/>
                  <a:gd name="connsiteX126" fmla="*/ 213416 w 555505"/>
                  <a:gd name="connsiteY126" fmla="*/ 164142 h 395216"/>
                  <a:gd name="connsiteX127" fmla="*/ 202434 w 555505"/>
                  <a:gd name="connsiteY127" fmla="*/ 160432 h 395216"/>
                  <a:gd name="connsiteX128" fmla="*/ 200949 w 555505"/>
                  <a:gd name="connsiteY128" fmla="*/ 144700 h 395216"/>
                  <a:gd name="connsiteX129" fmla="*/ 203472 w 555505"/>
                  <a:gd name="connsiteY129" fmla="*/ 143364 h 395216"/>
                  <a:gd name="connsiteX130" fmla="*/ 225586 w 555505"/>
                  <a:gd name="connsiteY130" fmla="*/ 115612 h 395216"/>
                  <a:gd name="connsiteX131" fmla="*/ 134906 w 555505"/>
                  <a:gd name="connsiteY131" fmla="*/ 159541 h 395216"/>
                  <a:gd name="connsiteX132" fmla="*/ 149302 w 555505"/>
                  <a:gd name="connsiteY132" fmla="*/ 144997 h 395216"/>
                  <a:gd name="connsiteX133" fmla="*/ 174977 w 555505"/>
                  <a:gd name="connsiteY133" fmla="*/ 151379 h 395216"/>
                  <a:gd name="connsiteX134" fmla="*/ 186553 w 555505"/>
                  <a:gd name="connsiteY134" fmla="*/ 150043 h 395216"/>
                  <a:gd name="connsiteX135" fmla="*/ 176610 w 555505"/>
                  <a:gd name="connsiteY135" fmla="*/ 183138 h 395216"/>
                  <a:gd name="connsiteX136" fmla="*/ 142327 w 555505"/>
                  <a:gd name="connsiteY136" fmla="*/ 192043 h 395216"/>
                  <a:gd name="connsiteX137" fmla="*/ 134906 w 555505"/>
                  <a:gd name="connsiteY137" fmla="*/ 159393 h 395216"/>
                  <a:gd name="connsiteX138" fmla="*/ 239388 w 555505"/>
                  <a:gd name="connsiteY138" fmla="*/ 197386 h 395216"/>
                  <a:gd name="connsiteX139" fmla="*/ 238201 w 555505"/>
                  <a:gd name="connsiteY139" fmla="*/ 192340 h 395216"/>
                  <a:gd name="connsiteX140" fmla="*/ 225883 w 555505"/>
                  <a:gd name="connsiteY140" fmla="*/ 172601 h 395216"/>
                  <a:gd name="connsiteX141" fmla="*/ 261650 w 555505"/>
                  <a:gd name="connsiteY141" fmla="*/ 165626 h 395216"/>
                  <a:gd name="connsiteX142" fmla="*/ 278272 w 555505"/>
                  <a:gd name="connsiteY142" fmla="*/ 197237 h 395216"/>
                  <a:gd name="connsiteX143" fmla="*/ 239388 w 555505"/>
                  <a:gd name="connsiteY143" fmla="*/ 197237 h 395216"/>
                  <a:gd name="connsiteX144" fmla="*/ 329326 w 555505"/>
                  <a:gd name="connsiteY144" fmla="*/ 77915 h 395216"/>
                  <a:gd name="connsiteX145" fmla="*/ 330068 w 555505"/>
                  <a:gd name="connsiteY145" fmla="*/ 77025 h 395216"/>
                  <a:gd name="connsiteX146" fmla="*/ 357375 w 555505"/>
                  <a:gd name="connsiteY146" fmla="*/ 116502 h 395216"/>
                  <a:gd name="connsiteX147" fmla="*/ 353665 w 555505"/>
                  <a:gd name="connsiteY147" fmla="*/ 116799 h 395216"/>
                  <a:gd name="connsiteX148" fmla="*/ 334965 w 555505"/>
                  <a:gd name="connsiteY148" fmla="*/ 124813 h 395216"/>
                  <a:gd name="connsiteX149" fmla="*/ 305431 w 555505"/>
                  <a:gd name="connsiteY149" fmla="*/ 109972 h 395216"/>
                  <a:gd name="connsiteX150" fmla="*/ 299198 w 555505"/>
                  <a:gd name="connsiteY150" fmla="*/ 92905 h 395216"/>
                  <a:gd name="connsiteX151" fmla="*/ 329177 w 555505"/>
                  <a:gd name="connsiteY151" fmla="*/ 77915 h 395216"/>
                  <a:gd name="connsiteX152" fmla="*/ 398634 w 555505"/>
                  <a:gd name="connsiteY152" fmla="*/ 84891 h 395216"/>
                  <a:gd name="connsiteX153" fmla="*/ 364202 w 555505"/>
                  <a:gd name="connsiteY153" fmla="*/ 89640 h 395216"/>
                  <a:gd name="connsiteX154" fmla="*/ 339121 w 555505"/>
                  <a:gd name="connsiteY154" fmla="*/ 65004 h 395216"/>
                  <a:gd name="connsiteX155" fmla="*/ 346393 w 555505"/>
                  <a:gd name="connsiteY155" fmla="*/ 43781 h 395216"/>
                  <a:gd name="connsiteX156" fmla="*/ 379934 w 555505"/>
                  <a:gd name="connsiteY156" fmla="*/ 45265 h 395216"/>
                  <a:gd name="connsiteX157" fmla="*/ 398486 w 555505"/>
                  <a:gd name="connsiteY157" fmla="*/ 85039 h 395216"/>
                  <a:gd name="connsiteX158" fmla="*/ 109676 w 555505"/>
                  <a:gd name="connsiteY158" fmla="*/ 96764 h 395216"/>
                  <a:gd name="connsiteX159" fmla="*/ 120510 w 555505"/>
                  <a:gd name="connsiteY159" fmla="*/ 89640 h 395216"/>
                  <a:gd name="connsiteX160" fmla="*/ 140101 w 555505"/>
                  <a:gd name="connsiteY160" fmla="*/ 102552 h 395216"/>
                  <a:gd name="connsiteX161" fmla="*/ 140991 w 555505"/>
                  <a:gd name="connsiteY161" fmla="*/ 129265 h 395216"/>
                  <a:gd name="connsiteX162" fmla="*/ 125111 w 555505"/>
                  <a:gd name="connsiteY162" fmla="*/ 147965 h 395216"/>
                  <a:gd name="connsiteX163" fmla="*/ 92609 w 555505"/>
                  <a:gd name="connsiteY163" fmla="*/ 135350 h 395216"/>
                  <a:gd name="connsiteX164" fmla="*/ 109825 w 555505"/>
                  <a:gd name="connsiteY164" fmla="*/ 96615 h 395216"/>
                  <a:gd name="connsiteX165" fmla="*/ 273374 w 555505"/>
                  <a:gd name="connsiteY165" fmla="*/ 242057 h 395216"/>
                  <a:gd name="connsiteX166" fmla="*/ 251261 w 555505"/>
                  <a:gd name="connsiteY166" fmla="*/ 256453 h 395216"/>
                  <a:gd name="connsiteX167" fmla="*/ 229890 w 555505"/>
                  <a:gd name="connsiteY167" fmla="*/ 235972 h 395216"/>
                  <a:gd name="connsiteX168" fmla="*/ 239833 w 555505"/>
                  <a:gd name="connsiteY168" fmla="*/ 213266 h 395216"/>
                  <a:gd name="connsiteX169" fmla="*/ 296230 w 555505"/>
                  <a:gd name="connsiteY169" fmla="*/ 226623 h 395216"/>
                  <a:gd name="connsiteX170" fmla="*/ 273671 w 555505"/>
                  <a:gd name="connsiteY170" fmla="*/ 241760 h 395216"/>
                  <a:gd name="connsiteX171" fmla="*/ 273374 w 555505"/>
                  <a:gd name="connsiteY171" fmla="*/ 241909 h 395216"/>
                  <a:gd name="connsiteX172" fmla="*/ 421638 w 555505"/>
                  <a:gd name="connsiteY172" fmla="*/ 142177 h 395216"/>
                  <a:gd name="connsiteX173" fmla="*/ 407093 w 555505"/>
                  <a:gd name="connsiteY173" fmla="*/ 140693 h 395216"/>
                  <a:gd name="connsiteX174" fmla="*/ 403680 w 555505"/>
                  <a:gd name="connsiteY174" fmla="*/ 141287 h 395216"/>
                  <a:gd name="connsiteX175" fmla="*/ 372365 w 555505"/>
                  <a:gd name="connsiteY175" fmla="*/ 117541 h 395216"/>
                  <a:gd name="connsiteX176" fmla="*/ 370139 w 555505"/>
                  <a:gd name="connsiteY176" fmla="*/ 103442 h 395216"/>
                  <a:gd name="connsiteX177" fmla="*/ 437221 w 555505"/>
                  <a:gd name="connsiteY177" fmla="*/ 122290 h 395216"/>
                  <a:gd name="connsiteX178" fmla="*/ 421489 w 555505"/>
                  <a:gd name="connsiteY178" fmla="*/ 142325 h 395216"/>
                  <a:gd name="connsiteX179" fmla="*/ 431878 w 555505"/>
                  <a:gd name="connsiteY179" fmla="*/ 40071 h 395216"/>
                  <a:gd name="connsiteX180" fmla="*/ 476402 w 555505"/>
                  <a:gd name="connsiteY180" fmla="*/ 35025 h 395216"/>
                  <a:gd name="connsiteX181" fmla="*/ 491688 w 555505"/>
                  <a:gd name="connsiteY181" fmla="*/ 50905 h 395216"/>
                  <a:gd name="connsiteX182" fmla="*/ 490352 w 555505"/>
                  <a:gd name="connsiteY182" fmla="*/ 72127 h 395216"/>
                  <a:gd name="connsiteX183" fmla="*/ 475066 w 555505"/>
                  <a:gd name="connsiteY183" fmla="*/ 81180 h 395216"/>
                  <a:gd name="connsiteX184" fmla="*/ 460522 w 555505"/>
                  <a:gd name="connsiteY184" fmla="*/ 66339 h 395216"/>
                  <a:gd name="connsiteX185" fmla="*/ 409171 w 555505"/>
                  <a:gd name="connsiteY185" fmla="*/ 56544 h 395216"/>
                  <a:gd name="connsiteX186" fmla="*/ 401751 w 555505"/>
                  <a:gd name="connsiteY186" fmla="*/ 44375 h 395216"/>
                  <a:gd name="connsiteX187" fmla="*/ 431730 w 555505"/>
                  <a:gd name="connsiteY187" fmla="*/ 39922 h 395216"/>
                  <a:gd name="connsiteX188" fmla="*/ 540664 w 555505"/>
                  <a:gd name="connsiteY188" fmla="*/ 77619 h 395216"/>
                  <a:gd name="connsiteX189" fmla="*/ 540219 w 555505"/>
                  <a:gd name="connsiteY189" fmla="*/ 82813 h 395216"/>
                  <a:gd name="connsiteX190" fmla="*/ 512317 w 555505"/>
                  <a:gd name="connsiteY190" fmla="*/ 69308 h 395216"/>
                  <a:gd name="connsiteX191" fmla="*/ 507271 w 555505"/>
                  <a:gd name="connsiteY191" fmla="*/ 69456 h 395216"/>
                  <a:gd name="connsiteX192" fmla="*/ 505936 w 555505"/>
                  <a:gd name="connsiteY192" fmla="*/ 46156 h 395216"/>
                  <a:gd name="connsiteX193" fmla="*/ 503264 w 555505"/>
                  <a:gd name="connsiteY193" fmla="*/ 40813 h 395216"/>
                  <a:gd name="connsiteX194" fmla="*/ 540516 w 555505"/>
                  <a:gd name="connsiteY194" fmla="*/ 77767 h 395216"/>
                  <a:gd name="connsiteX195" fmla="*/ 478034 w 555505"/>
                  <a:gd name="connsiteY195" fmla="*/ 20035 h 395216"/>
                  <a:gd name="connsiteX196" fmla="*/ 429058 w 555505"/>
                  <a:gd name="connsiteY196" fmla="*/ 25378 h 395216"/>
                  <a:gd name="connsiteX197" fmla="*/ 387948 w 555505"/>
                  <a:gd name="connsiteY197" fmla="*/ 29979 h 395216"/>
                  <a:gd name="connsiteX198" fmla="*/ 319531 w 555505"/>
                  <a:gd name="connsiteY198" fmla="*/ 25081 h 395216"/>
                  <a:gd name="connsiteX199" fmla="*/ 247848 w 555505"/>
                  <a:gd name="connsiteY199" fmla="*/ 20035 h 395216"/>
                  <a:gd name="connsiteX200" fmla="*/ 128524 w 555505"/>
                  <a:gd name="connsiteY200" fmla="*/ 65597 h 395216"/>
                  <a:gd name="connsiteX201" fmla="*/ 127634 w 555505"/>
                  <a:gd name="connsiteY201" fmla="*/ 66191 h 395216"/>
                  <a:gd name="connsiteX202" fmla="*/ 135203 w 555505"/>
                  <a:gd name="connsiteY202" fmla="*/ 47491 h 395216"/>
                  <a:gd name="connsiteX203" fmla="*/ 77619 w 555505"/>
                  <a:gd name="connsiteY203" fmla="*/ 0 h 395216"/>
                  <a:gd name="connsiteX204" fmla="*/ 0 w 555505"/>
                  <a:gd name="connsiteY204" fmla="*/ 177647 h 395216"/>
                  <a:gd name="connsiteX205" fmla="*/ 167557 w 555505"/>
                  <a:gd name="connsiteY205" fmla="*/ 365238 h 395216"/>
                  <a:gd name="connsiteX206" fmla="*/ 272039 w 555505"/>
                  <a:gd name="connsiteY206" fmla="*/ 332439 h 395216"/>
                  <a:gd name="connsiteX207" fmla="*/ 317749 w 555505"/>
                  <a:gd name="connsiteY207" fmla="*/ 315224 h 395216"/>
                  <a:gd name="connsiteX208" fmla="*/ 360344 w 555505"/>
                  <a:gd name="connsiteY208" fmla="*/ 357669 h 395216"/>
                  <a:gd name="connsiteX209" fmla="*/ 417927 w 555505"/>
                  <a:gd name="connsiteY209" fmla="*/ 395217 h 395216"/>
                  <a:gd name="connsiteX210" fmla="*/ 464974 w 555505"/>
                  <a:gd name="connsiteY210" fmla="*/ 360340 h 395216"/>
                  <a:gd name="connsiteX211" fmla="*/ 465419 w 555505"/>
                  <a:gd name="connsiteY211" fmla="*/ 357669 h 395216"/>
                  <a:gd name="connsiteX212" fmla="*/ 362570 w 555505"/>
                  <a:gd name="connsiteY212" fmla="*/ 212078 h 395216"/>
                  <a:gd name="connsiteX213" fmla="*/ 399970 w 555505"/>
                  <a:gd name="connsiteY213" fmla="*/ 198425 h 395216"/>
                  <a:gd name="connsiteX214" fmla="*/ 482041 w 555505"/>
                  <a:gd name="connsiteY214" fmla="*/ 163103 h 395216"/>
                  <a:gd name="connsiteX215" fmla="*/ 499851 w 555505"/>
                  <a:gd name="connsiteY215" fmla="*/ 151972 h 395216"/>
                  <a:gd name="connsiteX216" fmla="*/ 555505 w 555505"/>
                  <a:gd name="connsiteY216" fmla="*/ 77619 h 395216"/>
                  <a:gd name="connsiteX217" fmla="*/ 477886 w 555505"/>
                  <a:gd name="connsiteY217" fmla="*/ 20035 h 395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555505" h="395216">
                    <a:moveTo>
                      <a:pt x="510240" y="127781"/>
                    </a:moveTo>
                    <a:cubicBezTo>
                      <a:pt x="504006" y="120954"/>
                      <a:pt x="496140" y="116057"/>
                      <a:pt x="487384" y="113237"/>
                    </a:cubicBezTo>
                    <a:cubicBezTo>
                      <a:pt x="486790" y="106855"/>
                      <a:pt x="485158" y="100771"/>
                      <a:pt x="482784" y="94983"/>
                    </a:cubicBezTo>
                    <a:cubicBezTo>
                      <a:pt x="489759" y="87265"/>
                      <a:pt x="499999" y="83110"/>
                      <a:pt x="510536" y="84297"/>
                    </a:cubicBezTo>
                    <a:cubicBezTo>
                      <a:pt x="521222" y="85484"/>
                      <a:pt x="530424" y="91866"/>
                      <a:pt x="535618" y="101216"/>
                    </a:cubicBezTo>
                    <a:cubicBezTo>
                      <a:pt x="530572" y="112050"/>
                      <a:pt x="521816" y="120064"/>
                      <a:pt x="510091" y="127930"/>
                    </a:cubicBezTo>
                    <a:moveTo>
                      <a:pt x="474027" y="150488"/>
                    </a:moveTo>
                    <a:cubicBezTo>
                      <a:pt x="467794" y="154495"/>
                      <a:pt x="460522" y="158205"/>
                      <a:pt x="452804" y="161767"/>
                    </a:cubicBezTo>
                    <a:cubicBezTo>
                      <a:pt x="448055" y="155979"/>
                      <a:pt x="442564" y="151082"/>
                      <a:pt x="436034" y="147520"/>
                    </a:cubicBezTo>
                    <a:cubicBezTo>
                      <a:pt x="441377" y="136241"/>
                      <a:pt x="451765" y="127781"/>
                      <a:pt x="464380" y="125852"/>
                    </a:cubicBezTo>
                    <a:cubicBezTo>
                      <a:pt x="476402" y="123923"/>
                      <a:pt x="488423" y="128078"/>
                      <a:pt x="497031" y="136241"/>
                    </a:cubicBezTo>
                    <a:cubicBezTo>
                      <a:pt x="495398" y="137280"/>
                      <a:pt x="493914" y="138170"/>
                      <a:pt x="492282" y="139209"/>
                    </a:cubicBezTo>
                    <a:cubicBezTo>
                      <a:pt x="486494" y="142771"/>
                      <a:pt x="480409" y="146481"/>
                      <a:pt x="474027" y="150488"/>
                    </a:cubicBezTo>
                    <a:moveTo>
                      <a:pt x="395072" y="184177"/>
                    </a:moveTo>
                    <a:cubicBezTo>
                      <a:pt x="392846" y="184919"/>
                      <a:pt x="390471" y="185810"/>
                      <a:pt x="388245" y="186552"/>
                    </a:cubicBezTo>
                    <a:cubicBezTo>
                      <a:pt x="384535" y="181061"/>
                      <a:pt x="380231" y="176311"/>
                      <a:pt x="375185" y="172156"/>
                    </a:cubicBezTo>
                    <a:cubicBezTo>
                      <a:pt x="383051" y="162212"/>
                      <a:pt x="394775" y="155831"/>
                      <a:pt x="407539" y="155534"/>
                    </a:cubicBezTo>
                    <a:cubicBezTo>
                      <a:pt x="418966" y="155237"/>
                      <a:pt x="430246" y="159986"/>
                      <a:pt x="438557" y="168000"/>
                    </a:cubicBezTo>
                    <a:cubicBezTo>
                      <a:pt x="425051" y="173492"/>
                      <a:pt x="410359" y="178686"/>
                      <a:pt x="395072" y="184177"/>
                    </a:cubicBezTo>
                    <a:moveTo>
                      <a:pt x="445681" y="326503"/>
                    </a:moveTo>
                    <a:cubicBezTo>
                      <a:pt x="438557" y="322644"/>
                      <a:pt x="429504" y="320269"/>
                      <a:pt x="418076" y="320269"/>
                    </a:cubicBezTo>
                    <a:cubicBezTo>
                      <a:pt x="391807" y="320269"/>
                      <a:pt x="377411" y="326800"/>
                      <a:pt x="369545" y="334962"/>
                    </a:cubicBezTo>
                    <a:cubicBezTo>
                      <a:pt x="359602" y="315669"/>
                      <a:pt x="338824" y="300234"/>
                      <a:pt x="318046" y="300234"/>
                    </a:cubicBezTo>
                    <a:cubicBezTo>
                      <a:pt x="306322" y="300234"/>
                      <a:pt x="288512" y="308545"/>
                      <a:pt x="266102" y="318934"/>
                    </a:cubicBezTo>
                    <a:cubicBezTo>
                      <a:pt x="235975" y="332884"/>
                      <a:pt x="198426" y="350248"/>
                      <a:pt x="168002" y="350248"/>
                    </a:cubicBezTo>
                    <a:cubicBezTo>
                      <a:pt x="76729" y="350248"/>
                      <a:pt x="15435" y="261054"/>
                      <a:pt x="15435" y="177647"/>
                    </a:cubicBezTo>
                    <a:cubicBezTo>
                      <a:pt x="15435" y="88156"/>
                      <a:pt x="62630" y="14989"/>
                      <a:pt x="77916" y="14989"/>
                    </a:cubicBezTo>
                    <a:cubicBezTo>
                      <a:pt x="113090" y="14989"/>
                      <a:pt x="120510" y="32650"/>
                      <a:pt x="120510" y="47343"/>
                    </a:cubicBezTo>
                    <a:cubicBezTo>
                      <a:pt x="120213" y="50014"/>
                      <a:pt x="114722" y="58919"/>
                      <a:pt x="109973" y="66785"/>
                    </a:cubicBezTo>
                    <a:cubicBezTo>
                      <a:pt x="95132" y="90976"/>
                      <a:pt x="70496" y="131343"/>
                      <a:pt x="70496" y="177499"/>
                    </a:cubicBezTo>
                    <a:cubicBezTo>
                      <a:pt x="70496" y="247845"/>
                      <a:pt x="126150" y="295040"/>
                      <a:pt x="178094" y="295040"/>
                    </a:cubicBezTo>
                    <a:cubicBezTo>
                      <a:pt x="221579" y="295040"/>
                      <a:pt x="253636" y="273372"/>
                      <a:pt x="281982" y="254375"/>
                    </a:cubicBezTo>
                    <a:cubicBezTo>
                      <a:pt x="305431" y="238644"/>
                      <a:pt x="325615" y="224990"/>
                      <a:pt x="348174" y="224990"/>
                    </a:cubicBezTo>
                    <a:cubicBezTo>
                      <a:pt x="388839" y="224990"/>
                      <a:pt x="431581" y="277230"/>
                      <a:pt x="445829" y="326354"/>
                    </a:cubicBezTo>
                    <a:moveTo>
                      <a:pt x="418076" y="380227"/>
                    </a:moveTo>
                    <a:cubicBezTo>
                      <a:pt x="392104" y="380227"/>
                      <a:pt x="375482" y="365386"/>
                      <a:pt x="375482" y="357669"/>
                    </a:cubicBezTo>
                    <a:cubicBezTo>
                      <a:pt x="375482" y="342679"/>
                      <a:pt x="389729" y="335111"/>
                      <a:pt x="418076" y="335111"/>
                    </a:cubicBezTo>
                    <a:cubicBezTo>
                      <a:pt x="442564" y="335111"/>
                      <a:pt x="449836" y="347874"/>
                      <a:pt x="450430" y="356333"/>
                    </a:cubicBezTo>
                    <a:cubicBezTo>
                      <a:pt x="447907" y="361676"/>
                      <a:pt x="437815" y="380079"/>
                      <a:pt x="418076" y="380079"/>
                    </a:cubicBezTo>
                    <a:moveTo>
                      <a:pt x="185960" y="47788"/>
                    </a:moveTo>
                    <a:cubicBezTo>
                      <a:pt x="190709" y="61739"/>
                      <a:pt x="185218" y="77767"/>
                      <a:pt x="172158" y="85633"/>
                    </a:cubicBezTo>
                    <a:cubicBezTo>
                      <a:pt x="159394" y="93498"/>
                      <a:pt x="142920" y="91124"/>
                      <a:pt x="132532" y="81032"/>
                    </a:cubicBezTo>
                    <a:cubicBezTo>
                      <a:pt x="134164" y="79993"/>
                      <a:pt x="135648" y="78806"/>
                      <a:pt x="137281" y="77619"/>
                    </a:cubicBezTo>
                    <a:cubicBezTo>
                      <a:pt x="152864" y="66488"/>
                      <a:pt x="168002" y="55654"/>
                      <a:pt x="185811" y="47640"/>
                    </a:cubicBezTo>
                    <a:moveTo>
                      <a:pt x="331552" y="42000"/>
                    </a:moveTo>
                    <a:cubicBezTo>
                      <a:pt x="330216" y="51498"/>
                      <a:pt x="325912" y="60403"/>
                      <a:pt x="318937" y="67081"/>
                    </a:cubicBezTo>
                    <a:cubicBezTo>
                      <a:pt x="310923" y="74650"/>
                      <a:pt x="300385" y="78657"/>
                      <a:pt x="289403" y="78657"/>
                    </a:cubicBezTo>
                    <a:cubicBezTo>
                      <a:pt x="281389" y="69604"/>
                      <a:pt x="271000" y="62778"/>
                      <a:pt x="259275" y="58770"/>
                    </a:cubicBezTo>
                    <a:cubicBezTo>
                      <a:pt x="261056" y="51053"/>
                      <a:pt x="260908" y="42891"/>
                      <a:pt x="258830" y="35025"/>
                    </a:cubicBezTo>
                    <a:cubicBezTo>
                      <a:pt x="287770" y="35470"/>
                      <a:pt x="302166" y="37548"/>
                      <a:pt x="317156" y="39922"/>
                    </a:cubicBezTo>
                    <a:cubicBezTo>
                      <a:pt x="321757" y="40664"/>
                      <a:pt x="326357" y="41258"/>
                      <a:pt x="331403" y="42000"/>
                    </a:cubicBezTo>
                    <a:moveTo>
                      <a:pt x="450281" y="114424"/>
                    </a:moveTo>
                    <a:cubicBezTo>
                      <a:pt x="440783" y="101661"/>
                      <a:pt x="427723" y="92608"/>
                      <a:pt x="413178" y="88007"/>
                    </a:cubicBezTo>
                    <a:cubicBezTo>
                      <a:pt x="414217" y="82368"/>
                      <a:pt x="414217" y="76580"/>
                      <a:pt x="413475" y="71089"/>
                    </a:cubicBezTo>
                    <a:cubicBezTo>
                      <a:pt x="426832" y="68269"/>
                      <a:pt x="440931" y="70792"/>
                      <a:pt x="452211" y="78806"/>
                    </a:cubicBezTo>
                    <a:cubicBezTo>
                      <a:pt x="462896" y="86375"/>
                      <a:pt x="469723" y="97802"/>
                      <a:pt x="472098" y="110417"/>
                    </a:cubicBezTo>
                    <a:cubicBezTo>
                      <a:pt x="468684" y="110417"/>
                      <a:pt x="465419" y="110417"/>
                      <a:pt x="462006" y="111011"/>
                    </a:cubicBezTo>
                    <a:cubicBezTo>
                      <a:pt x="457999" y="111605"/>
                      <a:pt x="453992" y="112940"/>
                      <a:pt x="450281" y="114424"/>
                    </a:cubicBezTo>
                    <a:moveTo>
                      <a:pt x="362867" y="163845"/>
                    </a:moveTo>
                    <a:cubicBezTo>
                      <a:pt x="355595" y="159986"/>
                      <a:pt x="347877" y="156870"/>
                      <a:pt x="339566" y="155682"/>
                    </a:cubicBezTo>
                    <a:cubicBezTo>
                      <a:pt x="336598" y="155237"/>
                      <a:pt x="333778" y="155534"/>
                      <a:pt x="330810" y="155534"/>
                    </a:cubicBezTo>
                    <a:cubicBezTo>
                      <a:pt x="333927" y="143513"/>
                      <a:pt x="343722" y="134014"/>
                      <a:pt x="356337" y="131640"/>
                    </a:cubicBezTo>
                    <a:cubicBezTo>
                      <a:pt x="368803" y="129414"/>
                      <a:pt x="381121" y="134757"/>
                      <a:pt x="388245" y="144700"/>
                    </a:cubicBezTo>
                    <a:cubicBezTo>
                      <a:pt x="378153" y="148559"/>
                      <a:pt x="369397" y="155089"/>
                      <a:pt x="362718" y="163845"/>
                    </a:cubicBezTo>
                    <a:moveTo>
                      <a:pt x="292371" y="203619"/>
                    </a:moveTo>
                    <a:cubicBezTo>
                      <a:pt x="294004" y="197089"/>
                      <a:pt x="294152" y="190410"/>
                      <a:pt x="292816" y="184029"/>
                    </a:cubicBezTo>
                    <a:cubicBezTo>
                      <a:pt x="304986" y="173492"/>
                      <a:pt x="321311" y="168297"/>
                      <a:pt x="337488" y="170672"/>
                    </a:cubicBezTo>
                    <a:cubicBezTo>
                      <a:pt x="351884" y="172750"/>
                      <a:pt x="364796" y="180764"/>
                      <a:pt x="373701" y="192043"/>
                    </a:cubicBezTo>
                    <a:cubicBezTo>
                      <a:pt x="352181" y="199909"/>
                      <a:pt x="330068" y="208665"/>
                      <a:pt x="309587" y="219350"/>
                    </a:cubicBezTo>
                    <a:cubicBezTo>
                      <a:pt x="304689" y="212969"/>
                      <a:pt x="298901" y="207774"/>
                      <a:pt x="292371" y="203767"/>
                    </a:cubicBezTo>
                    <a:moveTo>
                      <a:pt x="180320" y="249626"/>
                    </a:moveTo>
                    <a:cubicBezTo>
                      <a:pt x="180320" y="249626"/>
                      <a:pt x="180320" y="249626"/>
                      <a:pt x="180320" y="249626"/>
                    </a:cubicBezTo>
                    <a:cubicBezTo>
                      <a:pt x="190709" y="243838"/>
                      <a:pt x="203027" y="242354"/>
                      <a:pt x="214455" y="245767"/>
                    </a:cubicBezTo>
                    <a:cubicBezTo>
                      <a:pt x="224399" y="248736"/>
                      <a:pt x="232710" y="255266"/>
                      <a:pt x="238201" y="263874"/>
                    </a:cubicBezTo>
                    <a:cubicBezTo>
                      <a:pt x="220243" y="273372"/>
                      <a:pt x="200801" y="280347"/>
                      <a:pt x="177649" y="280347"/>
                    </a:cubicBezTo>
                    <a:cubicBezTo>
                      <a:pt x="169931" y="280347"/>
                      <a:pt x="162214" y="279011"/>
                      <a:pt x="154497" y="276637"/>
                    </a:cubicBezTo>
                    <a:cubicBezTo>
                      <a:pt x="165627" y="270700"/>
                      <a:pt x="174977" y="261499"/>
                      <a:pt x="180172" y="249626"/>
                    </a:cubicBezTo>
                    <a:moveTo>
                      <a:pt x="137429" y="210001"/>
                    </a:moveTo>
                    <a:cubicBezTo>
                      <a:pt x="137874" y="208962"/>
                      <a:pt x="138320" y="208071"/>
                      <a:pt x="138617" y="207032"/>
                    </a:cubicBezTo>
                    <a:cubicBezTo>
                      <a:pt x="142772" y="208071"/>
                      <a:pt x="147076" y="208813"/>
                      <a:pt x="151231" y="208813"/>
                    </a:cubicBezTo>
                    <a:cubicBezTo>
                      <a:pt x="155832" y="208813"/>
                      <a:pt x="160285" y="207923"/>
                      <a:pt x="164737" y="206736"/>
                    </a:cubicBezTo>
                    <a:cubicBezTo>
                      <a:pt x="170822" y="218015"/>
                      <a:pt x="171861" y="231668"/>
                      <a:pt x="166518" y="243541"/>
                    </a:cubicBezTo>
                    <a:cubicBezTo>
                      <a:pt x="160730" y="256453"/>
                      <a:pt x="148857" y="265506"/>
                      <a:pt x="134906" y="267881"/>
                    </a:cubicBezTo>
                    <a:cubicBezTo>
                      <a:pt x="122440" y="260460"/>
                      <a:pt x="111160" y="250071"/>
                      <a:pt x="102552" y="237011"/>
                    </a:cubicBezTo>
                    <a:cubicBezTo>
                      <a:pt x="117394" y="233598"/>
                      <a:pt x="130306" y="223803"/>
                      <a:pt x="137132" y="210001"/>
                    </a:cubicBezTo>
                    <a:moveTo>
                      <a:pt x="88453" y="150785"/>
                    </a:moveTo>
                    <a:cubicBezTo>
                      <a:pt x="100623" y="149894"/>
                      <a:pt x="112793" y="154792"/>
                      <a:pt x="120362" y="164587"/>
                    </a:cubicBezTo>
                    <a:cubicBezTo>
                      <a:pt x="128821" y="175569"/>
                      <a:pt x="130306" y="190856"/>
                      <a:pt x="124072" y="203322"/>
                    </a:cubicBezTo>
                    <a:cubicBezTo>
                      <a:pt x="118433" y="214453"/>
                      <a:pt x="107450" y="221725"/>
                      <a:pt x="95132" y="222912"/>
                    </a:cubicBezTo>
                    <a:cubicBezTo>
                      <a:pt x="89047" y="209555"/>
                      <a:pt x="85337" y="194418"/>
                      <a:pt x="85337" y="177647"/>
                    </a:cubicBezTo>
                    <a:cubicBezTo>
                      <a:pt x="85337" y="168446"/>
                      <a:pt x="86524" y="159393"/>
                      <a:pt x="88453" y="150785"/>
                    </a:cubicBezTo>
                    <a:moveTo>
                      <a:pt x="189076" y="90976"/>
                    </a:moveTo>
                    <a:cubicBezTo>
                      <a:pt x="196200" y="94686"/>
                      <a:pt x="204066" y="96615"/>
                      <a:pt x="211932" y="96615"/>
                    </a:cubicBezTo>
                    <a:cubicBezTo>
                      <a:pt x="212377" y="96615"/>
                      <a:pt x="212971" y="96615"/>
                      <a:pt x="213416" y="96615"/>
                    </a:cubicBezTo>
                    <a:cubicBezTo>
                      <a:pt x="213713" y="110269"/>
                      <a:pt x="207331" y="123329"/>
                      <a:pt x="195607" y="130750"/>
                    </a:cubicBezTo>
                    <a:cubicBezTo>
                      <a:pt x="183437" y="138318"/>
                      <a:pt x="168150" y="138170"/>
                      <a:pt x="155832" y="131046"/>
                    </a:cubicBezTo>
                    <a:cubicBezTo>
                      <a:pt x="158207" y="122587"/>
                      <a:pt x="158504" y="113831"/>
                      <a:pt x="156574" y="105223"/>
                    </a:cubicBezTo>
                    <a:cubicBezTo>
                      <a:pt x="164589" y="105075"/>
                      <a:pt x="172751" y="102997"/>
                      <a:pt x="180023" y="98544"/>
                    </a:cubicBezTo>
                    <a:cubicBezTo>
                      <a:pt x="183437" y="96467"/>
                      <a:pt x="186405" y="93795"/>
                      <a:pt x="189076" y="90976"/>
                    </a:cubicBezTo>
                    <a:moveTo>
                      <a:pt x="234490" y="73166"/>
                    </a:moveTo>
                    <a:cubicBezTo>
                      <a:pt x="224399" y="82219"/>
                      <a:pt x="210003" y="83703"/>
                      <a:pt x="197981" y="78212"/>
                    </a:cubicBezTo>
                    <a:cubicBezTo>
                      <a:pt x="203176" y="67081"/>
                      <a:pt x="203918" y="54170"/>
                      <a:pt x="199762" y="42445"/>
                    </a:cubicBezTo>
                    <a:cubicBezTo>
                      <a:pt x="212377" y="38290"/>
                      <a:pt x="226476" y="35767"/>
                      <a:pt x="242653" y="35322"/>
                    </a:cubicBezTo>
                    <a:cubicBezTo>
                      <a:pt x="247996" y="48382"/>
                      <a:pt x="245028" y="63668"/>
                      <a:pt x="234342" y="73166"/>
                    </a:cubicBezTo>
                    <a:moveTo>
                      <a:pt x="289700" y="108340"/>
                    </a:moveTo>
                    <a:cubicBezTo>
                      <a:pt x="277827" y="108340"/>
                      <a:pt x="265954" y="111605"/>
                      <a:pt x="255268" y="117838"/>
                    </a:cubicBezTo>
                    <a:cubicBezTo>
                      <a:pt x="248441" y="109824"/>
                      <a:pt x="239388" y="104036"/>
                      <a:pt x="228702" y="100919"/>
                    </a:cubicBezTo>
                    <a:cubicBezTo>
                      <a:pt x="228702" y="98544"/>
                      <a:pt x="228851" y="96170"/>
                      <a:pt x="228702" y="93795"/>
                    </a:cubicBezTo>
                    <a:cubicBezTo>
                      <a:pt x="234490" y="91718"/>
                      <a:pt x="239833" y="88601"/>
                      <a:pt x="244583" y="84445"/>
                    </a:cubicBezTo>
                    <a:cubicBezTo>
                      <a:pt x="248293" y="81032"/>
                      <a:pt x="251409" y="77173"/>
                      <a:pt x="253933" y="72869"/>
                    </a:cubicBezTo>
                    <a:cubicBezTo>
                      <a:pt x="270852" y="78361"/>
                      <a:pt x="284208" y="91569"/>
                      <a:pt x="289700" y="108340"/>
                    </a:cubicBezTo>
                    <a:moveTo>
                      <a:pt x="268477" y="152121"/>
                    </a:moveTo>
                    <a:cubicBezTo>
                      <a:pt x="268180" y="144403"/>
                      <a:pt x="266399" y="137131"/>
                      <a:pt x="263282" y="130453"/>
                    </a:cubicBezTo>
                    <a:cubicBezTo>
                      <a:pt x="282724" y="119322"/>
                      <a:pt x="306915" y="121251"/>
                      <a:pt x="324280" y="135202"/>
                    </a:cubicBezTo>
                    <a:cubicBezTo>
                      <a:pt x="319531" y="141435"/>
                      <a:pt x="316414" y="148856"/>
                      <a:pt x="315375" y="156870"/>
                    </a:cubicBezTo>
                    <a:cubicBezTo>
                      <a:pt x="305135" y="158947"/>
                      <a:pt x="295636" y="163103"/>
                      <a:pt x="287177" y="169336"/>
                    </a:cubicBezTo>
                    <a:cubicBezTo>
                      <a:pt x="282873" y="162064"/>
                      <a:pt x="276491" y="156128"/>
                      <a:pt x="268477" y="152121"/>
                    </a:cubicBezTo>
                    <a:moveTo>
                      <a:pt x="178539" y="200799"/>
                    </a:moveTo>
                    <a:cubicBezTo>
                      <a:pt x="181656" y="198870"/>
                      <a:pt x="184624" y="196644"/>
                      <a:pt x="187296" y="193972"/>
                    </a:cubicBezTo>
                    <a:cubicBezTo>
                      <a:pt x="192787" y="188629"/>
                      <a:pt x="196794" y="182248"/>
                      <a:pt x="199465" y="175421"/>
                    </a:cubicBezTo>
                    <a:cubicBezTo>
                      <a:pt x="210893" y="177647"/>
                      <a:pt x="220391" y="185513"/>
                      <a:pt x="224102" y="196792"/>
                    </a:cubicBezTo>
                    <a:cubicBezTo>
                      <a:pt x="227961" y="208962"/>
                      <a:pt x="223953" y="222022"/>
                      <a:pt x="214455" y="230333"/>
                    </a:cubicBezTo>
                    <a:cubicBezTo>
                      <a:pt x="204511" y="228107"/>
                      <a:pt x="194419" y="228552"/>
                      <a:pt x="184773" y="231372"/>
                    </a:cubicBezTo>
                    <a:cubicBezTo>
                      <a:pt x="185663" y="220835"/>
                      <a:pt x="183585" y="210149"/>
                      <a:pt x="178688" y="200651"/>
                    </a:cubicBezTo>
                    <a:moveTo>
                      <a:pt x="225586" y="115612"/>
                    </a:moveTo>
                    <a:cubicBezTo>
                      <a:pt x="240278" y="120361"/>
                      <a:pt x="250816" y="132827"/>
                      <a:pt x="253042" y="147965"/>
                    </a:cubicBezTo>
                    <a:cubicBezTo>
                      <a:pt x="238201" y="146481"/>
                      <a:pt x="223211" y="152417"/>
                      <a:pt x="213416" y="164142"/>
                    </a:cubicBezTo>
                    <a:cubicBezTo>
                      <a:pt x="210003" y="162509"/>
                      <a:pt x="206292" y="161174"/>
                      <a:pt x="202434" y="160432"/>
                    </a:cubicBezTo>
                    <a:cubicBezTo>
                      <a:pt x="202730" y="155237"/>
                      <a:pt x="202285" y="149894"/>
                      <a:pt x="200949" y="144700"/>
                    </a:cubicBezTo>
                    <a:cubicBezTo>
                      <a:pt x="201840" y="144255"/>
                      <a:pt x="202582" y="143810"/>
                      <a:pt x="203472" y="143364"/>
                    </a:cubicBezTo>
                    <a:cubicBezTo>
                      <a:pt x="214010" y="136834"/>
                      <a:pt x="221579" y="126742"/>
                      <a:pt x="225586" y="115612"/>
                    </a:cubicBezTo>
                    <a:moveTo>
                      <a:pt x="134906" y="159541"/>
                    </a:moveTo>
                    <a:cubicBezTo>
                      <a:pt x="140694" y="155682"/>
                      <a:pt x="145592" y="150785"/>
                      <a:pt x="149302" y="144997"/>
                    </a:cubicBezTo>
                    <a:cubicBezTo>
                      <a:pt x="157316" y="149301"/>
                      <a:pt x="166073" y="151379"/>
                      <a:pt x="174977" y="151379"/>
                    </a:cubicBezTo>
                    <a:cubicBezTo>
                      <a:pt x="178836" y="151379"/>
                      <a:pt x="182843" y="150785"/>
                      <a:pt x="186553" y="150043"/>
                    </a:cubicBezTo>
                    <a:cubicBezTo>
                      <a:pt x="188928" y="162064"/>
                      <a:pt x="185663" y="174382"/>
                      <a:pt x="176610" y="183138"/>
                    </a:cubicBezTo>
                    <a:cubicBezTo>
                      <a:pt x="167408" y="192191"/>
                      <a:pt x="154497" y="195160"/>
                      <a:pt x="142327" y="192043"/>
                    </a:cubicBezTo>
                    <a:cubicBezTo>
                      <a:pt x="143514" y="180764"/>
                      <a:pt x="140991" y="169188"/>
                      <a:pt x="134906" y="159393"/>
                    </a:cubicBezTo>
                    <a:moveTo>
                      <a:pt x="239388" y="197386"/>
                    </a:moveTo>
                    <a:cubicBezTo>
                      <a:pt x="239091" y="195753"/>
                      <a:pt x="238795" y="194121"/>
                      <a:pt x="238201" y="192340"/>
                    </a:cubicBezTo>
                    <a:cubicBezTo>
                      <a:pt x="235826" y="184622"/>
                      <a:pt x="231374" y="177944"/>
                      <a:pt x="225883" y="172601"/>
                    </a:cubicBezTo>
                    <a:cubicBezTo>
                      <a:pt x="234787" y="162658"/>
                      <a:pt x="249332" y="159541"/>
                      <a:pt x="261650" y="165626"/>
                    </a:cubicBezTo>
                    <a:cubicBezTo>
                      <a:pt x="273671" y="171562"/>
                      <a:pt x="280053" y="184474"/>
                      <a:pt x="278272" y="197237"/>
                    </a:cubicBezTo>
                    <a:cubicBezTo>
                      <a:pt x="265805" y="193230"/>
                      <a:pt x="252151" y="193082"/>
                      <a:pt x="239388" y="197237"/>
                    </a:cubicBezTo>
                    <a:moveTo>
                      <a:pt x="329326" y="77915"/>
                    </a:moveTo>
                    <a:cubicBezTo>
                      <a:pt x="329326" y="77915"/>
                      <a:pt x="329771" y="77322"/>
                      <a:pt x="330068" y="77025"/>
                    </a:cubicBezTo>
                    <a:cubicBezTo>
                      <a:pt x="345503" y="84445"/>
                      <a:pt x="356040" y="99435"/>
                      <a:pt x="357375" y="116502"/>
                    </a:cubicBezTo>
                    <a:cubicBezTo>
                      <a:pt x="356188" y="116502"/>
                      <a:pt x="355001" y="116502"/>
                      <a:pt x="353665" y="116799"/>
                    </a:cubicBezTo>
                    <a:cubicBezTo>
                      <a:pt x="346690" y="118135"/>
                      <a:pt x="340456" y="120954"/>
                      <a:pt x="334965" y="124813"/>
                    </a:cubicBezTo>
                    <a:cubicBezTo>
                      <a:pt x="326209" y="117393"/>
                      <a:pt x="316117" y="112347"/>
                      <a:pt x="305431" y="109972"/>
                    </a:cubicBezTo>
                    <a:cubicBezTo>
                      <a:pt x="304096" y="104036"/>
                      <a:pt x="302018" y="98248"/>
                      <a:pt x="299198" y="92905"/>
                    </a:cubicBezTo>
                    <a:cubicBezTo>
                      <a:pt x="310329" y="90976"/>
                      <a:pt x="320866" y="85781"/>
                      <a:pt x="329177" y="77915"/>
                    </a:cubicBezTo>
                    <a:moveTo>
                      <a:pt x="398634" y="84891"/>
                    </a:moveTo>
                    <a:cubicBezTo>
                      <a:pt x="387206" y="83703"/>
                      <a:pt x="375482" y="85336"/>
                      <a:pt x="364202" y="89640"/>
                    </a:cubicBezTo>
                    <a:cubicBezTo>
                      <a:pt x="358414" y="79400"/>
                      <a:pt x="349806" y="70643"/>
                      <a:pt x="339121" y="65004"/>
                    </a:cubicBezTo>
                    <a:cubicBezTo>
                      <a:pt x="342831" y="58474"/>
                      <a:pt x="345354" y="51202"/>
                      <a:pt x="346393" y="43781"/>
                    </a:cubicBezTo>
                    <a:cubicBezTo>
                      <a:pt x="355446" y="44523"/>
                      <a:pt x="366280" y="44968"/>
                      <a:pt x="379934" y="45265"/>
                    </a:cubicBezTo>
                    <a:cubicBezTo>
                      <a:pt x="393736" y="53576"/>
                      <a:pt x="401008" y="69456"/>
                      <a:pt x="398486" y="85039"/>
                    </a:cubicBezTo>
                    <a:moveTo>
                      <a:pt x="109676" y="96764"/>
                    </a:moveTo>
                    <a:cubicBezTo>
                      <a:pt x="113387" y="94537"/>
                      <a:pt x="116948" y="92163"/>
                      <a:pt x="120510" y="89640"/>
                    </a:cubicBezTo>
                    <a:cubicBezTo>
                      <a:pt x="126001" y="95576"/>
                      <a:pt x="132680" y="100029"/>
                      <a:pt x="140101" y="102552"/>
                    </a:cubicBezTo>
                    <a:cubicBezTo>
                      <a:pt x="143663" y="111011"/>
                      <a:pt x="144108" y="120658"/>
                      <a:pt x="140991" y="129265"/>
                    </a:cubicBezTo>
                    <a:cubicBezTo>
                      <a:pt x="138023" y="137280"/>
                      <a:pt x="132383" y="143810"/>
                      <a:pt x="125111" y="147965"/>
                    </a:cubicBezTo>
                    <a:cubicBezTo>
                      <a:pt x="116058" y="140099"/>
                      <a:pt x="104482" y="135647"/>
                      <a:pt x="92609" y="135350"/>
                    </a:cubicBezTo>
                    <a:cubicBezTo>
                      <a:pt x="97210" y="121251"/>
                      <a:pt x="103443" y="108191"/>
                      <a:pt x="109825" y="96615"/>
                    </a:cubicBezTo>
                    <a:moveTo>
                      <a:pt x="273374" y="242057"/>
                    </a:moveTo>
                    <a:cubicBezTo>
                      <a:pt x="266102" y="246955"/>
                      <a:pt x="258830" y="251852"/>
                      <a:pt x="251261" y="256453"/>
                    </a:cubicBezTo>
                    <a:cubicBezTo>
                      <a:pt x="245918" y="247994"/>
                      <a:pt x="238646" y="240870"/>
                      <a:pt x="229890" y="235972"/>
                    </a:cubicBezTo>
                    <a:cubicBezTo>
                      <a:pt x="235233" y="229442"/>
                      <a:pt x="238646" y="221577"/>
                      <a:pt x="239833" y="213266"/>
                    </a:cubicBezTo>
                    <a:cubicBezTo>
                      <a:pt x="259424" y="204658"/>
                      <a:pt x="282428" y="210001"/>
                      <a:pt x="296230" y="226623"/>
                    </a:cubicBezTo>
                    <a:cubicBezTo>
                      <a:pt x="288364" y="231372"/>
                      <a:pt x="280647" y="236269"/>
                      <a:pt x="273671" y="241760"/>
                    </a:cubicBezTo>
                    <a:cubicBezTo>
                      <a:pt x="273671" y="241760"/>
                      <a:pt x="273374" y="241760"/>
                      <a:pt x="273374" y="241909"/>
                    </a:cubicBezTo>
                    <a:moveTo>
                      <a:pt x="421638" y="142177"/>
                    </a:moveTo>
                    <a:cubicBezTo>
                      <a:pt x="416889" y="141138"/>
                      <a:pt x="412139" y="140545"/>
                      <a:pt x="407093" y="140693"/>
                    </a:cubicBezTo>
                    <a:cubicBezTo>
                      <a:pt x="405906" y="140693"/>
                      <a:pt x="404867" y="141138"/>
                      <a:pt x="403680" y="141287"/>
                    </a:cubicBezTo>
                    <a:cubicBezTo>
                      <a:pt x="397150" y="128969"/>
                      <a:pt x="385574" y="120509"/>
                      <a:pt x="372365" y="117541"/>
                    </a:cubicBezTo>
                    <a:cubicBezTo>
                      <a:pt x="372068" y="112792"/>
                      <a:pt x="371475" y="107894"/>
                      <a:pt x="370139" y="103442"/>
                    </a:cubicBezTo>
                    <a:cubicBezTo>
                      <a:pt x="394182" y="94537"/>
                      <a:pt x="421489" y="102106"/>
                      <a:pt x="437221" y="122290"/>
                    </a:cubicBezTo>
                    <a:cubicBezTo>
                      <a:pt x="430543" y="127633"/>
                      <a:pt x="425051" y="134460"/>
                      <a:pt x="421489" y="142325"/>
                    </a:cubicBezTo>
                    <a:moveTo>
                      <a:pt x="431878" y="40071"/>
                    </a:moveTo>
                    <a:cubicBezTo>
                      <a:pt x="444345" y="37696"/>
                      <a:pt x="457405" y="35173"/>
                      <a:pt x="476402" y="35025"/>
                    </a:cubicBezTo>
                    <a:cubicBezTo>
                      <a:pt x="483525" y="37993"/>
                      <a:pt x="489165" y="43633"/>
                      <a:pt x="491688" y="50905"/>
                    </a:cubicBezTo>
                    <a:cubicBezTo>
                      <a:pt x="494211" y="57880"/>
                      <a:pt x="493618" y="65449"/>
                      <a:pt x="490352" y="72127"/>
                    </a:cubicBezTo>
                    <a:cubicBezTo>
                      <a:pt x="484713" y="74205"/>
                      <a:pt x="479667" y="77173"/>
                      <a:pt x="475066" y="81180"/>
                    </a:cubicBezTo>
                    <a:cubicBezTo>
                      <a:pt x="471059" y="75689"/>
                      <a:pt x="466310" y="70495"/>
                      <a:pt x="460522" y="66339"/>
                    </a:cubicBezTo>
                    <a:cubicBezTo>
                      <a:pt x="445532" y="55802"/>
                      <a:pt x="426832" y="52537"/>
                      <a:pt x="409171" y="56544"/>
                    </a:cubicBezTo>
                    <a:cubicBezTo>
                      <a:pt x="407242" y="52240"/>
                      <a:pt x="404719" y="48085"/>
                      <a:pt x="401751" y="44375"/>
                    </a:cubicBezTo>
                    <a:cubicBezTo>
                      <a:pt x="413178" y="43484"/>
                      <a:pt x="422528" y="41703"/>
                      <a:pt x="431730" y="39922"/>
                    </a:cubicBezTo>
                    <a:moveTo>
                      <a:pt x="540664" y="77619"/>
                    </a:moveTo>
                    <a:cubicBezTo>
                      <a:pt x="540664" y="79400"/>
                      <a:pt x="540367" y="81032"/>
                      <a:pt x="540219" y="82813"/>
                    </a:cubicBezTo>
                    <a:cubicBezTo>
                      <a:pt x="532650" y="75541"/>
                      <a:pt x="523003" y="70495"/>
                      <a:pt x="512317" y="69308"/>
                    </a:cubicBezTo>
                    <a:cubicBezTo>
                      <a:pt x="510685" y="69159"/>
                      <a:pt x="508904" y="69456"/>
                      <a:pt x="507271" y="69456"/>
                    </a:cubicBezTo>
                    <a:cubicBezTo>
                      <a:pt x="508904" y="61739"/>
                      <a:pt x="508756" y="53725"/>
                      <a:pt x="505936" y="46156"/>
                    </a:cubicBezTo>
                    <a:cubicBezTo>
                      <a:pt x="505194" y="44226"/>
                      <a:pt x="504303" y="42594"/>
                      <a:pt x="503264" y="40813"/>
                    </a:cubicBezTo>
                    <a:cubicBezTo>
                      <a:pt x="521964" y="47937"/>
                      <a:pt x="540516" y="61293"/>
                      <a:pt x="540516" y="77767"/>
                    </a:cubicBezTo>
                    <a:moveTo>
                      <a:pt x="478034" y="20035"/>
                    </a:moveTo>
                    <a:cubicBezTo>
                      <a:pt x="456663" y="20035"/>
                      <a:pt x="442564" y="22707"/>
                      <a:pt x="429058" y="25378"/>
                    </a:cubicBezTo>
                    <a:cubicBezTo>
                      <a:pt x="416592" y="27753"/>
                      <a:pt x="404867" y="29979"/>
                      <a:pt x="387948" y="29979"/>
                    </a:cubicBezTo>
                    <a:cubicBezTo>
                      <a:pt x="351884" y="29979"/>
                      <a:pt x="336153" y="27604"/>
                      <a:pt x="319531" y="25081"/>
                    </a:cubicBezTo>
                    <a:cubicBezTo>
                      <a:pt x="302908" y="22558"/>
                      <a:pt x="285693" y="20035"/>
                      <a:pt x="247848" y="20035"/>
                    </a:cubicBezTo>
                    <a:cubicBezTo>
                      <a:pt x="192193" y="20035"/>
                      <a:pt x="159839" y="43187"/>
                      <a:pt x="128524" y="65597"/>
                    </a:cubicBezTo>
                    <a:cubicBezTo>
                      <a:pt x="128228" y="65746"/>
                      <a:pt x="127931" y="66043"/>
                      <a:pt x="127634" y="66191"/>
                    </a:cubicBezTo>
                    <a:cubicBezTo>
                      <a:pt x="132383" y="58028"/>
                      <a:pt x="135203" y="52389"/>
                      <a:pt x="135203" y="47491"/>
                    </a:cubicBezTo>
                    <a:cubicBezTo>
                      <a:pt x="135203" y="36361"/>
                      <a:pt x="131047" y="0"/>
                      <a:pt x="77619" y="0"/>
                    </a:cubicBezTo>
                    <a:cubicBezTo>
                      <a:pt x="45562" y="0"/>
                      <a:pt x="0" y="91866"/>
                      <a:pt x="0" y="177647"/>
                    </a:cubicBezTo>
                    <a:cubicBezTo>
                      <a:pt x="0" y="268326"/>
                      <a:pt x="67379" y="365238"/>
                      <a:pt x="167557" y="365238"/>
                    </a:cubicBezTo>
                    <a:cubicBezTo>
                      <a:pt x="201395" y="365238"/>
                      <a:pt x="240575" y="347132"/>
                      <a:pt x="272039" y="332439"/>
                    </a:cubicBezTo>
                    <a:cubicBezTo>
                      <a:pt x="291184" y="323534"/>
                      <a:pt x="309290" y="315224"/>
                      <a:pt x="317749" y="315224"/>
                    </a:cubicBezTo>
                    <a:cubicBezTo>
                      <a:pt x="338082" y="315224"/>
                      <a:pt x="360344" y="337485"/>
                      <a:pt x="360344" y="357669"/>
                    </a:cubicBezTo>
                    <a:cubicBezTo>
                      <a:pt x="360344" y="375330"/>
                      <a:pt x="384980" y="395217"/>
                      <a:pt x="417927" y="395217"/>
                    </a:cubicBezTo>
                    <a:cubicBezTo>
                      <a:pt x="450875" y="395217"/>
                      <a:pt x="464380" y="361824"/>
                      <a:pt x="464974" y="360340"/>
                    </a:cubicBezTo>
                    <a:cubicBezTo>
                      <a:pt x="465271" y="359450"/>
                      <a:pt x="465419" y="358559"/>
                      <a:pt x="465419" y="357669"/>
                    </a:cubicBezTo>
                    <a:cubicBezTo>
                      <a:pt x="465419" y="301125"/>
                      <a:pt x="415701" y="224545"/>
                      <a:pt x="362570" y="212078"/>
                    </a:cubicBezTo>
                    <a:cubicBezTo>
                      <a:pt x="375185" y="207181"/>
                      <a:pt x="387800" y="202728"/>
                      <a:pt x="399970" y="198425"/>
                    </a:cubicBezTo>
                    <a:cubicBezTo>
                      <a:pt x="431285" y="187294"/>
                      <a:pt x="460967" y="176757"/>
                      <a:pt x="482041" y="163103"/>
                    </a:cubicBezTo>
                    <a:cubicBezTo>
                      <a:pt x="488275" y="159096"/>
                      <a:pt x="494211" y="155534"/>
                      <a:pt x="499851" y="151972"/>
                    </a:cubicBezTo>
                    <a:cubicBezTo>
                      <a:pt x="529681" y="133866"/>
                      <a:pt x="555505" y="118135"/>
                      <a:pt x="555505" y="77619"/>
                    </a:cubicBezTo>
                    <a:cubicBezTo>
                      <a:pt x="555505" y="41852"/>
                      <a:pt x="505342" y="20035"/>
                      <a:pt x="477886" y="20035"/>
                    </a:cubicBezTo>
                  </a:path>
                </a:pathLst>
              </a:custGeom>
              <a:solidFill>
                <a:srgbClr val="FFFFFF"/>
              </a:solidFill>
              <a:ln w="14828" cap="flat">
                <a:noFill/>
                <a:prstDash val="solid"/>
                <a:miter/>
              </a:ln>
            </p:spPr>
            <p:txBody>
              <a:bodyPr rtlCol="0" anchor="ctr"/>
              <a:lstStyle/>
              <a:p>
                <a:endParaRPr lang="en-DK"/>
              </a:p>
            </p:txBody>
          </p:sp>
          <p:sp>
            <p:nvSpPr>
              <p:cNvPr id="168" name="Freeform 167">
                <a:extLst>
                  <a:ext uri="{FF2B5EF4-FFF2-40B4-BE49-F238E27FC236}">
                    <a16:creationId xmlns:a16="http://schemas.microsoft.com/office/drawing/2014/main" id="{FB53FF88-7AE0-B614-C9EF-DAF4CC92517B}"/>
                  </a:ext>
                </a:extLst>
              </p:cNvPr>
              <p:cNvSpPr/>
              <p:nvPr/>
            </p:nvSpPr>
            <p:spPr>
              <a:xfrm>
                <a:off x="1279171" y="6290080"/>
                <a:ext cx="821014" cy="115166"/>
              </a:xfrm>
              <a:custGeom>
                <a:avLst/>
                <a:gdLst>
                  <a:gd name="connsiteX0" fmla="*/ 782130 w 821014"/>
                  <a:gd name="connsiteY0" fmla="*/ 113831 h 115166"/>
                  <a:gd name="connsiteX1" fmla="*/ 821014 w 821014"/>
                  <a:gd name="connsiteY1" fmla="*/ 29682 h 115166"/>
                  <a:gd name="connsiteX2" fmla="*/ 809586 w 821014"/>
                  <a:gd name="connsiteY2" fmla="*/ 29682 h 115166"/>
                  <a:gd name="connsiteX3" fmla="*/ 789254 w 821014"/>
                  <a:gd name="connsiteY3" fmla="*/ 74651 h 115166"/>
                  <a:gd name="connsiteX4" fmla="*/ 768773 w 821014"/>
                  <a:gd name="connsiteY4" fmla="*/ 29682 h 115166"/>
                  <a:gd name="connsiteX5" fmla="*/ 757494 w 821014"/>
                  <a:gd name="connsiteY5" fmla="*/ 29682 h 115166"/>
                  <a:gd name="connsiteX6" fmla="*/ 783466 w 821014"/>
                  <a:gd name="connsiteY6" fmla="*/ 85930 h 115166"/>
                  <a:gd name="connsiteX7" fmla="*/ 770554 w 821014"/>
                  <a:gd name="connsiteY7" fmla="*/ 113831 h 115166"/>
                  <a:gd name="connsiteX8" fmla="*/ 781982 w 821014"/>
                  <a:gd name="connsiteY8" fmla="*/ 113831 h 115166"/>
                  <a:gd name="connsiteX9" fmla="*/ 696051 w 821014"/>
                  <a:gd name="connsiteY9" fmla="*/ 58771 h 115166"/>
                  <a:gd name="connsiteX10" fmla="*/ 716087 w 821014"/>
                  <a:gd name="connsiteY10" fmla="*/ 37993 h 115166"/>
                  <a:gd name="connsiteX11" fmla="*/ 736123 w 821014"/>
                  <a:gd name="connsiteY11" fmla="*/ 58771 h 115166"/>
                  <a:gd name="connsiteX12" fmla="*/ 716087 w 821014"/>
                  <a:gd name="connsiteY12" fmla="*/ 79548 h 115166"/>
                  <a:gd name="connsiteX13" fmla="*/ 696051 w 821014"/>
                  <a:gd name="connsiteY13" fmla="*/ 58771 h 115166"/>
                  <a:gd name="connsiteX14" fmla="*/ 745472 w 821014"/>
                  <a:gd name="connsiteY14" fmla="*/ 85782 h 115166"/>
                  <a:gd name="connsiteX15" fmla="*/ 745472 w 821014"/>
                  <a:gd name="connsiteY15" fmla="*/ 29682 h 115166"/>
                  <a:gd name="connsiteX16" fmla="*/ 735232 w 821014"/>
                  <a:gd name="connsiteY16" fmla="*/ 29682 h 115166"/>
                  <a:gd name="connsiteX17" fmla="*/ 735232 w 821014"/>
                  <a:gd name="connsiteY17" fmla="*/ 38884 h 115166"/>
                  <a:gd name="connsiteX18" fmla="*/ 714603 w 821014"/>
                  <a:gd name="connsiteY18" fmla="*/ 28495 h 115166"/>
                  <a:gd name="connsiteX19" fmla="*/ 685514 w 821014"/>
                  <a:gd name="connsiteY19" fmla="*/ 58771 h 115166"/>
                  <a:gd name="connsiteX20" fmla="*/ 714603 w 821014"/>
                  <a:gd name="connsiteY20" fmla="*/ 89046 h 115166"/>
                  <a:gd name="connsiteX21" fmla="*/ 735232 w 821014"/>
                  <a:gd name="connsiteY21" fmla="*/ 78658 h 115166"/>
                  <a:gd name="connsiteX22" fmla="*/ 735232 w 821014"/>
                  <a:gd name="connsiteY22" fmla="*/ 85484 h 115166"/>
                  <a:gd name="connsiteX23" fmla="*/ 715345 w 821014"/>
                  <a:gd name="connsiteY23" fmla="*/ 105965 h 115166"/>
                  <a:gd name="connsiteX24" fmla="*/ 694567 w 821014"/>
                  <a:gd name="connsiteY24" fmla="*/ 96021 h 115166"/>
                  <a:gd name="connsiteX25" fmla="*/ 687443 w 821014"/>
                  <a:gd name="connsiteY25" fmla="*/ 103145 h 115166"/>
                  <a:gd name="connsiteX26" fmla="*/ 715345 w 821014"/>
                  <a:gd name="connsiteY26" fmla="*/ 115167 h 115166"/>
                  <a:gd name="connsiteX27" fmla="*/ 745324 w 821014"/>
                  <a:gd name="connsiteY27" fmla="*/ 85782 h 115166"/>
                  <a:gd name="connsiteX28" fmla="*/ 621994 w 821014"/>
                  <a:gd name="connsiteY28" fmla="*/ 59364 h 115166"/>
                  <a:gd name="connsiteX29" fmla="*/ 642623 w 821014"/>
                  <a:gd name="connsiteY29" fmla="*/ 37993 h 115166"/>
                  <a:gd name="connsiteX30" fmla="*/ 663104 w 821014"/>
                  <a:gd name="connsiteY30" fmla="*/ 59364 h 115166"/>
                  <a:gd name="connsiteX31" fmla="*/ 642623 w 821014"/>
                  <a:gd name="connsiteY31" fmla="*/ 80735 h 115166"/>
                  <a:gd name="connsiteX32" fmla="*/ 621994 w 821014"/>
                  <a:gd name="connsiteY32" fmla="*/ 59364 h 115166"/>
                  <a:gd name="connsiteX33" fmla="*/ 673641 w 821014"/>
                  <a:gd name="connsiteY33" fmla="*/ 59364 h 115166"/>
                  <a:gd name="connsiteX34" fmla="*/ 642623 w 821014"/>
                  <a:gd name="connsiteY34" fmla="*/ 28495 h 115166"/>
                  <a:gd name="connsiteX35" fmla="*/ 611457 w 821014"/>
                  <a:gd name="connsiteY35" fmla="*/ 59364 h 115166"/>
                  <a:gd name="connsiteX36" fmla="*/ 642623 w 821014"/>
                  <a:gd name="connsiteY36" fmla="*/ 90234 h 115166"/>
                  <a:gd name="connsiteX37" fmla="*/ 673641 w 821014"/>
                  <a:gd name="connsiteY37" fmla="*/ 59364 h 115166"/>
                  <a:gd name="connsiteX38" fmla="*/ 585336 w 821014"/>
                  <a:gd name="connsiteY38" fmla="*/ 89046 h 115166"/>
                  <a:gd name="connsiteX39" fmla="*/ 595577 w 821014"/>
                  <a:gd name="connsiteY39" fmla="*/ 89046 h 115166"/>
                  <a:gd name="connsiteX40" fmla="*/ 595577 w 821014"/>
                  <a:gd name="connsiteY40" fmla="*/ 0 h 115166"/>
                  <a:gd name="connsiteX41" fmla="*/ 585336 w 821014"/>
                  <a:gd name="connsiteY41" fmla="*/ 0 h 115166"/>
                  <a:gd name="connsiteX42" fmla="*/ 585336 w 821014"/>
                  <a:gd name="connsiteY42" fmla="*/ 89046 h 115166"/>
                  <a:gd name="connsiteX43" fmla="*/ 517512 w 821014"/>
                  <a:gd name="connsiteY43" fmla="*/ 59364 h 115166"/>
                  <a:gd name="connsiteX44" fmla="*/ 538141 w 821014"/>
                  <a:gd name="connsiteY44" fmla="*/ 37993 h 115166"/>
                  <a:gd name="connsiteX45" fmla="*/ 558770 w 821014"/>
                  <a:gd name="connsiteY45" fmla="*/ 59364 h 115166"/>
                  <a:gd name="connsiteX46" fmla="*/ 538141 w 821014"/>
                  <a:gd name="connsiteY46" fmla="*/ 80735 h 115166"/>
                  <a:gd name="connsiteX47" fmla="*/ 517512 w 821014"/>
                  <a:gd name="connsiteY47" fmla="*/ 59364 h 115166"/>
                  <a:gd name="connsiteX48" fmla="*/ 569159 w 821014"/>
                  <a:gd name="connsiteY48" fmla="*/ 59364 h 115166"/>
                  <a:gd name="connsiteX49" fmla="*/ 538141 w 821014"/>
                  <a:gd name="connsiteY49" fmla="*/ 28495 h 115166"/>
                  <a:gd name="connsiteX50" fmla="*/ 506975 w 821014"/>
                  <a:gd name="connsiteY50" fmla="*/ 59364 h 115166"/>
                  <a:gd name="connsiteX51" fmla="*/ 538141 w 821014"/>
                  <a:gd name="connsiteY51" fmla="*/ 90234 h 115166"/>
                  <a:gd name="connsiteX52" fmla="*/ 569159 w 821014"/>
                  <a:gd name="connsiteY52" fmla="*/ 59364 h 115166"/>
                  <a:gd name="connsiteX53" fmla="*/ 497179 w 821014"/>
                  <a:gd name="connsiteY53" fmla="*/ 74354 h 115166"/>
                  <a:gd name="connsiteX54" fmla="*/ 488275 w 821014"/>
                  <a:gd name="connsiteY54" fmla="*/ 69308 h 115166"/>
                  <a:gd name="connsiteX55" fmla="*/ 469723 w 821014"/>
                  <a:gd name="connsiteY55" fmla="*/ 80735 h 115166"/>
                  <a:gd name="connsiteX56" fmla="*/ 448946 w 821014"/>
                  <a:gd name="connsiteY56" fmla="*/ 59364 h 115166"/>
                  <a:gd name="connsiteX57" fmla="*/ 469723 w 821014"/>
                  <a:gd name="connsiteY57" fmla="*/ 37993 h 115166"/>
                  <a:gd name="connsiteX58" fmla="*/ 488275 w 821014"/>
                  <a:gd name="connsiteY58" fmla="*/ 49421 h 115166"/>
                  <a:gd name="connsiteX59" fmla="*/ 497179 w 821014"/>
                  <a:gd name="connsiteY59" fmla="*/ 44375 h 115166"/>
                  <a:gd name="connsiteX60" fmla="*/ 469723 w 821014"/>
                  <a:gd name="connsiteY60" fmla="*/ 28495 h 115166"/>
                  <a:gd name="connsiteX61" fmla="*/ 438557 w 821014"/>
                  <a:gd name="connsiteY61" fmla="*/ 59364 h 115166"/>
                  <a:gd name="connsiteX62" fmla="*/ 469723 w 821014"/>
                  <a:gd name="connsiteY62" fmla="*/ 90234 h 115166"/>
                  <a:gd name="connsiteX63" fmla="*/ 497179 w 821014"/>
                  <a:gd name="connsiteY63" fmla="*/ 74354 h 115166"/>
                  <a:gd name="connsiteX64" fmla="*/ 413178 w 821014"/>
                  <a:gd name="connsiteY64" fmla="*/ 59364 h 115166"/>
                  <a:gd name="connsiteX65" fmla="*/ 392994 w 821014"/>
                  <a:gd name="connsiteY65" fmla="*/ 80884 h 115166"/>
                  <a:gd name="connsiteX66" fmla="*/ 372662 w 821014"/>
                  <a:gd name="connsiteY66" fmla="*/ 59364 h 115166"/>
                  <a:gd name="connsiteX67" fmla="*/ 392994 w 821014"/>
                  <a:gd name="connsiteY67" fmla="*/ 37845 h 115166"/>
                  <a:gd name="connsiteX68" fmla="*/ 413178 w 821014"/>
                  <a:gd name="connsiteY68" fmla="*/ 59364 h 115166"/>
                  <a:gd name="connsiteX69" fmla="*/ 362422 w 821014"/>
                  <a:gd name="connsiteY69" fmla="*/ 59364 h 115166"/>
                  <a:gd name="connsiteX70" fmla="*/ 391510 w 821014"/>
                  <a:gd name="connsiteY70" fmla="*/ 90234 h 115166"/>
                  <a:gd name="connsiteX71" fmla="*/ 412436 w 821014"/>
                  <a:gd name="connsiteY71" fmla="*/ 79993 h 115166"/>
                  <a:gd name="connsiteX72" fmla="*/ 412436 w 821014"/>
                  <a:gd name="connsiteY72" fmla="*/ 89046 h 115166"/>
                  <a:gd name="connsiteX73" fmla="*/ 422677 w 821014"/>
                  <a:gd name="connsiteY73" fmla="*/ 89046 h 115166"/>
                  <a:gd name="connsiteX74" fmla="*/ 422677 w 821014"/>
                  <a:gd name="connsiteY74" fmla="*/ 29682 h 115166"/>
                  <a:gd name="connsiteX75" fmla="*/ 412436 w 821014"/>
                  <a:gd name="connsiteY75" fmla="*/ 29682 h 115166"/>
                  <a:gd name="connsiteX76" fmla="*/ 412436 w 821014"/>
                  <a:gd name="connsiteY76" fmla="*/ 38884 h 115166"/>
                  <a:gd name="connsiteX77" fmla="*/ 391510 w 821014"/>
                  <a:gd name="connsiteY77" fmla="*/ 28495 h 115166"/>
                  <a:gd name="connsiteX78" fmla="*/ 362422 w 821014"/>
                  <a:gd name="connsiteY78" fmla="*/ 59364 h 115166"/>
                  <a:gd name="connsiteX79" fmla="*/ 260314 w 821014"/>
                  <a:gd name="connsiteY79" fmla="*/ 89046 h 115166"/>
                  <a:gd name="connsiteX80" fmla="*/ 270555 w 821014"/>
                  <a:gd name="connsiteY80" fmla="*/ 89046 h 115166"/>
                  <a:gd name="connsiteX81" fmla="*/ 270555 w 821014"/>
                  <a:gd name="connsiteY81" fmla="*/ 59661 h 115166"/>
                  <a:gd name="connsiteX82" fmla="*/ 286880 w 821014"/>
                  <a:gd name="connsiteY82" fmla="*/ 37993 h 115166"/>
                  <a:gd name="connsiteX83" fmla="*/ 298456 w 821014"/>
                  <a:gd name="connsiteY83" fmla="*/ 54318 h 115166"/>
                  <a:gd name="connsiteX84" fmla="*/ 298456 w 821014"/>
                  <a:gd name="connsiteY84" fmla="*/ 89195 h 115166"/>
                  <a:gd name="connsiteX85" fmla="*/ 308697 w 821014"/>
                  <a:gd name="connsiteY85" fmla="*/ 89195 h 115166"/>
                  <a:gd name="connsiteX86" fmla="*/ 308697 w 821014"/>
                  <a:gd name="connsiteY86" fmla="*/ 59810 h 115166"/>
                  <a:gd name="connsiteX87" fmla="*/ 325022 w 821014"/>
                  <a:gd name="connsiteY87" fmla="*/ 38142 h 115166"/>
                  <a:gd name="connsiteX88" fmla="*/ 336746 w 821014"/>
                  <a:gd name="connsiteY88" fmla="*/ 54467 h 115166"/>
                  <a:gd name="connsiteX89" fmla="*/ 336746 w 821014"/>
                  <a:gd name="connsiteY89" fmla="*/ 89343 h 115166"/>
                  <a:gd name="connsiteX90" fmla="*/ 346987 w 821014"/>
                  <a:gd name="connsiteY90" fmla="*/ 89343 h 115166"/>
                  <a:gd name="connsiteX91" fmla="*/ 346987 w 821014"/>
                  <a:gd name="connsiteY91" fmla="*/ 52834 h 115166"/>
                  <a:gd name="connsiteX92" fmla="*/ 326209 w 821014"/>
                  <a:gd name="connsiteY92" fmla="*/ 28792 h 115166"/>
                  <a:gd name="connsiteX93" fmla="*/ 306767 w 821014"/>
                  <a:gd name="connsiteY93" fmla="*/ 41555 h 115166"/>
                  <a:gd name="connsiteX94" fmla="*/ 288512 w 821014"/>
                  <a:gd name="connsiteY94" fmla="*/ 28792 h 115166"/>
                  <a:gd name="connsiteX95" fmla="*/ 270555 w 821014"/>
                  <a:gd name="connsiteY95" fmla="*/ 39181 h 115166"/>
                  <a:gd name="connsiteX96" fmla="*/ 270555 w 821014"/>
                  <a:gd name="connsiteY96" fmla="*/ 29979 h 115166"/>
                  <a:gd name="connsiteX97" fmla="*/ 260314 w 821014"/>
                  <a:gd name="connsiteY97" fmla="*/ 29979 h 115166"/>
                  <a:gd name="connsiteX98" fmla="*/ 260314 w 821014"/>
                  <a:gd name="connsiteY98" fmla="*/ 89343 h 115166"/>
                  <a:gd name="connsiteX99" fmla="*/ 215791 w 821014"/>
                  <a:gd name="connsiteY99" fmla="*/ 89046 h 115166"/>
                  <a:gd name="connsiteX100" fmla="*/ 226031 w 821014"/>
                  <a:gd name="connsiteY100" fmla="*/ 89046 h 115166"/>
                  <a:gd name="connsiteX101" fmla="*/ 226031 w 821014"/>
                  <a:gd name="connsiteY101" fmla="*/ 59661 h 115166"/>
                  <a:gd name="connsiteX102" fmla="*/ 241763 w 821014"/>
                  <a:gd name="connsiteY102" fmla="*/ 39181 h 115166"/>
                  <a:gd name="connsiteX103" fmla="*/ 247402 w 821014"/>
                  <a:gd name="connsiteY103" fmla="*/ 40071 h 115166"/>
                  <a:gd name="connsiteX104" fmla="*/ 247402 w 821014"/>
                  <a:gd name="connsiteY104" fmla="*/ 29682 h 115166"/>
                  <a:gd name="connsiteX105" fmla="*/ 242802 w 821014"/>
                  <a:gd name="connsiteY105" fmla="*/ 29089 h 115166"/>
                  <a:gd name="connsiteX106" fmla="*/ 226180 w 821014"/>
                  <a:gd name="connsiteY106" fmla="*/ 41259 h 115166"/>
                  <a:gd name="connsiteX107" fmla="*/ 226180 w 821014"/>
                  <a:gd name="connsiteY107" fmla="*/ 29682 h 115166"/>
                  <a:gd name="connsiteX108" fmla="*/ 215939 w 821014"/>
                  <a:gd name="connsiteY108" fmla="*/ 29682 h 115166"/>
                  <a:gd name="connsiteX109" fmla="*/ 215939 w 821014"/>
                  <a:gd name="connsiteY109" fmla="*/ 89046 h 115166"/>
                  <a:gd name="connsiteX110" fmla="*/ 186405 w 821014"/>
                  <a:gd name="connsiteY110" fmla="*/ 59364 h 115166"/>
                  <a:gd name="connsiteX111" fmla="*/ 166221 w 821014"/>
                  <a:gd name="connsiteY111" fmla="*/ 80884 h 115166"/>
                  <a:gd name="connsiteX112" fmla="*/ 145889 w 821014"/>
                  <a:gd name="connsiteY112" fmla="*/ 59364 h 115166"/>
                  <a:gd name="connsiteX113" fmla="*/ 166221 w 821014"/>
                  <a:gd name="connsiteY113" fmla="*/ 37845 h 115166"/>
                  <a:gd name="connsiteX114" fmla="*/ 186405 w 821014"/>
                  <a:gd name="connsiteY114" fmla="*/ 59364 h 115166"/>
                  <a:gd name="connsiteX115" fmla="*/ 135500 w 821014"/>
                  <a:gd name="connsiteY115" fmla="*/ 59364 h 115166"/>
                  <a:gd name="connsiteX116" fmla="*/ 164589 w 821014"/>
                  <a:gd name="connsiteY116" fmla="*/ 90234 h 115166"/>
                  <a:gd name="connsiteX117" fmla="*/ 185515 w 821014"/>
                  <a:gd name="connsiteY117" fmla="*/ 79993 h 115166"/>
                  <a:gd name="connsiteX118" fmla="*/ 185515 w 821014"/>
                  <a:gd name="connsiteY118" fmla="*/ 89046 h 115166"/>
                  <a:gd name="connsiteX119" fmla="*/ 195755 w 821014"/>
                  <a:gd name="connsiteY119" fmla="*/ 89046 h 115166"/>
                  <a:gd name="connsiteX120" fmla="*/ 195755 w 821014"/>
                  <a:gd name="connsiteY120" fmla="*/ 29682 h 115166"/>
                  <a:gd name="connsiteX121" fmla="*/ 185515 w 821014"/>
                  <a:gd name="connsiteY121" fmla="*/ 29682 h 115166"/>
                  <a:gd name="connsiteX122" fmla="*/ 185515 w 821014"/>
                  <a:gd name="connsiteY122" fmla="*/ 38884 h 115166"/>
                  <a:gd name="connsiteX123" fmla="*/ 164589 w 821014"/>
                  <a:gd name="connsiteY123" fmla="*/ 28495 h 115166"/>
                  <a:gd name="connsiteX124" fmla="*/ 135500 w 821014"/>
                  <a:gd name="connsiteY124" fmla="*/ 59364 h 115166"/>
                  <a:gd name="connsiteX125" fmla="*/ 68715 w 821014"/>
                  <a:gd name="connsiteY125" fmla="*/ 89046 h 115166"/>
                  <a:gd name="connsiteX126" fmla="*/ 78955 w 821014"/>
                  <a:gd name="connsiteY126" fmla="*/ 89046 h 115166"/>
                  <a:gd name="connsiteX127" fmla="*/ 78955 w 821014"/>
                  <a:gd name="connsiteY127" fmla="*/ 59661 h 115166"/>
                  <a:gd name="connsiteX128" fmla="*/ 96171 w 821014"/>
                  <a:gd name="connsiteY128" fmla="*/ 37993 h 115166"/>
                  <a:gd name="connsiteX129" fmla="*/ 110122 w 821014"/>
                  <a:gd name="connsiteY129" fmla="*/ 54170 h 115166"/>
                  <a:gd name="connsiteX130" fmla="*/ 110122 w 821014"/>
                  <a:gd name="connsiteY130" fmla="*/ 89195 h 115166"/>
                  <a:gd name="connsiteX131" fmla="*/ 120214 w 821014"/>
                  <a:gd name="connsiteY131" fmla="*/ 89195 h 115166"/>
                  <a:gd name="connsiteX132" fmla="*/ 120214 w 821014"/>
                  <a:gd name="connsiteY132" fmla="*/ 52686 h 115166"/>
                  <a:gd name="connsiteX133" fmla="*/ 97803 w 821014"/>
                  <a:gd name="connsiteY133" fmla="*/ 28792 h 115166"/>
                  <a:gd name="connsiteX134" fmla="*/ 78955 w 821014"/>
                  <a:gd name="connsiteY134" fmla="*/ 39181 h 115166"/>
                  <a:gd name="connsiteX135" fmla="*/ 78955 w 821014"/>
                  <a:gd name="connsiteY135" fmla="*/ 297 h 115166"/>
                  <a:gd name="connsiteX136" fmla="*/ 68715 w 821014"/>
                  <a:gd name="connsiteY136" fmla="*/ 297 h 115166"/>
                  <a:gd name="connsiteX137" fmla="*/ 68715 w 821014"/>
                  <a:gd name="connsiteY137" fmla="*/ 89343 h 115166"/>
                  <a:gd name="connsiteX138" fmla="*/ 25824 w 821014"/>
                  <a:gd name="connsiteY138" fmla="*/ 48085 h 115166"/>
                  <a:gd name="connsiteX139" fmla="*/ 11131 w 821014"/>
                  <a:gd name="connsiteY139" fmla="*/ 48085 h 115166"/>
                  <a:gd name="connsiteX140" fmla="*/ 11131 w 821014"/>
                  <a:gd name="connsiteY140" fmla="*/ 15138 h 115166"/>
                  <a:gd name="connsiteX141" fmla="*/ 25824 w 821014"/>
                  <a:gd name="connsiteY141" fmla="*/ 15138 h 115166"/>
                  <a:gd name="connsiteX142" fmla="*/ 43930 w 821014"/>
                  <a:gd name="connsiteY142" fmla="*/ 31611 h 115166"/>
                  <a:gd name="connsiteX143" fmla="*/ 25824 w 821014"/>
                  <a:gd name="connsiteY143" fmla="*/ 48085 h 115166"/>
                  <a:gd name="connsiteX144" fmla="*/ 25824 w 821014"/>
                  <a:gd name="connsiteY144" fmla="*/ 4749 h 115166"/>
                  <a:gd name="connsiteX145" fmla="*/ 0 w 821014"/>
                  <a:gd name="connsiteY145" fmla="*/ 4749 h 115166"/>
                  <a:gd name="connsiteX146" fmla="*/ 0 w 821014"/>
                  <a:gd name="connsiteY146" fmla="*/ 89046 h 115166"/>
                  <a:gd name="connsiteX147" fmla="*/ 10982 w 821014"/>
                  <a:gd name="connsiteY147" fmla="*/ 89046 h 115166"/>
                  <a:gd name="connsiteX148" fmla="*/ 10982 w 821014"/>
                  <a:gd name="connsiteY148" fmla="*/ 58326 h 115166"/>
                  <a:gd name="connsiteX149" fmla="*/ 25675 w 821014"/>
                  <a:gd name="connsiteY149" fmla="*/ 58326 h 115166"/>
                  <a:gd name="connsiteX150" fmla="*/ 54616 w 821014"/>
                  <a:gd name="connsiteY150" fmla="*/ 31611 h 115166"/>
                  <a:gd name="connsiteX151" fmla="*/ 25675 w 821014"/>
                  <a:gd name="connsiteY151" fmla="*/ 4749 h 115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821014" h="115166">
                    <a:moveTo>
                      <a:pt x="782130" y="113831"/>
                    </a:moveTo>
                    <a:lnTo>
                      <a:pt x="821014" y="29682"/>
                    </a:lnTo>
                    <a:lnTo>
                      <a:pt x="809586" y="29682"/>
                    </a:lnTo>
                    <a:lnTo>
                      <a:pt x="789254" y="74651"/>
                    </a:lnTo>
                    <a:lnTo>
                      <a:pt x="768773" y="29682"/>
                    </a:lnTo>
                    <a:lnTo>
                      <a:pt x="757494" y="29682"/>
                    </a:lnTo>
                    <a:lnTo>
                      <a:pt x="783466" y="85930"/>
                    </a:lnTo>
                    <a:lnTo>
                      <a:pt x="770554" y="113831"/>
                    </a:lnTo>
                    <a:lnTo>
                      <a:pt x="781982" y="113831"/>
                    </a:lnTo>
                    <a:close/>
                    <a:moveTo>
                      <a:pt x="696051" y="58771"/>
                    </a:moveTo>
                    <a:cubicBezTo>
                      <a:pt x="696051" y="46898"/>
                      <a:pt x="704214" y="37993"/>
                      <a:pt x="716087" y="37993"/>
                    </a:cubicBezTo>
                    <a:cubicBezTo>
                      <a:pt x="727960" y="37993"/>
                      <a:pt x="736123" y="46898"/>
                      <a:pt x="736123" y="58771"/>
                    </a:cubicBezTo>
                    <a:cubicBezTo>
                      <a:pt x="736123" y="70643"/>
                      <a:pt x="727960" y="79548"/>
                      <a:pt x="716087" y="79548"/>
                    </a:cubicBezTo>
                    <a:cubicBezTo>
                      <a:pt x="704214" y="79548"/>
                      <a:pt x="696051" y="70792"/>
                      <a:pt x="696051" y="58771"/>
                    </a:cubicBezTo>
                    <a:moveTo>
                      <a:pt x="745472" y="85782"/>
                    </a:moveTo>
                    <a:lnTo>
                      <a:pt x="745472" y="29682"/>
                    </a:lnTo>
                    <a:lnTo>
                      <a:pt x="735232" y="29682"/>
                    </a:lnTo>
                    <a:lnTo>
                      <a:pt x="735232" y="38884"/>
                    </a:lnTo>
                    <a:cubicBezTo>
                      <a:pt x="731225" y="32947"/>
                      <a:pt x="723359" y="28495"/>
                      <a:pt x="714603" y="28495"/>
                    </a:cubicBezTo>
                    <a:cubicBezTo>
                      <a:pt x="698129" y="28495"/>
                      <a:pt x="685514" y="41852"/>
                      <a:pt x="685514" y="58771"/>
                    </a:cubicBezTo>
                    <a:cubicBezTo>
                      <a:pt x="685514" y="75689"/>
                      <a:pt x="698129" y="89046"/>
                      <a:pt x="714603" y="89046"/>
                    </a:cubicBezTo>
                    <a:cubicBezTo>
                      <a:pt x="723359" y="89046"/>
                      <a:pt x="731225" y="84594"/>
                      <a:pt x="735232" y="78658"/>
                    </a:cubicBezTo>
                    <a:lnTo>
                      <a:pt x="735232" y="85484"/>
                    </a:lnTo>
                    <a:cubicBezTo>
                      <a:pt x="735232" y="99732"/>
                      <a:pt x="725437" y="105965"/>
                      <a:pt x="715345" y="105965"/>
                    </a:cubicBezTo>
                    <a:cubicBezTo>
                      <a:pt x="706143" y="105965"/>
                      <a:pt x="699316" y="102106"/>
                      <a:pt x="694567" y="96021"/>
                    </a:cubicBezTo>
                    <a:lnTo>
                      <a:pt x="687443" y="103145"/>
                    </a:lnTo>
                    <a:cubicBezTo>
                      <a:pt x="692489" y="109824"/>
                      <a:pt x="702581" y="115167"/>
                      <a:pt x="715345" y="115167"/>
                    </a:cubicBezTo>
                    <a:cubicBezTo>
                      <a:pt x="732412" y="115167"/>
                      <a:pt x="745324" y="105520"/>
                      <a:pt x="745324" y="85782"/>
                    </a:cubicBezTo>
                    <a:moveTo>
                      <a:pt x="621994" y="59364"/>
                    </a:moveTo>
                    <a:cubicBezTo>
                      <a:pt x="621994" y="47491"/>
                      <a:pt x="630305" y="37993"/>
                      <a:pt x="642623" y="37993"/>
                    </a:cubicBezTo>
                    <a:cubicBezTo>
                      <a:pt x="654941" y="37993"/>
                      <a:pt x="663104" y="47491"/>
                      <a:pt x="663104" y="59364"/>
                    </a:cubicBezTo>
                    <a:cubicBezTo>
                      <a:pt x="663104" y="71237"/>
                      <a:pt x="654941" y="80735"/>
                      <a:pt x="642623" y="80735"/>
                    </a:cubicBezTo>
                    <a:cubicBezTo>
                      <a:pt x="630305" y="80735"/>
                      <a:pt x="621994" y="71237"/>
                      <a:pt x="621994" y="59364"/>
                    </a:cubicBezTo>
                    <a:moveTo>
                      <a:pt x="673641" y="59364"/>
                    </a:moveTo>
                    <a:cubicBezTo>
                      <a:pt x="673641" y="42297"/>
                      <a:pt x="660432" y="28495"/>
                      <a:pt x="642623" y="28495"/>
                    </a:cubicBezTo>
                    <a:cubicBezTo>
                      <a:pt x="624814" y="28495"/>
                      <a:pt x="611457" y="42297"/>
                      <a:pt x="611457" y="59364"/>
                    </a:cubicBezTo>
                    <a:cubicBezTo>
                      <a:pt x="611457" y="76432"/>
                      <a:pt x="624665" y="90234"/>
                      <a:pt x="642623" y="90234"/>
                    </a:cubicBezTo>
                    <a:cubicBezTo>
                      <a:pt x="660581" y="90234"/>
                      <a:pt x="673641" y="76432"/>
                      <a:pt x="673641" y="59364"/>
                    </a:cubicBezTo>
                    <a:moveTo>
                      <a:pt x="585336" y="89046"/>
                    </a:moveTo>
                    <a:lnTo>
                      <a:pt x="595577" y="89046"/>
                    </a:lnTo>
                    <a:lnTo>
                      <a:pt x="595577" y="0"/>
                    </a:lnTo>
                    <a:lnTo>
                      <a:pt x="585336" y="0"/>
                    </a:lnTo>
                    <a:lnTo>
                      <a:pt x="585336" y="89046"/>
                    </a:lnTo>
                    <a:close/>
                    <a:moveTo>
                      <a:pt x="517512" y="59364"/>
                    </a:moveTo>
                    <a:cubicBezTo>
                      <a:pt x="517512" y="47491"/>
                      <a:pt x="525823" y="37993"/>
                      <a:pt x="538141" y="37993"/>
                    </a:cubicBezTo>
                    <a:cubicBezTo>
                      <a:pt x="550459" y="37993"/>
                      <a:pt x="558770" y="47491"/>
                      <a:pt x="558770" y="59364"/>
                    </a:cubicBezTo>
                    <a:cubicBezTo>
                      <a:pt x="558770" y="71237"/>
                      <a:pt x="550608" y="80735"/>
                      <a:pt x="538141" y="80735"/>
                    </a:cubicBezTo>
                    <a:cubicBezTo>
                      <a:pt x="525675" y="80735"/>
                      <a:pt x="517512" y="71237"/>
                      <a:pt x="517512" y="59364"/>
                    </a:cubicBezTo>
                    <a:moveTo>
                      <a:pt x="569159" y="59364"/>
                    </a:moveTo>
                    <a:cubicBezTo>
                      <a:pt x="569159" y="42297"/>
                      <a:pt x="555951" y="28495"/>
                      <a:pt x="538141" y="28495"/>
                    </a:cubicBezTo>
                    <a:cubicBezTo>
                      <a:pt x="520332" y="28495"/>
                      <a:pt x="506975" y="42297"/>
                      <a:pt x="506975" y="59364"/>
                    </a:cubicBezTo>
                    <a:cubicBezTo>
                      <a:pt x="506975" y="76432"/>
                      <a:pt x="520183" y="90234"/>
                      <a:pt x="538141" y="90234"/>
                    </a:cubicBezTo>
                    <a:cubicBezTo>
                      <a:pt x="556099" y="90234"/>
                      <a:pt x="569159" y="76432"/>
                      <a:pt x="569159" y="59364"/>
                    </a:cubicBezTo>
                    <a:moveTo>
                      <a:pt x="497179" y="74354"/>
                    </a:moveTo>
                    <a:lnTo>
                      <a:pt x="488275" y="69308"/>
                    </a:lnTo>
                    <a:cubicBezTo>
                      <a:pt x="485010" y="76135"/>
                      <a:pt x="478331" y="80735"/>
                      <a:pt x="469723" y="80735"/>
                    </a:cubicBezTo>
                    <a:cubicBezTo>
                      <a:pt x="457405" y="80735"/>
                      <a:pt x="448946" y="71237"/>
                      <a:pt x="448946" y="59364"/>
                    </a:cubicBezTo>
                    <a:cubicBezTo>
                      <a:pt x="448946" y="47491"/>
                      <a:pt x="457405" y="37993"/>
                      <a:pt x="469723" y="37993"/>
                    </a:cubicBezTo>
                    <a:cubicBezTo>
                      <a:pt x="478331" y="37993"/>
                      <a:pt x="484861" y="42594"/>
                      <a:pt x="488275" y="49421"/>
                    </a:cubicBezTo>
                    <a:lnTo>
                      <a:pt x="497179" y="44375"/>
                    </a:lnTo>
                    <a:cubicBezTo>
                      <a:pt x="491985" y="34877"/>
                      <a:pt x="482041" y="28495"/>
                      <a:pt x="469723" y="28495"/>
                    </a:cubicBezTo>
                    <a:cubicBezTo>
                      <a:pt x="451765" y="28495"/>
                      <a:pt x="438557" y="42149"/>
                      <a:pt x="438557" y="59364"/>
                    </a:cubicBezTo>
                    <a:cubicBezTo>
                      <a:pt x="438557" y="76580"/>
                      <a:pt x="451765" y="90234"/>
                      <a:pt x="469723" y="90234"/>
                    </a:cubicBezTo>
                    <a:cubicBezTo>
                      <a:pt x="481893" y="90234"/>
                      <a:pt x="491985" y="83852"/>
                      <a:pt x="497179" y="74354"/>
                    </a:cubicBezTo>
                    <a:moveTo>
                      <a:pt x="413178" y="59364"/>
                    </a:moveTo>
                    <a:cubicBezTo>
                      <a:pt x="413178" y="71386"/>
                      <a:pt x="405016" y="80884"/>
                      <a:pt x="392994" y="80884"/>
                    </a:cubicBezTo>
                    <a:cubicBezTo>
                      <a:pt x="380973" y="80884"/>
                      <a:pt x="372662" y="71386"/>
                      <a:pt x="372662" y="59364"/>
                    </a:cubicBezTo>
                    <a:cubicBezTo>
                      <a:pt x="372662" y="47343"/>
                      <a:pt x="380973" y="37845"/>
                      <a:pt x="392994" y="37845"/>
                    </a:cubicBezTo>
                    <a:cubicBezTo>
                      <a:pt x="405016" y="37845"/>
                      <a:pt x="413178" y="47343"/>
                      <a:pt x="413178" y="59364"/>
                    </a:cubicBezTo>
                    <a:moveTo>
                      <a:pt x="362422" y="59364"/>
                    </a:moveTo>
                    <a:cubicBezTo>
                      <a:pt x="362422" y="76283"/>
                      <a:pt x="374888" y="90234"/>
                      <a:pt x="391510" y="90234"/>
                    </a:cubicBezTo>
                    <a:cubicBezTo>
                      <a:pt x="400415" y="90234"/>
                      <a:pt x="408429" y="85633"/>
                      <a:pt x="412436" y="79993"/>
                    </a:cubicBezTo>
                    <a:lnTo>
                      <a:pt x="412436" y="89046"/>
                    </a:lnTo>
                    <a:lnTo>
                      <a:pt x="422677" y="89046"/>
                    </a:lnTo>
                    <a:lnTo>
                      <a:pt x="422677" y="29682"/>
                    </a:lnTo>
                    <a:lnTo>
                      <a:pt x="412436" y="29682"/>
                    </a:lnTo>
                    <a:lnTo>
                      <a:pt x="412436" y="38884"/>
                    </a:lnTo>
                    <a:cubicBezTo>
                      <a:pt x="408578" y="33244"/>
                      <a:pt x="400415" y="28495"/>
                      <a:pt x="391510" y="28495"/>
                    </a:cubicBezTo>
                    <a:cubicBezTo>
                      <a:pt x="374888" y="28495"/>
                      <a:pt x="362422" y="42446"/>
                      <a:pt x="362422" y="59364"/>
                    </a:cubicBezTo>
                    <a:moveTo>
                      <a:pt x="260314" y="89046"/>
                    </a:moveTo>
                    <a:lnTo>
                      <a:pt x="270555" y="89046"/>
                    </a:lnTo>
                    <a:lnTo>
                      <a:pt x="270555" y="59661"/>
                    </a:lnTo>
                    <a:cubicBezTo>
                      <a:pt x="270555" y="46304"/>
                      <a:pt x="277382" y="37993"/>
                      <a:pt x="286880" y="37993"/>
                    </a:cubicBezTo>
                    <a:cubicBezTo>
                      <a:pt x="294597" y="37993"/>
                      <a:pt x="298456" y="44672"/>
                      <a:pt x="298456" y="54318"/>
                    </a:cubicBezTo>
                    <a:lnTo>
                      <a:pt x="298456" y="89195"/>
                    </a:lnTo>
                    <a:lnTo>
                      <a:pt x="308697" y="89195"/>
                    </a:lnTo>
                    <a:lnTo>
                      <a:pt x="308697" y="59810"/>
                    </a:lnTo>
                    <a:cubicBezTo>
                      <a:pt x="308697" y="46452"/>
                      <a:pt x="315375" y="38142"/>
                      <a:pt x="325022" y="38142"/>
                    </a:cubicBezTo>
                    <a:cubicBezTo>
                      <a:pt x="332739" y="38142"/>
                      <a:pt x="336746" y="44820"/>
                      <a:pt x="336746" y="54467"/>
                    </a:cubicBezTo>
                    <a:lnTo>
                      <a:pt x="336746" y="89343"/>
                    </a:lnTo>
                    <a:lnTo>
                      <a:pt x="346987" y="89343"/>
                    </a:lnTo>
                    <a:lnTo>
                      <a:pt x="346987" y="52834"/>
                    </a:lnTo>
                    <a:cubicBezTo>
                      <a:pt x="346987" y="38290"/>
                      <a:pt x="339121" y="28792"/>
                      <a:pt x="326209" y="28792"/>
                    </a:cubicBezTo>
                    <a:cubicBezTo>
                      <a:pt x="317453" y="28792"/>
                      <a:pt x="309884" y="33689"/>
                      <a:pt x="306767" y="41555"/>
                    </a:cubicBezTo>
                    <a:cubicBezTo>
                      <a:pt x="303799" y="33689"/>
                      <a:pt x="297417" y="28792"/>
                      <a:pt x="288512" y="28792"/>
                    </a:cubicBezTo>
                    <a:cubicBezTo>
                      <a:pt x="280498" y="28792"/>
                      <a:pt x="273968" y="32799"/>
                      <a:pt x="270555" y="39181"/>
                    </a:cubicBezTo>
                    <a:lnTo>
                      <a:pt x="270555" y="29979"/>
                    </a:lnTo>
                    <a:lnTo>
                      <a:pt x="260314" y="29979"/>
                    </a:lnTo>
                    <a:lnTo>
                      <a:pt x="260314" y="89343"/>
                    </a:lnTo>
                    <a:close/>
                    <a:moveTo>
                      <a:pt x="215791" y="89046"/>
                    </a:moveTo>
                    <a:lnTo>
                      <a:pt x="226031" y="89046"/>
                    </a:lnTo>
                    <a:lnTo>
                      <a:pt x="226031" y="59661"/>
                    </a:lnTo>
                    <a:cubicBezTo>
                      <a:pt x="226031" y="45711"/>
                      <a:pt x="234194" y="39181"/>
                      <a:pt x="241763" y="39181"/>
                    </a:cubicBezTo>
                    <a:cubicBezTo>
                      <a:pt x="243841" y="39181"/>
                      <a:pt x="245473" y="39477"/>
                      <a:pt x="247402" y="40071"/>
                    </a:cubicBezTo>
                    <a:lnTo>
                      <a:pt x="247402" y="29682"/>
                    </a:lnTo>
                    <a:cubicBezTo>
                      <a:pt x="245770" y="29237"/>
                      <a:pt x="244286" y="29089"/>
                      <a:pt x="242802" y="29089"/>
                    </a:cubicBezTo>
                    <a:cubicBezTo>
                      <a:pt x="235975" y="29089"/>
                      <a:pt x="228554" y="33541"/>
                      <a:pt x="226180" y="41259"/>
                    </a:cubicBezTo>
                    <a:lnTo>
                      <a:pt x="226180" y="29682"/>
                    </a:lnTo>
                    <a:lnTo>
                      <a:pt x="215939" y="29682"/>
                    </a:lnTo>
                    <a:lnTo>
                      <a:pt x="215939" y="89046"/>
                    </a:lnTo>
                    <a:close/>
                    <a:moveTo>
                      <a:pt x="186405" y="59364"/>
                    </a:moveTo>
                    <a:cubicBezTo>
                      <a:pt x="186405" y="71386"/>
                      <a:pt x="178243" y="80884"/>
                      <a:pt x="166221" y="80884"/>
                    </a:cubicBezTo>
                    <a:cubicBezTo>
                      <a:pt x="154200" y="80884"/>
                      <a:pt x="145889" y="71386"/>
                      <a:pt x="145889" y="59364"/>
                    </a:cubicBezTo>
                    <a:cubicBezTo>
                      <a:pt x="145889" y="47343"/>
                      <a:pt x="154200" y="37845"/>
                      <a:pt x="166221" y="37845"/>
                    </a:cubicBezTo>
                    <a:cubicBezTo>
                      <a:pt x="178243" y="37845"/>
                      <a:pt x="186405" y="47343"/>
                      <a:pt x="186405" y="59364"/>
                    </a:cubicBezTo>
                    <a:moveTo>
                      <a:pt x="135500" y="59364"/>
                    </a:moveTo>
                    <a:cubicBezTo>
                      <a:pt x="135500" y="76283"/>
                      <a:pt x="147967" y="90234"/>
                      <a:pt x="164589" y="90234"/>
                    </a:cubicBezTo>
                    <a:cubicBezTo>
                      <a:pt x="173493" y="90234"/>
                      <a:pt x="181508" y="85633"/>
                      <a:pt x="185515" y="79993"/>
                    </a:cubicBezTo>
                    <a:lnTo>
                      <a:pt x="185515" y="89046"/>
                    </a:lnTo>
                    <a:lnTo>
                      <a:pt x="195755" y="89046"/>
                    </a:lnTo>
                    <a:lnTo>
                      <a:pt x="195755" y="29682"/>
                    </a:lnTo>
                    <a:lnTo>
                      <a:pt x="185515" y="29682"/>
                    </a:lnTo>
                    <a:lnTo>
                      <a:pt x="185515" y="38884"/>
                    </a:lnTo>
                    <a:cubicBezTo>
                      <a:pt x="181656" y="33244"/>
                      <a:pt x="173493" y="28495"/>
                      <a:pt x="164589" y="28495"/>
                    </a:cubicBezTo>
                    <a:cubicBezTo>
                      <a:pt x="147967" y="28495"/>
                      <a:pt x="135500" y="42446"/>
                      <a:pt x="135500" y="59364"/>
                    </a:cubicBezTo>
                    <a:moveTo>
                      <a:pt x="68715" y="89046"/>
                    </a:moveTo>
                    <a:lnTo>
                      <a:pt x="78955" y="89046"/>
                    </a:lnTo>
                    <a:lnTo>
                      <a:pt x="78955" y="59661"/>
                    </a:lnTo>
                    <a:cubicBezTo>
                      <a:pt x="78955" y="45711"/>
                      <a:pt x="86524" y="37993"/>
                      <a:pt x="96171" y="37993"/>
                    </a:cubicBezTo>
                    <a:cubicBezTo>
                      <a:pt x="104482" y="37993"/>
                      <a:pt x="110122" y="44226"/>
                      <a:pt x="110122" y="54170"/>
                    </a:cubicBezTo>
                    <a:lnTo>
                      <a:pt x="110122" y="89195"/>
                    </a:lnTo>
                    <a:lnTo>
                      <a:pt x="120214" y="89195"/>
                    </a:lnTo>
                    <a:lnTo>
                      <a:pt x="120214" y="52686"/>
                    </a:lnTo>
                    <a:cubicBezTo>
                      <a:pt x="120214" y="37993"/>
                      <a:pt x="111012" y="28792"/>
                      <a:pt x="97803" y="28792"/>
                    </a:cubicBezTo>
                    <a:cubicBezTo>
                      <a:pt x="90086" y="28792"/>
                      <a:pt x="82962" y="32057"/>
                      <a:pt x="78955" y="39181"/>
                    </a:cubicBezTo>
                    <a:lnTo>
                      <a:pt x="78955" y="297"/>
                    </a:lnTo>
                    <a:lnTo>
                      <a:pt x="68715" y="297"/>
                    </a:lnTo>
                    <a:lnTo>
                      <a:pt x="68715" y="89343"/>
                    </a:lnTo>
                    <a:close/>
                    <a:moveTo>
                      <a:pt x="25824" y="48085"/>
                    </a:moveTo>
                    <a:lnTo>
                      <a:pt x="11131" y="48085"/>
                    </a:lnTo>
                    <a:lnTo>
                      <a:pt x="11131" y="15138"/>
                    </a:lnTo>
                    <a:lnTo>
                      <a:pt x="25824" y="15138"/>
                    </a:lnTo>
                    <a:cubicBezTo>
                      <a:pt x="37400" y="15138"/>
                      <a:pt x="43930" y="22262"/>
                      <a:pt x="43930" y="31611"/>
                    </a:cubicBezTo>
                    <a:cubicBezTo>
                      <a:pt x="43930" y="40961"/>
                      <a:pt x="37548" y="48085"/>
                      <a:pt x="25824" y="48085"/>
                    </a:cubicBezTo>
                    <a:moveTo>
                      <a:pt x="25824" y="4749"/>
                    </a:moveTo>
                    <a:lnTo>
                      <a:pt x="0" y="4749"/>
                    </a:lnTo>
                    <a:lnTo>
                      <a:pt x="0" y="89046"/>
                    </a:lnTo>
                    <a:lnTo>
                      <a:pt x="10982" y="89046"/>
                    </a:lnTo>
                    <a:lnTo>
                      <a:pt x="10982" y="58326"/>
                    </a:lnTo>
                    <a:lnTo>
                      <a:pt x="25675" y="58326"/>
                    </a:lnTo>
                    <a:cubicBezTo>
                      <a:pt x="43336" y="58326"/>
                      <a:pt x="54616" y="46898"/>
                      <a:pt x="54616" y="31611"/>
                    </a:cubicBezTo>
                    <a:cubicBezTo>
                      <a:pt x="54616" y="16325"/>
                      <a:pt x="43188" y="4749"/>
                      <a:pt x="25675" y="4749"/>
                    </a:cubicBezTo>
                  </a:path>
                </a:pathLst>
              </a:custGeom>
              <a:solidFill>
                <a:srgbClr val="FFFFFF"/>
              </a:solidFill>
              <a:ln w="14828" cap="flat">
                <a:noFill/>
                <a:prstDash val="solid"/>
                <a:miter/>
              </a:ln>
            </p:spPr>
            <p:txBody>
              <a:bodyPr rtlCol="0" anchor="ctr"/>
              <a:lstStyle/>
              <a:p>
                <a:endParaRPr lang="en-DK"/>
              </a:p>
            </p:txBody>
          </p:sp>
          <p:sp>
            <p:nvSpPr>
              <p:cNvPr id="169" name="Freeform 168">
                <a:extLst>
                  <a:ext uri="{FF2B5EF4-FFF2-40B4-BE49-F238E27FC236}">
                    <a16:creationId xmlns:a16="http://schemas.microsoft.com/office/drawing/2014/main" id="{F796132E-6F47-86FC-5ADD-16E710720DA6}"/>
                  </a:ext>
                </a:extLst>
              </p:cNvPr>
              <p:cNvSpPr/>
              <p:nvPr/>
            </p:nvSpPr>
            <p:spPr>
              <a:xfrm>
                <a:off x="1502382" y="6126087"/>
                <a:ext cx="370287" cy="90975"/>
              </a:xfrm>
              <a:custGeom>
                <a:avLst/>
                <a:gdLst>
                  <a:gd name="connsiteX0" fmla="*/ 318640 w 370287"/>
                  <a:gd name="connsiteY0" fmla="*/ 60106 h 90975"/>
                  <a:gd name="connsiteX1" fmla="*/ 339269 w 370287"/>
                  <a:gd name="connsiteY1" fmla="*/ 38735 h 90975"/>
                  <a:gd name="connsiteX2" fmla="*/ 359750 w 370287"/>
                  <a:gd name="connsiteY2" fmla="*/ 60106 h 90975"/>
                  <a:gd name="connsiteX3" fmla="*/ 339269 w 370287"/>
                  <a:gd name="connsiteY3" fmla="*/ 81477 h 90975"/>
                  <a:gd name="connsiteX4" fmla="*/ 318640 w 370287"/>
                  <a:gd name="connsiteY4" fmla="*/ 60106 h 90975"/>
                  <a:gd name="connsiteX5" fmla="*/ 370287 w 370287"/>
                  <a:gd name="connsiteY5" fmla="*/ 60106 h 90975"/>
                  <a:gd name="connsiteX6" fmla="*/ 339269 w 370287"/>
                  <a:gd name="connsiteY6" fmla="*/ 29237 h 90975"/>
                  <a:gd name="connsiteX7" fmla="*/ 308103 w 370287"/>
                  <a:gd name="connsiteY7" fmla="*/ 60106 h 90975"/>
                  <a:gd name="connsiteX8" fmla="*/ 339269 w 370287"/>
                  <a:gd name="connsiteY8" fmla="*/ 90976 h 90975"/>
                  <a:gd name="connsiteX9" fmla="*/ 370287 w 370287"/>
                  <a:gd name="connsiteY9" fmla="*/ 60106 h 90975"/>
                  <a:gd name="connsiteX10" fmla="*/ 266993 w 370287"/>
                  <a:gd name="connsiteY10" fmla="*/ 89788 h 90975"/>
                  <a:gd name="connsiteX11" fmla="*/ 275601 w 370287"/>
                  <a:gd name="connsiteY11" fmla="*/ 89788 h 90975"/>
                  <a:gd name="connsiteX12" fmla="*/ 303057 w 370287"/>
                  <a:gd name="connsiteY12" fmla="*/ 30424 h 90975"/>
                  <a:gd name="connsiteX13" fmla="*/ 291629 w 370287"/>
                  <a:gd name="connsiteY13" fmla="*/ 30424 h 90975"/>
                  <a:gd name="connsiteX14" fmla="*/ 271297 w 370287"/>
                  <a:gd name="connsiteY14" fmla="*/ 75244 h 90975"/>
                  <a:gd name="connsiteX15" fmla="*/ 250964 w 370287"/>
                  <a:gd name="connsiteY15" fmla="*/ 30424 h 90975"/>
                  <a:gd name="connsiteX16" fmla="*/ 239537 w 370287"/>
                  <a:gd name="connsiteY16" fmla="*/ 30424 h 90975"/>
                  <a:gd name="connsiteX17" fmla="*/ 266993 w 370287"/>
                  <a:gd name="connsiteY17" fmla="*/ 89788 h 90975"/>
                  <a:gd name="connsiteX18" fmla="*/ 217423 w 370287"/>
                  <a:gd name="connsiteY18" fmla="*/ 89788 h 90975"/>
                  <a:gd name="connsiteX19" fmla="*/ 227664 w 370287"/>
                  <a:gd name="connsiteY19" fmla="*/ 89788 h 90975"/>
                  <a:gd name="connsiteX20" fmla="*/ 227664 w 370287"/>
                  <a:gd name="connsiteY20" fmla="*/ 30424 h 90975"/>
                  <a:gd name="connsiteX21" fmla="*/ 217423 w 370287"/>
                  <a:gd name="connsiteY21" fmla="*/ 30424 h 90975"/>
                  <a:gd name="connsiteX22" fmla="*/ 217423 w 370287"/>
                  <a:gd name="connsiteY22" fmla="*/ 89788 h 90975"/>
                  <a:gd name="connsiteX23" fmla="*/ 229741 w 370287"/>
                  <a:gd name="connsiteY23" fmla="*/ 7272 h 90975"/>
                  <a:gd name="connsiteX24" fmla="*/ 222618 w 370287"/>
                  <a:gd name="connsiteY24" fmla="*/ 0 h 90975"/>
                  <a:gd name="connsiteX25" fmla="*/ 215197 w 370287"/>
                  <a:gd name="connsiteY25" fmla="*/ 7272 h 90975"/>
                  <a:gd name="connsiteX26" fmla="*/ 222618 w 370287"/>
                  <a:gd name="connsiteY26" fmla="*/ 14544 h 90975"/>
                  <a:gd name="connsiteX27" fmla="*/ 229741 w 370287"/>
                  <a:gd name="connsiteY27" fmla="*/ 7272 h 90975"/>
                  <a:gd name="connsiteX28" fmla="*/ 158652 w 370287"/>
                  <a:gd name="connsiteY28" fmla="*/ 89788 h 90975"/>
                  <a:gd name="connsiteX29" fmla="*/ 167854 w 370287"/>
                  <a:gd name="connsiteY29" fmla="*/ 89788 h 90975"/>
                  <a:gd name="connsiteX30" fmla="*/ 203769 w 370287"/>
                  <a:gd name="connsiteY30" fmla="*/ 5491 h 90975"/>
                  <a:gd name="connsiteX31" fmla="*/ 191748 w 370287"/>
                  <a:gd name="connsiteY31" fmla="*/ 5491 h 90975"/>
                  <a:gd name="connsiteX32" fmla="*/ 163401 w 370287"/>
                  <a:gd name="connsiteY32" fmla="*/ 72424 h 90975"/>
                  <a:gd name="connsiteX33" fmla="*/ 134906 w 370287"/>
                  <a:gd name="connsiteY33" fmla="*/ 5491 h 90975"/>
                  <a:gd name="connsiteX34" fmla="*/ 122737 w 370287"/>
                  <a:gd name="connsiteY34" fmla="*/ 5491 h 90975"/>
                  <a:gd name="connsiteX35" fmla="*/ 158652 w 370287"/>
                  <a:gd name="connsiteY35" fmla="*/ 89788 h 90975"/>
                  <a:gd name="connsiteX36" fmla="*/ 32799 w 370287"/>
                  <a:gd name="connsiteY36" fmla="*/ 89788 h 90975"/>
                  <a:gd name="connsiteX37" fmla="*/ 43039 w 370287"/>
                  <a:gd name="connsiteY37" fmla="*/ 89788 h 90975"/>
                  <a:gd name="connsiteX38" fmla="*/ 43039 w 370287"/>
                  <a:gd name="connsiteY38" fmla="*/ 60403 h 90975"/>
                  <a:gd name="connsiteX39" fmla="*/ 60255 w 370287"/>
                  <a:gd name="connsiteY39" fmla="*/ 38735 h 90975"/>
                  <a:gd name="connsiteX40" fmla="*/ 74206 w 370287"/>
                  <a:gd name="connsiteY40" fmla="*/ 54912 h 90975"/>
                  <a:gd name="connsiteX41" fmla="*/ 74206 w 370287"/>
                  <a:gd name="connsiteY41" fmla="*/ 89937 h 90975"/>
                  <a:gd name="connsiteX42" fmla="*/ 84298 w 370287"/>
                  <a:gd name="connsiteY42" fmla="*/ 89937 h 90975"/>
                  <a:gd name="connsiteX43" fmla="*/ 84298 w 370287"/>
                  <a:gd name="connsiteY43" fmla="*/ 53428 h 90975"/>
                  <a:gd name="connsiteX44" fmla="*/ 61888 w 370287"/>
                  <a:gd name="connsiteY44" fmla="*/ 29534 h 90975"/>
                  <a:gd name="connsiteX45" fmla="*/ 43039 w 370287"/>
                  <a:gd name="connsiteY45" fmla="*/ 39774 h 90975"/>
                  <a:gd name="connsiteX46" fmla="*/ 43039 w 370287"/>
                  <a:gd name="connsiteY46" fmla="*/ 30721 h 90975"/>
                  <a:gd name="connsiteX47" fmla="*/ 32799 w 370287"/>
                  <a:gd name="connsiteY47" fmla="*/ 30721 h 90975"/>
                  <a:gd name="connsiteX48" fmla="*/ 32799 w 370287"/>
                  <a:gd name="connsiteY48" fmla="*/ 90085 h 90975"/>
                  <a:gd name="connsiteX49" fmla="*/ 0 w 370287"/>
                  <a:gd name="connsiteY49" fmla="*/ 89788 h 90975"/>
                  <a:gd name="connsiteX50" fmla="*/ 10982 w 370287"/>
                  <a:gd name="connsiteY50" fmla="*/ 89788 h 90975"/>
                  <a:gd name="connsiteX51" fmla="*/ 10982 w 370287"/>
                  <a:gd name="connsiteY51" fmla="*/ 5491 h 90975"/>
                  <a:gd name="connsiteX52" fmla="*/ 0 w 370287"/>
                  <a:gd name="connsiteY52" fmla="*/ 5491 h 90975"/>
                  <a:gd name="connsiteX53" fmla="*/ 0 w 370287"/>
                  <a:gd name="connsiteY53" fmla="*/ 89788 h 9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70287" h="90975">
                    <a:moveTo>
                      <a:pt x="318640" y="60106"/>
                    </a:moveTo>
                    <a:cubicBezTo>
                      <a:pt x="318640" y="48233"/>
                      <a:pt x="326951" y="38735"/>
                      <a:pt x="339269" y="38735"/>
                    </a:cubicBezTo>
                    <a:cubicBezTo>
                      <a:pt x="351588" y="38735"/>
                      <a:pt x="359750" y="48233"/>
                      <a:pt x="359750" y="60106"/>
                    </a:cubicBezTo>
                    <a:cubicBezTo>
                      <a:pt x="359750" y="71979"/>
                      <a:pt x="351588" y="81477"/>
                      <a:pt x="339269" y="81477"/>
                    </a:cubicBezTo>
                    <a:cubicBezTo>
                      <a:pt x="326951" y="81477"/>
                      <a:pt x="318640" y="71979"/>
                      <a:pt x="318640" y="60106"/>
                    </a:cubicBezTo>
                    <a:moveTo>
                      <a:pt x="370287" y="60106"/>
                    </a:moveTo>
                    <a:cubicBezTo>
                      <a:pt x="370287" y="43039"/>
                      <a:pt x="357079" y="29237"/>
                      <a:pt x="339269" y="29237"/>
                    </a:cubicBezTo>
                    <a:cubicBezTo>
                      <a:pt x="321460" y="29237"/>
                      <a:pt x="308103" y="43039"/>
                      <a:pt x="308103" y="60106"/>
                    </a:cubicBezTo>
                    <a:cubicBezTo>
                      <a:pt x="308103" y="77174"/>
                      <a:pt x="321311" y="90976"/>
                      <a:pt x="339269" y="90976"/>
                    </a:cubicBezTo>
                    <a:cubicBezTo>
                      <a:pt x="357227" y="90976"/>
                      <a:pt x="370287" y="77174"/>
                      <a:pt x="370287" y="60106"/>
                    </a:cubicBezTo>
                    <a:moveTo>
                      <a:pt x="266993" y="89788"/>
                    </a:moveTo>
                    <a:lnTo>
                      <a:pt x="275601" y="89788"/>
                    </a:lnTo>
                    <a:lnTo>
                      <a:pt x="303057" y="30424"/>
                    </a:lnTo>
                    <a:lnTo>
                      <a:pt x="291629" y="30424"/>
                    </a:lnTo>
                    <a:lnTo>
                      <a:pt x="271297" y="75244"/>
                    </a:lnTo>
                    <a:lnTo>
                      <a:pt x="250964" y="30424"/>
                    </a:lnTo>
                    <a:lnTo>
                      <a:pt x="239537" y="30424"/>
                    </a:lnTo>
                    <a:lnTo>
                      <a:pt x="266993" y="89788"/>
                    </a:lnTo>
                    <a:close/>
                    <a:moveTo>
                      <a:pt x="217423" y="89788"/>
                    </a:moveTo>
                    <a:lnTo>
                      <a:pt x="227664" y="89788"/>
                    </a:lnTo>
                    <a:lnTo>
                      <a:pt x="227664" y="30424"/>
                    </a:lnTo>
                    <a:lnTo>
                      <a:pt x="217423" y="30424"/>
                    </a:lnTo>
                    <a:lnTo>
                      <a:pt x="217423" y="89788"/>
                    </a:lnTo>
                    <a:close/>
                    <a:moveTo>
                      <a:pt x="229741" y="7272"/>
                    </a:moveTo>
                    <a:cubicBezTo>
                      <a:pt x="229741" y="3414"/>
                      <a:pt x="226625" y="0"/>
                      <a:pt x="222618" y="0"/>
                    </a:cubicBezTo>
                    <a:cubicBezTo>
                      <a:pt x="218611" y="0"/>
                      <a:pt x="215197" y="3265"/>
                      <a:pt x="215197" y="7272"/>
                    </a:cubicBezTo>
                    <a:cubicBezTo>
                      <a:pt x="215197" y="11279"/>
                      <a:pt x="218462" y="14544"/>
                      <a:pt x="222618" y="14544"/>
                    </a:cubicBezTo>
                    <a:cubicBezTo>
                      <a:pt x="226773" y="14544"/>
                      <a:pt x="229741" y="11279"/>
                      <a:pt x="229741" y="7272"/>
                    </a:cubicBezTo>
                    <a:moveTo>
                      <a:pt x="158652" y="89788"/>
                    </a:moveTo>
                    <a:lnTo>
                      <a:pt x="167854" y="89788"/>
                    </a:lnTo>
                    <a:lnTo>
                      <a:pt x="203769" y="5491"/>
                    </a:lnTo>
                    <a:lnTo>
                      <a:pt x="191748" y="5491"/>
                    </a:lnTo>
                    <a:lnTo>
                      <a:pt x="163401" y="72424"/>
                    </a:lnTo>
                    <a:lnTo>
                      <a:pt x="134906" y="5491"/>
                    </a:lnTo>
                    <a:lnTo>
                      <a:pt x="122737" y="5491"/>
                    </a:lnTo>
                    <a:lnTo>
                      <a:pt x="158652" y="89788"/>
                    </a:lnTo>
                    <a:close/>
                    <a:moveTo>
                      <a:pt x="32799" y="89788"/>
                    </a:moveTo>
                    <a:lnTo>
                      <a:pt x="43039" y="89788"/>
                    </a:lnTo>
                    <a:lnTo>
                      <a:pt x="43039" y="60403"/>
                    </a:lnTo>
                    <a:cubicBezTo>
                      <a:pt x="43039" y="46452"/>
                      <a:pt x="50608" y="38735"/>
                      <a:pt x="60255" y="38735"/>
                    </a:cubicBezTo>
                    <a:cubicBezTo>
                      <a:pt x="68566" y="38735"/>
                      <a:pt x="74206" y="44968"/>
                      <a:pt x="74206" y="54912"/>
                    </a:cubicBezTo>
                    <a:lnTo>
                      <a:pt x="74206" y="89937"/>
                    </a:lnTo>
                    <a:lnTo>
                      <a:pt x="84298" y="89937"/>
                    </a:lnTo>
                    <a:lnTo>
                      <a:pt x="84298" y="53428"/>
                    </a:lnTo>
                    <a:cubicBezTo>
                      <a:pt x="84298" y="38735"/>
                      <a:pt x="75096" y="29534"/>
                      <a:pt x="61888" y="29534"/>
                    </a:cubicBezTo>
                    <a:cubicBezTo>
                      <a:pt x="54170" y="29534"/>
                      <a:pt x="47047" y="32799"/>
                      <a:pt x="43039" y="39774"/>
                    </a:cubicBezTo>
                    <a:lnTo>
                      <a:pt x="43039" y="30721"/>
                    </a:lnTo>
                    <a:lnTo>
                      <a:pt x="32799" y="30721"/>
                    </a:lnTo>
                    <a:lnTo>
                      <a:pt x="32799" y="90085"/>
                    </a:lnTo>
                    <a:close/>
                    <a:moveTo>
                      <a:pt x="0" y="89788"/>
                    </a:moveTo>
                    <a:lnTo>
                      <a:pt x="10982" y="89788"/>
                    </a:lnTo>
                    <a:lnTo>
                      <a:pt x="10982" y="5491"/>
                    </a:lnTo>
                    <a:lnTo>
                      <a:pt x="0" y="5491"/>
                    </a:lnTo>
                    <a:lnTo>
                      <a:pt x="0" y="89788"/>
                    </a:lnTo>
                    <a:close/>
                  </a:path>
                </a:pathLst>
              </a:custGeom>
              <a:solidFill>
                <a:srgbClr val="FFFFFF"/>
              </a:solidFill>
              <a:ln w="14828" cap="flat">
                <a:noFill/>
                <a:prstDash val="solid"/>
                <a:miter/>
              </a:ln>
            </p:spPr>
            <p:txBody>
              <a:bodyPr rtlCol="0" anchor="ctr"/>
              <a:lstStyle/>
              <a:p>
                <a:endParaRPr lang="en-DK"/>
              </a:p>
            </p:txBody>
          </p:sp>
          <p:sp>
            <p:nvSpPr>
              <p:cNvPr id="170" name="Freeform 169">
                <a:extLst>
                  <a:ext uri="{FF2B5EF4-FFF2-40B4-BE49-F238E27FC236}">
                    <a16:creationId xmlns:a16="http://schemas.microsoft.com/office/drawing/2014/main" id="{0F4A459E-9CF4-BFF2-944E-AAA1596B8095}"/>
                  </a:ext>
                </a:extLst>
              </p:cNvPr>
              <p:cNvSpPr/>
              <p:nvPr/>
            </p:nvSpPr>
            <p:spPr>
              <a:xfrm>
                <a:off x="1476113" y="1977129"/>
                <a:ext cx="441376" cy="114572"/>
              </a:xfrm>
              <a:custGeom>
                <a:avLst/>
                <a:gdLst>
                  <a:gd name="connsiteX0" fmla="*/ 402493 w 441376"/>
                  <a:gd name="connsiteY0" fmla="*/ 114573 h 114572"/>
                  <a:gd name="connsiteX1" fmla="*/ 441377 w 441376"/>
                  <a:gd name="connsiteY1" fmla="*/ 30424 h 114572"/>
                  <a:gd name="connsiteX2" fmla="*/ 429949 w 441376"/>
                  <a:gd name="connsiteY2" fmla="*/ 30424 h 114572"/>
                  <a:gd name="connsiteX3" fmla="*/ 409617 w 441376"/>
                  <a:gd name="connsiteY3" fmla="*/ 75392 h 114572"/>
                  <a:gd name="connsiteX4" fmla="*/ 389136 w 441376"/>
                  <a:gd name="connsiteY4" fmla="*/ 30424 h 114572"/>
                  <a:gd name="connsiteX5" fmla="*/ 377856 w 441376"/>
                  <a:gd name="connsiteY5" fmla="*/ 30424 h 114572"/>
                  <a:gd name="connsiteX6" fmla="*/ 403828 w 441376"/>
                  <a:gd name="connsiteY6" fmla="*/ 86672 h 114572"/>
                  <a:gd name="connsiteX7" fmla="*/ 390917 w 441376"/>
                  <a:gd name="connsiteY7" fmla="*/ 114573 h 114572"/>
                  <a:gd name="connsiteX8" fmla="*/ 402344 w 441376"/>
                  <a:gd name="connsiteY8" fmla="*/ 114573 h 114572"/>
                  <a:gd name="connsiteX9" fmla="*/ 369100 w 441376"/>
                  <a:gd name="connsiteY9" fmla="*/ 88898 h 114572"/>
                  <a:gd name="connsiteX10" fmla="*/ 369100 w 441376"/>
                  <a:gd name="connsiteY10" fmla="*/ 79696 h 114572"/>
                  <a:gd name="connsiteX11" fmla="*/ 361828 w 441376"/>
                  <a:gd name="connsiteY11" fmla="*/ 80884 h 114572"/>
                  <a:gd name="connsiteX12" fmla="*/ 352033 w 441376"/>
                  <a:gd name="connsiteY12" fmla="*/ 70792 h 114572"/>
                  <a:gd name="connsiteX13" fmla="*/ 352033 w 441376"/>
                  <a:gd name="connsiteY13" fmla="*/ 39626 h 114572"/>
                  <a:gd name="connsiteX14" fmla="*/ 369100 w 441376"/>
                  <a:gd name="connsiteY14" fmla="*/ 39626 h 114572"/>
                  <a:gd name="connsiteX15" fmla="*/ 369100 w 441376"/>
                  <a:gd name="connsiteY15" fmla="*/ 30276 h 114572"/>
                  <a:gd name="connsiteX16" fmla="*/ 352033 w 441376"/>
                  <a:gd name="connsiteY16" fmla="*/ 30276 h 114572"/>
                  <a:gd name="connsiteX17" fmla="*/ 352033 w 441376"/>
                  <a:gd name="connsiteY17" fmla="*/ 13951 h 114572"/>
                  <a:gd name="connsiteX18" fmla="*/ 341792 w 441376"/>
                  <a:gd name="connsiteY18" fmla="*/ 13951 h 114572"/>
                  <a:gd name="connsiteX19" fmla="*/ 341792 w 441376"/>
                  <a:gd name="connsiteY19" fmla="*/ 30424 h 114572"/>
                  <a:gd name="connsiteX20" fmla="*/ 329177 w 441376"/>
                  <a:gd name="connsiteY20" fmla="*/ 30424 h 114572"/>
                  <a:gd name="connsiteX21" fmla="*/ 329177 w 441376"/>
                  <a:gd name="connsiteY21" fmla="*/ 39774 h 114572"/>
                  <a:gd name="connsiteX22" fmla="*/ 341792 w 441376"/>
                  <a:gd name="connsiteY22" fmla="*/ 39774 h 114572"/>
                  <a:gd name="connsiteX23" fmla="*/ 341792 w 441376"/>
                  <a:gd name="connsiteY23" fmla="*/ 72127 h 114572"/>
                  <a:gd name="connsiteX24" fmla="*/ 359899 w 441376"/>
                  <a:gd name="connsiteY24" fmla="*/ 90233 h 114572"/>
                  <a:gd name="connsiteX25" fmla="*/ 369100 w 441376"/>
                  <a:gd name="connsiteY25" fmla="*/ 88749 h 114572"/>
                  <a:gd name="connsiteX26" fmla="*/ 306322 w 441376"/>
                  <a:gd name="connsiteY26" fmla="*/ 89788 h 114572"/>
                  <a:gd name="connsiteX27" fmla="*/ 316562 w 441376"/>
                  <a:gd name="connsiteY27" fmla="*/ 89788 h 114572"/>
                  <a:gd name="connsiteX28" fmla="*/ 316562 w 441376"/>
                  <a:gd name="connsiteY28" fmla="*/ 30424 h 114572"/>
                  <a:gd name="connsiteX29" fmla="*/ 306322 w 441376"/>
                  <a:gd name="connsiteY29" fmla="*/ 30424 h 114572"/>
                  <a:gd name="connsiteX30" fmla="*/ 306322 w 441376"/>
                  <a:gd name="connsiteY30" fmla="*/ 89788 h 114572"/>
                  <a:gd name="connsiteX31" fmla="*/ 318640 w 441376"/>
                  <a:gd name="connsiteY31" fmla="*/ 7272 h 114572"/>
                  <a:gd name="connsiteX32" fmla="*/ 311516 w 441376"/>
                  <a:gd name="connsiteY32" fmla="*/ 0 h 114572"/>
                  <a:gd name="connsiteX33" fmla="*/ 304096 w 441376"/>
                  <a:gd name="connsiteY33" fmla="*/ 7272 h 114572"/>
                  <a:gd name="connsiteX34" fmla="*/ 311516 w 441376"/>
                  <a:gd name="connsiteY34" fmla="*/ 14544 h 114572"/>
                  <a:gd name="connsiteX35" fmla="*/ 318640 w 441376"/>
                  <a:gd name="connsiteY35" fmla="*/ 7272 h 114572"/>
                  <a:gd name="connsiteX36" fmla="*/ 290590 w 441376"/>
                  <a:gd name="connsiteY36" fmla="*/ 73166 h 114572"/>
                  <a:gd name="connsiteX37" fmla="*/ 274413 w 441376"/>
                  <a:gd name="connsiteY37" fmla="*/ 55654 h 114572"/>
                  <a:gd name="connsiteX38" fmla="*/ 267883 w 441376"/>
                  <a:gd name="connsiteY38" fmla="*/ 53576 h 114572"/>
                  <a:gd name="connsiteX39" fmla="*/ 259424 w 441376"/>
                  <a:gd name="connsiteY39" fmla="*/ 44968 h 114572"/>
                  <a:gd name="connsiteX40" fmla="*/ 269367 w 441376"/>
                  <a:gd name="connsiteY40" fmla="*/ 37845 h 114572"/>
                  <a:gd name="connsiteX41" fmla="*/ 281686 w 441376"/>
                  <a:gd name="connsiteY41" fmla="*/ 44672 h 114572"/>
                  <a:gd name="connsiteX42" fmla="*/ 289255 w 441376"/>
                  <a:gd name="connsiteY42" fmla="*/ 39477 h 114572"/>
                  <a:gd name="connsiteX43" fmla="*/ 269664 w 441376"/>
                  <a:gd name="connsiteY43" fmla="*/ 29088 h 114572"/>
                  <a:gd name="connsiteX44" fmla="*/ 249183 w 441376"/>
                  <a:gd name="connsiteY44" fmla="*/ 45414 h 114572"/>
                  <a:gd name="connsiteX45" fmla="*/ 264025 w 441376"/>
                  <a:gd name="connsiteY45" fmla="*/ 62778 h 114572"/>
                  <a:gd name="connsiteX46" fmla="*/ 269961 w 441376"/>
                  <a:gd name="connsiteY46" fmla="*/ 64707 h 114572"/>
                  <a:gd name="connsiteX47" fmla="*/ 280350 w 441376"/>
                  <a:gd name="connsiteY47" fmla="*/ 73908 h 114572"/>
                  <a:gd name="connsiteX48" fmla="*/ 269961 w 441376"/>
                  <a:gd name="connsiteY48" fmla="*/ 81922 h 114572"/>
                  <a:gd name="connsiteX49" fmla="*/ 254823 w 441376"/>
                  <a:gd name="connsiteY49" fmla="*/ 72573 h 114572"/>
                  <a:gd name="connsiteX50" fmla="*/ 246512 w 441376"/>
                  <a:gd name="connsiteY50" fmla="*/ 77173 h 114572"/>
                  <a:gd name="connsiteX51" fmla="*/ 269813 w 441376"/>
                  <a:gd name="connsiteY51" fmla="*/ 90976 h 114572"/>
                  <a:gd name="connsiteX52" fmla="*/ 290442 w 441376"/>
                  <a:gd name="connsiteY52" fmla="*/ 73166 h 114572"/>
                  <a:gd name="connsiteX53" fmla="*/ 207331 w 441376"/>
                  <a:gd name="connsiteY53" fmla="*/ 38141 h 114572"/>
                  <a:gd name="connsiteX54" fmla="*/ 225438 w 441376"/>
                  <a:gd name="connsiteY54" fmla="*/ 53725 h 114572"/>
                  <a:gd name="connsiteX55" fmla="*/ 187741 w 441376"/>
                  <a:gd name="connsiteY55" fmla="*/ 53725 h 114572"/>
                  <a:gd name="connsiteX56" fmla="*/ 207183 w 441376"/>
                  <a:gd name="connsiteY56" fmla="*/ 38141 h 114572"/>
                  <a:gd name="connsiteX57" fmla="*/ 176758 w 441376"/>
                  <a:gd name="connsiteY57" fmla="*/ 60106 h 114572"/>
                  <a:gd name="connsiteX58" fmla="*/ 207480 w 441376"/>
                  <a:gd name="connsiteY58" fmla="*/ 90976 h 114572"/>
                  <a:gd name="connsiteX59" fmla="*/ 234194 w 441376"/>
                  <a:gd name="connsiteY59" fmla="*/ 76877 h 114572"/>
                  <a:gd name="connsiteX60" fmla="*/ 226180 w 441376"/>
                  <a:gd name="connsiteY60" fmla="*/ 71237 h 114572"/>
                  <a:gd name="connsiteX61" fmla="*/ 207628 w 441376"/>
                  <a:gd name="connsiteY61" fmla="*/ 81626 h 114572"/>
                  <a:gd name="connsiteX62" fmla="*/ 187147 w 441376"/>
                  <a:gd name="connsiteY62" fmla="*/ 62184 h 114572"/>
                  <a:gd name="connsiteX63" fmla="*/ 235826 w 441376"/>
                  <a:gd name="connsiteY63" fmla="*/ 62184 h 114572"/>
                  <a:gd name="connsiteX64" fmla="*/ 235826 w 441376"/>
                  <a:gd name="connsiteY64" fmla="*/ 59067 h 114572"/>
                  <a:gd name="connsiteX65" fmla="*/ 207628 w 441376"/>
                  <a:gd name="connsiteY65" fmla="*/ 29237 h 114572"/>
                  <a:gd name="connsiteX66" fmla="*/ 176758 w 441376"/>
                  <a:gd name="connsiteY66" fmla="*/ 60106 h 114572"/>
                  <a:gd name="connsiteX67" fmla="*/ 154348 w 441376"/>
                  <a:gd name="connsiteY67" fmla="*/ 60106 h 114572"/>
                  <a:gd name="connsiteX68" fmla="*/ 134164 w 441376"/>
                  <a:gd name="connsiteY68" fmla="*/ 81626 h 114572"/>
                  <a:gd name="connsiteX69" fmla="*/ 113980 w 441376"/>
                  <a:gd name="connsiteY69" fmla="*/ 60106 h 114572"/>
                  <a:gd name="connsiteX70" fmla="*/ 134164 w 441376"/>
                  <a:gd name="connsiteY70" fmla="*/ 38587 h 114572"/>
                  <a:gd name="connsiteX71" fmla="*/ 154348 w 441376"/>
                  <a:gd name="connsiteY71" fmla="*/ 60106 h 114572"/>
                  <a:gd name="connsiteX72" fmla="*/ 114871 w 441376"/>
                  <a:gd name="connsiteY72" fmla="*/ 80587 h 114572"/>
                  <a:gd name="connsiteX73" fmla="*/ 135797 w 441376"/>
                  <a:gd name="connsiteY73" fmla="*/ 90976 h 114572"/>
                  <a:gd name="connsiteX74" fmla="*/ 164886 w 441376"/>
                  <a:gd name="connsiteY74" fmla="*/ 60106 h 114572"/>
                  <a:gd name="connsiteX75" fmla="*/ 135797 w 441376"/>
                  <a:gd name="connsiteY75" fmla="*/ 29237 h 114572"/>
                  <a:gd name="connsiteX76" fmla="*/ 114871 w 441376"/>
                  <a:gd name="connsiteY76" fmla="*/ 39626 h 114572"/>
                  <a:gd name="connsiteX77" fmla="*/ 114871 w 441376"/>
                  <a:gd name="connsiteY77" fmla="*/ 742 h 114572"/>
                  <a:gd name="connsiteX78" fmla="*/ 104630 w 441376"/>
                  <a:gd name="connsiteY78" fmla="*/ 742 h 114572"/>
                  <a:gd name="connsiteX79" fmla="*/ 104630 w 441376"/>
                  <a:gd name="connsiteY79" fmla="*/ 89788 h 114572"/>
                  <a:gd name="connsiteX80" fmla="*/ 114871 w 441376"/>
                  <a:gd name="connsiteY80" fmla="*/ 89788 h 114572"/>
                  <a:gd name="connsiteX81" fmla="*/ 114871 w 441376"/>
                  <a:gd name="connsiteY81" fmla="*/ 80587 h 114572"/>
                  <a:gd name="connsiteX82" fmla="*/ 11279 w 441376"/>
                  <a:gd name="connsiteY82" fmla="*/ 47640 h 114572"/>
                  <a:gd name="connsiteX83" fmla="*/ 43633 w 441376"/>
                  <a:gd name="connsiteY83" fmla="*/ 14544 h 114572"/>
                  <a:gd name="connsiteX84" fmla="*/ 76135 w 441376"/>
                  <a:gd name="connsiteY84" fmla="*/ 47640 h 114572"/>
                  <a:gd name="connsiteX85" fmla="*/ 43633 w 441376"/>
                  <a:gd name="connsiteY85" fmla="*/ 80735 h 114572"/>
                  <a:gd name="connsiteX86" fmla="*/ 11279 w 441376"/>
                  <a:gd name="connsiteY86" fmla="*/ 47640 h 114572"/>
                  <a:gd name="connsiteX87" fmla="*/ 87266 w 441376"/>
                  <a:gd name="connsiteY87" fmla="*/ 47640 h 114572"/>
                  <a:gd name="connsiteX88" fmla="*/ 43633 w 441376"/>
                  <a:gd name="connsiteY88" fmla="*/ 4007 h 114572"/>
                  <a:gd name="connsiteX89" fmla="*/ 0 w 441376"/>
                  <a:gd name="connsiteY89" fmla="*/ 47640 h 114572"/>
                  <a:gd name="connsiteX90" fmla="*/ 43633 w 441376"/>
                  <a:gd name="connsiteY90" fmla="*/ 91124 h 114572"/>
                  <a:gd name="connsiteX91" fmla="*/ 87266 w 441376"/>
                  <a:gd name="connsiteY91" fmla="*/ 47640 h 11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441376" h="114572">
                    <a:moveTo>
                      <a:pt x="402493" y="114573"/>
                    </a:moveTo>
                    <a:lnTo>
                      <a:pt x="441377" y="30424"/>
                    </a:lnTo>
                    <a:lnTo>
                      <a:pt x="429949" y="30424"/>
                    </a:lnTo>
                    <a:lnTo>
                      <a:pt x="409617" y="75392"/>
                    </a:lnTo>
                    <a:lnTo>
                      <a:pt x="389136" y="30424"/>
                    </a:lnTo>
                    <a:lnTo>
                      <a:pt x="377856" y="30424"/>
                    </a:lnTo>
                    <a:lnTo>
                      <a:pt x="403828" y="86672"/>
                    </a:lnTo>
                    <a:lnTo>
                      <a:pt x="390917" y="114573"/>
                    </a:lnTo>
                    <a:lnTo>
                      <a:pt x="402344" y="114573"/>
                    </a:lnTo>
                    <a:close/>
                    <a:moveTo>
                      <a:pt x="369100" y="88898"/>
                    </a:moveTo>
                    <a:lnTo>
                      <a:pt x="369100" y="79696"/>
                    </a:lnTo>
                    <a:cubicBezTo>
                      <a:pt x="367171" y="80438"/>
                      <a:pt x="364351" y="80884"/>
                      <a:pt x="361828" y="80884"/>
                    </a:cubicBezTo>
                    <a:cubicBezTo>
                      <a:pt x="355446" y="80884"/>
                      <a:pt x="352033" y="78361"/>
                      <a:pt x="352033" y="70792"/>
                    </a:cubicBezTo>
                    <a:lnTo>
                      <a:pt x="352033" y="39626"/>
                    </a:lnTo>
                    <a:lnTo>
                      <a:pt x="369100" y="39626"/>
                    </a:lnTo>
                    <a:lnTo>
                      <a:pt x="369100" y="30276"/>
                    </a:lnTo>
                    <a:lnTo>
                      <a:pt x="352033" y="30276"/>
                    </a:lnTo>
                    <a:lnTo>
                      <a:pt x="352033" y="13951"/>
                    </a:lnTo>
                    <a:lnTo>
                      <a:pt x="341792" y="13951"/>
                    </a:lnTo>
                    <a:lnTo>
                      <a:pt x="341792" y="30424"/>
                    </a:lnTo>
                    <a:lnTo>
                      <a:pt x="329177" y="30424"/>
                    </a:lnTo>
                    <a:lnTo>
                      <a:pt x="329177" y="39774"/>
                    </a:lnTo>
                    <a:lnTo>
                      <a:pt x="341792" y="39774"/>
                    </a:lnTo>
                    <a:lnTo>
                      <a:pt x="341792" y="72127"/>
                    </a:lnTo>
                    <a:cubicBezTo>
                      <a:pt x="341792" y="84445"/>
                      <a:pt x="349658" y="90233"/>
                      <a:pt x="359899" y="90233"/>
                    </a:cubicBezTo>
                    <a:cubicBezTo>
                      <a:pt x="363609" y="90233"/>
                      <a:pt x="366577" y="89640"/>
                      <a:pt x="369100" y="88749"/>
                    </a:cubicBezTo>
                    <a:moveTo>
                      <a:pt x="306322" y="89788"/>
                    </a:moveTo>
                    <a:lnTo>
                      <a:pt x="316562" y="89788"/>
                    </a:lnTo>
                    <a:lnTo>
                      <a:pt x="316562" y="30424"/>
                    </a:lnTo>
                    <a:lnTo>
                      <a:pt x="306322" y="30424"/>
                    </a:lnTo>
                    <a:lnTo>
                      <a:pt x="306322" y="89788"/>
                    </a:lnTo>
                    <a:close/>
                    <a:moveTo>
                      <a:pt x="318640" y="7272"/>
                    </a:moveTo>
                    <a:cubicBezTo>
                      <a:pt x="318640" y="3413"/>
                      <a:pt x="315523" y="0"/>
                      <a:pt x="311516" y="0"/>
                    </a:cubicBezTo>
                    <a:cubicBezTo>
                      <a:pt x="307509" y="0"/>
                      <a:pt x="304096" y="3265"/>
                      <a:pt x="304096" y="7272"/>
                    </a:cubicBezTo>
                    <a:cubicBezTo>
                      <a:pt x="304096" y="11279"/>
                      <a:pt x="307361" y="14544"/>
                      <a:pt x="311516" y="14544"/>
                    </a:cubicBezTo>
                    <a:cubicBezTo>
                      <a:pt x="315672" y="14544"/>
                      <a:pt x="318640" y="11428"/>
                      <a:pt x="318640" y="7272"/>
                    </a:cubicBezTo>
                    <a:moveTo>
                      <a:pt x="290590" y="73166"/>
                    </a:moveTo>
                    <a:cubicBezTo>
                      <a:pt x="290590" y="64113"/>
                      <a:pt x="284654" y="58770"/>
                      <a:pt x="274413" y="55654"/>
                    </a:cubicBezTo>
                    <a:lnTo>
                      <a:pt x="267883" y="53576"/>
                    </a:lnTo>
                    <a:cubicBezTo>
                      <a:pt x="261353" y="51498"/>
                      <a:pt x="259424" y="48530"/>
                      <a:pt x="259424" y="44968"/>
                    </a:cubicBezTo>
                    <a:cubicBezTo>
                      <a:pt x="259424" y="40516"/>
                      <a:pt x="264321" y="37845"/>
                      <a:pt x="269367" y="37845"/>
                    </a:cubicBezTo>
                    <a:cubicBezTo>
                      <a:pt x="275007" y="37845"/>
                      <a:pt x="279163" y="40813"/>
                      <a:pt x="281686" y="44672"/>
                    </a:cubicBezTo>
                    <a:lnTo>
                      <a:pt x="289255" y="39477"/>
                    </a:lnTo>
                    <a:cubicBezTo>
                      <a:pt x="285396" y="32799"/>
                      <a:pt x="278421" y="29088"/>
                      <a:pt x="269664" y="29088"/>
                    </a:cubicBezTo>
                    <a:cubicBezTo>
                      <a:pt x="258237" y="29088"/>
                      <a:pt x="249332" y="35173"/>
                      <a:pt x="249183" y="45414"/>
                    </a:cubicBezTo>
                    <a:cubicBezTo>
                      <a:pt x="249183" y="53725"/>
                      <a:pt x="254229" y="59958"/>
                      <a:pt x="264025" y="62778"/>
                    </a:cubicBezTo>
                    <a:lnTo>
                      <a:pt x="269961" y="64707"/>
                    </a:lnTo>
                    <a:cubicBezTo>
                      <a:pt x="277678" y="67081"/>
                      <a:pt x="280350" y="69753"/>
                      <a:pt x="280350" y="73908"/>
                    </a:cubicBezTo>
                    <a:cubicBezTo>
                      <a:pt x="280350" y="78954"/>
                      <a:pt x="275749" y="81922"/>
                      <a:pt x="269961" y="81922"/>
                    </a:cubicBezTo>
                    <a:cubicBezTo>
                      <a:pt x="263431" y="81922"/>
                      <a:pt x="257049" y="78657"/>
                      <a:pt x="254823" y="72573"/>
                    </a:cubicBezTo>
                    <a:lnTo>
                      <a:pt x="246512" y="77173"/>
                    </a:lnTo>
                    <a:cubicBezTo>
                      <a:pt x="250074" y="86375"/>
                      <a:pt x="259275" y="90976"/>
                      <a:pt x="269813" y="90976"/>
                    </a:cubicBezTo>
                    <a:cubicBezTo>
                      <a:pt x="281686" y="90976"/>
                      <a:pt x="290442" y="84594"/>
                      <a:pt x="290442" y="73166"/>
                    </a:cubicBezTo>
                    <a:moveTo>
                      <a:pt x="207331" y="38141"/>
                    </a:moveTo>
                    <a:cubicBezTo>
                      <a:pt x="216384" y="38141"/>
                      <a:pt x="224102" y="43929"/>
                      <a:pt x="225438" y="53725"/>
                    </a:cubicBezTo>
                    <a:lnTo>
                      <a:pt x="187741" y="53725"/>
                    </a:lnTo>
                    <a:cubicBezTo>
                      <a:pt x="189670" y="43929"/>
                      <a:pt x="198278" y="38141"/>
                      <a:pt x="207183" y="38141"/>
                    </a:cubicBezTo>
                    <a:moveTo>
                      <a:pt x="176758" y="60106"/>
                    </a:moveTo>
                    <a:cubicBezTo>
                      <a:pt x="176758" y="77619"/>
                      <a:pt x="189077" y="90976"/>
                      <a:pt x="207480" y="90976"/>
                    </a:cubicBezTo>
                    <a:cubicBezTo>
                      <a:pt x="219798" y="90976"/>
                      <a:pt x="228851" y="85484"/>
                      <a:pt x="234194" y="76877"/>
                    </a:cubicBezTo>
                    <a:lnTo>
                      <a:pt x="226180" y="71237"/>
                    </a:lnTo>
                    <a:cubicBezTo>
                      <a:pt x="222469" y="77470"/>
                      <a:pt x="216830" y="81626"/>
                      <a:pt x="207628" y="81626"/>
                    </a:cubicBezTo>
                    <a:cubicBezTo>
                      <a:pt x="195904" y="81626"/>
                      <a:pt x="187444" y="73315"/>
                      <a:pt x="187147" y="62184"/>
                    </a:cubicBezTo>
                    <a:lnTo>
                      <a:pt x="235826" y="62184"/>
                    </a:lnTo>
                    <a:cubicBezTo>
                      <a:pt x="235826" y="60848"/>
                      <a:pt x="235826" y="60106"/>
                      <a:pt x="235826" y="59067"/>
                    </a:cubicBezTo>
                    <a:cubicBezTo>
                      <a:pt x="235826" y="40071"/>
                      <a:pt x="223063" y="29237"/>
                      <a:pt x="207628" y="29237"/>
                    </a:cubicBezTo>
                    <a:cubicBezTo>
                      <a:pt x="189522" y="29237"/>
                      <a:pt x="176758" y="42742"/>
                      <a:pt x="176758" y="60106"/>
                    </a:cubicBezTo>
                    <a:moveTo>
                      <a:pt x="154348" y="60106"/>
                    </a:moveTo>
                    <a:cubicBezTo>
                      <a:pt x="154348" y="72127"/>
                      <a:pt x="146186" y="81626"/>
                      <a:pt x="134164" y="81626"/>
                    </a:cubicBezTo>
                    <a:cubicBezTo>
                      <a:pt x="122143" y="81626"/>
                      <a:pt x="113980" y="72127"/>
                      <a:pt x="113980" y="60106"/>
                    </a:cubicBezTo>
                    <a:cubicBezTo>
                      <a:pt x="113980" y="48085"/>
                      <a:pt x="122143" y="38587"/>
                      <a:pt x="134164" y="38587"/>
                    </a:cubicBezTo>
                    <a:cubicBezTo>
                      <a:pt x="146186" y="38587"/>
                      <a:pt x="154348" y="48085"/>
                      <a:pt x="154348" y="60106"/>
                    </a:cubicBezTo>
                    <a:moveTo>
                      <a:pt x="114871" y="80587"/>
                    </a:moveTo>
                    <a:cubicBezTo>
                      <a:pt x="118729" y="86226"/>
                      <a:pt x="126892" y="90976"/>
                      <a:pt x="135797" y="90976"/>
                    </a:cubicBezTo>
                    <a:cubicBezTo>
                      <a:pt x="152271" y="90976"/>
                      <a:pt x="164886" y="77173"/>
                      <a:pt x="164886" y="60106"/>
                    </a:cubicBezTo>
                    <a:cubicBezTo>
                      <a:pt x="164886" y="43039"/>
                      <a:pt x="152271" y="29237"/>
                      <a:pt x="135797" y="29237"/>
                    </a:cubicBezTo>
                    <a:cubicBezTo>
                      <a:pt x="126892" y="29237"/>
                      <a:pt x="118878" y="33838"/>
                      <a:pt x="114871" y="39626"/>
                    </a:cubicBezTo>
                    <a:lnTo>
                      <a:pt x="114871" y="742"/>
                    </a:lnTo>
                    <a:lnTo>
                      <a:pt x="104630" y="742"/>
                    </a:lnTo>
                    <a:lnTo>
                      <a:pt x="104630" y="89788"/>
                    </a:lnTo>
                    <a:lnTo>
                      <a:pt x="114871" y="89788"/>
                    </a:lnTo>
                    <a:lnTo>
                      <a:pt x="114871" y="80587"/>
                    </a:lnTo>
                    <a:close/>
                    <a:moveTo>
                      <a:pt x="11279" y="47640"/>
                    </a:moveTo>
                    <a:cubicBezTo>
                      <a:pt x="11279" y="29088"/>
                      <a:pt x="25230" y="14544"/>
                      <a:pt x="43633" y="14544"/>
                    </a:cubicBezTo>
                    <a:cubicBezTo>
                      <a:pt x="62036" y="14544"/>
                      <a:pt x="76135" y="29237"/>
                      <a:pt x="76135" y="47640"/>
                    </a:cubicBezTo>
                    <a:cubicBezTo>
                      <a:pt x="76135" y="66043"/>
                      <a:pt x="62185" y="80735"/>
                      <a:pt x="43633" y="80735"/>
                    </a:cubicBezTo>
                    <a:cubicBezTo>
                      <a:pt x="25082" y="80735"/>
                      <a:pt x="11279" y="66191"/>
                      <a:pt x="11279" y="47640"/>
                    </a:cubicBezTo>
                    <a:moveTo>
                      <a:pt x="87266" y="47640"/>
                    </a:moveTo>
                    <a:cubicBezTo>
                      <a:pt x="87266" y="23152"/>
                      <a:pt x="68121" y="4007"/>
                      <a:pt x="43633" y="4007"/>
                    </a:cubicBezTo>
                    <a:cubicBezTo>
                      <a:pt x="19145" y="4007"/>
                      <a:pt x="0" y="23152"/>
                      <a:pt x="0" y="47640"/>
                    </a:cubicBezTo>
                    <a:cubicBezTo>
                      <a:pt x="0" y="72127"/>
                      <a:pt x="19294" y="91124"/>
                      <a:pt x="43633" y="91124"/>
                    </a:cubicBezTo>
                    <a:cubicBezTo>
                      <a:pt x="67973" y="91124"/>
                      <a:pt x="87266" y="71979"/>
                      <a:pt x="87266" y="47640"/>
                    </a:cubicBezTo>
                  </a:path>
                </a:pathLst>
              </a:custGeom>
              <a:solidFill>
                <a:srgbClr val="FFFFFF"/>
              </a:solidFill>
              <a:ln w="14828" cap="flat">
                <a:noFill/>
                <a:prstDash val="solid"/>
                <a:miter/>
              </a:ln>
            </p:spPr>
            <p:txBody>
              <a:bodyPr rtlCol="0" anchor="ctr"/>
              <a:lstStyle/>
              <a:p>
                <a:endParaRPr lang="en-DK"/>
              </a:p>
            </p:txBody>
          </p:sp>
          <p:sp>
            <p:nvSpPr>
              <p:cNvPr id="171" name="Freeform 170">
                <a:extLst>
                  <a:ext uri="{FF2B5EF4-FFF2-40B4-BE49-F238E27FC236}">
                    <a16:creationId xmlns:a16="http://schemas.microsoft.com/office/drawing/2014/main" id="{7120963A-B062-5E9E-A0FC-997CCEBD5459}"/>
                  </a:ext>
                </a:extLst>
              </p:cNvPr>
              <p:cNvSpPr/>
              <p:nvPr/>
            </p:nvSpPr>
            <p:spPr>
              <a:xfrm>
                <a:off x="4480116" y="1977129"/>
                <a:ext cx="708963" cy="91123"/>
              </a:xfrm>
              <a:custGeom>
                <a:avLst/>
                <a:gdLst>
                  <a:gd name="connsiteX0" fmla="*/ 640842 w 708963"/>
                  <a:gd name="connsiteY0" fmla="*/ 89788 h 91123"/>
                  <a:gd name="connsiteX1" fmla="*/ 651825 w 708963"/>
                  <a:gd name="connsiteY1" fmla="*/ 89788 h 91123"/>
                  <a:gd name="connsiteX2" fmla="*/ 651825 w 708963"/>
                  <a:gd name="connsiteY2" fmla="*/ 51795 h 91123"/>
                  <a:gd name="connsiteX3" fmla="*/ 697981 w 708963"/>
                  <a:gd name="connsiteY3" fmla="*/ 51795 h 91123"/>
                  <a:gd name="connsiteX4" fmla="*/ 697981 w 708963"/>
                  <a:gd name="connsiteY4" fmla="*/ 89788 h 91123"/>
                  <a:gd name="connsiteX5" fmla="*/ 708963 w 708963"/>
                  <a:gd name="connsiteY5" fmla="*/ 89788 h 91123"/>
                  <a:gd name="connsiteX6" fmla="*/ 708963 w 708963"/>
                  <a:gd name="connsiteY6" fmla="*/ 5491 h 91123"/>
                  <a:gd name="connsiteX7" fmla="*/ 697981 w 708963"/>
                  <a:gd name="connsiteY7" fmla="*/ 5491 h 91123"/>
                  <a:gd name="connsiteX8" fmla="*/ 697981 w 708963"/>
                  <a:gd name="connsiteY8" fmla="*/ 41406 h 91123"/>
                  <a:gd name="connsiteX9" fmla="*/ 651825 w 708963"/>
                  <a:gd name="connsiteY9" fmla="*/ 41406 h 91123"/>
                  <a:gd name="connsiteX10" fmla="*/ 651825 w 708963"/>
                  <a:gd name="connsiteY10" fmla="*/ 5491 h 91123"/>
                  <a:gd name="connsiteX11" fmla="*/ 640842 w 708963"/>
                  <a:gd name="connsiteY11" fmla="*/ 5491 h 91123"/>
                  <a:gd name="connsiteX12" fmla="*/ 640842 w 708963"/>
                  <a:gd name="connsiteY12" fmla="*/ 89788 h 91123"/>
                  <a:gd name="connsiteX13" fmla="*/ 566637 w 708963"/>
                  <a:gd name="connsiteY13" fmla="*/ 75986 h 91123"/>
                  <a:gd name="connsiteX14" fmla="*/ 596170 w 708963"/>
                  <a:gd name="connsiteY14" fmla="*/ 91124 h 91123"/>
                  <a:gd name="connsiteX15" fmla="*/ 623033 w 708963"/>
                  <a:gd name="connsiteY15" fmla="*/ 67675 h 91123"/>
                  <a:gd name="connsiteX16" fmla="*/ 603442 w 708963"/>
                  <a:gd name="connsiteY16" fmla="*/ 43336 h 91123"/>
                  <a:gd name="connsiteX17" fmla="*/ 593202 w 708963"/>
                  <a:gd name="connsiteY17" fmla="*/ 39477 h 91123"/>
                  <a:gd name="connsiteX18" fmla="*/ 580439 w 708963"/>
                  <a:gd name="connsiteY18" fmla="*/ 25972 h 91123"/>
                  <a:gd name="connsiteX19" fmla="*/ 595577 w 708963"/>
                  <a:gd name="connsiteY19" fmla="*/ 14396 h 91123"/>
                  <a:gd name="connsiteX20" fmla="*/ 612347 w 708963"/>
                  <a:gd name="connsiteY20" fmla="*/ 22707 h 91123"/>
                  <a:gd name="connsiteX21" fmla="*/ 620362 w 708963"/>
                  <a:gd name="connsiteY21" fmla="*/ 15583 h 91123"/>
                  <a:gd name="connsiteX22" fmla="*/ 595725 w 708963"/>
                  <a:gd name="connsiteY22" fmla="*/ 4155 h 91123"/>
                  <a:gd name="connsiteX23" fmla="*/ 569456 w 708963"/>
                  <a:gd name="connsiteY23" fmla="*/ 26565 h 91123"/>
                  <a:gd name="connsiteX24" fmla="*/ 588601 w 708963"/>
                  <a:gd name="connsiteY24" fmla="*/ 49866 h 91123"/>
                  <a:gd name="connsiteX25" fmla="*/ 599732 w 708963"/>
                  <a:gd name="connsiteY25" fmla="*/ 54170 h 91123"/>
                  <a:gd name="connsiteX26" fmla="*/ 611902 w 708963"/>
                  <a:gd name="connsiteY26" fmla="*/ 68417 h 91123"/>
                  <a:gd name="connsiteX27" fmla="*/ 596319 w 708963"/>
                  <a:gd name="connsiteY27" fmla="*/ 81032 h 91123"/>
                  <a:gd name="connsiteX28" fmla="*/ 575393 w 708963"/>
                  <a:gd name="connsiteY28" fmla="*/ 69456 h 91123"/>
                  <a:gd name="connsiteX29" fmla="*/ 566488 w 708963"/>
                  <a:gd name="connsiteY29" fmla="*/ 76134 h 91123"/>
                  <a:gd name="connsiteX30" fmla="*/ 501929 w 708963"/>
                  <a:gd name="connsiteY30" fmla="*/ 55209 h 91123"/>
                  <a:gd name="connsiteX31" fmla="*/ 517215 w 708963"/>
                  <a:gd name="connsiteY31" fmla="*/ 20481 h 91123"/>
                  <a:gd name="connsiteX32" fmla="*/ 532502 w 708963"/>
                  <a:gd name="connsiteY32" fmla="*/ 55209 h 91123"/>
                  <a:gd name="connsiteX33" fmla="*/ 501929 w 708963"/>
                  <a:gd name="connsiteY33" fmla="*/ 55209 h 91123"/>
                  <a:gd name="connsiteX34" fmla="*/ 475363 w 708963"/>
                  <a:gd name="connsiteY34" fmla="*/ 89788 h 91123"/>
                  <a:gd name="connsiteX35" fmla="*/ 486791 w 708963"/>
                  <a:gd name="connsiteY35" fmla="*/ 89788 h 91123"/>
                  <a:gd name="connsiteX36" fmla="*/ 497625 w 708963"/>
                  <a:gd name="connsiteY36" fmla="*/ 65152 h 91123"/>
                  <a:gd name="connsiteX37" fmla="*/ 536954 w 708963"/>
                  <a:gd name="connsiteY37" fmla="*/ 65152 h 91123"/>
                  <a:gd name="connsiteX38" fmla="*/ 547788 w 708963"/>
                  <a:gd name="connsiteY38" fmla="*/ 89788 h 91123"/>
                  <a:gd name="connsiteX39" fmla="*/ 559216 w 708963"/>
                  <a:gd name="connsiteY39" fmla="*/ 89788 h 91123"/>
                  <a:gd name="connsiteX40" fmla="*/ 521816 w 708963"/>
                  <a:gd name="connsiteY40" fmla="*/ 5491 h 91123"/>
                  <a:gd name="connsiteX41" fmla="*/ 512614 w 708963"/>
                  <a:gd name="connsiteY41" fmla="*/ 5491 h 91123"/>
                  <a:gd name="connsiteX42" fmla="*/ 475363 w 708963"/>
                  <a:gd name="connsiteY42" fmla="*/ 89788 h 91123"/>
                  <a:gd name="connsiteX43" fmla="*/ 420599 w 708963"/>
                  <a:gd name="connsiteY43" fmla="*/ 65004 h 91123"/>
                  <a:gd name="connsiteX44" fmla="*/ 451024 w 708963"/>
                  <a:gd name="connsiteY44" fmla="*/ 24191 h 91123"/>
                  <a:gd name="connsiteX45" fmla="*/ 451024 w 708963"/>
                  <a:gd name="connsiteY45" fmla="*/ 89788 h 91123"/>
                  <a:gd name="connsiteX46" fmla="*/ 461858 w 708963"/>
                  <a:gd name="connsiteY46" fmla="*/ 89788 h 91123"/>
                  <a:gd name="connsiteX47" fmla="*/ 461858 w 708963"/>
                  <a:gd name="connsiteY47" fmla="*/ 5491 h 91123"/>
                  <a:gd name="connsiteX48" fmla="*/ 451914 w 708963"/>
                  <a:gd name="connsiteY48" fmla="*/ 5491 h 91123"/>
                  <a:gd name="connsiteX49" fmla="*/ 420599 w 708963"/>
                  <a:gd name="connsiteY49" fmla="*/ 47491 h 91123"/>
                  <a:gd name="connsiteX50" fmla="*/ 389284 w 708963"/>
                  <a:gd name="connsiteY50" fmla="*/ 5491 h 91123"/>
                  <a:gd name="connsiteX51" fmla="*/ 379192 w 708963"/>
                  <a:gd name="connsiteY51" fmla="*/ 5491 h 91123"/>
                  <a:gd name="connsiteX52" fmla="*/ 379192 w 708963"/>
                  <a:gd name="connsiteY52" fmla="*/ 89788 h 91123"/>
                  <a:gd name="connsiteX53" fmla="*/ 390175 w 708963"/>
                  <a:gd name="connsiteY53" fmla="*/ 89788 h 91123"/>
                  <a:gd name="connsiteX54" fmla="*/ 390175 w 708963"/>
                  <a:gd name="connsiteY54" fmla="*/ 24191 h 91123"/>
                  <a:gd name="connsiteX55" fmla="*/ 420599 w 708963"/>
                  <a:gd name="connsiteY55" fmla="*/ 65004 h 91123"/>
                  <a:gd name="connsiteX56" fmla="*/ 301276 w 708963"/>
                  <a:gd name="connsiteY56" fmla="*/ 61590 h 91123"/>
                  <a:gd name="connsiteX57" fmla="*/ 331552 w 708963"/>
                  <a:gd name="connsiteY57" fmla="*/ 61590 h 91123"/>
                  <a:gd name="connsiteX58" fmla="*/ 331552 w 708963"/>
                  <a:gd name="connsiteY58" fmla="*/ 51350 h 91123"/>
                  <a:gd name="connsiteX59" fmla="*/ 301276 w 708963"/>
                  <a:gd name="connsiteY59" fmla="*/ 51350 h 91123"/>
                  <a:gd name="connsiteX60" fmla="*/ 301276 w 708963"/>
                  <a:gd name="connsiteY60" fmla="*/ 61590 h 91123"/>
                  <a:gd name="connsiteX61" fmla="*/ 231077 w 708963"/>
                  <a:gd name="connsiteY61" fmla="*/ 89788 h 91123"/>
                  <a:gd name="connsiteX62" fmla="*/ 241318 w 708963"/>
                  <a:gd name="connsiteY62" fmla="*/ 89788 h 91123"/>
                  <a:gd name="connsiteX63" fmla="*/ 241318 w 708963"/>
                  <a:gd name="connsiteY63" fmla="*/ 60403 h 91123"/>
                  <a:gd name="connsiteX64" fmla="*/ 257049 w 708963"/>
                  <a:gd name="connsiteY64" fmla="*/ 39922 h 91123"/>
                  <a:gd name="connsiteX65" fmla="*/ 262689 w 708963"/>
                  <a:gd name="connsiteY65" fmla="*/ 40813 h 91123"/>
                  <a:gd name="connsiteX66" fmla="*/ 262689 w 708963"/>
                  <a:gd name="connsiteY66" fmla="*/ 30424 h 91123"/>
                  <a:gd name="connsiteX67" fmla="*/ 258088 w 708963"/>
                  <a:gd name="connsiteY67" fmla="*/ 29830 h 91123"/>
                  <a:gd name="connsiteX68" fmla="*/ 241466 w 708963"/>
                  <a:gd name="connsiteY68" fmla="*/ 42000 h 91123"/>
                  <a:gd name="connsiteX69" fmla="*/ 241466 w 708963"/>
                  <a:gd name="connsiteY69" fmla="*/ 30573 h 91123"/>
                  <a:gd name="connsiteX70" fmla="*/ 231226 w 708963"/>
                  <a:gd name="connsiteY70" fmla="*/ 30573 h 91123"/>
                  <a:gd name="connsiteX71" fmla="*/ 231226 w 708963"/>
                  <a:gd name="connsiteY71" fmla="*/ 89937 h 91123"/>
                  <a:gd name="connsiteX72" fmla="*/ 186405 w 708963"/>
                  <a:gd name="connsiteY72" fmla="*/ 38141 h 91123"/>
                  <a:gd name="connsiteX73" fmla="*/ 204511 w 708963"/>
                  <a:gd name="connsiteY73" fmla="*/ 53725 h 91123"/>
                  <a:gd name="connsiteX74" fmla="*/ 166815 w 708963"/>
                  <a:gd name="connsiteY74" fmla="*/ 53725 h 91123"/>
                  <a:gd name="connsiteX75" fmla="*/ 186257 w 708963"/>
                  <a:gd name="connsiteY75" fmla="*/ 38141 h 91123"/>
                  <a:gd name="connsiteX76" fmla="*/ 155832 w 708963"/>
                  <a:gd name="connsiteY76" fmla="*/ 60106 h 91123"/>
                  <a:gd name="connsiteX77" fmla="*/ 186554 w 708963"/>
                  <a:gd name="connsiteY77" fmla="*/ 90976 h 91123"/>
                  <a:gd name="connsiteX78" fmla="*/ 213268 w 708963"/>
                  <a:gd name="connsiteY78" fmla="*/ 76877 h 91123"/>
                  <a:gd name="connsiteX79" fmla="*/ 205254 w 708963"/>
                  <a:gd name="connsiteY79" fmla="*/ 71237 h 91123"/>
                  <a:gd name="connsiteX80" fmla="*/ 186702 w 708963"/>
                  <a:gd name="connsiteY80" fmla="*/ 81626 h 91123"/>
                  <a:gd name="connsiteX81" fmla="*/ 166221 w 708963"/>
                  <a:gd name="connsiteY81" fmla="*/ 62184 h 91123"/>
                  <a:gd name="connsiteX82" fmla="*/ 214900 w 708963"/>
                  <a:gd name="connsiteY82" fmla="*/ 62184 h 91123"/>
                  <a:gd name="connsiteX83" fmla="*/ 214900 w 708963"/>
                  <a:gd name="connsiteY83" fmla="*/ 59067 h 91123"/>
                  <a:gd name="connsiteX84" fmla="*/ 186702 w 708963"/>
                  <a:gd name="connsiteY84" fmla="*/ 29237 h 91123"/>
                  <a:gd name="connsiteX85" fmla="*/ 155832 w 708963"/>
                  <a:gd name="connsiteY85" fmla="*/ 60106 h 91123"/>
                  <a:gd name="connsiteX86" fmla="*/ 114574 w 708963"/>
                  <a:gd name="connsiteY86" fmla="*/ 89788 h 91123"/>
                  <a:gd name="connsiteX87" fmla="*/ 123182 w 708963"/>
                  <a:gd name="connsiteY87" fmla="*/ 89788 h 91123"/>
                  <a:gd name="connsiteX88" fmla="*/ 150638 w 708963"/>
                  <a:gd name="connsiteY88" fmla="*/ 30424 h 91123"/>
                  <a:gd name="connsiteX89" fmla="*/ 139210 w 708963"/>
                  <a:gd name="connsiteY89" fmla="*/ 30424 h 91123"/>
                  <a:gd name="connsiteX90" fmla="*/ 118878 w 708963"/>
                  <a:gd name="connsiteY90" fmla="*/ 75244 h 91123"/>
                  <a:gd name="connsiteX91" fmla="*/ 98546 w 708963"/>
                  <a:gd name="connsiteY91" fmla="*/ 30424 h 91123"/>
                  <a:gd name="connsiteX92" fmla="*/ 87118 w 708963"/>
                  <a:gd name="connsiteY92" fmla="*/ 30424 h 91123"/>
                  <a:gd name="connsiteX93" fmla="*/ 114574 w 708963"/>
                  <a:gd name="connsiteY93" fmla="*/ 89788 h 91123"/>
                  <a:gd name="connsiteX94" fmla="*/ 64856 w 708963"/>
                  <a:gd name="connsiteY94" fmla="*/ 89788 h 91123"/>
                  <a:gd name="connsiteX95" fmla="*/ 75096 w 708963"/>
                  <a:gd name="connsiteY95" fmla="*/ 89788 h 91123"/>
                  <a:gd name="connsiteX96" fmla="*/ 75096 w 708963"/>
                  <a:gd name="connsiteY96" fmla="*/ 30424 h 91123"/>
                  <a:gd name="connsiteX97" fmla="*/ 64856 w 708963"/>
                  <a:gd name="connsiteY97" fmla="*/ 30424 h 91123"/>
                  <a:gd name="connsiteX98" fmla="*/ 64856 w 708963"/>
                  <a:gd name="connsiteY98" fmla="*/ 89788 h 91123"/>
                  <a:gd name="connsiteX99" fmla="*/ 77174 w 708963"/>
                  <a:gd name="connsiteY99" fmla="*/ 7272 h 91123"/>
                  <a:gd name="connsiteX100" fmla="*/ 70050 w 708963"/>
                  <a:gd name="connsiteY100" fmla="*/ 0 h 91123"/>
                  <a:gd name="connsiteX101" fmla="*/ 62778 w 708963"/>
                  <a:gd name="connsiteY101" fmla="*/ 7272 h 91123"/>
                  <a:gd name="connsiteX102" fmla="*/ 70050 w 708963"/>
                  <a:gd name="connsiteY102" fmla="*/ 14544 h 91123"/>
                  <a:gd name="connsiteX103" fmla="*/ 77174 w 708963"/>
                  <a:gd name="connsiteY103" fmla="*/ 7272 h 91123"/>
                  <a:gd name="connsiteX104" fmla="*/ 0 w 708963"/>
                  <a:gd name="connsiteY104" fmla="*/ 89788 h 91123"/>
                  <a:gd name="connsiteX105" fmla="*/ 51796 w 708963"/>
                  <a:gd name="connsiteY105" fmla="*/ 89788 h 91123"/>
                  <a:gd name="connsiteX106" fmla="*/ 51796 w 708963"/>
                  <a:gd name="connsiteY106" fmla="*/ 79400 h 91123"/>
                  <a:gd name="connsiteX107" fmla="*/ 11131 w 708963"/>
                  <a:gd name="connsiteY107" fmla="*/ 79400 h 91123"/>
                  <a:gd name="connsiteX108" fmla="*/ 11131 w 708963"/>
                  <a:gd name="connsiteY108" fmla="*/ 5491 h 91123"/>
                  <a:gd name="connsiteX109" fmla="*/ 149 w 708963"/>
                  <a:gd name="connsiteY109" fmla="*/ 5491 h 91123"/>
                  <a:gd name="connsiteX110" fmla="*/ 149 w 708963"/>
                  <a:gd name="connsiteY110" fmla="*/ 89788 h 91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708963" h="91123">
                    <a:moveTo>
                      <a:pt x="640842" y="89788"/>
                    </a:moveTo>
                    <a:lnTo>
                      <a:pt x="651825" y="89788"/>
                    </a:lnTo>
                    <a:lnTo>
                      <a:pt x="651825" y="51795"/>
                    </a:lnTo>
                    <a:lnTo>
                      <a:pt x="697981" y="51795"/>
                    </a:lnTo>
                    <a:lnTo>
                      <a:pt x="697981" y="89788"/>
                    </a:lnTo>
                    <a:lnTo>
                      <a:pt x="708963" y="89788"/>
                    </a:lnTo>
                    <a:lnTo>
                      <a:pt x="708963" y="5491"/>
                    </a:lnTo>
                    <a:lnTo>
                      <a:pt x="697981" y="5491"/>
                    </a:lnTo>
                    <a:lnTo>
                      <a:pt x="697981" y="41406"/>
                    </a:lnTo>
                    <a:lnTo>
                      <a:pt x="651825" y="41406"/>
                    </a:lnTo>
                    <a:lnTo>
                      <a:pt x="651825" y="5491"/>
                    </a:lnTo>
                    <a:lnTo>
                      <a:pt x="640842" y="5491"/>
                    </a:lnTo>
                    <a:lnTo>
                      <a:pt x="640842" y="89788"/>
                    </a:lnTo>
                    <a:close/>
                    <a:moveTo>
                      <a:pt x="566637" y="75986"/>
                    </a:moveTo>
                    <a:cubicBezTo>
                      <a:pt x="571089" y="84594"/>
                      <a:pt x="582220" y="91124"/>
                      <a:pt x="596170" y="91124"/>
                    </a:cubicBezTo>
                    <a:cubicBezTo>
                      <a:pt x="611902" y="91124"/>
                      <a:pt x="623033" y="82071"/>
                      <a:pt x="623033" y="67675"/>
                    </a:cubicBezTo>
                    <a:cubicBezTo>
                      <a:pt x="623033" y="55209"/>
                      <a:pt x="615909" y="48085"/>
                      <a:pt x="603442" y="43336"/>
                    </a:cubicBezTo>
                    <a:lnTo>
                      <a:pt x="593202" y="39477"/>
                    </a:lnTo>
                    <a:cubicBezTo>
                      <a:pt x="584594" y="36212"/>
                      <a:pt x="580439" y="33095"/>
                      <a:pt x="580439" y="25972"/>
                    </a:cubicBezTo>
                    <a:cubicBezTo>
                      <a:pt x="580439" y="18848"/>
                      <a:pt x="587266" y="14396"/>
                      <a:pt x="595577" y="14396"/>
                    </a:cubicBezTo>
                    <a:cubicBezTo>
                      <a:pt x="602849" y="14396"/>
                      <a:pt x="608043" y="17661"/>
                      <a:pt x="612347" y="22707"/>
                    </a:cubicBezTo>
                    <a:lnTo>
                      <a:pt x="620362" y="15583"/>
                    </a:lnTo>
                    <a:cubicBezTo>
                      <a:pt x="615167" y="8905"/>
                      <a:pt x="606411" y="4155"/>
                      <a:pt x="595725" y="4155"/>
                    </a:cubicBezTo>
                    <a:cubicBezTo>
                      <a:pt x="580587" y="4155"/>
                      <a:pt x="569456" y="12763"/>
                      <a:pt x="569456" y="26565"/>
                    </a:cubicBezTo>
                    <a:cubicBezTo>
                      <a:pt x="569456" y="38141"/>
                      <a:pt x="575393" y="44968"/>
                      <a:pt x="588601" y="49866"/>
                    </a:cubicBezTo>
                    <a:lnTo>
                      <a:pt x="599732" y="54170"/>
                    </a:lnTo>
                    <a:cubicBezTo>
                      <a:pt x="607598" y="57138"/>
                      <a:pt x="611902" y="61590"/>
                      <a:pt x="611902" y="68417"/>
                    </a:cubicBezTo>
                    <a:cubicBezTo>
                      <a:pt x="611902" y="76283"/>
                      <a:pt x="605075" y="81032"/>
                      <a:pt x="596319" y="81032"/>
                    </a:cubicBezTo>
                    <a:cubicBezTo>
                      <a:pt x="586820" y="81032"/>
                      <a:pt x="579994" y="76580"/>
                      <a:pt x="575393" y="69456"/>
                    </a:cubicBezTo>
                    <a:lnTo>
                      <a:pt x="566488" y="76134"/>
                    </a:lnTo>
                    <a:close/>
                    <a:moveTo>
                      <a:pt x="501929" y="55209"/>
                    </a:moveTo>
                    <a:lnTo>
                      <a:pt x="517215" y="20481"/>
                    </a:lnTo>
                    <a:lnTo>
                      <a:pt x="532502" y="55209"/>
                    </a:lnTo>
                    <a:lnTo>
                      <a:pt x="501929" y="55209"/>
                    </a:lnTo>
                    <a:close/>
                    <a:moveTo>
                      <a:pt x="475363" y="89788"/>
                    </a:moveTo>
                    <a:lnTo>
                      <a:pt x="486791" y="89788"/>
                    </a:lnTo>
                    <a:lnTo>
                      <a:pt x="497625" y="65152"/>
                    </a:lnTo>
                    <a:lnTo>
                      <a:pt x="536954" y="65152"/>
                    </a:lnTo>
                    <a:lnTo>
                      <a:pt x="547788" y="89788"/>
                    </a:lnTo>
                    <a:lnTo>
                      <a:pt x="559216" y="89788"/>
                    </a:lnTo>
                    <a:lnTo>
                      <a:pt x="521816" y="5491"/>
                    </a:lnTo>
                    <a:lnTo>
                      <a:pt x="512614" y="5491"/>
                    </a:lnTo>
                    <a:lnTo>
                      <a:pt x="475363" y="89788"/>
                    </a:lnTo>
                    <a:close/>
                    <a:moveTo>
                      <a:pt x="420599" y="65004"/>
                    </a:moveTo>
                    <a:lnTo>
                      <a:pt x="451024" y="24191"/>
                    </a:lnTo>
                    <a:lnTo>
                      <a:pt x="451024" y="89788"/>
                    </a:lnTo>
                    <a:lnTo>
                      <a:pt x="461858" y="89788"/>
                    </a:lnTo>
                    <a:lnTo>
                      <a:pt x="461858" y="5491"/>
                    </a:lnTo>
                    <a:lnTo>
                      <a:pt x="451914" y="5491"/>
                    </a:lnTo>
                    <a:lnTo>
                      <a:pt x="420599" y="47491"/>
                    </a:lnTo>
                    <a:lnTo>
                      <a:pt x="389284" y="5491"/>
                    </a:lnTo>
                    <a:lnTo>
                      <a:pt x="379192" y="5491"/>
                    </a:lnTo>
                    <a:lnTo>
                      <a:pt x="379192" y="89788"/>
                    </a:lnTo>
                    <a:lnTo>
                      <a:pt x="390175" y="89788"/>
                    </a:lnTo>
                    <a:lnTo>
                      <a:pt x="390175" y="24191"/>
                    </a:lnTo>
                    <a:lnTo>
                      <a:pt x="420599" y="65004"/>
                    </a:lnTo>
                    <a:close/>
                    <a:moveTo>
                      <a:pt x="301276" y="61590"/>
                    </a:moveTo>
                    <a:lnTo>
                      <a:pt x="331552" y="61590"/>
                    </a:lnTo>
                    <a:lnTo>
                      <a:pt x="331552" y="51350"/>
                    </a:lnTo>
                    <a:lnTo>
                      <a:pt x="301276" y="51350"/>
                    </a:lnTo>
                    <a:lnTo>
                      <a:pt x="301276" y="61590"/>
                    </a:lnTo>
                    <a:close/>
                    <a:moveTo>
                      <a:pt x="231077" y="89788"/>
                    </a:moveTo>
                    <a:lnTo>
                      <a:pt x="241318" y="89788"/>
                    </a:lnTo>
                    <a:lnTo>
                      <a:pt x="241318" y="60403"/>
                    </a:lnTo>
                    <a:cubicBezTo>
                      <a:pt x="241318" y="46452"/>
                      <a:pt x="249480" y="39922"/>
                      <a:pt x="257049" y="39922"/>
                    </a:cubicBezTo>
                    <a:cubicBezTo>
                      <a:pt x="259127" y="39922"/>
                      <a:pt x="260760" y="40219"/>
                      <a:pt x="262689" y="40813"/>
                    </a:cubicBezTo>
                    <a:lnTo>
                      <a:pt x="262689" y="30424"/>
                    </a:lnTo>
                    <a:cubicBezTo>
                      <a:pt x="261056" y="29979"/>
                      <a:pt x="259573" y="29830"/>
                      <a:pt x="258088" y="29830"/>
                    </a:cubicBezTo>
                    <a:cubicBezTo>
                      <a:pt x="251261" y="29830"/>
                      <a:pt x="243841" y="34283"/>
                      <a:pt x="241466" y="42000"/>
                    </a:cubicBezTo>
                    <a:lnTo>
                      <a:pt x="241466" y="30573"/>
                    </a:lnTo>
                    <a:lnTo>
                      <a:pt x="231226" y="30573"/>
                    </a:lnTo>
                    <a:lnTo>
                      <a:pt x="231226" y="89937"/>
                    </a:lnTo>
                    <a:close/>
                    <a:moveTo>
                      <a:pt x="186405" y="38141"/>
                    </a:moveTo>
                    <a:cubicBezTo>
                      <a:pt x="195459" y="38141"/>
                      <a:pt x="203176" y="43929"/>
                      <a:pt x="204511" y="53725"/>
                    </a:cubicBezTo>
                    <a:lnTo>
                      <a:pt x="166815" y="53725"/>
                    </a:lnTo>
                    <a:cubicBezTo>
                      <a:pt x="168745" y="43781"/>
                      <a:pt x="177352" y="38141"/>
                      <a:pt x="186257" y="38141"/>
                    </a:cubicBezTo>
                    <a:moveTo>
                      <a:pt x="155832" y="60106"/>
                    </a:moveTo>
                    <a:cubicBezTo>
                      <a:pt x="155832" y="77619"/>
                      <a:pt x="168151" y="90976"/>
                      <a:pt x="186554" y="90976"/>
                    </a:cubicBezTo>
                    <a:cubicBezTo>
                      <a:pt x="198872" y="90976"/>
                      <a:pt x="207925" y="85484"/>
                      <a:pt x="213268" y="76877"/>
                    </a:cubicBezTo>
                    <a:lnTo>
                      <a:pt x="205254" y="71237"/>
                    </a:lnTo>
                    <a:cubicBezTo>
                      <a:pt x="201543" y="77470"/>
                      <a:pt x="195904" y="81626"/>
                      <a:pt x="186702" y="81626"/>
                    </a:cubicBezTo>
                    <a:cubicBezTo>
                      <a:pt x="174978" y="81626"/>
                      <a:pt x="166518" y="73315"/>
                      <a:pt x="166221" y="62184"/>
                    </a:cubicBezTo>
                    <a:lnTo>
                      <a:pt x="214900" y="62184"/>
                    </a:lnTo>
                    <a:cubicBezTo>
                      <a:pt x="214900" y="60848"/>
                      <a:pt x="214900" y="60106"/>
                      <a:pt x="214900" y="59067"/>
                    </a:cubicBezTo>
                    <a:cubicBezTo>
                      <a:pt x="214900" y="40071"/>
                      <a:pt x="202137" y="29237"/>
                      <a:pt x="186702" y="29237"/>
                    </a:cubicBezTo>
                    <a:cubicBezTo>
                      <a:pt x="168596" y="29237"/>
                      <a:pt x="155832" y="42742"/>
                      <a:pt x="155832" y="60106"/>
                    </a:cubicBezTo>
                    <a:moveTo>
                      <a:pt x="114574" y="89788"/>
                    </a:moveTo>
                    <a:lnTo>
                      <a:pt x="123182" y="89788"/>
                    </a:lnTo>
                    <a:lnTo>
                      <a:pt x="150638" y="30424"/>
                    </a:lnTo>
                    <a:lnTo>
                      <a:pt x="139210" y="30424"/>
                    </a:lnTo>
                    <a:lnTo>
                      <a:pt x="118878" y="75244"/>
                    </a:lnTo>
                    <a:lnTo>
                      <a:pt x="98546" y="30424"/>
                    </a:lnTo>
                    <a:lnTo>
                      <a:pt x="87118" y="30424"/>
                    </a:lnTo>
                    <a:lnTo>
                      <a:pt x="114574" y="89788"/>
                    </a:lnTo>
                    <a:close/>
                    <a:moveTo>
                      <a:pt x="64856" y="89788"/>
                    </a:moveTo>
                    <a:lnTo>
                      <a:pt x="75096" y="89788"/>
                    </a:lnTo>
                    <a:lnTo>
                      <a:pt x="75096" y="30424"/>
                    </a:lnTo>
                    <a:lnTo>
                      <a:pt x="64856" y="30424"/>
                    </a:lnTo>
                    <a:lnTo>
                      <a:pt x="64856" y="89788"/>
                    </a:lnTo>
                    <a:close/>
                    <a:moveTo>
                      <a:pt x="77174" y="7272"/>
                    </a:moveTo>
                    <a:cubicBezTo>
                      <a:pt x="77174" y="3413"/>
                      <a:pt x="74058" y="0"/>
                      <a:pt x="70050" y="0"/>
                    </a:cubicBezTo>
                    <a:cubicBezTo>
                      <a:pt x="66043" y="0"/>
                      <a:pt x="62778" y="3265"/>
                      <a:pt x="62778" y="7272"/>
                    </a:cubicBezTo>
                    <a:cubicBezTo>
                      <a:pt x="62778" y="11279"/>
                      <a:pt x="66043" y="14544"/>
                      <a:pt x="70050" y="14544"/>
                    </a:cubicBezTo>
                    <a:cubicBezTo>
                      <a:pt x="74058" y="14544"/>
                      <a:pt x="77174" y="11279"/>
                      <a:pt x="77174" y="7272"/>
                    </a:cubicBezTo>
                    <a:moveTo>
                      <a:pt x="0" y="89788"/>
                    </a:moveTo>
                    <a:lnTo>
                      <a:pt x="51796" y="89788"/>
                    </a:lnTo>
                    <a:lnTo>
                      <a:pt x="51796" y="79400"/>
                    </a:lnTo>
                    <a:lnTo>
                      <a:pt x="11131" y="79400"/>
                    </a:lnTo>
                    <a:lnTo>
                      <a:pt x="11131" y="5491"/>
                    </a:lnTo>
                    <a:lnTo>
                      <a:pt x="149" y="5491"/>
                    </a:lnTo>
                    <a:lnTo>
                      <a:pt x="149" y="89788"/>
                    </a:lnTo>
                    <a:close/>
                  </a:path>
                </a:pathLst>
              </a:custGeom>
              <a:solidFill>
                <a:srgbClr val="FFFFFF"/>
              </a:solidFill>
              <a:ln w="14828" cap="flat">
                <a:noFill/>
                <a:prstDash val="solid"/>
                <a:miter/>
              </a:ln>
            </p:spPr>
            <p:txBody>
              <a:bodyPr rtlCol="0" anchor="ctr"/>
              <a:lstStyle/>
              <a:p>
                <a:endParaRPr lang="en-DK"/>
              </a:p>
            </p:txBody>
          </p:sp>
          <p:sp>
            <p:nvSpPr>
              <p:cNvPr id="172" name="Freeform 171">
                <a:extLst>
                  <a:ext uri="{FF2B5EF4-FFF2-40B4-BE49-F238E27FC236}">
                    <a16:creationId xmlns:a16="http://schemas.microsoft.com/office/drawing/2014/main" id="{1E0BEC90-E45D-E1A6-B36F-0E8DE3ABC1E2}"/>
                  </a:ext>
                </a:extLst>
              </p:cNvPr>
              <p:cNvSpPr/>
              <p:nvPr/>
            </p:nvSpPr>
            <p:spPr>
              <a:xfrm>
                <a:off x="4650196" y="6131578"/>
                <a:ext cx="387948" cy="109081"/>
              </a:xfrm>
              <a:custGeom>
                <a:avLst/>
                <a:gdLst>
                  <a:gd name="connsiteX0" fmla="*/ 387948 w 387948"/>
                  <a:gd name="connsiteY0" fmla="*/ 67675 h 109081"/>
                  <a:gd name="connsiteX1" fmla="*/ 371771 w 387948"/>
                  <a:gd name="connsiteY1" fmla="*/ 50163 h 109081"/>
                  <a:gd name="connsiteX2" fmla="*/ 365241 w 387948"/>
                  <a:gd name="connsiteY2" fmla="*/ 48085 h 109081"/>
                  <a:gd name="connsiteX3" fmla="*/ 356782 w 387948"/>
                  <a:gd name="connsiteY3" fmla="*/ 39477 h 109081"/>
                  <a:gd name="connsiteX4" fmla="*/ 366725 w 387948"/>
                  <a:gd name="connsiteY4" fmla="*/ 32353 h 109081"/>
                  <a:gd name="connsiteX5" fmla="*/ 379043 w 387948"/>
                  <a:gd name="connsiteY5" fmla="*/ 39181 h 109081"/>
                  <a:gd name="connsiteX6" fmla="*/ 386613 w 387948"/>
                  <a:gd name="connsiteY6" fmla="*/ 33986 h 109081"/>
                  <a:gd name="connsiteX7" fmla="*/ 367022 w 387948"/>
                  <a:gd name="connsiteY7" fmla="*/ 23746 h 109081"/>
                  <a:gd name="connsiteX8" fmla="*/ 346541 w 387948"/>
                  <a:gd name="connsiteY8" fmla="*/ 39922 h 109081"/>
                  <a:gd name="connsiteX9" fmla="*/ 361382 w 387948"/>
                  <a:gd name="connsiteY9" fmla="*/ 57287 h 109081"/>
                  <a:gd name="connsiteX10" fmla="*/ 367319 w 387948"/>
                  <a:gd name="connsiteY10" fmla="*/ 59216 h 109081"/>
                  <a:gd name="connsiteX11" fmla="*/ 377708 w 387948"/>
                  <a:gd name="connsiteY11" fmla="*/ 68417 h 109081"/>
                  <a:gd name="connsiteX12" fmla="*/ 367319 w 387948"/>
                  <a:gd name="connsiteY12" fmla="*/ 76431 h 109081"/>
                  <a:gd name="connsiteX13" fmla="*/ 352181 w 387948"/>
                  <a:gd name="connsiteY13" fmla="*/ 67082 h 109081"/>
                  <a:gd name="connsiteX14" fmla="*/ 343870 w 387948"/>
                  <a:gd name="connsiteY14" fmla="*/ 71682 h 109081"/>
                  <a:gd name="connsiteX15" fmla="*/ 367171 w 387948"/>
                  <a:gd name="connsiteY15" fmla="*/ 85484 h 109081"/>
                  <a:gd name="connsiteX16" fmla="*/ 387800 w 387948"/>
                  <a:gd name="connsiteY16" fmla="*/ 67675 h 109081"/>
                  <a:gd name="connsiteX17" fmla="*/ 299050 w 387948"/>
                  <a:gd name="connsiteY17" fmla="*/ 109082 h 109081"/>
                  <a:gd name="connsiteX18" fmla="*/ 337933 w 387948"/>
                  <a:gd name="connsiteY18" fmla="*/ 24933 h 109081"/>
                  <a:gd name="connsiteX19" fmla="*/ 326506 w 387948"/>
                  <a:gd name="connsiteY19" fmla="*/ 24933 h 109081"/>
                  <a:gd name="connsiteX20" fmla="*/ 306173 w 387948"/>
                  <a:gd name="connsiteY20" fmla="*/ 69902 h 109081"/>
                  <a:gd name="connsiteX21" fmla="*/ 285693 w 387948"/>
                  <a:gd name="connsiteY21" fmla="*/ 24933 h 109081"/>
                  <a:gd name="connsiteX22" fmla="*/ 274413 w 387948"/>
                  <a:gd name="connsiteY22" fmla="*/ 24933 h 109081"/>
                  <a:gd name="connsiteX23" fmla="*/ 300385 w 387948"/>
                  <a:gd name="connsiteY23" fmla="*/ 81180 h 109081"/>
                  <a:gd name="connsiteX24" fmla="*/ 287474 w 387948"/>
                  <a:gd name="connsiteY24" fmla="*/ 109082 h 109081"/>
                  <a:gd name="connsiteX25" fmla="*/ 298901 w 387948"/>
                  <a:gd name="connsiteY25" fmla="*/ 109082 h 109081"/>
                  <a:gd name="connsiteX26" fmla="*/ 253042 w 387948"/>
                  <a:gd name="connsiteY26" fmla="*/ 54615 h 109081"/>
                  <a:gd name="connsiteX27" fmla="*/ 232858 w 387948"/>
                  <a:gd name="connsiteY27" fmla="*/ 76135 h 109081"/>
                  <a:gd name="connsiteX28" fmla="*/ 212525 w 387948"/>
                  <a:gd name="connsiteY28" fmla="*/ 54615 h 109081"/>
                  <a:gd name="connsiteX29" fmla="*/ 232858 w 387948"/>
                  <a:gd name="connsiteY29" fmla="*/ 33096 h 109081"/>
                  <a:gd name="connsiteX30" fmla="*/ 253042 w 387948"/>
                  <a:gd name="connsiteY30" fmla="*/ 54615 h 109081"/>
                  <a:gd name="connsiteX31" fmla="*/ 202137 w 387948"/>
                  <a:gd name="connsiteY31" fmla="*/ 54615 h 109081"/>
                  <a:gd name="connsiteX32" fmla="*/ 231225 w 387948"/>
                  <a:gd name="connsiteY32" fmla="*/ 85484 h 109081"/>
                  <a:gd name="connsiteX33" fmla="*/ 252151 w 387948"/>
                  <a:gd name="connsiteY33" fmla="*/ 75244 h 109081"/>
                  <a:gd name="connsiteX34" fmla="*/ 252151 w 387948"/>
                  <a:gd name="connsiteY34" fmla="*/ 84297 h 109081"/>
                  <a:gd name="connsiteX35" fmla="*/ 262392 w 387948"/>
                  <a:gd name="connsiteY35" fmla="*/ 84297 h 109081"/>
                  <a:gd name="connsiteX36" fmla="*/ 262392 w 387948"/>
                  <a:gd name="connsiteY36" fmla="*/ 24933 h 109081"/>
                  <a:gd name="connsiteX37" fmla="*/ 252151 w 387948"/>
                  <a:gd name="connsiteY37" fmla="*/ 24933 h 109081"/>
                  <a:gd name="connsiteX38" fmla="*/ 252151 w 387948"/>
                  <a:gd name="connsiteY38" fmla="*/ 33986 h 109081"/>
                  <a:gd name="connsiteX39" fmla="*/ 231225 w 387948"/>
                  <a:gd name="connsiteY39" fmla="*/ 23746 h 109081"/>
                  <a:gd name="connsiteX40" fmla="*/ 202137 w 387948"/>
                  <a:gd name="connsiteY40" fmla="*/ 54615 h 109081"/>
                  <a:gd name="connsiteX41" fmla="*/ 190561 w 387948"/>
                  <a:gd name="connsiteY41" fmla="*/ 67675 h 109081"/>
                  <a:gd name="connsiteX42" fmla="*/ 174384 w 387948"/>
                  <a:gd name="connsiteY42" fmla="*/ 50163 h 109081"/>
                  <a:gd name="connsiteX43" fmla="*/ 167854 w 387948"/>
                  <a:gd name="connsiteY43" fmla="*/ 48085 h 109081"/>
                  <a:gd name="connsiteX44" fmla="*/ 159394 w 387948"/>
                  <a:gd name="connsiteY44" fmla="*/ 39477 h 109081"/>
                  <a:gd name="connsiteX45" fmla="*/ 169189 w 387948"/>
                  <a:gd name="connsiteY45" fmla="*/ 32353 h 109081"/>
                  <a:gd name="connsiteX46" fmla="*/ 181507 w 387948"/>
                  <a:gd name="connsiteY46" fmla="*/ 39181 h 109081"/>
                  <a:gd name="connsiteX47" fmla="*/ 189076 w 387948"/>
                  <a:gd name="connsiteY47" fmla="*/ 33986 h 109081"/>
                  <a:gd name="connsiteX48" fmla="*/ 169486 w 387948"/>
                  <a:gd name="connsiteY48" fmla="*/ 23746 h 109081"/>
                  <a:gd name="connsiteX49" fmla="*/ 149005 w 387948"/>
                  <a:gd name="connsiteY49" fmla="*/ 39922 h 109081"/>
                  <a:gd name="connsiteX50" fmla="*/ 163846 w 387948"/>
                  <a:gd name="connsiteY50" fmla="*/ 57287 h 109081"/>
                  <a:gd name="connsiteX51" fmla="*/ 169783 w 387948"/>
                  <a:gd name="connsiteY51" fmla="*/ 59216 h 109081"/>
                  <a:gd name="connsiteX52" fmla="*/ 180172 w 387948"/>
                  <a:gd name="connsiteY52" fmla="*/ 68417 h 109081"/>
                  <a:gd name="connsiteX53" fmla="*/ 169783 w 387948"/>
                  <a:gd name="connsiteY53" fmla="*/ 76431 h 109081"/>
                  <a:gd name="connsiteX54" fmla="*/ 154645 w 387948"/>
                  <a:gd name="connsiteY54" fmla="*/ 67082 h 109081"/>
                  <a:gd name="connsiteX55" fmla="*/ 146334 w 387948"/>
                  <a:gd name="connsiteY55" fmla="*/ 71682 h 109081"/>
                  <a:gd name="connsiteX56" fmla="*/ 169635 w 387948"/>
                  <a:gd name="connsiteY56" fmla="*/ 85484 h 109081"/>
                  <a:gd name="connsiteX57" fmla="*/ 190264 w 387948"/>
                  <a:gd name="connsiteY57" fmla="*/ 67675 h 109081"/>
                  <a:gd name="connsiteX58" fmla="*/ 135054 w 387948"/>
                  <a:gd name="connsiteY58" fmla="*/ 67675 h 109081"/>
                  <a:gd name="connsiteX59" fmla="*/ 118878 w 387948"/>
                  <a:gd name="connsiteY59" fmla="*/ 50163 h 109081"/>
                  <a:gd name="connsiteX60" fmla="*/ 112347 w 387948"/>
                  <a:gd name="connsiteY60" fmla="*/ 48085 h 109081"/>
                  <a:gd name="connsiteX61" fmla="*/ 103888 w 387948"/>
                  <a:gd name="connsiteY61" fmla="*/ 39477 h 109081"/>
                  <a:gd name="connsiteX62" fmla="*/ 113683 w 387948"/>
                  <a:gd name="connsiteY62" fmla="*/ 32353 h 109081"/>
                  <a:gd name="connsiteX63" fmla="*/ 126001 w 387948"/>
                  <a:gd name="connsiteY63" fmla="*/ 39181 h 109081"/>
                  <a:gd name="connsiteX64" fmla="*/ 133571 w 387948"/>
                  <a:gd name="connsiteY64" fmla="*/ 33986 h 109081"/>
                  <a:gd name="connsiteX65" fmla="*/ 113980 w 387948"/>
                  <a:gd name="connsiteY65" fmla="*/ 23746 h 109081"/>
                  <a:gd name="connsiteX66" fmla="*/ 93499 w 387948"/>
                  <a:gd name="connsiteY66" fmla="*/ 39922 h 109081"/>
                  <a:gd name="connsiteX67" fmla="*/ 108340 w 387948"/>
                  <a:gd name="connsiteY67" fmla="*/ 57287 h 109081"/>
                  <a:gd name="connsiteX68" fmla="*/ 114277 w 387948"/>
                  <a:gd name="connsiteY68" fmla="*/ 59216 h 109081"/>
                  <a:gd name="connsiteX69" fmla="*/ 124666 w 387948"/>
                  <a:gd name="connsiteY69" fmla="*/ 68417 h 109081"/>
                  <a:gd name="connsiteX70" fmla="*/ 114277 w 387948"/>
                  <a:gd name="connsiteY70" fmla="*/ 76431 h 109081"/>
                  <a:gd name="connsiteX71" fmla="*/ 99139 w 387948"/>
                  <a:gd name="connsiteY71" fmla="*/ 67082 h 109081"/>
                  <a:gd name="connsiteX72" fmla="*/ 90828 w 387948"/>
                  <a:gd name="connsiteY72" fmla="*/ 71682 h 109081"/>
                  <a:gd name="connsiteX73" fmla="*/ 114129 w 387948"/>
                  <a:gd name="connsiteY73" fmla="*/ 85484 h 109081"/>
                  <a:gd name="connsiteX74" fmla="*/ 134758 w 387948"/>
                  <a:gd name="connsiteY74" fmla="*/ 67675 h 109081"/>
                  <a:gd name="connsiteX75" fmla="*/ 26417 w 387948"/>
                  <a:gd name="connsiteY75" fmla="*/ 49718 h 109081"/>
                  <a:gd name="connsiteX76" fmla="*/ 41704 w 387948"/>
                  <a:gd name="connsiteY76" fmla="*/ 14990 h 109081"/>
                  <a:gd name="connsiteX77" fmla="*/ 56990 w 387948"/>
                  <a:gd name="connsiteY77" fmla="*/ 49718 h 109081"/>
                  <a:gd name="connsiteX78" fmla="*/ 26417 w 387948"/>
                  <a:gd name="connsiteY78" fmla="*/ 49718 h 109081"/>
                  <a:gd name="connsiteX79" fmla="*/ 0 w 387948"/>
                  <a:gd name="connsiteY79" fmla="*/ 84297 h 109081"/>
                  <a:gd name="connsiteX80" fmla="*/ 11428 w 387948"/>
                  <a:gd name="connsiteY80" fmla="*/ 84297 h 109081"/>
                  <a:gd name="connsiteX81" fmla="*/ 22262 w 387948"/>
                  <a:gd name="connsiteY81" fmla="*/ 59661 h 109081"/>
                  <a:gd name="connsiteX82" fmla="*/ 61591 w 387948"/>
                  <a:gd name="connsiteY82" fmla="*/ 59661 h 109081"/>
                  <a:gd name="connsiteX83" fmla="*/ 72425 w 387948"/>
                  <a:gd name="connsiteY83" fmla="*/ 84297 h 109081"/>
                  <a:gd name="connsiteX84" fmla="*/ 84001 w 387948"/>
                  <a:gd name="connsiteY84" fmla="*/ 84297 h 109081"/>
                  <a:gd name="connsiteX85" fmla="*/ 46601 w 387948"/>
                  <a:gd name="connsiteY85" fmla="*/ 0 h 109081"/>
                  <a:gd name="connsiteX86" fmla="*/ 37400 w 387948"/>
                  <a:gd name="connsiteY86" fmla="*/ 0 h 109081"/>
                  <a:gd name="connsiteX87" fmla="*/ 148 w 387948"/>
                  <a:gd name="connsiteY87" fmla="*/ 84297 h 109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387948" h="109081">
                    <a:moveTo>
                      <a:pt x="387948" y="67675"/>
                    </a:moveTo>
                    <a:cubicBezTo>
                      <a:pt x="387948" y="58622"/>
                      <a:pt x="382012" y="53279"/>
                      <a:pt x="371771" y="50163"/>
                    </a:cubicBezTo>
                    <a:lnTo>
                      <a:pt x="365241" y="48085"/>
                    </a:lnTo>
                    <a:cubicBezTo>
                      <a:pt x="358711" y="46007"/>
                      <a:pt x="356782" y="43039"/>
                      <a:pt x="356782" y="39477"/>
                    </a:cubicBezTo>
                    <a:cubicBezTo>
                      <a:pt x="356782" y="35025"/>
                      <a:pt x="361679" y="32353"/>
                      <a:pt x="366725" y="32353"/>
                    </a:cubicBezTo>
                    <a:cubicBezTo>
                      <a:pt x="372365" y="32353"/>
                      <a:pt x="376521" y="35322"/>
                      <a:pt x="379043" y="39181"/>
                    </a:cubicBezTo>
                    <a:lnTo>
                      <a:pt x="386613" y="33986"/>
                    </a:lnTo>
                    <a:cubicBezTo>
                      <a:pt x="382754" y="27307"/>
                      <a:pt x="375778" y="23746"/>
                      <a:pt x="367022" y="23746"/>
                    </a:cubicBezTo>
                    <a:cubicBezTo>
                      <a:pt x="355595" y="23746"/>
                      <a:pt x="346690" y="29831"/>
                      <a:pt x="346541" y="39922"/>
                    </a:cubicBezTo>
                    <a:cubicBezTo>
                      <a:pt x="346541" y="48233"/>
                      <a:pt x="351588" y="54467"/>
                      <a:pt x="361382" y="57287"/>
                    </a:cubicBezTo>
                    <a:lnTo>
                      <a:pt x="367319" y="59216"/>
                    </a:lnTo>
                    <a:cubicBezTo>
                      <a:pt x="375036" y="61590"/>
                      <a:pt x="377708" y="64262"/>
                      <a:pt x="377708" y="68417"/>
                    </a:cubicBezTo>
                    <a:cubicBezTo>
                      <a:pt x="377708" y="73463"/>
                      <a:pt x="373107" y="76431"/>
                      <a:pt x="367319" y="76431"/>
                    </a:cubicBezTo>
                    <a:cubicBezTo>
                      <a:pt x="360789" y="76431"/>
                      <a:pt x="354407" y="73166"/>
                      <a:pt x="352181" y="67082"/>
                    </a:cubicBezTo>
                    <a:lnTo>
                      <a:pt x="343870" y="71682"/>
                    </a:lnTo>
                    <a:cubicBezTo>
                      <a:pt x="347432" y="80884"/>
                      <a:pt x="356634" y="85484"/>
                      <a:pt x="367171" y="85484"/>
                    </a:cubicBezTo>
                    <a:cubicBezTo>
                      <a:pt x="379043" y="85484"/>
                      <a:pt x="387800" y="79103"/>
                      <a:pt x="387800" y="67675"/>
                    </a:cubicBezTo>
                    <a:moveTo>
                      <a:pt x="299050" y="109082"/>
                    </a:moveTo>
                    <a:lnTo>
                      <a:pt x="337933" y="24933"/>
                    </a:lnTo>
                    <a:lnTo>
                      <a:pt x="326506" y="24933"/>
                    </a:lnTo>
                    <a:lnTo>
                      <a:pt x="306173" y="69902"/>
                    </a:lnTo>
                    <a:lnTo>
                      <a:pt x="285693" y="24933"/>
                    </a:lnTo>
                    <a:lnTo>
                      <a:pt x="274413" y="24933"/>
                    </a:lnTo>
                    <a:lnTo>
                      <a:pt x="300385" y="81180"/>
                    </a:lnTo>
                    <a:lnTo>
                      <a:pt x="287474" y="109082"/>
                    </a:lnTo>
                    <a:lnTo>
                      <a:pt x="298901" y="109082"/>
                    </a:lnTo>
                    <a:close/>
                    <a:moveTo>
                      <a:pt x="253042" y="54615"/>
                    </a:moveTo>
                    <a:cubicBezTo>
                      <a:pt x="253042" y="66637"/>
                      <a:pt x="244879" y="76135"/>
                      <a:pt x="232858" y="76135"/>
                    </a:cubicBezTo>
                    <a:cubicBezTo>
                      <a:pt x="220836" y="76135"/>
                      <a:pt x="212525" y="66637"/>
                      <a:pt x="212525" y="54615"/>
                    </a:cubicBezTo>
                    <a:cubicBezTo>
                      <a:pt x="212525" y="42594"/>
                      <a:pt x="220836" y="33096"/>
                      <a:pt x="232858" y="33096"/>
                    </a:cubicBezTo>
                    <a:cubicBezTo>
                      <a:pt x="244879" y="33096"/>
                      <a:pt x="253042" y="42594"/>
                      <a:pt x="253042" y="54615"/>
                    </a:cubicBezTo>
                    <a:moveTo>
                      <a:pt x="202137" y="54615"/>
                    </a:moveTo>
                    <a:cubicBezTo>
                      <a:pt x="202137" y="71534"/>
                      <a:pt x="214603" y="85484"/>
                      <a:pt x="231225" y="85484"/>
                    </a:cubicBezTo>
                    <a:cubicBezTo>
                      <a:pt x="240130" y="85484"/>
                      <a:pt x="248145" y="80884"/>
                      <a:pt x="252151" y="75244"/>
                    </a:cubicBezTo>
                    <a:lnTo>
                      <a:pt x="252151" y="84297"/>
                    </a:lnTo>
                    <a:lnTo>
                      <a:pt x="262392" y="84297"/>
                    </a:lnTo>
                    <a:lnTo>
                      <a:pt x="262392" y="24933"/>
                    </a:lnTo>
                    <a:lnTo>
                      <a:pt x="252151" y="24933"/>
                    </a:lnTo>
                    <a:lnTo>
                      <a:pt x="252151" y="33986"/>
                    </a:lnTo>
                    <a:cubicBezTo>
                      <a:pt x="248293" y="28346"/>
                      <a:pt x="240130" y="23746"/>
                      <a:pt x="231225" y="23746"/>
                    </a:cubicBezTo>
                    <a:cubicBezTo>
                      <a:pt x="214603" y="23746"/>
                      <a:pt x="202137" y="37548"/>
                      <a:pt x="202137" y="54615"/>
                    </a:cubicBezTo>
                    <a:moveTo>
                      <a:pt x="190561" y="67675"/>
                    </a:moveTo>
                    <a:cubicBezTo>
                      <a:pt x="190561" y="58622"/>
                      <a:pt x="184624" y="53279"/>
                      <a:pt x="174384" y="50163"/>
                    </a:cubicBezTo>
                    <a:lnTo>
                      <a:pt x="167854" y="48085"/>
                    </a:lnTo>
                    <a:cubicBezTo>
                      <a:pt x="161324" y="46007"/>
                      <a:pt x="159394" y="43039"/>
                      <a:pt x="159394" y="39477"/>
                    </a:cubicBezTo>
                    <a:cubicBezTo>
                      <a:pt x="159394" y="35025"/>
                      <a:pt x="164292" y="32353"/>
                      <a:pt x="169189" y="32353"/>
                    </a:cubicBezTo>
                    <a:cubicBezTo>
                      <a:pt x="174829" y="32353"/>
                      <a:pt x="178985" y="35322"/>
                      <a:pt x="181507" y="39181"/>
                    </a:cubicBezTo>
                    <a:lnTo>
                      <a:pt x="189076" y="33986"/>
                    </a:lnTo>
                    <a:cubicBezTo>
                      <a:pt x="185218" y="27307"/>
                      <a:pt x="178242" y="23746"/>
                      <a:pt x="169486" y="23746"/>
                    </a:cubicBezTo>
                    <a:cubicBezTo>
                      <a:pt x="158058" y="23746"/>
                      <a:pt x="149154" y="29831"/>
                      <a:pt x="149005" y="39922"/>
                    </a:cubicBezTo>
                    <a:cubicBezTo>
                      <a:pt x="149005" y="48233"/>
                      <a:pt x="154051" y="54467"/>
                      <a:pt x="163846" y="57287"/>
                    </a:cubicBezTo>
                    <a:lnTo>
                      <a:pt x="169783" y="59216"/>
                    </a:lnTo>
                    <a:cubicBezTo>
                      <a:pt x="177500" y="61590"/>
                      <a:pt x="180172" y="64262"/>
                      <a:pt x="180172" y="68417"/>
                    </a:cubicBezTo>
                    <a:cubicBezTo>
                      <a:pt x="180172" y="73463"/>
                      <a:pt x="175571" y="76431"/>
                      <a:pt x="169783" y="76431"/>
                    </a:cubicBezTo>
                    <a:cubicBezTo>
                      <a:pt x="163253" y="76431"/>
                      <a:pt x="156871" y="73166"/>
                      <a:pt x="154645" y="67082"/>
                    </a:cubicBezTo>
                    <a:lnTo>
                      <a:pt x="146334" y="71682"/>
                    </a:lnTo>
                    <a:cubicBezTo>
                      <a:pt x="149896" y="80884"/>
                      <a:pt x="159097" y="85484"/>
                      <a:pt x="169635" y="85484"/>
                    </a:cubicBezTo>
                    <a:cubicBezTo>
                      <a:pt x="181507" y="85484"/>
                      <a:pt x="190264" y="79103"/>
                      <a:pt x="190264" y="67675"/>
                    </a:cubicBezTo>
                    <a:moveTo>
                      <a:pt x="135054" y="67675"/>
                    </a:moveTo>
                    <a:cubicBezTo>
                      <a:pt x="135054" y="58622"/>
                      <a:pt x="129118" y="53279"/>
                      <a:pt x="118878" y="50163"/>
                    </a:cubicBezTo>
                    <a:lnTo>
                      <a:pt x="112347" y="48085"/>
                    </a:lnTo>
                    <a:cubicBezTo>
                      <a:pt x="105817" y="46007"/>
                      <a:pt x="103888" y="43039"/>
                      <a:pt x="103888" y="39477"/>
                    </a:cubicBezTo>
                    <a:cubicBezTo>
                      <a:pt x="103888" y="35025"/>
                      <a:pt x="108786" y="32353"/>
                      <a:pt x="113683" y="32353"/>
                    </a:cubicBezTo>
                    <a:cubicBezTo>
                      <a:pt x="119471" y="32353"/>
                      <a:pt x="123478" y="35322"/>
                      <a:pt x="126001" y="39181"/>
                    </a:cubicBezTo>
                    <a:lnTo>
                      <a:pt x="133571" y="33986"/>
                    </a:lnTo>
                    <a:cubicBezTo>
                      <a:pt x="129712" y="27307"/>
                      <a:pt x="122736" y="23746"/>
                      <a:pt x="113980" y="23746"/>
                    </a:cubicBezTo>
                    <a:cubicBezTo>
                      <a:pt x="102553" y="23746"/>
                      <a:pt x="93648" y="29831"/>
                      <a:pt x="93499" y="39922"/>
                    </a:cubicBezTo>
                    <a:cubicBezTo>
                      <a:pt x="93499" y="48233"/>
                      <a:pt x="98545" y="54467"/>
                      <a:pt x="108340" y="57287"/>
                    </a:cubicBezTo>
                    <a:lnTo>
                      <a:pt x="114277" y="59216"/>
                    </a:lnTo>
                    <a:cubicBezTo>
                      <a:pt x="121995" y="61590"/>
                      <a:pt x="124666" y="64262"/>
                      <a:pt x="124666" y="68417"/>
                    </a:cubicBezTo>
                    <a:cubicBezTo>
                      <a:pt x="124666" y="73463"/>
                      <a:pt x="120065" y="76431"/>
                      <a:pt x="114277" y="76431"/>
                    </a:cubicBezTo>
                    <a:cubicBezTo>
                      <a:pt x="107747" y="76431"/>
                      <a:pt x="101365" y="73166"/>
                      <a:pt x="99139" y="67082"/>
                    </a:cubicBezTo>
                    <a:lnTo>
                      <a:pt x="90828" y="71682"/>
                    </a:lnTo>
                    <a:cubicBezTo>
                      <a:pt x="94390" y="80884"/>
                      <a:pt x="103443" y="85484"/>
                      <a:pt x="114129" y="85484"/>
                    </a:cubicBezTo>
                    <a:cubicBezTo>
                      <a:pt x="126001" y="85484"/>
                      <a:pt x="134758" y="79103"/>
                      <a:pt x="134758" y="67675"/>
                    </a:cubicBezTo>
                    <a:moveTo>
                      <a:pt x="26417" y="49718"/>
                    </a:moveTo>
                    <a:lnTo>
                      <a:pt x="41704" y="14990"/>
                    </a:lnTo>
                    <a:lnTo>
                      <a:pt x="56990" y="49718"/>
                    </a:lnTo>
                    <a:lnTo>
                      <a:pt x="26417" y="49718"/>
                    </a:lnTo>
                    <a:close/>
                    <a:moveTo>
                      <a:pt x="0" y="84297"/>
                    </a:moveTo>
                    <a:lnTo>
                      <a:pt x="11428" y="84297"/>
                    </a:lnTo>
                    <a:lnTo>
                      <a:pt x="22262" y="59661"/>
                    </a:lnTo>
                    <a:lnTo>
                      <a:pt x="61591" y="59661"/>
                    </a:lnTo>
                    <a:lnTo>
                      <a:pt x="72425" y="84297"/>
                    </a:lnTo>
                    <a:lnTo>
                      <a:pt x="84001" y="84297"/>
                    </a:lnTo>
                    <a:lnTo>
                      <a:pt x="46601" y="0"/>
                    </a:lnTo>
                    <a:lnTo>
                      <a:pt x="37400" y="0"/>
                    </a:lnTo>
                    <a:lnTo>
                      <a:pt x="148" y="84297"/>
                    </a:lnTo>
                    <a:close/>
                  </a:path>
                </a:pathLst>
              </a:custGeom>
              <a:solidFill>
                <a:srgbClr val="FFFFFF"/>
              </a:solidFill>
              <a:ln w="14828" cap="flat">
                <a:noFill/>
                <a:prstDash val="solid"/>
                <a:miter/>
              </a:ln>
            </p:spPr>
            <p:txBody>
              <a:bodyPr rtlCol="0" anchor="ctr"/>
              <a:lstStyle/>
              <a:p>
                <a:endParaRPr lang="en-DK"/>
              </a:p>
            </p:txBody>
          </p:sp>
          <p:sp>
            <p:nvSpPr>
              <p:cNvPr id="173" name="Freeform 172">
                <a:extLst>
                  <a:ext uri="{FF2B5EF4-FFF2-40B4-BE49-F238E27FC236}">
                    <a16:creationId xmlns:a16="http://schemas.microsoft.com/office/drawing/2014/main" id="{74860F02-427F-C0E7-DF72-7BE8150A0C5F}"/>
                  </a:ext>
                </a:extLst>
              </p:cNvPr>
              <p:cNvSpPr/>
              <p:nvPr/>
            </p:nvSpPr>
            <p:spPr>
              <a:xfrm>
                <a:off x="6044079" y="1977129"/>
                <a:ext cx="741019" cy="114572"/>
              </a:xfrm>
              <a:custGeom>
                <a:avLst/>
                <a:gdLst>
                  <a:gd name="connsiteX0" fmla="*/ 683139 w 741019"/>
                  <a:gd name="connsiteY0" fmla="*/ 79400 h 114572"/>
                  <a:gd name="connsiteX1" fmla="*/ 683139 w 741019"/>
                  <a:gd name="connsiteY1" fmla="*/ 15731 h 114572"/>
                  <a:gd name="connsiteX2" fmla="*/ 696348 w 741019"/>
                  <a:gd name="connsiteY2" fmla="*/ 15731 h 114572"/>
                  <a:gd name="connsiteX3" fmla="*/ 730038 w 741019"/>
                  <a:gd name="connsiteY3" fmla="*/ 47491 h 114572"/>
                  <a:gd name="connsiteX4" fmla="*/ 696348 w 741019"/>
                  <a:gd name="connsiteY4" fmla="*/ 79251 h 114572"/>
                  <a:gd name="connsiteX5" fmla="*/ 683139 w 741019"/>
                  <a:gd name="connsiteY5" fmla="*/ 79251 h 114572"/>
                  <a:gd name="connsiteX6" fmla="*/ 672009 w 741019"/>
                  <a:gd name="connsiteY6" fmla="*/ 89788 h 114572"/>
                  <a:gd name="connsiteX7" fmla="*/ 696200 w 741019"/>
                  <a:gd name="connsiteY7" fmla="*/ 89788 h 114572"/>
                  <a:gd name="connsiteX8" fmla="*/ 741020 w 741019"/>
                  <a:gd name="connsiteY8" fmla="*/ 47640 h 114572"/>
                  <a:gd name="connsiteX9" fmla="*/ 696200 w 741019"/>
                  <a:gd name="connsiteY9" fmla="*/ 5491 h 114572"/>
                  <a:gd name="connsiteX10" fmla="*/ 672009 w 741019"/>
                  <a:gd name="connsiteY10" fmla="*/ 5491 h 114572"/>
                  <a:gd name="connsiteX11" fmla="*/ 672009 w 741019"/>
                  <a:gd name="connsiteY11" fmla="*/ 89788 h 114572"/>
                  <a:gd name="connsiteX12" fmla="*/ 589343 w 741019"/>
                  <a:gd name="connsiteY12" fmla="*/ 89788 h 114572"/>
                  <a:gd name="connsiteX13" fmla="*/ 600326 w 741019"/>
                  <a:gd name="connsiteY13" fmla="*/ 89788 h 114572"/>
                  <a:gd name="connsiteX14" fmla="*/ 600326 w 741019"/>
                  <a:gd name="connsiteY14" fmla="*/ 49717 h 114572"/>
                  <a:gd name="connsiteX15" fmla="*/ 645146 w 741019"/>
                  <a:gd name="connsiteY15" fmla="*/ 89788 h 114572"/>
                  <a:gd name="connsiteX16" fmla="*/ 660730 w 741019"/>
                  <a:gd name="connsiteY16" fmla="*/ 89788 h 114572"/>
                  <a:gd name="connsiteX17" fmla="*/ 611605 w 741019"/>
                  <a:gd name="connsiteY17" fmla="*/ 45562 h 114572"/>
                  <a:gd name="connsiteX18" fmla="*/ 651676 w 741019"/>
                  <a:gd name="connsiteY18" fmla="*/ 5491 h 114572"/>
                  <a:gd name="connsiteX19" fmla="*/ 637280 w 741019"/>
                  <a:gd name="connsiteY19" fmla="*/ 5491 h 114572"/>
                  <a:gd name="connsiteX20" fmla="*/ 600474 w 741019"/>
                  <a:gd name="connsiteY20" fmla="*/ 42000 h 114572"/>
                  <a:gd name="connsiteX21" fmla="*/ 600474 w 741019"/>
                  <a:gd name="connsiteY21" fmla="*/ 5491 h 114572"/>
                  <a:gd name="connsiteX22" fmla="*/ 589492 w 741019"/>
                  <a:gd name="connsiteY22" fmla="*/ 5491 h 114572"/>
                  <a:gd name="connsiteX23" fmla="*/ 589492 w 741019"/>
                  <a:gd name="connsiteY23" fmla="*/ 89788 h 114572"/>
                  <a:gd name="connsiteX24" fmla="*/ 492282 w 741019"/>
                  <a:gd name="connsiteY24" fmla="*/ 47640 h 114572"/>
                  <a:gd name="connsiteX25" fmla="*/ 535767 w 741019"/>
                  <a:gd name="connsiteY25" fmla="*/ 91272 h 114572"/>
                  <a:gd name="connsiteX26" fmla="*/ 573018 w 741019"/>
                  <a:gd name="connsiteY26" fmla="*/ 70792 h 114572"/>
                  <a:gd name="connsiteX27" fmla="*/ 563817 w 741019"/>
                  <a:gd name="connsiteY27" fmla="*/ 65152 h 114572"/>
                  <a:gd name="connsiteX28" fmla="*/ 535767 w 741019"/>
                  <a:gd name="connsiteY28" fmla="*/ 80735 h 114572"/>
                  <a:gd name="connsiteX29" fmla="*/ 503413 w 741019"/>
                  <a:gd name="connsiteY29" fmla="*/ 47640 h 114572"/>
                  <a:gd name="connsiteX30" fmla="*/ 535767 w 741019"/>
                  <a:gd name="connsiteY30" fmla="*/ 14544 h 114572"/>
                  <a:gd name="connsiteX31" fmla="*/ 563817 w 741019"/>
                  <a:gd name="connsiteY31" fmla="*/ 30127 h 114572"/>
                  <a:gd name="connsiteX32" fmla="*/ 573018 w 741019"/>
                  <a:gd name="connsiteY32" fmla="*/ 24488 h 114572"/>
                  <a:gd name="connsiteX33" fmla="*/ 535767 w 741019"/>
                  <a:gd name="connsiteY33" fmla="*/ 4007 h 114572"/>
                  <a:gd name="connsiteX34" fmla="*/ 492282 w 741019"/>
                  <a:gd name="connsiteY34" fmla="*/ 47491 h 114572"/>
                  <a:gd name="connsiteX35" fmla="*/ 420302 w 741019"/>
                  <a:gd name="connsiteY35" fmla="*/ 61590 h 114572"/>
                  <a:gd name="connsiteX36" fmla="*/ 450578 w 741019"/>
                  <a:gd name="connsiteY36" fmla="*/ 61590 h 114572"/>
                  <a:gd name="connsiteX37" fmla="*/ 450578 w 741019"/>
                  <a:gd name="connsiteY37" fmla="*/ 51350 h 114572"/>
                  <a:gd name="connsiteX38" fmla="*/ 420302 w 741019"/>
                  <a:gd name="connsiteY38" fmla="*/ 51350 h 114572"/>
                  <a:gd name="connsiteX39" fmla="*/ 420302 w 741019"/>
                  <a:gd name="connsiteY39" fmla="*/ 61590 h 114572"/>
                  <a:gd name="connsiteX40" fmla="*/ 344316 w 741019"/>
                  <a:gd name="connsiteY40" fmla="*/ 114573 h 114572"/>
                  <a:gd name="connsiteX41" fmla="*/ 383199 w 741019"/>
                  <a:gd name="connsiteY41" fmla="*/ 30424 h 114572"/>
                  <a:gd name="connsiteX42" fmla="*/ 371772 w 741019"/>
                  <a:gd name="connsiteY42" fmla="*/ 30424 h 114572"/>
                  <a:gd name="connsiteX43" fmla="*/ 351439 w 741019"/>
                  <a:gd name="connsiteY43" fmla="*/ 75392 h 114572"/>
                  <a:gd name="connsiteX44" fmla="*/ 330959 w 741019"/>
                  <a:gd name="connsiteY44" fmla="*/ 30424 h 114572"/>
                  <a:gd name="connsiteX45" fmla="*/ 319679 w 741019"/>
                  <a:gd name="connsiteY45" fmla="*/ 30424 h 114572"/>
                  <a:gd name="connsiteX46" fmla="*/ 345651 w 741019"/>
                  <a:gd name="connsiteY46" fmla="*/ 86672 h 114572"/>
                  <a:gd name="connsiteX47" fmla="*/ 332739 w 741019"/>
                  <a:gd name="connsiteY47" fmla="*/ 114573 h 114572"/>
                  <a:gd name="connsiteX48" fmla="*/ 344167 w 741019"/>
                  <a:gd name="connsiteY48" fmla="*/ 114573 h 114572"/>
                  <a:gd name="connsiteX49" fmla="*/ 285545 w 741019"/>
                  <a:gd name="connsiteY49" fmla="*/ 38141 h 114572"/>
                  <a:gd name="connsiteX50" fmla="*/ 303650 w 741019"/>
                  <a:gd name="connsiteY50" fmla="*/ 53725 h 114572"/>
                  <a:gd name="connsiteX51" fmla="*/ 265954 w 741019"/>
                  <a:gd name="connsiteY51" fmla="*/ 53725 h 114572"/>
                  <a:gd name="connsiteX52" fmla="*/ 285396 w 741019"/>
                  <a:gd name="connsiteY52" fmla="*/ 38141 h 114572"/>
                  <a:gd name="connsiteX53" fmla="*/ 254971 w 741019"/>
                  <a:gd name="connsiteY53" fmla="*/ 60106 h 114572"/>
                  <a:gd name="connsiteX54" fmla="*/ 285693 w 741019"/>
                  <a:gd name="connsiteY54" fmla="*/ 90976 h 114572"/>
                  <a:gd name="connsiteX55" fmla="*/ 312407 w 741019"/>
                  <a:gd name="connsiteY55" fmla="*/ 76877 h 114572"/>
                  <a:gd name="connsiteX56" fmla="*/ 304393 w 741019"/>
                  <a:gd name="connsiteY56" fmla="*/ 71237 h 114572"/>
                  <a:gd name="connsiteX57" fmla="*/ 285841 w 741019"/>
                  <a:gd name="connsiteY57" fmla="*/ 81626 h 114572"/>
                  <a:gd name="connsiteX58" fmla="*/ 265360 w 741019"/>
                  <a:gd name="connsiteY58" fmla="*/ 62184 h 114572"/>
                  <a:gd name="connsiteX59" fmla="*/ 314039 w 741019"/>
                  <a:gd name="connsiteY59" fmla="*/ 62184 h 114572"/>
                  <a:gd name="connsiteX60" fmla="*/ 314039 w 741019"/>
                  <a:gd name="connsiteY60" fmla="*/ 59067 h 114572"/>
                  <a:gd name="connsiteX61" fmla="*/ 285841 w 741019"/>
                  <a:gd name="connsiteY61" fmla="*/ 29237 h 114572"/>
                  <a:gd name="connsiteX62" fmla="*/ 254971 w 741019"/>
                  <a:gd name="connsiteY62" fmla="*/ 60106 h 114572"/>
                  <a:gd name="connsiteX63" fmla="*/ 188186 w 741019"/>
                  <a:gd name="connsiteY63" fmla="*/ 89788 h 114572"/>
                  <a:gd name="connsiteX64" fmla="*/ 198426 w 741019"/>
                  <a:gd name="connsiteY64" fmla="*/ 89788 h 114572"/>
                  <a:gd name="connsiteX65" fmla="*/ 198426 w 741019"/>
                  <a:gd name="connsiteY65" fmla="*/ 60403 h 114572"/>
                  <a:gd name="connsiteX66" fmla="*/ 215642 w 741019"/>
                  <a:gd name="connsiteY66" fmla="*/ 38735 h 114572"/>
                  <a:gd name="connsiteX67" fmla="*/ 229742 w 741019"/>
                  <a:gd name="connsiteY67" fmla="*/ 54912 h 114572"/>
                  <a:gd name="connsiteX68" fmla="*/ 229742 w 741019"/>
                  <a:gd name="connsiteY68" fmla="*/ 89937 h 114572"/>
                  <a:gd name="connsiteX69" fmla="*/ 239834 w 741019"/>
                  <a:gd name="connsiteY69" fmla="*/ 89937 h 114572"/>
                  <a:gd name="connsiteX70" fmla="*/ 239834 w 741019"/>
                  <a:gd name="connsiteY70" fmla="*/ 53428 h 114572"/>
                  <a:gd name="connsiteX71" fmla="*/ 217423 w 741019"/>
                  <a:gd name="connsiteY71" fmla="*/ 29385 h 114572"/>
                  <a:gd name="connsiteX72" fmla="*/ 198575 w 741019"/>
                  <a:gd name="connsiteY72" fmla="*/ 39774 h 114572"/>
                  <a:gd name="connsiteX73" fmla="*/ 198575 w 741019"/>
                  <a:gd name="connsiteY73" fmla="*/ 30721 h 114572"/>
                  <a:gd name="connsiteX74" fmla="*/ 188335 w 741019"/>
                  <a:gd name="connsiteY74" fmla="*/ 30721 h 114572"/>
                  <a:gd name="connsiteX75" fmla="*/ 188335 w 741019"/>
                  <a:gd name="connsiteY75" fmla="*/ 90085 h 114572"/>
                  <a:gd name="connsiteX76" fmla="*/ 158652 w 741019"/>
                  <a:gd name="connsiteY76" fmla="*/ 60106 h 114572"/>
                  <a:gd name="connsiteX77" fmla="*/ 138468 w 741019"/>
                  <a:gd name="connsiteY77" fmla="*/ 81626 h 114572"/>
                  <a:gd name="connsiteX78" fmla="*/ 118136 w 741019"/>
                  <a:gd name="connsiteY78" fmla="*/ 60106 h 114572"/>
                  <a:gd name="connsiteX79" fmla="*/ 138468 w 741019"/>
                  <a:gd name="connsiteY79" fmla="*/ 38587 h 114572"/>
                  <a:gd name="connsiteX80" fmla="*/ 158652 w 741019"/>
                  <a:gd name="connsiteY80" fmla="*/ 60106 h 114572"/>
                  <a:gd name="connsiteX81" fmla="*/ 107896 w 741019"/>
                  <a:gd name="connsiteY81" fmla="*/ 60106 h 114572"/>
                  <a:gd name="connsiteX82" fmla="*/ 136984 w 741019"/>
                  <a:gd name="connsiteY82" fmla="*/ 90976 h 114572"/>
                  <a:gd name="connsiteX83" fmla="*/ 157910 w 741019"/>
                  <a:gd name="connsiteY83" fmla="*/ 80735 h 114572"/>
                  <a:gd name="connsiteX84" fmla="*/ 157910 w 741019"/>
                  <a:gd name="connsiteY84" fmla="*/ 89788 h 114572"/>
                  <a:gd name="connsiteX85" fmla="*/ 168151 w 741019"/>
                  <a:gd name="connsiteY85" fmla="*/ 89788 h 114572"/>
                  <a:gd name="connsiteX86" fmla="*/ 168151 w 741019"/>
                  <a:gd name="connsiteY86" fmla="*/ 742 h 114572"/>
                  <a:gd name="connsiteX87" fmla="*/ 157910 w 741019"/>
                  <a:gd name="connsiteY87" fmla="*/ 742 h 114572"/>
                  <a:gd name="connsiteX88" fmla="*/ 157910 w 741019"/>
                  <a:gd name="connsiteY88" fmla="*/ 39477 h 114572"/>
                  <a:gd name="connsiteX89" fmla="*/ 136984 w 741019"/>
                  <a:gd name="connsiteY89" fmla="*/ 29088 h 114572"/>
                  <a:gd name="connsiteX90" fmla="*/ 107896 w 741019"/>
                  <a:gd name="connsiteY90" fmla="*/ 59958 h 114572"/>
                  <a:gd name="connsiteX91" fmla="*/ 81775 w 741019"/>
                  <a:gd name="connsiteY91" fmla="*/ 89788 h 114572"/>
                  <a:gd name="connsiteX92" fmla="*/ 92015 w 741019"/>
                  <a:gd name="connsiteY92" fmla="*/ 89788 h 114572"/>
                  <a:gd name="connsiteX93" fmla="*/ 92015 w 741019"/>
                  <a:gd name="connsiteY93" fmla="*/ 30424 h 114572"/>
                  <a:gd name="connsiteX94" fmla="*/ 81775 w 741019"/>
                  <a:gd name="connsiteY94" fmla="*/ 30424 h 114572"/>
                  <a:gd name="connsiteX95" fmla="*/ 81775 w 741019"/>
                  <a:gd name="connsiteY95" fmla="*/ 89788 h 114572"/>
                  <a:gd name="connsiteX96" fmla="*/ 94093 w 741019"/>
                  <a:gd name="connsiteY96" fmla="*/ 7272 h 114572"/>
                  <a:gd name="connsiteX97" fmla="*/ 86970 w 741019"/>
                  <a:gd name="connsiteY97" fmla="*/ 0 h 114572"/>
                  <a:gd name="connsiteX98" fmla="*/ 79549 w 741019"/>
                  <a:gd name="connsiteY98" fmla="*/ 7272 h 114572"/>
                  <a:gd name="connsiteX99" fmla="*/ 86970 w 741019"/>
                  <a:gd name="connsiteY99" fmla="*/ 14544 h 114572"/>
                  <a:gd name="connsiteX100" fmla="*/ 94093 w 741019"/>
                  <a:gd name="connsiteY100" fmla="*/ 7272 h 114572"/>
                  <a:gd name="connsiteX101" fmla="*/ 0 w 741019"/>
                  <a:gd name="connsiteY101" fmla="*/ 89788 h 114572"/>
                  <a:gd name="connsiteX102" fmla="*/ 10834 w 741019"/>
                  <a:gd name="connsiteY102" fmla="*/ 89788 h 114572"/>
                  <a:gd name="connsiteX103" fmla="*/ 10834 w 741019"/>
                  <a:gd name="connsiteY103" fmla="*/ 49717 h 114572"/>
                  <a:gd name="connsiteX104" fmla="*/ 55654 w 741019"/>
                  <a:gd name="connsiteY104" fmla="*/ 89788 h 114572"/>
                  <a:gd name="connsiteX105" fmla="*/ 71238 w 741019"/>
                  <a:gd name="connsiteY105" fmla="*/ 89788 h 114572"/>
                  <a:gd name="connsiteX106" fmla="*/ 22114 w 741019"/>
                  <a:gd name="connsiteY106" fmla="*/ 45562 h 114572"/>
                  <a:gd name="connsiteX107" fmla="*/ 62185 w 741019"/>
                  <a:gd name="connsiteY107" fmla="*/ 5491 h 114572"/>
                  <a:gd name="connsiteX108" fmla="*/ 47789 w 741019"/>
                  <a:gd name="connsiteY108" fmla="*/ 5491 h 114572"/>
                  <a:gd name="connsiteX109" fmla="*/ 10983 w 741019"/>
                  <a:gd name="connsiteY109" fmla="*/ 42000 h 114572"/>
                  <a:gd name="connsiteX110" fmla="*/ 10983 w 741019"/>
                  <a:gd name="connsiteY110" fmla="*/ 5491 h 114572"/>
                  <a:gd name="connsiteX111" fmla="*/ 149 w 741019"/>
                  <a:gd name="connsiteY111" fmla="*/ 5491 h 114572"/>
                  <a:gd name="connsiteX112" fmla="*/ 149 w 741019"/>
                  <a:gd name="connsiteY112" fmla="*/ 89788 h 11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41019" h="114572">
                    <a:moveTo>
                      <a:pt x="683139" y="79400"/>
                    </a:moveTo>
                    <a:lnTo>
                      <a:pt x="683139" y="15731"/>
                    </a:lnTo>
                    <a:lnTo>
                      <a:pt x="696348" y="15731"/>
                    </a:lnTo>
                    <a:cubicBezTo>
                      <a:pt x="716681" y="15731"/>
                      <a:pt x="730038" y="29237"/>
                      <a:pt x="730038" y="47491"/>
                    </a:cubicBezTo>
                    <a:cubicBezTo>
                      <a:pt x="730038" y="65746"/>
                      <a:pt x="716681" y="79251"/>
                      <a:pt x="696348" y="79251"/>
                    </a:cubicBezTo>
                    <a:lnTo>
                      <a:pt x="683139" y="79251"/>
                    </a:lnTo>
                    <a:close/>
                    <a:moveTo>
                      <a:pt x="672009" y="89788"/>
                    </a:moveTo>
                    <a:lnTo>
                      <a:pt x="696200" y="89788"/>
                    </a:lnTo>
                    <a:cubicBezTo>
                      <a:pt x="722023" y="89788"/>
                      <a:pt x="741020" y="71831"/>
                      <a:pt x="741020" y="47640"/>
                    </a:cubicBezTo>
                    <a:cubicBezTo>
                      <a:pt x="741020" y="23449"/>
                      <a:pt x="722023" y="5491"/>
                      <a:pt x="696200" y="5491"/>
                    </a:cubicBezTo>
                    <a:lnTo>
                      <a:pt x="672009" y="5491"/>
                    </a:lnTo>
                    <a:lnTo>
                      <a:pt x="672009" y="89788"/>
                    </a:lnTo>
                    <a:close/>
                    <a:moveTo>
                      <a:pt x="589343" y="89788"/>
                    </a:moveTo>
                    <a:lnTo>
                      <a:pt x="600326" y="89788"/>
                    </a:lnTo>
                    <a:lnTo>
                      <a:pt x="600326" y="49717"/>
                    </a:lnTo>
                    <a:lnTo>
                      <a:pt x="645146" y="89788"/>
                    </a:lnTo>
                    <a:lnTo>
                      <a:pt x="660730" y="89788"/>
                    </a:lnTo>
                    <a:lnTo>
                      <a:pt x="611605" y="45562"/>
                    </a:lnTo>
                    <a:lnTo>
                      <a:pt x="651676" y="5491"/>
                    </a:lnTo>
                    <a:lnTo>
                      <a:pt x="637280" y="5491"/>
                    </a:lnTo>
                    <a:lnTo>
                      <a:pt x="600474" y="42000"/>
                    </a:lnTo>
                    <a:lnTo>
                      <a:pt x="600474" y="5491"/>
                    </a:lnTo>
                    <a:lnTo>
                      <a:pt x="589492" y="5491"/>
                    </a:lnTo>
                    <a:lnTo>
                      <a:pt x="589492" y="89788"/>
                    </a:lnTo>
                    <a:close/>
                    <a:moveTo>
                      <a:pt x="492282" y="47640"/>
                    </a:moveTo>
                    <a:cubicBezTo>
                      <a:pt x="492282" y="72127"/>
                      <a:pt x="511575" y="91272"/>
                      <a:pt x="535767" y="91272"/>
                    </a:cubicBezTo>
                    <a:cubicBezTo>
                      <a:pt x="551795" y="91272"/>
                      <a:pt x="565449" y="83258"/>
                      <a:pt x="573018" y="70792"/>
                    </a:cubicBezTo>
                    <a:lnTo>
                      <a:pt x="563817" y="65152"/>
                    </a:lnTo>
                    <a:cubicBezTo>
                      <a:pt x="558028" y="74502"/>
                      <a:pt x="548085" y="80735"/>
                      <a:pt x="535767" y="80735"/>
                    </a:cubicBezTo>
                    <a:cubicBezTo>
                      <a:pt x="517364" y="80735"/>
                      <a:pt x="503413" y="66191"/>
                      <a:pt x="503413" y="47640"/>
                    </a:cubicBezTo>
                    <a:cubicBezTo>
                      <a:pt x="503413" y="29088"/>
                      <a:pt x="517364" y="14544"/>
                      <a:pt x="535767" y="14544"/>
                    </a:cubicBezTo>
                    <a:cubicBezTo>
                      <a:pt x="548085" y="14544"/>
                      <a:pt x="558028" y="20777"/>
                      <a:pt x="563817" y="30127"/>
                    </a:cubicBezTo>
                    <a:lnTo>
                      <a:pt x="573018" y="24488"/>
                    </a:lnTo>
                    <a:cubicBezTo>
                      <a:pt x="565449" y="12021"/>
                      <a:pt x="551795" y="4007"/>
                      <a:pt x="535767" y="4007"/>
                    </a:cubicBezTo>
                    <a:cubicBezTo>
                      <a:pt x="511575" y="4007"/>
                      <a:pt x="492282" y="23152"/>
                      <a:pt x="492282" y="47491"/>
                    </a:cubicBezTo>
                    <a:moveTo>
                      <a:pt x="420302" y="61590"/>
                    </a:moveTo>
                    <a:lnTo>
                      <a:pt x="450578" y="61590"/>
                    </a:lnTo>
                    <a:lnTo>
                      <a:pt x="450578" y="51350"/>
                    </a:lnTo>
                    <a:lnTo>
                      <a:pt x="420302" y="51350"/>
                    </a:lnTo>
                    <a:lnTo>
                      <a:pt x="420302" y="61590"/>
                    </a:lnTo>
                    <a:close/>
                    <a:moveTo>
                      <a:pt x="344316" y="114573"/>
                    </a:moveTo>
                    <a:lnTo>
                      <a:pt x="383199" y="30424"/>
                    </a:lnTo>
                    <a:lnTo>
                      <a:pt x="371772" y="30424"/>
                    </a:lnTo>
                    <a:lnTo>
                      <a:pt x="351439" y="75392"/>
                    </a:lnTo>
                    <a:lnTo>
                      <a:pt x="330959" y="30424"/>
                    </a:lnTo>
                    <a:lnTo>
                      <a:pt x="319679" y="30424"/>
                    </a:lnTo>
                    <a:lnTo>
                      <a:pt x="345651" y="86672"/>
                    </a:lnTo>
                    <a:lnTo>
                      <a:pt x="332739" y="114573"/>
                    </a:lnTo>
                    <a:lnTo>
                      <a:pt x="344167" y="114573"/>
                    </a:lnTo>
                    <a:close/>
                    <a:moveTo>
                      <a:pt x="285545" y="38141"/>
                    </a:moveTo>
                    <a:cubicBezTo>
                      <a:pt x="294597" y="38141"/>
                      <a:pt x="302315" y="43929"/>
                      <a:pt x="303650" y="53725"/>
                    </a:cubicBezTo>
                    <a:lnTo>
                      <a:pt x="265954" y="53725"/>
                    </a:lnTo>
                    <a:cubicBezTo>
                      <a:pt x="267884" y="43781"/>
                      <a:pt x="276491" y="38141"/>
                      <a:pt x="285396" y="38141"/>
                    </a:cubicBezTo>
                    <a:moveTo>
                      <a:pt x="254971" y="60106"/>
                    </a:moveTo>
                    <a:cubicBezTo>
                      <a:pt x="254971" y="77619"/>
                      <a:pt x="267290" y="90976"/>
                      <a:pt x="285693" y="90976"/>
                    </a:cubicBezTo>
                    <a:cubicBezTo>
                      <a:pt x="298011" y="90976"/>
                      <a:pt x="307064" y="85484"/>
                      <a:pt x="312407" y="76877"/>
                    </a:cubicBezTo>
                    <a:lnTo>
                      <a:pt x="304393" y="71237"/>
                    </a:lnTo>
                    <a:cubicBezTo>
                      <a:pt x="300682" y="77470"/>
                      <a:pt x="295043" y="81626"/>
                      <a:pt x="285841" y="81626"/>
                    </a:cubicBezTo>
                    <a:cubicBezTo>
                      <a:pt x="274117" y="81626"/>
                      <a:pt x="265657" y="73315"/>
                      <a:pt x="265360" y="62184"/>
                    </a:cubicBezTo>
                    <a:lnTo>
                      <a:pt x="314039" y="62184"/>
                    </a:lnTo>
                    <a:cubicBezTo>
                      <a:pt x="314039" y="60848"/>
                      <a:pt x="314039" y="60106"/>
                      <a:pt x="314039" y="59067"/>
                    </a:cubicBezTo>
                    <a:cubicBezTo>
                      <a:pt x="314039" y="40071"/>
                      <a:pt x="301276" y="29237"/>
                      <a:pt x="285841" y="29237"/>
                    </a:cubicBezTo>
                    <a:cubicBezTo>
                      <a:pt x="267735" y="29237"/>
                      <a:pt x="254971" y="42742"/>
                      <a:pt x="254971" y="60106"/>
                    </a:cubicBezTo>
                    <a:moveTo>
                      <a:pt x="188186" y="89788"/>
                    </a:moveTo>
                    <a:lnTo>
                      <a:pt x="198426" y="89788"/>
                    </a:lnTo>
                    <a:lnTo>
                      <a:pt x="198426" y="60403"/>
                    </a:lnTo>
                    <a:cubicBezTo>
                      <a:pt x="198426" y="46452"/>
                      <a:pt x="205996" y="38735"/>
                      <a:pt x="215642" y="38735"/>
                    </a:cubicBezTo>
                    <a:cubicBezTo>
                      <a:pt x="223953" y="38735"/>
                      <a:pt x="229742" y="44968"/>
                      <a:pt x="229742" y="54912"/>
                    </a:cubicBezTo>
                    <a:lnTo>
                      <a:pt x="229742" y="89937"/>
                    </a:lnTo>
                    <a:lnTo>
                      <a:pt x="239834" y="89937"/>
                    </a:lnTo>
                    <a:lnTo>
                      <a:pt x="239834" y="53428"/>
                    </a:lnTo>
                    <a:cubicBezTo>
                      <a:pt x="239834" y="38735"/>
                      <a:pt x="230632" y="29385"/>
                      <a:pt x="217423" y="29385"/>
                    </a:cubicBezTo>
                    <a:cubicBezTo>
                      <a:pt x="209706" y="29385"/>
                      <a:pt x="202582" y="32650"/>
                      <a:pt x="198575" y="39774"/>
                    </a:cubicBezTo>
                    <a:lnTo>
                      <a:pt x="198575" y="30721"/>
                    </a:lnTo>
                    <a:lnTo>
                      <a:pt x="188335" y="30721"/>
                    </a:lnTo>
                    <a:lnTo>
                      <a:pt x="188335" y="90085"/>
                    </a:lnTo>
                    <a:close/>
                    <a:moveTo>
                      <a:pt x="158652" y="60106"/>
                    </a:moveTo>
                    <a:cubicBezTo>
                      <a:pt x="158652" y="72127"/>
                      <a:pt x="150490" y="81626"/>
                      <a:pt x="138468" y="81626"/>
                    </a:cubicBezTo>
                    <a:cubicBezTo>
                      <a:pt x="126447" y="81626"/>
                      <a:pt x="118136" y="72127"/>
                      <a:pt x="118136" y="60106"/>
                    </a:cubicBezTo>
                    <a:cubicBezTo>
                      <a:pt x="118136" y="48085"/>
                      <a:pt x="126447" y="38587"/>
                      <a:pt x="138468" y="38587"/>
                    </a:cubicBezTo>
                    <a:cubicBezTo>
                      <a:pt x="150490" y="38587"/>
                      <a:pt x="158652" y="48085"/>
                      <a:pt x="158652" y="60106"/>
                    </a:cubicBezTo>
                    <a:moveTo>
                      <a:pt x="107896" y="60106"/>
                    </a:moveTo>
                    <a:cubicBezTo>
                      <a:pt x="107896" y="77025"/>
                      <a:pt x="120362" y="90976"/>
                      <a:pt x="136984" y="90976"/>
                    </a:cubicBezTo>
                    <a:cubicBezTo>
                      <a:pt x="145889" y="90976"/>
                      <a:pt x="154052" y="86375"/>
                      <a:pt x="157910" y="80735"/>
                    </a:cubicBezTo>
                    <a:lnTo>
                      <a:pt x="157910" y="89788"/>
                    </a:lnTo>
                    <a:lnTo>
                      <a:pt x="168151" y="89788"/>
                    </a:lnTo>
                    <a:lnTo>
                      <a:pt x="168151" y="742"/>
                    </a:lnTo>
                    <a:lnTo>
                      <a:pt x="157910" y="742"/>
                    </a:lnTo>
                    <a:lnTo>
                      <a:pt x="157910" y="39477"/>
                    </a:lnTo>
                    <a:cubicBezTo>
                      <a:pt x="154052" y="33838"/>
                      <a:pt x="145889" y="29088"/>
                      <a:pt x="136984" y="29088"/>
                    </a:cubicBezTo>
                    <a:cubicBezTo>
                      <a:pt x="120362" y="29088"/>
                      <a:pt x="107896" y="42891"/>
                      <a:pt x="107896" y="59958"/>
                    </a:cubicBezTo>
                    <a:moveTo>
                      <a:pt x="81775" y="89788"/>
                    </a:moveTo>
                    <a:lnTo>
                      <a:pt x="92015" y="89788"/>
                    </a:lnTo>
                    <a:lnTo>
                      <a:pt x="92015" y="30424"/>
                    </a:lnTo>
                    <a:lnTo>
                      <a:pt x="81775" y="30424"/>
                    </a:lnTo>
                    <a:lnTo>
                      <a:pt x="81775" y="89788"/>
                    </a:lnTo>
                    <a:close/>
                    <a:moveTo>
                      <a:pt x="94093" y="7272"/>
                    </a:moveTo>
                    <a:cubicBezTo>
                      <a:pt x="94093" y="3413"/>
                      <a:pt x="90976" y="0"/>
                      <a:pt x="86970" y="0"/>
                    </a:cubicBezTo>
                    <a:cubicBezTo>
                      <a:pt x="82962" y="0"/>
                      <a:pt x="79549" y="3265"/>
                      <a:pt x="79549" y="7272"/>
                    </a:cubicBezTo>
                    <a:cubicBezTo>
                      <a:pt x="79549" y="11279"/>
                      <a:pt x="82814" y="14544"/>
                      <a:pt x="86970" y="14544"/>
                    </a:cubicBezTo>
                    <a:cubicBezTo>
                      <a:pt x="91125" y="14544"/>
                      <a:pt x="94093" y="11279"/>
                      <a:pt x="94093" y="7272"/>
                    </a:cubicBezTo>
                    <a:moveTo>
                      <a:pt x="0" y="89788"/>
                    </a:moveTo>
                    <a:lnTo>
                      <a:pt x="10834" y="89788"/>
                    </a:lnTo>
                    <a:lnTo>
                      <a:pt x="10834" y="49717"/>
                    </a:lnTo>
                    <a:lnTo>
                      <a:pt x="55654" y="89788"/>
                    </a:lnTo>
                    <a:lnTo>
                      <a:pt x="71238" y="89788"/>
                    </a:lnTo>
                    <a:lnTo>
                      <a:pt x="22114" y="45562"/>
                    </a:lnTo>
                    <a:lnTo>
                      <a:pt x="62185" y="5491"/>
                    </a:lnTo>
                    <a:lnTo>
                      <a:pt x="47789" y="5491"/>
                    </a:lnTo>
                    <a:lnTo>
                      <a:pt x="10983" y="42000"/>
                    </a:lnTo>
                    <a:lnTo>
                      <a:pt x="10983" y="5491"/>
                    </a:lnTo>
                    <a:lnTo>
                      <a:pt x="149" y="5491"/>
                    </a:lnTo>
                    <a:lnTo>
                      <a:pt x="149" y="89788"/>
                    </a:lnTo>
                    <a:close/>
                  </a:path>
                </a:pathLst>
              </a:custGeom>
              <a:solidFill>
                <a:srgbClr val="FFFFFF"/>
              </a:solidFill>
              <a:ln w="14828" cap="flat">
                <a:noFill/>
                <a:prstDash val="solid"/>
                <a:miter/>
              </a:ln>
            </p:spPr>
            <p:txBody>
              <a:bodyPr rtlCol="0" anchor="ctr"/>
              <a:lstStyle/>
              <a:p>
                <a:endParaRPr lang="en-DK"/>
              </a:p>
            </p:txBody>
          </p:sp>
          <p:sp>
            <p:nvSpPr>
              <p:cNvPr id="174" name="Freeform 173">
                <a:extLst>
                  <a:ext uri="{FF2B5EF4-FFF2-40B4-BE49-F238E27FC236}">
                    <a16:creationId xmlns:a16="http://schemas.microsoft.com/office/drawing/2014/main" id="{E232CC0B-D13D-C936-2DF9-C7EDF584E382}"/>
                  </a:ext>
                </a:extLst>
              </p:cNvPr>
              <p:cNvSpPr/>
              <p:nvPr/>
            </p:nvSpPr>
            <p:spPr>
              <a:xfrm>
                <a:off x="2773381" y="6289338"/>
                <a:ext cx="997030" cy="115759"/>
              </a:xfrm>
              <a:custGeom>
                <a:avLst/>
                <a:gdLst>
                  <a:gd name="connsiteX0" fmla="*/ 958146 w 997030"/>
                  <a:gd name="connsiteY0" fmla="*/ 114573 h 115759"/>
                  <a:gd name="connsiteX1" fmla="*/ 997030 w 997030"/>
                  <a:gd name="connsiteY1" fmla="*/ 30424 h 115759"/>
                  <a:gd name="connsiteX2" fmla="*/ 985603 w 997030"/>
                  <a:gd name="connsiteY2" fmla="*/ 30424 h 115759"/>
                  <a:gd name="connsiteX3" fmla="*/ 965270 w 997030"/>
                  <a:gd name="connsiteY3" fmla="*/ 75393 h 115759"/>
                  <a:gd name="connsiteX4" fmla="*/ 944789 w 997030"/>
                  <a:gd name="connsiteY4" fmla="*/ 30424 h 115759"/>
                  <a:gd name="connsiteX5" fmla="*/ 933510 w 997030"/>
                  <a:gd name="connsiteY5" fmla="*/ 30424 h 115759"/>
                  <a:gd name="connsiteX6" fmla="*/ 959482 w 997030"/>
                  <a:gd name="connsiteY6" fmla="*/ 86672 h 115759"/>
                  <a:gd name="connsiteX7" fmla="*/ 946570 w 997030"/>
                  <a:gd name="connsiteY7" fmla="*/ 114573 h 115759"/>
                  <a:gd name="connsiteX8" fmla="*/ 957998 w 997030"/>
                  <a:gd name="connsiteY8" fmla="*/ 114573 h 115759"/>
                  <a:gd name="connsiteX9" fmla="*/ 871919 w 997030"/>
                  <a:gd name="connsiteY9" fmla="*/ 59513 h 115759"/>
                  <a:gd name="connsiteX10" fmla="*/ 891955 w 997030"/>
                  <a:gd name="connsiteY10" fmla="*/ 38735 h 115759"/>
                  <a:gd name="connsiteX11" fmla="*/ 911990 w 997030"/>
                  <a:gd name="connsiteY11" fmla="*/ 59513 h 115759"/>
                  <a:gd name="connsiteX12" fmla="*/ 891955 w 997030"/>
                  <a:gd name="connsiteY12" fmla="*/ 80290 h 115759"/>
                  <a:gd name="connsiteX13" fmla="*/ 871919 w 997030"/>
                  <a:gd name="connsiteY13" fmla="*/ 59513 h 115759"/>
                  <a:gd name="connsiteX14" fmla="*/ 921489 w 997030"/>
                  <a:gd name="connsiteY14" fmla="*/ 86523 h 115759"/>
                  <a:gd name="connsiteX15" fmla="*/ 921489 w 997030"/>
                  <a:gd name="connsiteY15" fmla="*/ 30572 h 115759"/>
                  <a:gd name="connsiteX16" fmla="*/ 911248 w 997030"/>
                  <a:gd name="connsiteY16" fmla="*/ 30572 h 115759"/>
                  <a:gd name="connsiteX17" fmla="*/ 911248 w 997030"/>
                  <a:gd name="connsiteY17" fmla="*/ 39626 h 115759"/>
                  <a:gd name="connsiteX18" fmla="*/ 890619 w 997030"/>
                  <a:gd name="connsiteY18" fmla="*/ 29385 h 115759"/>
                  <a:gd name="connsiteX19" fmla="*/ 861530 w 997030"/>
                  <a:gd name="connsiteY19" fmla="*/ 59513 h 115759"/>
                  <a:gd name="connsiteX20" fmla="*/ 890619 w 997030"/>
                  <a:gd name="connsiteY20" fmla="*/ 89788 h 115759"/>
                  <a:gd name="connsiteX21" fmla="*/ 911248 w 997030"/>
                  <a:gd name="connsiteY21" fmla="*/ 79400 h 115759"/>
                  <a:gd name="connsiteX22" fmla="*/ 911248 w 997030"/>
                  <a:gd name="connsiteY22" fmla="*/ 86078 h 115759"/>
                  <a:gd name="connsiteX23" fmla="*/ 891361 w 997030"/>
                  <a:gd name="connsiteY23" fmla="*/ 106558 h 115759"/>
                  <a:gd name="connsiteX24" fmla="*/ 870583 w 997030"/>
                  <a:gd name="connsiteY24" fmla="*/ 96615 h 115759"/>
                  <a:gd name="connsiteX25" fmla="*/ 863460 w 997030"/>
                  <a:gd name="connsiteY25" fmla="*/ 103739 h 115759"/>
                  <a:gd name="connsiteX26" fmla="*/ 891361 w 997030"/>
                  <a:gd name="connsiteY26" fmla="*/ 115760 h 115759"/>
                  <a:gd name="connsiteX27" fmla="*/ 921340 w 997030"/>
                  <a:gd name="connsiteY27" fmla="*/ 86375 h 115759"/>
                  <a:gd name="connsiteX28" fmla="*/ 798010 w 997030"/>
                  <a:gd name="connsiteY28" fmla="*/ 60106 h 115759"/>
                  <a:gd name="connsiteX29" fmla="*/ 818639 w 997030"/>
                  <a:gd name="connsiteY29" fmla="*/ 38735 h 115759"/>
                  <a:gd name="connsiteX30" fmla="*/ 839120 w 997030"/>
                  <a:gd name="connsiteY30" fmla="*/ 60106 h 115759"/>
                  <a:gd name="connsiteX31" fmla="*/ 818639 w 997030"/>
                  <a:gd name="connsiteY31" fmla="*/ 81477 h 115759"/>
                  <a:gd name="connsiteX32" fmla="*/ 798010 w 997030"/>
                  <a:gd name="connsiteY32" fmla="*/ 60106 h 115759"/>
                  <a:gd name="connsiteX33" fmla="*/ 849657 w 997030"/>
                  <a:gd name="connsiteY33" fmla="*/ 60106 h 115759"/>
                  <a:gd name="connsiteX34" fmla="*/ 818639 w 997030"/>
                  <a:gd name="connsiteY34" fmla="*/ 29237 h 115759"/>
                  <a:gd name="connsiteX35" fmla="*/ 787473 w 997030"/>
                  <a:gd name="connsiteY35" fmla="*/ 60106 h 115759"/>
                  <a:gd name="connsiteX36" fmla="*/ 818639 w 997030"/>
                  <a:gd name="connsiteY36" fmla="*/ 90976 h 115759"/>
                  <a:gd name="connsiteX37" fmla="*/ 849657 w 997030"/>
                  <a:gd name="connsiteY37" fmla="*/ 60106 h 115759"/>
                  <a:gd name="connsiteX38" fmla="*/ 761353 w 997030"/>
                  <a:gd name="connsiteY38" fmla="*/ 89788 h 115759"/>
                  <a:gd name="connsiteX39" fmla="*/ 771593 w 997030"/>
                  <a:gd name="connsiteY39" fmla="*/ 89788 h 115759"/>
                  <a:gd name="connsiteX40" fmla="*/ 771593 w 997030"/>
                  <a:gd name="connsiteY40" fmla="*/ 742 h 115759"/>
                  <a:gd name="connsiteX41" fmla="*/ 761353 w 997030"/>
                  <a:gd name="connsiteY41" fmla="*/ 742 h 115759"/>
                  <a:gd name="connsiteX42" fmla="*/ 761353 w 997030"/>
                  <a:gd name="connsiteY42" fmla="*/ 89788 h 115759"/>
                  <a:gd name="connsiteX43" fmla="*/ 693528 w 997030"/>
                  <a:gd name="connsiteY43" fmla="*/ 60106 h 115759"/>
                  <a:gd name="connsiteX44" fmla="*/ 714157 w 997030"/>
                  <a:gd name="connsiteY44" fmla="*/ 38735 h 115759"/>
                  <a:gd name="connsiteX45" fmla="*/ 734638 w 997030"/>
                  <a:gd name="connsiteY45" fmla="*/ 60106 h 115759"/>
                  <a:gd name="connsiteX46" fmla="*/ 714157 w 997030"/>
                  <a:gd name="connsiteY46" fmla="*/ 81477 h 115759"/>
                  <a:gd name="connsiteX47" fmla="*/ 693528 w 997030"/>
                  <a:gd name="connsiteY47" fmla="*/ 60106 h 115759"/>
                  <a:gd name="connsiteX48" fmla="*/ 745175 w 997030"/>
                  <a:gd name="connsiteY48" fmla="*/ 60106 h 115759"/>
                  <a:gd name="connsiteX49" fmla="*/ 714157 w 997030"/>
                  <a:gd name="connsiteY49" fmla="*/ 29237 h 115759"/>
                  <a:gd name="connsiteX50" fmla="*/ 682991 w 997030"/>
                  <a:gd name="connsiteY50" fmla="*/ 60106 h 115759"/>
                  <a:gd name="connsiteX51" fmla="*/ 714157 w 997030"/>
                  <a:gd name="connsiteY51" fmla="*/ 90976 h 115759"/>
                  <a:gd name="connsiteX52" fmla="*/ 745175 w 997030"/>
                  <a:gd name="connsiteY52" fmla="*/ 60106 h 115759"/>
                  <a:gd name="connsiteX53" fmla="*/ 616206 w 997030"/>
                  <a:gd name="connsiteY53" fmla="*/ 89788 h 115759"/>
                  <a:gd name="connsiteX54" fmla="*/ 626446 w 997030"/>
                  <a:gd name="connsiteY54" fmla="*/ 89788 h 115759"/>
                  <a:gd name="connsiteX55" fmla="*/ 626446 w 997030"/>
                  <a:gd name="connsiteY55" fmla="*/ 60403 h 115759"/>
                  <a:gd name="connsiteX56" fmla="*/ 643662 w 997030"/>
                  <a:gd name="connsiteY56" fmla="*/ 38735 h 115759"/>
                  <a:gd name="connsiteX57" fmla="*/ 657613 w 997030"/>
                  <a:gd name="connsiteY57" fmla="*/ 54912 h 115759"/>
                  <a:gd name="connsiteX58" fmla="*/ 657613 w 997030"/>
                  <a:gd name="connsiteY58" fmla="*/ 89937 h 115759"/>
                  <a:gd name="connsiteX59" fmla="*/ 667704 w 997030"/>
                  <a:gd name="connsiteY59" fmla="*/ 89937 h 115759"/>
                  <a:gd name="connsiteX60" fmla="*/ 667704 w 997030"/>
                  <a:gd name="connsiteY60" fmla="*/ 53428 h 115759"/>
                  <a:gd name="connsiteX61" fmla="*/ 645294 w 997030"/>
                  <a:gd name="connsiteY61" fmla="*/ 29534 h 115759"/>
                  <a:gd name="connsiteX62" fmla="*/ 626446 w 997030"/>
                  <a:gd name="connsiteY62" fmla="*/ 39774 h 115759"/>
                  <a:gd name="connsiteX63" fmla="*/ 626446 w 997030"/>
                  <a:gd name="connsiteY63" fmla="*/ 1039 h 115759"/>
                  <a:gd name="connsiteX64" fmla="*/ 616206 w 997030"/>
                  <a:gd name="connsiteY64" fmla="*/ 1039 h 115759"/>
                  <a:gd name="connsiteX65" fmla="*/ 616206 w 997030"/>
                  <a:gd name="connsiteY65" fmla="*/ 90085 h 115759"/>
                  <a:gd name="connsiteX66" fmla="*/ 602403 w 997030"/>
                  <a:gd name="connsiteY66" fmla="*/ 88898 h 115759"/>
                  <a:gd name="connsiteX67" fmla="*/ 602403 w 997030"/>
                  <a:gd name="connsiteY67" fmla="*/ 79845 h 115759"/>
                  <a:gd name="connsiteX68" fmla="*/ 595131 w 997030"/>
                  <a:gd name="connsiteY68" fmla="*/ 81032 h 115759"/>
                  <a:gd name="connsiteX69" fmla="*/ 585336 w 997030"/>
                  <a:gd name="connsiteY69" fmla="*/ 70940 h 115759"/>
                  <a:gd name="connsiteX70" fmla="*/ 585336 w 997030"/>
                  <a:gd name="connsiteY70" fmla="*/ 39774 h 115759"/>
                  <a:gd name="connsiteX71" fmla="*/ 602403 w 997030"/>
                  <a:gd name="connsiteY71" fmla="*/ 39774 h 115759"/>
                  <a:gd name="connsiteX72" fmla="*/ 602403 w 997030"/>
                  <a:gd name="connsiteY72" fmla="*/ 30424 h 115759"/>
                  <a:gd name="connsiteX73" fmla="*/ 585336 w 997030"/>
                  <a:gd name="connsiteY73" fmla="*/ 30424 h 115759"/>
                  <a:gd name="connsiteX74" fmla="*/ 585336 w 997030"/>
                  <a:gd name="connsiteY74" fmla="*/ 13951 h 115759"/>
                  <a:gd name="connsiteX75" fmla="*/ 575096 w 997030"/>
                  <a:gd name="connsiteY75" fmla="*/ 13951 h 115759"/>
                  <a:gd name="connsiteX76" fmla="*/ 575096 w 997030"/>
                  <a:gd name="connsiteY76" fmla="*/ 30424 h 115759"/>
                  <a:gd name="connsiteX77" fmla="*/ 562481 w 997030"/>
                  <a:gd name="connsiteY77" fmla="*/ 30424 h 115759"/>
                  <a:gd name="connsiteX78" fmla="*/ 562481 w 997030"/>
                  <a:gd name="connsiteY78" fmla="*/ 39774 h 115759"/>
                  <a:gd name="connsiteX79" fmla="*/ 575096 w 997030"/>
                  <a:gd name="connsiteY79" fmla="*/ 39774 h 115759"/>
                  <a:gd name="connsiteX80" fmla="*/ 575096 w 997030"/>
                  <a:gd name="connsiteY80" fmla="*/ 72128 h 115759"/>
                  <a:gd name="connsiteX81" fmla="*/ 593202 w 997030"/>
                  <a:gd name="connsiteY81" fmla="*/ 90234 h 115759"/>
                  <a:gd name="connsiteX82" fmla="*/ 602403 w 997030"/>
                  <a:gd name="connsiteY82" fmla="*/ 88750 h 115759"/>
                  <a:gd name="connsiteX83" fmla="*/ 540367 w 997030"/>
                  <a:gd name="connsiteY83" fmla="*/ 60106 h 115759"/>
                  <a:gd name="connsiteX84" fmla="*/ 520183 w 997030"/>
                  <a:gd name="connsiteY84" fmla="*/ 81626 h 115759"/>
                  <a:gd name="connsiteX85" fmla="*/ 499851 w 997030"/>
                  <a:gd name="connsiteY85" fmla="*/ 60106 h 115759"/>
                  <a:gd name="connsiteX86" fmla="*/ 520183 w 997030"/>
                  <a:gd name="connsiteY86" fmla="*/ 38587 h 115759"/>
                  <a:gd name="connsiteX87" fmla="*/ 540367 w 997030"/>
                  <a:gd name="connsiteY87" fmla="*/ 60106 h 115759"/>
                  <a:gd name="connsiteX88" fmla="*/ 489610 w 997030"/>
                  <a:gd name="connsiteY88" fmla="*/ 60106 h 115759"/>
                  <a:gd name="connsiteX89" fmla="*/ 518699 w 997030"/>
                  <a:gd name="connsiteY89" fmla="*/ 90976 h 115759"/>
                  <a:gd name="connsiteX90" fmla="*/ 539625 w 997030"/>
                  <a:gd name="connsiteY90" fmla="*/ 80587 h 115759"/>
                  <a:gd name="connsiteX91" fmla="*/ 539625 w 997030"/>
                  <a:gd name="connsiteY91" fmla="*/ 89788 h 115759"/>
                  <a:gd name="connsiteX92" fmla="*/ 549866 w 997030"/>
                  <a:gd name="connsiteY92" fmla="*/ 89788 h 115759"/>
                  <a:gd name="connsiteX93" fmla="*/ 549866 w 997030"/>
                  <a:gd name="connsiteY93" fmla="*/ 30424 h 115759"/>
                  <a:gd name="connsiteX94" fmla="*/ 539625 w 997030"/>
                  <a:gd name="connsiteY94" fmla="*/ 30424 h 115759"/>
                  <a:gd name="connsiteX95" fmla="*/ 539625 w 997030"/>
                  <a:gd name="connsiteY95" fmla="*/ 39477 h 115759"/>
                  <a:gd name="connsiteX96" fmla="*/ 518699 w 997030"/>
                  <a:gd name="connsiteY96" fmla="*/ 29237 h 115759"/>
                  <a:gd name="connsiteX97" fmla="*/ 489610 w 997030"/>
                  <a:gd name="connsiteY97" fmla="*/ 60106 h 115759"/>
                  <a:gd name="connsiteX98" fmla="*/ 451766 w 997030"/>
                  <a:gd name="connsiteY98" fmla="*/ 48827 h 115759"/>
                  <a:gd name="connsiteX99" fmla="*/ 437073 w 997030"/>
                  <a:gd name="connsiteY99" fmla="*/ 48827 h 115759"/>
                  <a:gd name="connsiteX100" fmla="*/ 437073 w 997030"/>
                  <a:gd name="connsiteY100" fmla="*/ 15880 h 115759"/>
                  <a:gd name="connsiteX101" fmla="*/ 451766 w 997030"/>
                  <a:gd name="connsiteY101" fmla="*/ 15880 h 115759"/>
                  <a:gd name="connsiteX102" fmla="*/ 469872 w 997030"/>
                  <a:gd name="connsiteY102" fmla="*/ 32353 h 115759"/>
                  <a:gd name="connsiteX103" fmla="*/ 451766 w 997030"/>
                  <a:gd name="connsiteY103" fmla="*/ 48827 h 115759"/>
                  <a:gd name="connsiteX104" fmla="*/ 451766 w 997030"/>
                  <a:gd name="connsiteY104" fmla="*/ 5491 h 115759"/>
                  <a:gd name="connsiteX105" fmla="*/ 425942 w 997030"/>
                  <a:gd name="connsiteY105" fmla="*/ 5491 h 115759"/>
                  <a:gd name="connsiteX106" fmla="*/ 425942 w 997030"/>
                  <a:gd name="connsiteY106" fmla="*/ 89788 h 115759"/>
                  <a:gd name="connsiteX107" fmla="*/ 436924 w 997030"/>
                  <a:gd name="connsiteY107" fmla="*/ 89788 h 115759"/>
                  <a:gd name="connsiteX108" fmla="*/ 436924 w 997030"/>
                  <a:gd name="connsiteY108" fmla="*/ 59067 h 115759"/>
                  <a:gd name="connsiteX109" fmla="*/ 451617 w 997030"/>
                  <a:gd name="connsiteY109" fmla="*/ 59067 h 115759"/>
                  <a:gd name="connsiteX110" fmla="*/ 480557 w 997030"/>
                  <a:gd name="connsiteY110" fmla="*/ 32353 h 115759"/>
                  <a:gd name="connsiteX111" fmla="*/ 451617 w 997030"/>
                  <a:gd name="connsiteY111" fmla="*/ 5491 h 115759"/>
                  <a:gd name="connsiteX112" fmla="*/ 364054 w 997030"/>
                  <a:gd name="connsiteY112" fmla="*/ 89788 h 115759"/>
                  <a:gd name="connsiteX113" fmla="*/ 375036 w 997030"/>
                  <a:gd name="connsiteY113" fmla="*/ 89788 h 115759"/>
                  <a:gd name="connsiteX114" fmla="*/ 375036 w 997030"/>
                  <a:gd name="connsiteY114" fmla="*/ 5491 h 115759"/>
                  <a:gd name="connsiteX115" fmla="*/ 364054 w 997030"/>
                  <a:gd name="connsiteY115" fmla="*/ 5491 h 115759"/>
                  <a:gd name="connsiteX116" fmla="*/ 364054 w 997030"/>
                  <a:gd name="connsiteY116" fmla="*/ 89788 h 115759"/>
                  <a:gd name="connsiteX117" fmla="*/ 293262 w 997030"/>
                  <a:gd name="connsiteY117" fmla="*/ 55209 h 115759"/>
                  <a:gd name="connsiteX118" fmla="*/ 308548 w 997030"/>
                  <a:gd name="connsiteY118" fmla="*/ 20481 h 115759"/>
                  <a:gd name="connsiteX119" fmla="*/ 323834 w 997030"/>
                  <a:gd name="connsiteY119" fmla="*/ 55209 h 115759"/>
                  <a:gd name="connsiteX120" fmla="*/ 293262 w 997030"/>
                  <a:gd name="connsiteY120" fmla="*/ 55209 h 115759"/>
                  <a:gd name="connsiteX121" fmla="*/ 266696 w 997030"/>
                  <a:gd name="connsiteY121" fmla="*/ 89788 h 115759"/>
                  <a:gd name="connsiteX122" fmla="*/ 278124 w 997030"/>
                  <a:gd name="connsiteY122" fmla="*/ 89788 h 115759"/>
                  <a:gd name="connsiteX123" fmla="*/ 288958 w 997030"/>
                  <a:gd name="connsiteY123" fmla="*/ 65152 h 115759"/>
                  <a:gd name="connsiteX124" fmla="*/ 328287 w 997030"/>
                  <a:gd name="connsiteY124" fmla="*/ 65152 h 115759"/>
                  <a:gd name="connsiteX125" fmla="*/ 339121 w 997030"/>
                  <a:gd name="connsiteY125" fmla="*/ 89788 h 115759"/>
                  <a:gd name="connsiteX126" fmla="*/ 350697 w 997030"/>
                  <a:gd name="connsiteY126" fmla="*/ 89788 h 115759"/>
                  <a:gd name="connsiteX127" fmla="*/ 313297 w 997030"/>
                  <a:gd name="connsiteY127" fmla="*/ 5491 h 115759"/>
                  <a:gd name="connsiteX128" fmla="*/ 304096 w 997030"/>
                  <a:gd name="connsiteY128" fmla="*/ 5491 h 115759"/>
                  <a:gd name="connsiteX129" fmla="*/ 266844 w 997030"/>
                  <a:gd name="connsiteY129" fmla="*/ 89788 h 115759"/>
                  <a:gd name="connsiteX130" fmla="*/ 177055 w 997030"/>
                  <a:gd name="connsiteY130" fmla="*/ 89788 h 115759"/>
                  <a:gd name="connsiteX131" fmla="*/ 187296 w 997030"/>
                  <a:gd name="connsiteY131" fmla="*/ 89788 h 115759"/>
                  <a:gd name="connsiteX132" fmla="*/ 187296 w 997030"/>
                  <a:gd name="connsiteY132" fmla="*/ 60403 h 115759"/>
                  <a:gd name="connsiteX133" fmla="*/ 204511 w 997030"/>
                  <a:gd name="connsiteY133" fmla="*/ 38735 h 115759"/>
                  <a:gd name="connsiteX134" fmla="*/ 218462 w 997030"/>
                  <a:gd name="connsiteY134" fmla="*/ 54912 h 115759"/>
                  <a:gd name="connsiteX135" fmla="*/ 218462 w 997030"/>
                  <a:gd name="connsiteY135" fmla="*/ 89937 h 115759"/>
                  <a:gd name="connsiteX136" fmla="*/ 228554 w 997030"/>
                  <a:gd name="connsiteY136" fmla="*/ 89937 h 115759"/>
                  <a:gd name="connsiteX137" fmla="*/ 228554 w 997030"/>
                  <a:gd name="connsiteY137" fmla="*/ 53428 h 115759"/>
                  <a:gd name="connsiteX138" fmla="*/ 206144 w 997030"/>
                  <a:gd name="connsiteY138" fmla="*/ 29534 h 115759"/>
                  <a:gd name="connsiteX139" fmla="*/ 187296 w 997030"/>
                  <a:gd name="connsiteY139" fmla="*/ 39774 h 115759"/>
                  <a:gd name="connsiteX140" fmla="*/ 187296 w 997030"/>
                  <a:gd name="connsiteY140" fmla="*/ 1039 h 115759"/>
                  <a:gd name="connsiteX141" fmla="*/ 177055 w 997030"/>
                  <a:gd name="connsiteY141" fmla="*/ 1039 h 115759"/>
                  <a:gd name="connsiteX142" fmla="*/ 177055 w 997030"/>
                  <a:gd name="connsiteY142" fmla="*/ 90085 h 115759"/>
                  <a:gd name="connsiteX143" fmla="*/ 163253 w 997030"/>
                  <a:gd name="connsiteY143" fmla="*/ 88898 h 115759"/>
                  <a:gd name="connsiteX144" fmla="*/ 163253 w 997030"/>
                  <a:gd name="connsiteY144" fmla="*/ 79845 h 115759"/>
                  <a:gd name="connsiteX145" fmla="*/ 155981 w 997030"/>
                  <a:gd name="connsiteY145" fmla="*/ 81032 h 115759"/>
                  <a:gd name="connsiteX146" fmla="*/ 146185 w 997030"/>
                  <a:gd name="connsiteY146" fmla="*/ 70940 h 115759"/>
                  <a:gd name="connsiteX147" fmla="*/ 146185 w 997030"/>
                  <a:gd name="connsiteY147" fmla="*/ 39774 h 115759"/>
                  <a:gd name="connsiteX148" fmla="*/ 163253 w 997030"/>
                  <a:gd name="connsiteY148" fmla="*/ 39774 h 115759"/>
                  <a:gd name="connsiteX149" fmla="*/ 163253 w 997030"/>
                  <a:gd name="connsiteY149" fmla="*/ 30424 h 115759"/>
                  <a:gd name="connsiteX150" fmla="*/ 146185 w 997030"/>
                  <a:gd name="connsiteY150" fmla="*/ 30424 h 115759"/>
                  <a:gd name="connsiteX151" fmla="*/ 146185 w 997030"/>
                  <a:gd name="connsiteY151" fmla="*/ 13951 h 115759"/>
                  <a:gd name="connsiteX152" fmla="*/ 135945 w 997030"/>
                  <a:gd name="connsiteY152" fmla="*/ 13951 h 115759"/>
                  <a:gd name="connsiteX153" fmla="*/ 135945 w 997030"/>
                  <a:gd name="connsiteY153" fmla="*/ 30424 h 115759"/>
                  <a:gd name="connsiteX154" fmla="*/ 123330 w 997030"/>
                  <a:gd name="connsiteY154" fmla="*/ 30424 h 115759"/>
                  <a:gd name="connsiteX155" fmla="*/ 123330 w 997030"/>
                  <a:gd name="connsiteY155" fmla="*/ 39774 h 115759"/>
                  <a:gd name="connsiteX156" fmla="*/ 135945 w 997030"/>
                  <a:gd name="connsiteY156" fmla="*/ 39774 h 115759"/>
                  <a:gd name="connsiteX157" fmla="*/ 135945 w 997030"/>
                  <a:gd name="connsiteY157" fmla="*/ 72128 h 115759"/>
                  <a:gd name="connsiteX158" fmla="*/ 154051 w 997030"/>
                  <a:gd name="connsiteY158" fmla="*/ 90234 h 115759"/>
                  <a:gd name="connsiteX159" fmla="*/ 163253 w 997030"/>
                  <a:gd name="connsiteY159" fmla="*/ 88750 h 115759"/>
                  <a:gd name="connsiteX160" fmla="*/ 100475 w 997030"/>
                  <a:gd name="connsiteY160" fmla="*/ 89788 h 115759"/>
                  <a:gd name="connsiteX161" fmla="*/ 110715 w 997030"/>
                  <a:gd name="connsiteY161" fmla="*/ 89788 h 115759"/>
                  <a:gd name="connsiteX162" fmla="*/ 110715 w 997030"/>
                  <a:gd name="connsiteY162" fmla="*/ 30424 h 115759"/>
                  <a:gd name="connsiteX163" fmla="*/ 100475 w 997030"/>
                  <a:gd name="connsiteY163" fmla="*/ 30424 h 115759"/>
                  <a:gd name="connsiteX164" fmla="*/ 100475 w 997030"/>
                  <a:gd name="connsiteY164" fmla="*/ 89788 h 115759"/>
                  <a:gd name="connsiteX165" fmla="*/ 112793 w 997030"/>
                  <a:gd name="connsiteY165" fmla="*/ 7272 h 115759"/>
                  <a:gd name="connsiteX166" fmla="*/ 105669 w 997030"/>
                  <a:gd name="connsiteY166" fmla="*/ 0 h 115759"/>
                  <a:gd name="connsiteX167" fmla="*/ 98397 w 997030"/>
                  <a:gd name="connsiteY167" fmla="*/ 7272 h 115759"/>
                  <a:gd name="connsiteX168" fmla="*/ 105669 w 997030"/>
                  <a:gd name="connsiteY168" fmla="*/ 14544 h 115759"/>
                  <a:gd name="connsiteX169" fmla="*/ 112793 w 997030"/>
                  <a:gd name="connsiteY169" fmla="*/ 7272 h 115759"/>
                  <a:gd name="connsiteX170" fmla="*/ 58623 w 997030"/>
                  <a:gd name="connsiteY170" fmla="*/ 89788 h 115759"/>
                  <a:gd name="connsiteX171" fmla="*/ 67676 w 997030"/>
                  <a:gd name="connsiteY171" fmla="*/ 89788 h 115759"/>
                  <a:gd name="connsiteX172" fmla="*/ 87860 w 997030"/>
                  <a:gd name="connsiteY172" fmla="*/ 30424 h 115759"/>
                  <a:gd name="connsiteX173" fmla="*/ 77026 w 997030"/>
                  <a:gd name="connsiteY173" fmla="*/ 30424 h 115759"/>
                  <a:gd name="connsiteX174" fmla="*/ 62630 w 997030"/>
                  <a:gd name="connsiteY174" fmla="*/ 73760 h 115759"/>
                  <a:gd name="connsiteX175" fmla="*/ 47789 w 997030"/>
                  <a:gd name="connsiteY175" fmla="*/ 30424 h 115759"/>
                  <a:gd name="connsiteX176" fmla="*/ 39923 w 997030"/>
                  <a:gd name="connsiteY176" fmla="*/ 30424 h 115759"/>
                  <a:gd name="connsiteX177" fmla="*/ 25082 w 997030"/>
                  <a:gd name="connsiteY177" fmla="*/ 73760 h 115759"/>
                  <a:gd name="connsiteX178" fmla="*/ 10686 w 997030"/>
                  <a:gd name="connsiteY178" fmla="*/ 30424 h 115759"/>
                  <a:gd name="connsiteX179" fmla="*/ 0 w 997030"/>
                  <a:gd name="connsiteY179" fmla="*/ 30424 h 115759"/>
                  <a:gd name="connsiteX180" fmla="*/ 20184 w 997030"/>
                  <a:gd name="connsiteY180" fmla="*/ 89788 h 115759"/>
                  <a:gd name="connsiteX181" fmla="*/ 29237 w 997030"/>
                  <a:gd name="connsiteY181" fmla="*/ 89788 h 115759"/>
                  <a:gd name="connsiteX182" fmla="*/ 43930 w 997030"/>
                  <a:gd name="connsiteY182" fmla="*/ 47046 h 115759"/>
                  <a:gd name="connsiteX183" fmla="*/ 58474 w 997030"/>
                  <a:gd name="connsiteY183" fmla="*/ 89788 h 11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997030" h="115759">
                    <a:moveTo>
                      <a:pt x="958146" y="114573"/>
                    </a:moveTo>
                    <a:lnTo>
                      <a:pt x="997030" y="30424"/>
                    </a:lnTo>
                    <a:lnTo>
                      <a:pt x="985603" y="30424"/>
                    </a:lnTo>
                    <a:lnTo>
                      <a:pt x="965270" y="75393"/>
                    </a:lnTo>
                    <a:lnTo>
                      <a:pt x="944789" y="30424"/>
                    </a:lnTo>
                    <a:lnTo>
                      <a:pt x="933510" y="30424"/>
                    </a:lnTo>
                    <a:lnTo>
                      <a:pt x="959482" y="86672"/>
                    </a:lnTo>
                    <a:lnTo>
                      <a:pt x="946570" y="114573"/>
                    </a:lnTo>
                    <a:lnTo>
                      <a:pt x="957998" y="114573"/>
                    </a:lnTo>
                    <a:close/>
                    <a:moveTo>
                      <a:pt x="871919" y="59513"/>
                    </a:moveTo>
                    <a:cubicBezTo>
                      <a:pt x="871919" y="47640"/>
                      <a:pt x="880082" y="38735"/>
                      <a:pt x="891955" y="38735"/>
                    </a:cubicBezTo>
                    <a:cubicBezTo>
                      <a:pt x="903828" y="38735"/>
                      <a:pt x="911990" y="47640"/>
                      <a:pt x="911990" y="59513"/>
                    </a:cubicBezTo>
                    <a:cubicBezTo>
                      <a:pt x="911990" y="71385"/>
                      <a:pt x="903828" y="80290"/>
                      <a:pt x="891955" y="80290"/>
                    </a:cubicBezTo>
                    <a:cubicBezTo>
                      <a:pt x="880082" y="80290"/>
                      <a:pt x="871919" y="71534"/>
                      <a:pt x="871919" y="59513"/>
                    </a:cubicBezTo>
                    <a:moveTo>
                      <a:pt x="921489" y="86523"/>
                    </a:moveTo>
                    <a:lnTo>
                      <a:pt x="921489" y="30572"/>
                    </a:lnTo>
                    <a:lnTo>
                      <a:pt x="911248" y="30572"/>
                    </a:lnTo>
                    <a:lnTo>
                      <a:pt x="911248" y="39626"/>
                    </a:lnTo>
                    <a:cubicBezTo>
                      <a:pt x="907241" y="33689"/>
                      <a:pt x="899375" y="29385"/>
                      <a:pt x="890619" y="29385"/>
                    </a:cubicBezTo>
                    <a:cubicBezTo>
                      <a:pt x="874145" y="29385"/>
                      <a:pt x="861530" y="42742"/>
                      <a:pt x="861530" y="59513"/>
                    </a:cubicBezTo>
                    <a:cubicBezTo>
                      <a:pt x="861530" y="76283"/>
                      <a:pt x="874145" y="89788"/>
                      <a:pt x="890619" y="89788"/>
                    </a:cubicBezTo>
                    <a:cubicBezTo>
                      <a:pt x="899375" y="89788"/>
                      <a:pt x="907241" y="85336"/>
                      <a:pt x="911248" y="79400"/>
                    </a:cubicBezTo>
                    <a:lnTo>
                      <a:pt x="911248" y="86078"/>
                    </a:lnTo>
                    <a:cubicBezTo>
                      <a:pt x="911248" y="100326"/>
                      <a:pt x="901453" y="106558"/>
                      <a:pt x="891361" y="106558"/>
                    </a:cubicBezTo>
                    <a:cubicBezTo>
                      <a:pt x="882160" y="106558"/>
                      <a:pt x="875333" y="102700"/>
                      <a:pt x="870583" y="96615"/>
                    </a:cubicBezTo>
                    <a:lnTo>
                      <a:pt x="863460" y="103739"/>
                    </a:lnTo>
                    <a:cubicBezTo>
                      <a:pt x="868506" y="110417"/>
                      <a:pt x="878598" y="115760"/>
                      <a:pt x="891361" y="115760"/>
                    </a:cubicBezTo>
                    <a:cubicBezTo>
                      <a:pt x="908280" y="115760"/>
                      <a:pt x="921340" y="106113"/>
                      <a:pt x="921340" y="86375"/>
                    </a:cubicBezTo>
                    <a:moveTo>
                      <a:pt x="798010" y="60106"/>
                    </a:moveTo>
                    <a:cubicBezTo>
                      <a:pt x="798010" y="48233"/>
                      <a:pt x="806321" y="38735"/>
                      <a:pt x="818639" y="38735"/>
                    </a:cubicBezTo>
                    <a:cubicBezTo>
                      <a:pt x="830957" y="38735"/>
                      <a:pt x="839120" y="48233"/>
                      <a:pt x="839120" y="60106"/>
                    </a:cubicBezTo>
                    <a:cubicBezTo>
                      <a:pt x="839120" y="71979"/>
                      <a:pt x="830957" y="81477"/>
                      <a:pt x="818639" y="81477"/>
                    </a:cubicBezTo>
                    <a:cubicBezTo>
                      <a:pt x="806321" y="81477"/>
                      <a:pt x="798010" y="71979"/>
                      <a:pt x="798010" y="60106"/>
                    </a:cubicBezTo>
                    <a:moveTo>
                      <a:pt x="849657" y="60106"/>
                    </a:moveTo>
                    <a:cubicBezTo>
                      <a:pt x="849657" y="43039"/>
                      <a:pt x="836449" y="29237"/>
                      <a:pt x="818639" y="29237"/>
                    </a:cubicBezTo>
                    <a:cubicBezTo>
                      <a:pt x="800830" y="29237"/>
                      <a:pt x="787473" y="43039"/>
                      <a:pt x="787473" y="60106"/>
                    </a:cubicBezTo>
                    <a:cubicBezTo>
                      <a:pt x="787473" y="77174"/>
                      <a:pt x="800682" y="90976"/>
                      <a:pt x="818639" y="90976"/>
                    </a:cubicBezTo>
                    <a:cubicBezTo>
                      <a:pt x="836597" y="90976"/>
                      <a:pt x="849657" y="77174"/>
                      <a:pt x="849657" y="60106"/>
                    </a:cubicBezTo>
                    <a:moveTo>
                      <a:pt x="761353" y="89788"/>
                    </a:moveTo>
                    <a:lnTo>
                      <a:pt x="771593" y="89788"/>
                    </a:lnTo>
                    <a:lnTo>
                      <a:pt x="771593" y="742"/>
                    </a:lnTo>
                    <a:lnTo>
                      <a:pt x="761353" y="742"/>
                    </a:lnTo>
                    <a:lnTo>
                      <a:pt x="761353" y="89788"/>
                    </a:lnTo>
                    <a:close/>
                    <a:moveTo>
                      <a:pt x="693528" y="60106"/>
                    </a:moveTo>
                    <a:cubicBezTo>
                      <a:pt x="693528" y="48233"/>
                      <a:pt x="701839" y="38735"/>
                      <a:pt x="714157" y="38735"/>
                    </a:cubicBezTo>
                    <a:cubicBezTo>
                      <a:pt x="726476" y="38735"/>
                      <a:pt x="734638" y="48233"/>
                      <a:pt x="734638" y="60106"/>
                    </a:cubicBezTo>
                    <a:cubicBezTo>
                      <a:pt x="734638" y="71979"/>
                      <a:pt x="726476" y="81477"/>
                      <a:pt x="714157" y="81477"/>
                    </a:cubicBezTo>
                    <a:cubicBezTo>
                      <a:pt x="701839" y="81477"/>
                      <a:pt x="693528" y="71979"/>
                      <a:pt x="693528" y="60106"/>
                    </a:cubicBezTo>
                    <a:moveTo>
                      <a:pt x="745175" y="60106"/>
                    </a:moveTo>
                    <a:cubicBezTo>
                      <a:pt x="745175" y="43039"/>
                      <a:pt x="731967" y="29237"/>
                      <a:pt x="714157" y="29237"/>
                    </a:cubicBezTo>
                    <a:cubicBezTo>
                      <a:pt x="696348" y="29237"/>
                      <a:pt x="682991" y="43039"/>
                      <a:pt x="682991" y="60106"/>
                    </a:cubicBezTo>
                    <a:cubicBezTo>
                      <a:pt x="682991" y="77174"/>
                      <a:pt x="696200" y="90976"/>
                      <a:pt x="714157" y="90976"/>
                    </a:cubicBezTo>
                    <a:cubicBezTo>
                      <a:pt x="732115" y="90976"/>
                      <a:pt x="745175" y="77174"/>
                      <a:pt x="745175" y="60106"/>
                    </a:cubicBezTo>
                    <a:moveTo>
                      <a:pt x="616206" y="89788"/>
                    </a:moveTo>
                    <a:lnTo>
                      <a:pt x="626446" y="89788"/>
                    </a:lnTo>
                    <a:lnTo>
                      <a:pt x="626446" y="60403"/>
                    </a:lnTo>
                    <a:cubicBezTo>
                      <a:pt x="626446" y="46452"/>
                      <a:pt x="634015" y="38735"/>
                      <a:pt x="643662" y="38735"/>
                    </a:cubicBezTo>
                    <a:cubicBezTo>
                      <a:pt x="651973" y="38735"/>
                      <a:pt x="657613" y="44968"/>
                      <a:pt x="657613" y="54912"/>
                    </a:cubicBezTo>
                    <a:lnTo>
                      <a:pt x="657613" y="89937"/>
                    </a:lnTo>
                    <a:lnTo>
                      <a:pt x="667704" y="89937"/>
                    </a:lnTo>
                    <a:lnTo>
                      <a:pt x="667704" y="53428"/>
                    </a:lnTo>
                    <a:cubicBezTo>
                      <a:pt x="667704" y="38735"/>
                      <a:pt x="658503" y="29534"/>
                      <a:pt x="645294" y="29534"/>
                    </a:cubicBezTo>
                    <a:cubicBezTo>
                      <a:pt x="637577" y="29534"/>
                      <a:pt x="630453" y="32799"/>
                      <a:pt x="626446" y="39774"/>
                    </a:cubicBezTo>
                    <a:lnTo>
                      <a:pt x="626446" y="1039"/>
                    </a:lnTo>
                    <a:lnTo>
                      <a:pt x="616206" y="1039"/>
                    </a:lnTo>
                    <a:lnTo>
                      <a:pt x="616206" y="90085"/>
                    </a:lnTo>
                    <a:close/>
                    <a:moveTo>
                      <a:pt x="602403" y="88898"/>
                    </a:moveTo>
                    <a:lnTo>
                      <a:pt x="602403" y="79845"/>
                    </a:lnTo>
                    <a:cubicBezTo>
                      <a:pt x="600474" y="80587"/>
                      <a:pt x="597654" y="81032"/>
                      <a:pt x="595131" y="81032"/>
                    </a:cubicBezTo>
                    <a:cubicBezTo>
                      <a:pt x="588750" y="81032"/>
                      <a:pt x="585336" y="78509"/>
                      <a:pt x="585336" y="70940"/>
                    </a:cubicBezTo>
                    <a:lnTo>
                      <a:pt x="585336" y="39774"/>
                    </a:lnTo>
                    <a:lnTo>
                      <a:pt x="602403" y="39774"/>
                    </a:lnTo>
                    <a:lnTo>
                      <a:pt x="602403" y="30424"/>
                    </a:lnTo>
                    <a:lnTo>
                      <a:pt x="585336" y="30424"/>
                    </a:lnTo>
                    <a:lnTo>
                      <a:pt x="585336" y="13951"/>
                    </a:lnTo>
                    <a:lnTo>
                      <a:pt x="575096" y="13951"/>
                    </a:lnTo>
                    <a:lnTo>
                      <a:pt x="575096" y="30424"/>
                    </a:lnTo>
                    <a:lnTo>
                      <a:pt x="562481" y="30424"/>
                    </a:lnTo>
                    <a:lnTo>
                      <a:pt x="562481" y="39774"/>
                    </a:lnTo>
                    <a:lnTo>
                      <a:pt x="575096" y="39774"/>
                    </a:lnTo>
                    <a:lnTo>
                      <a:pt x="575096" y="72128"/>
                    </a:lnTo>
                    <a:cubicBezTo>
                      <a:pt x="575096" y="84446"/>
                      <a:pt x="582961" y="90234"/>
                      <a:pt x="593202" y="90234"/>
                    </a:cubicBezTo>
                    <a:cubicBezTo>
                      <a:pt x="596912" y="90234"/>
                      <a:pt x="599880" y="89640"/>
                      <a:pt x="602403" y="88750"/>
                    </a:cubicBezTo>
                    <a:moveTo>
                      <a:pt x="540367" y="60106"/>
                    </a:moveTo>
                    <a:cubicBezTo>
                      <a:pt x="540367" y="72128"/>
                      <a:pt x="532205" y="81626"/>
                      <a:pt x="520183" y="81626"/>
                    </a:cubicBezTo>
                    <a:cubicBezTo>
                      <a:pt x="508162" y="81626"/>
                      <a:pt x="499851" y="72128"/>
                      <a:pt x="499851" y="60106"/>
                    </a:cubicBezTo>
                    <a:cubicBezTo>
                      <a:pt x="499851" y="48085"/>
                      <a:pt x="508162" y="38587"/>
                      <a:pt x="520183" y="38587"/>
                    </a:cubicBezTo>
                    <a:cubicBezTo>
                      <a:pt x="532205" y="38587"/>
                      <a:pt x="540367" y="48085"/>
                      <a:pt x="540367" y="60106"/>
                    </a:cubicBezTo>
                    <a:moveTo>
                      <a:pt x="489610" y="60106"/>
                    </a:moveTo>
                    <a:cubicBezTo>
                      <a:pt x="489610" y="77025"/>
                      <a:pt x="502077" y="90976"/>
                      <a:pt x="518699" y="90976"/>
                    </a:cubicBezTo>
                    <a:cubicBezTo>
                      <a:pt x="527604" y="90976"/>
                      <a:pt x="535766" y="86375"/>
                      <a:pt x="539625" y="80587"/>
                    </a:cubicBezTo>
                    <a:lnTo>
                      <a:pt x="539625" y="89788"/>
                    </a:lnTo>
                    <a:lnTo>
                      <a:pt x="549866" y="89788"/>
                    </a:lnTo>
                    <a:lnTo>
                      <a:pt x="549866" y="30424"/>
                    </a:lnTo>
                    <a:lnTo>
                      <a:pt x="539625" y="30424"/>
                    </a:lnTo>
                    <a:lnTo>
                      <a:pt x="539625" y="39477"/>
                    </a:lnTo>
                    <a:cubicBezTo>
                      <a:pt x="535766" y="33838"/>
                      <a:pt x="527604" y="29237"/>
                      <a:pt x="518699" y="29237"/>
                    </a:cubicBezTo>
                    <a:cubicBezTo>
                      <a:pt x="502077" y="29237"/>
                      <a:pt x="489610" y="43039"/>
                      <a:pt x="489610" y="60106"/>
                    </a:cubicBezTo>
                    <a:moveTo>
                      <a:pt x="451766" y="48827"/>
                    </a:moveTo>
                    <a:lnTo>
                      <a:pt x="437073" y="48827"/>
                    </a:lnTo>
                    <a:lnTo>
                      <a:pt x="437073" y="15880"/>
                    </a:lnTo>
                    <a:lnTo>
                      <a:pt x="451766" y="15880"/>
                    </a:lnTo>
                    <a:cubicBezTo>
                      <a:pt x="463342" y="15880"/>
                      <a:pt x="469872" y="23003"/>
                      <a:pt x="469872" y="32353"/>
                    </a:cubicBezTo>
                    <a:cubicBezTo>
                      <a:pt x="469872" y="41703"/>
                      <a:pt x="463490" y="48827"/>
                      <a:pt x="451766" y="48827"/>
                    </a:cubicBezTo>
                    <a:moveTo>
                      <a:pt x="451766" y="5491"/>
                    </a:moveTo>
                    <a:lnTo>
                      <a:pt x="425942" y="5491"/>
                    </a:lnTo>
                    <a:lnTo>
                      <a:pt x="425942" y="89788"/>
                    </a:lnTo>
                    <a:lnTo>
                      <a:pt x="436924" y="89788"/>
                    </a:lnTo>
                    <a:lnTo>
                      <a:pt x="436924" y="59067"/>
                    </a:lnTo>
                    <a:lnTo>
                      <a:pt x="451617" y="59067"/>
                    </a:lnTo>
                    <a:cubicBezTo>
                      <a:pt x="469130" y="59067"/>
                      <a:pt x="480557" y="47491"/>
                      <a:pt x="480557" y="32353"/>
                    </a:cubicBezTo>
                    <a:cubicBezTo>
                      <a:pt x="480557" y="17216"/>
                      <a:pt x="469130" y="5491"/>
                      <a:pt x="451617" y="5491"/>
                    </a:cubicBezTo>
                    <a:moveTo>
                      <a:pt x="364054" y="89788"/>
                    </a:moveTo>
                    <a:lnTo>
                      <a:pt x="375036" y="89788"/>
                    </a:lnTo>
                    <a:lnTo>
                      <a:pt x="375036" y="5491"/>
                    </a:lnTo>
                    <a:lnTo>
                      <a:pt x="364054" y="5491"/>
                    </a:lnTo>
                    <a:lnTo>
                      <a:pt x="364054" y="89788"/>
                    </a:lnTo>
                    <a:close/>
                    <a:moveTo>
                      <a:pt x="293262" y="55209"/>
                    </a:moveTo>
                    <a:lnTo>
                      <a:pt x="308548" y="20481"/>
                    </a:lnTo>
                    <a:lnTo>
                      <a:pt x="323834" y="55209"/>
                    </a:lnTo>
                    <a:lnTo>
                      <a:pt x="293262" y="55209"/>
                    </a:lnTo>
                    <a:close/>
                    <a:moveTo>
                      <a:pt x="266696" y="89788"/>
                    </a:moveTo>
                    <a:lnTo>
                      <a:pt x="278124" y="89788"/>
                    </a:lnTo>
                    <a:lnTo>
                      <a:pt x="288958" y="65152"/>
                    </a:lnTo>
                    <a:lnTo>
                      <a:pt x="328287" y="65152"/>
                    </a:lnTo>
                    <a:lnTo>
                      <a:pt x="339121" y="89788"/>
                    </a:lnTo>
                    <a:lnTo>
                      <a:pt x="350697" y="89788"/>
                    </a:lnTo>
                    <a:lnTo>
                      <a:pt x="313297" y="5491"/>
                    </a:lnTo>
                    <a:lnTo>
                      <a:pt x="304096" y="5491"/>
                    </a:lnTo>
                    <a:lnTo>
                      <a:pt x="266844" y="89788"/>
                    </a:lnTo>
                    <a:close/>
                    <a:moveTo>
                      <a:pt x="177055" y="89788"/>
                    </a:moveTo>
                    <a:lnTo>
                      <a:pt x="187296" y="89788"/>
                    </a:lnTo>
                    <a:lnTo>
                      <a:pt x="187296" y="60403"/>
                    </a:lnTo>
                    <a:cubicBezTo>
                      <a:pt x="187296" y="46452"/>
                      <a:pt x="194865" y="38735"/>
                      <a:pt x="204511" y="38735"/>
                    </a:cubicBezTo>
                    <a:cubicBezTo>
                      <a:pt x="212822" y="38735"/>
                      <a:pt x="218462" y="44968"/>
                      <a:pt x="218462" y="54912"/>
                    </a:cubicBezTo>
                    <a:lnTo>
                      <a:pt x="218462" y="89937"/>
                    </a:lnTo>
                    <a:lnTo>
                      <a:pt x="228554" y="89937"/>
                    </a:lnTo>
                    <a:lnTo>
                      <a:pt x="228554" y="53428"/>
                    </a:lnTo>
                    <a:cubicBezTo>
                      <a:pt x="228554" y="38735"/>
                      <a:pt x="219501" y="29534"/>
                      <a:pt x="206144" y="29534"/>
                    </a:cubicBezTo>
                    <a:cubicBezTo>
                      <a:pt x="198426" y="29534"/>
                      <a:pt x="191303" y="32799"/>
                      <a:pt x="187296" y="39774"/>
                    </a:cubicBezTo>
                    <a:lnTo>
                      <a:pt x="187296" y="1039"/>
                    </a:lnTo>
                    <a:lnTo>
                      <a:pt x="177055" y="1039"/>
                    </a:lnTo>
                    <a:lnTo>
                      <a:pt x="177055" y="90085"/>
                    </a:lnTo>
                    <a:close/>
                    <a:moveTo>
                      <a:pt x="163253" y="88898"/>
                    </a:moveTo>
                    <a:lnTo>
                      <a:pt x="163253" y="79845"/>
                    </a:lnTo>
                    <a:cubicBezTo>
                      <a:pt x="161324" y="80587"/>
                      <a:pt x="158504" y="81032"/>
                      <a:pt x="155981" y="81032"/>
                    </a:cubicBezTo>
                    <a:cubicBezTo>
                      <a:pt x="149599" y="81032"/>
                      <a:pt x="146185" y="78509"/>
                      <a:pt x="146185" y="70940"/>
                    </a:cubicBezTo>
                    <a:lnTo>
                      <a:pt x="146185" y="39774"/>
                    </a:lnTo>
                    <a:lnTo>
                      <a:pt x="163253" y="39774"/>
                    </a:lnTo>
                    <a:lnTo>
                      <a:pt x="163253" y="30424"/>
                    </a:lnTo>
                    <a:lnTo>
                      <a:pt x="146185" y="30424"/>
                    </a:lnTo>
                    <a:lnTo>
                      <a:pt x="146185" y="13951"/>
                    </a:lnTo>
                    <a:lnTo>
                      <a:pt x="135945" y="13951"/>
                    </a:lnTo>
                    <a:lnTo>
                      <a:pt x="135945" y="30424"/>
                    </a:lnTo>
                    <a:lnTo>
                      <a:pt x="123330" y="30424"/>
                    </a:lnTo>
                    <a:lnTo>
                      <a:pt x="123330" y="39774"/>
                    </a:lnTo>
                    <a:lnTo>
                      <a:pt x="135945" y="39774"/>
                    </a:lnTo>
                    <a:lnTo>
                      <a:pt x="135945" y="72128"/>
                    </a:lnTo>
                    <a:cubicBezTo>
                      <a:pt x="135945" y="84446"/>
                      <a:pt x="143811" y="90234"/>
                      <a:pt x="154051" y="90234"/>
                    </a:cubicBezTo>
                    <a:cubicBezTo>
                      <a:pt x="157762" y="90234"/>
                      <a:pt x="160730" y="89640"/>
                      <a:pt x="163253" y="88750"/>
                    </a:cubicBezTo>
                    <a:moveTo>
                      <a:pt x="100475" y="89788"/>
                    </a:moveTo>
                    <a:lnTo>
                      <a:pt x="110715" y="89788"/>
                    </a:lnTo>
                    <a:lnTo>
                      <a:pt x="110715" y="30424"/>
                    </a:lnTo>
                    <a:lnTo>
                      <a:pt x="100475" y="30424"/>
                    </a:lnTo>
                    <a:lnTo>
                      <a:pt x="100475" y="89788"/>
                    </a:lnTo>
                    <a:close/>
                    <a:moveTo>
                      <a:pt x="112793" y="7272"/>
                    </a:moveTo>
                    <a:cubicBezTo>
                      <a:pt x="112793" y="3414"/>
                      <a:pt x="109676" y="0"/>
                      <a:pt x="105669" y="0"/>
                    </a:cubicBezTo>
                    <a:cubicBezTo>
                      <a:pt x="101662" y="0"/>
                      <a:pt x="98397" y="3265"/>
                      <a:pt x="98397" y="7272"/>
                    </a:cubicBezTo>
                    <a:cubicBezTo>
                      <a:pt x="98397" y="11279"/>
                      <a:pt x="101662" y="14544"/>
                      <a:pt x="105669" y="14544"/>
                    </a:cubicBezTo>
                    <a:cubicBezTo>
                      <a:pt x="109676" y="14544"/>
                      <a:pt x="112793" y="11279"/>
                      <a:pt x="112793" y="7272"/>
                    </a:cubicBezTo>
                    <a:moveTo>
                      <a:pt x="58623" y="89788"/>
                    </a:moveTo>
                    <a:lnTo>
                      <a:pt x="67676" y="89788"/>
                    </a:lnTo>
                    <a:lnTo>
                      <a:pt x="87860" y="30424"/>
                    </a:lnTo>
                    <a:lnTo>
                      <a:pt x="77026" y="30424"/>
                    </a:lnTo>
                    <a:lnTo>
                      <a:pt x="62630" y="73760"/>
                    </a:lnTo>
                    <a:lnTo>
                      <a:pt x="47789" y="30424"/>
                    </a:lnTo>
                    <a:lnTo>
                      <a:pt x="39923" y="30424"/>
                    </a:lnTo>
                    <a:lnTo>
                      <a:pt x="25082" y="73760"/>
                    </a:lnTo>
                    <a:lnTo>
                      <a:pt x="10686" y="30424"/>
                    </a:lnTo>
                    <a:lnTo>
                      <a:pt x="0" y="30424"/>
                    </a:lnTo>
                    <a:lnTo>
                      <a:pt x="20184" y="89788"/>
                    </a:lnTo>
                    <a:lnTo>
                      <a:pt x="29237" y="89788"/>
                    </a:lnTo>
                    <a:lnTo>
                      <a:pt x="43930" y="47046"/>
                    </a:lnTo>
                    <a:lnTo>
                      <a:pt x="58474" y="89788"/>
                    </a:lnTo>
                    <a:close/>
                  </a:path>
                </a:pathLst>
              </a:custGeom>
              <a:solidFill>
                <a:srgbClr val="FFFFFF"/>
              </a:solidFill>
              <a:ln w="14828" cap="flat">
                <a:noFill/>
                <a:prstDash val="solid"/>
                <a:miter/>
              </a:ln>
            </p:spPr>
            <p:txBody>
              <a:bodyPr rtlCol="0" anchor="ctr"/>
              <a:lstStyle/>
              <a:p>
                <a:endParaRPr lang="en-DK"/>
              </a:p>
            </p:txBody>
          </p:sp>
          <p:sp>
            <p:nvSpPr>
              <p:cNvPr id="175" name="Freeform 174">
                <a:extLst>
                  <a:ext uri="{FF2B5EF4-FFF2-40B4-BE49-F238E27FC236}">
                    <a16:creationId xmlns:a16="http://schemas.microsoft.com/office/drawing/2014/main" id="{57ED4BEF-AE90-A585-5A69-D747A269E205}"/>
                  </a:ext>
                </a:extLst>
              </p:cNvPr>
              <p:cNvSpPr/>
              <p:nvPr/>
            </p:nvSpPr>
            <p:spPr>
              <a:xfrm>
                <a:off x="2763882" y="6126087"/>
                <a:ext cx="1020479" cy="115759"/>
              </a:xfrm>
              <a:custGeom>
                <a:avLst/>
                <a:gdLst>
                  <a:gd name="connsiteX0" fmla="*/ 981596 w 1020479"/>
                  <a:gd name="connsiteY0" fmla="*/ 114573 h 115759"/>
                  <a:gd name="connsiteX1" fmla="*/ 1020479 w 1020479"/>
                  <a:gd name="connsiteY1" fmla="*/ 30424 h 115759"/>
                  <a:gd name="connsiteX2" fmla="*/ 1009052 w 1020479"/>
                  <a:gd name="connsiteY2" fmla="*/ 30424 h 115759"/>
                  <a:gd name="connsiteX3" fmla="*/ 988719 w 1020479"/>
                  <a:gd name="connsiteY3" fmla="*/ 75393 h 115759"/>
                  <a:gd name="connsiteX4" fmla="*/ 968238 w 1020479"/>
                  <a:gd name="connsiteY4" fmla="*/ 30424 h 115759"/>
                  <a:gd name="connsiteX5" fmla="*/ 956959 w 1020479"/>
                  <a:gd name="connsiteY5" fmla="*/ 30424 h 115759"/>
                  <a:gd name="connsiteX6" fmla="*/ 982931 w 1020479"/>
                  <a:gd name="connsiteY6" fmla="*/ 86672 h 115759"/>
                  <a:gd name="connsiteX7" fmla="*/ 970019 w 1020479"/>
                  <a:gd name="connsiteY7" fmla="*/ 114573 h 115759"/>
                  <a:gd name="connsiteX8" fmla="*/ 981447 w 1020479"/>
                  <a:gd name="connsiteY8" fmla="*/ 114573 h 115759"/>
                  <a:gd name="connsiteX9" fmla="*/ 895368 w 1020479"/>
                  <a:gd name="connsiteY9" fmla="*/ 59513 h 115759"/>
                  <a:gd name="connsiteX10" fmla="*/ 915404 w 1020479"/>
                  <a:gd name="connsiteY10" fmla="*/ 38735 h 115759"/>
                  <a:gd name="connsiteX11" fmla="*/ 935439 w 1020479"/>
                  <a:gd name="connsiteY11" fmla="*/ 59513 h 115759"/>
                  <a:gd name="connsiteX12" fmla="*/ 915404 w 1020479"/>
                  <a:gd name="connsiteY12" fmla="*/ 80290 h 115759"/>
                  <a:gd name="connsiteX13" fmla="*/ 895368 w 1020479"/>
                  <a:gd name="connsiteY13" fmla="*/ 59513 h 115759"/>
                  <a:gd name="connsiteX14" fmla="*/ 944938 w 1020479"/>
                  <a:gd name="connsiteY14" fmla="*/ 86523 h 115759"/>
                  <a:gd name="connsiteX15" fmla="*/ 944938 w 1020479"/>
                  <a:gd name="connsiteY15" fmla="*/ 30572 h 115759"/>
                  <a:gd name="connsiteX16" fmla="*/ 934697 w 1020479"/>
                  <a:gd name="connsiteY16" fmla="*/ 30572 h 115759"/>
                  <a:gd name="connsiteX17" fmla="*/ 934697 w 1020479"/>
                  <a:gd name="connsiteY17" fmla="*/ 39626 h 115759"/>
                  <a:gd name="connsiteX18" fmla="*/ 914068 w 1020479"/>
                  <a:gd name="connsiteY18" fmla="*/ 29385 h 115759"/>
                  <a:gd name="connsiteX19" fmla="*/ 884979 w 1020479"/>
                  <a:gd name="connsiteY19" fmla="*/ 59513 h 115759"/>
                  <a:gd name="connsiteX20" fmla="*/ 914068 w 1020479"/>
                  <a:gd name="connsiteY20" fmla="*/ 89788 h 115759"/>
                  <a:gd name="connsiteX21" fmla="*/ 934697 w 1020479"/>
                  <a:gd name="connsiteY21" fmla="*/ 79400 h 115759"/>
                  <a:gd name="connsiteX22" fmla="*/ 934697 w 1020479"/>
                  <a:gd name="connsiteY22" fmla="*/ 86078 h 115759"/>
                  <a:gd name="connsiteX23" fmla="*/ 914810 w 1020479"/>
                  <a:gd name="connsiteY23" fmla="*/ 106558 h 115759"/>
                  <a:gd name="connsiteX24" fmla="*/ 894032 w 1020479"/>
                  <a:gd name="connsiteY24" fmla="*/ 96615 h 115759"/>
                  <a:gd name="connsiteX25" fmla="*/ 886909 w 1020479"/>
                  <a:gd name="connsiteY25" fmla="*/ 103739 h 115759"/>
                  <a:gd name="connsiteX26" fmla="*/ 914810 w 1020479"/>
                  <a:gd name="connsiteY26" fmla="*/ 115760 h 115759"/>
                  <a:gd name="connsiteX27" fmla="*/ 944789 w 1020479"/>
                  <a:gd name="connsiteY27" fmla="*/ 86375 h 115759"/>
                  <a:gd name="connsiteX28" fmla="*/ 821311 w 1020479"/>
                  <a:gd name="connsiteY28" fmla="*/ 60106 h 115759"/>
                  <a:gd name="connsiteX29" fmla="*/ 841940 w 1020479"/>
                  <a:gd name="connsiteY29" fmla="*/ 38735 h 115759"/>
                  <a:gd name="connsiteX30" fmla="*/ 862421 w 1020479"/>
                  <a:gd name="connsiteY30" fmla="*/ 60106 h 115759"/>
                  <a:gd name="connsiteX31" fmla="*/ 841940 w 1020479"/>
                  <a:gd name="connsiteY31" fmla="*/ 81477 h 115759"/>
                  <a:gd name="connsiteX32" fmla="*/ 821311 w 1020479"/>
                  <a:gd name="connsiteY32" fmla="*/ 60106 h 115759"/>
                  <a:gd name="connsiteX33" fmla="*/ 872958 w 1020479"/>
                  <a:gd name="connsiteY33" fmla="*/ 60106 h 115759"/>
                  <a:gd name="connsiteX34" fmla="*/ 841940 w 1020479"/>
                  <a:gd name="connsiteY34" fmla="*/ 29237 h 115759"/>
                  <a:gd name="connsiteX35" fmla="*/ 810773 w 1020479"/>
                  <a:gd name="connsiteY35" fmla="*/ 60106 h 115759"/>
                  <a:gd name="connsiteX36" fmla="*/ 841940 w 1020479"/>
                  <a:gd name="connsiteY36" fmla="*/ 90976 h 115759"/>
                  <a:gd name="connsiteX37" fmla="*/ 872958 w 1020479"/>
                  <a:gd name="connsiteY37" fmla="*/ 60106 h 115759"/>
                  <a:gd name="connsiteX38" fmla="*/ 784653 w 1020479"/>
                  <a:gd name="connsiteY38" fmla="*/ 89788 h 115759"/>
                  <a:gd name="connsiteX39" fmla="*/ 794893 w 1020479"/>
                  <a:gd name="connsiteY39" fmla="*/ 89788 h 115759"/>
                  <a:gd name="connsiteX40" fmla="*/ 794893 w 1020479"/>
                  <a:gd name="connsiteY40" fmla="*/ 742 h 115759"/>
                  <a:gd name="connsiteX41" fmla="*/ 784653 w 1020479"/>
                  <a:gd name="connsiteY41" fmla="*/ 742 h 115759"/>
                  <a:gd name="connsiteX42" fmla="*/ 784653 w 1020479"/>
                  <a:gd name="connsiteY42" fmla="*/ 89788 h 115759"/>
                  <a:gd name="connsiteX43" fmla="*/ 716977 w 1020479"/>
                  <a:gd name="connsiteY43" fmla="*/ 60106 h 115759"/>
                  <a:gd name="connsiteX44" fmla="*/ 737607 w 1020479"/>
                  <a:gd name="connsiteY44" fmla="*/ 38735 h 115759"/>
                  <a:gd name="connsiteX45" fmla="*/ 758236 w 1020479"/>
                  <a:gd name="connsiteY45" fmla="*/ 60106 h 115759"/>
                  <a:gd name="connsiteX46" fmla="*/ 737607 w 1020479"/>
                  <a:gd name="connsiteY46" fmla="*/ 81477 h 115759"/>
                  <a:gd name="connsiteX47" fmla="*/ 716977 w 1020479"/>
                  <a:gd name="connsiteY47" fmla="*/ 60106 h 115759"/>
                  <a:gd name="connsiteX48" fmla="*/ 768625 w 1020479"/>
                  <a:gd name="connsiteY48" fmla="*/ 60106 h 115759"/>
                  <a:gd name="connsiteX49" fmla="*/ 737607 w 1020479"/>
                  <a:gd name="connsiteY49" fmla="*/ 29237 h 115759"/>
                  <a:gd name="connsiteX50" fmla="*/ 706440 w 1020479"/>
                  <a:gd name="connsiteY50" fmla="*/ 60106 h 115759"/>
                  <a:gd name="connsiteX51" fmla="*/ 737607 w 1020479"/>
                  <a:gd name="connsiteY51" fmla="*/ 90976 h 115759"/>
                  <a:gd name="connsiteX52" fmla="*/ 768625 w 1020479"/>
                  <a:gd name="connsiteY52" fmla="*/ 60106 h 115759"/>
                  <a:gd name="connsiteX53" fmla="*/ 698129 w 1020479"/>
                  <a:gd name="connsiteY53" fmla="*/ 88898 h 115759"/>
                  <a:gd name="connsiteX54" fmla="*/ 698129 w 1020479"/>
                  <a:gd name="connsiteY54" fmla="*/ 79696 h 115759"/>
                  <a:gd name="connsiteX55" fmla="*/ 690857 w 1020479"/>
                  <a:gd name="connsiteY55" fmla="*/ 80884 h 115759"/>
                  <a:gd name="connsiteX56" fmla="*/ 681062 w 1020479"/>
                  <a:gd name="connsiteY56" fmla="*/ 70792 h 115759"/>
                  <a:gd name="connsiteX57" fmla="*/ 681062 w 1020479"/>
                  <a:gd name="connsiteY57" fmla="*/ 39626 h 115759"/>
                  <a:gd name="connsiteX58" fmla="*/ 698129 w 1020479"/>
                  <a:gd name="connsiteY58" fmla="*/ 39626 h 115759"/>
                  <a:gd name="connsiteX59" fmla="*/ 698129 w 1020479"/>
                  <a:gd name="connsiteY59" fmla="*/ 30276 h 115759"/>
                  <a:gd name="connsiteX60" fmla="*/ 681062 w 1020479"/>
                  <a:gd name="connsiteY60" fmla="*/ 30276 h 115759"/>
                  <a:gd name="connsiteX61" fmla="*/ 681062 w 1020479"/>
                  <a:gd name="connsiteY61" fmla="*/ 13802 h 115759"/>
                  <a:gd name="connsiteX62" fmla="*/ 670821 w 1020479"/>
                  <a:gd name="connsiteY62" fmla="*/ 13802 h 115759"/>
                  <a:gd name="connsiteX63" fmla="*/ 670821 w 1020479"/>
                  <a:gd name="connsiteY63" fmla="*/ 30276 h 115759"/>
                  <a:gd name="connsiteX64" fmla="*/ 658206 w 1020479"/>
                  <a:gd name="connsiteY64" fmla="*/ 30276 h 115759"/>
                  <a:gd name="connsiteX65" fmla="*/ 658206 w 1020479"/>
                  <a:gd name="connsiteY65" fmla="*/ 39626 h 115759"/>
                  <a:gd name="connsiteX66" fmla="*/ 670821 w 1020479"/>
                  <a:gd name="connsiteY66" fmla="*/ 39626 h 115759"/>
                  <a:gd name="connsiteX67" fmla="*/ 670821 w 1020479"/>
                  <a:gd name="connsiteY67" fmla="*/ 71979 h 115759"/>
                  <a:gd name="connsiteX68" fmla="*/ 688927 w 1020479"/>
                  <a:gd name="connsiteY68" fmla="*/ 90085 h 115759"/>
                  <a:gd name="connsiteX69" fmla="*/ 698129 w 1020479"/>
                  <a:gd name="connsiteY69" fmla="*/ 88601 h 115759"/>
                  <a:gd name="connsiteX70" fmla="*/ 648411 w 1020479"/>
                  <a:gd name="connsiteY70" fmla="*/ 73166 h 115759"/>
                  <a:gd name="connsiteX71" fmla="*/ 632234 w 1020479"/>
                  <a:gd name="connsiteY71" fmla="*/ 55654 h 115759"/>
                  <a:gd name="connsiteX72" fmla="*/ 625704 w 1020479"/>
                  <a:gd name="connsiteY72" fmla="*/ 53576 h 115759"/>
                  <a:gd name="connsiteX73" fmla="*/ 617245 w 1020479"/>
                  <a:gd name="connsiteY73" fmla="*/ 44968 h 115759"/>
                  <a:gd name="connsiteX74" fmla="*/ 627188 w 1020479"/>
                  <a:gd name="connsiteY74" fmla="*/ 37844 h 115759"/>
                  <a:gd name="connsiteX75" fmla="*/ 639506 w 1020479"/>
                  <a:gd name="connsiteY75" fmla="*/ 44672 h 115759"/>
                  <a:gd name="connsiteX76" fmla="*/ 647075 w 1020479"/>
                  <a:gd name="connsiteY76" fmla="*/ 39477 h 115759"/>
                  <a:gd name="connsiteX77" fmla="*/ 627485 w 1020479"/>
                  <a:gd name="connsiteY77" fmla="*/ 29237 h 115759"/>
                  <a:gd name="connsiteX78" fmla="*/ 607004 w 1020479"/>
                  <a:gd name="connsiteY78" fmla="*/ 45414 h 115759"/>
                  <a:gd name="connsiteX79" fmla="*/ 621845 w 1020479"/>
                  <a:gd name="connsiteY79" fmla="*/ 62778 h 115759"/>
                  <a:gd name="connsiteX80" fmla="*/ 627782 w 1020479"/>
                  <a:gd name="connsiteY80" fmla="*/ 64707 h 115759"/>
                  <a:gd name="connsiteX81" fmla="*/ 638171 w 1020479"/>
                  <a:gd name="connsiteY81" fmla="*/ 73908 h 115759"/>
                  <a:gd name="connsiteX82" fmla="*/ 627782 w 1020479"/>
                  <a:gd name="connsiteY82" fmla="*/ 81922 h 115759"/>
                  <a:gd name="connsiteX83" fmla="*/ 612644 w 1020479"/>
                  <a:gd name="connsiteY83" fmla="*/ 72573 h 115759"/>
                  <a:gd name="connsiteX84" fmla="*/ 604333 w 1020479"/>
                  <a:gd name="connsiteY84" fmla="*/ 77174 h 115759"/>
                  <a:gd name="connsiteX85" fmla="*/ 627633 w 1020479"/>
                  <a:gd name="connsiteY85" fmla="*/ 90976 h 115759"/>
                  <a:gd name="connsiteX86" fmla="*/ 648263 w 1020479"/>
                  <a:gd name="connsiteY86" fmla="*/ 73166 h 115759"/>
                  <a:gd name="connsiteX87" fmla="*/ 579251 w 1020479"/>
                  <a:gd name="connsiteY87" fmla="*/ 89788 h 115759"/>
                  <a:gd name="connsiteX88" fmla="*/ 589492 w 1020479"/>
                  <a:gd name="connsiteY88" fmla="*/ 89788 h 115759"/>
                  <a:gd name="connsiteX89" fmla="*/ 589492 w 1020479"/>
                  <a:gd name="connsiteY89" fmla="*/ 30424 h 115759"/>
                  <a:gd name="connsiteX90" fmla="*/ 579251 w 1020479"/>
                  <a:gd name="connsiteY90" fmla="*/ 30424 h 115759"/>
                  <a:gd name="connsiteX91" fmla="*/ 579251 w 1020479"/>
                  <a:gd name="connsiteY91" fmla="*/ 89788 h 115759"/>
                  <a:gd name="connsiteX92" fmla="*/ 591718 w 1020479"/>
                  <a:gd name="connsiteY92" fmla="*/ 7272 h 115759"/>
                  <a:gd name="connsiteX93" fmla="*/ 584594 w 1020479"/>
                  <a:gd name="connsiteY93" fmla="*/ 0 h 115759"/>
                  <a:gd name="connsiteX94" fmla="*/ 577322 w 1020479"/>
                  <a:gd name="connsiteY94" fmla="*/ 7272 h 115759"/>
                  <a:gd name="connsiteX95" fmla="*/ 584594 w 1020479"/>
                  <a:gd name="connsiteY95" fmla="*/ 14544 h 115759"/>
                  <a:gd name="connsiteX96" fmla="*/ 591718 w 1020479"/>
                  <a:gd name="connsiteY96" fmla="*/ 7272 h 115759"/>
                  <a:gd name="connsiteX97" fmla="*/ 489165 w 1020479"/>
                  <a:gd name="connsiteY97" fmla="*/ 89788 h 115759"/>
                  <a:gd name="connsiteX98" fmla="*/ 500148 w 1020479"/>
                  <a:gd name="connsiteY98" fmla="*/ 89788 h 115759"/>
                  <a:gd name="connsiteX99" fmla="*/ 500148 w 1020479"/>
                  <a:gd name="connsiteY99" fmla="*/ 51795 h 115759"/>
                  <a:gd name="connsiteX100" fmla="*/ 546304 w 1020479"/>
                  <a:gd name="connsiteY100" fmla="*/ 51795 h 115759"/>
                  <a:gd name="connsiteX101" fmla="*/ 546304 w 1020479"/>
                  <a:gd name="connsiteY101" fmla="*/ 89788 h 115759"/>
                  <a:gd name="connsiteX102" fmla="*/ 557286 w 1020479"/>
                  <a:gd name="connsiteY102" fmla="*/ 89788 h 115759"/>
                  <a:gd name="connsiteX103" fmla="*/ 557286 w 1020479"/>
                  <a:gd name="connsiteY103" fmla="*/ 5491 h 115759"/>
                  <a:gd name="connsiteX104" fmla="*/ 546304 w 1020479"/>
                  <a:gd name="connsiteY104" fmla="*/ 5491 h 115759"/>
                  <a:gd name="connsiteX105" fmla="*/ 546304 w 1020479"/>
                  <a:gd name="connsiteY105" fmla="*/ 41407 h 115759"/>
                  <a:gd name="connsiteX106" fmla="*/ 500148 w 1020479"/>
                  <a:gd name="connsiteY106" fmla="*/ 41407 h 115759"/>
                  <a:gd name="connsiteX107" fmla="*/ 500148 w 1020479"/>
                  <a:gd name="connsiteY107" fmla="*/ 5491 h 115759"/>
                  <a:gd name="connsiteX108" fmla="*/ 489165 w 1020479"/>
                  <a:gd name="connsiteY108" fmla="*/ 5491 h 115759"/>
                  <a:gd name="connsiteX109" fmla="*/ 489165 w 1020479"/>
                  <a:gd name="connsiteY109" fmla="*/ 89788 h 115759"/>
                  <a:gd name="connsiteX110" fmla="*/ 385871 w 1020479"/>
                  <a:gd name="connsiteY110" fmla="*/ 79400 h 115759"/>
                  <a:gd name="connsiteX111" fmla="*/ 385871 w 1020479"/>
                  <a:gd name="connsiteY111" fmla="*/ 15731 h 115759"/>
                  <a:gd name="connsiteX112" fmla="*/ 399079 w 1020479"/>
                  <a:gd name="connsiteY112" fmla="*/ 15731 h 115759"/>
                  <a:gd name="connsiteX113" fmla="*/ 432769 w 1020479"/>
                  <a:gd name="connsiteY113" fmla="*/ 47640 h 115759"/>
                  <a:gd name="connsiteX114" fmla="*/ 399079 w 1020479"/>
                  <a:gd name="connsiteY114" fmla="*/ 79400 h 115759"/>
                  <a:gd name="connsiteX115" fmla="*/ 385871 w 1020479"/>
                  <a:gd name="connsiteY115" fmla="*/ 79400 h 115759"/>
                  <a:gd name="connsiteX116" fmla="*/ 374888 w 1020479"/>
                  <a:gd name="connsiteY116" fmla="*/ 89788 h 115759"/>
                  <a:gd name="connsiteX117" fmla="*/ 399079 w 1020479"/>
                  <a:gd name="connsiteY117" fmla="*/ 89788 h 115759"/>
                  <a:gd name="connsiteX118" fmla="*/ 443899 w 1020479"/>
                  <a:gd name="connsiteY118" fmla="*/ 47640 h 115759"/>
                  <a:gd name="connsiteX119" fmla="*/ 399079 w 1020479"/>
                  <a:gd name="connsiteY119" fmla="*/ 5491 h 115759"/>
                  <a:gd name="connsiteX120" fmla="*/ 374888 w 1020479"/>
                  <a:gd name="connsiteY120" fmla="*/ 5491 h 115759"/>
                  <a:gd name="connsiteX121" fmla="*/ 374888 w 1020479"/>
                  <a:gd name="connsiteY121" fmla="*/ 89788 h 115759"/>
                  <a:gd name="connsiteX122" fmla="*/ 355595 w 1020479"/>
                  <a:gd name="connsiteY122" fmla="*/ 66191 h 115759"/>
                  <a:gd name="connsiteX123" fmla="*/ 341792 w 1020479"/>
                  <a:gd name="connsiteY123" fmla="*/ 45711 h 115759"/>
                  <a:gd name="connsiteX124" fmla="*/ 353220 w 1020479"/>
                  <a:gd name="connsiteY124" fmla="*/ 27307 h 115759"/>
                  <a:gd name="connsiteX125" fmla="*/ 327545 w 1020479"/>
                  <a:gd name="connsiteY125" fmla="*/ 4155 h 115759"/>
                  <a:gd name="connsiteX126" fmla="*/ 299347 w 1020479"/>
                  <a:gd name="connsiteY126" fmla="*/ 30721 h 115759"/>
                  <a:gd name="connsiteX127" fmla="*/ 309735 w 1020479"/>
                  <a:gd name="connsiteY127" fmla="*/ 30721 h 115759"/>
                  <a:gd name="connsiteX128" fmla="*/ 327396 w 1020479"/>
                  <a:gd name="connsiteY128" fmla="*/ 14099 h 115759"/>
                  <a:gd name="connsiteX129" fmla="*/ 342534 w 1020479"/>
                  <a:gd name="connsiteY129" fmla="*/ 27605 h 115759"/>
                  <a:gd name="connsiteX130" fmla="*/ 326951 w 1020479"/>
                  <a:gd name="connsiteY130" fmla="*/ 41258 h 115759"/>
                  <a:gd name="connsiteX131" fmla="*/ 320124 w 1020479"/>
                  <a:gd name="connsiteY131" fmla="*/ 41258 h 115759"/>
                  <a:gd name="connsiteX132" fmla="*/ 320124 w 1020479"/>
                  <a:gd name="connsiteY132" fmla="*/ 50608 h 115759"/>
                  <a:gd name="connsiteX133" fmla="*/ 326357 w 1020479"/>
                  <a:gd name="connsiteY133" fmla="*/ 50608 h 115759"/>
                  <a:gd name="connsiteX134" fmla="*/ 344761 w 1020479"/>
                  <a:gd name="connsiteY134" fmla="*/ 65894 h 115759"/>
                  <a:gd name="connsiteX135" fmla="*/ 327693 w 1020479"/>
                  <a:gd name="connsiteY135" fmla="*/ 81032 h 115759"/>
                  <a:gd name="connsiteX136" fmla="*/ 307954 w 1020479"/>
                  <a:gd name="connsiteY136" fmla="*/ 64113 h 115759"/>
                  <a:gd name="connsiteX137" fmla="*/ 297565 w 1020479"/>
                  <a:gd name="connsiteY137" fmla="*/ 64113 h 115759"/>
                  <a:gd name="connsiteX138" fmla="*/ 327545 w 1020479"/>
                  <a:gd name="connsiteY138" fmla="*/ 90976 h 115759"/>
                  <a:gd name="connsiteX139" fmla="*/ 355149 w 1020479"/>
                  <a:gd name="connsiteY139" fmla="*/ 66191 h 115759"/>
                  <a:gd name="connsiteX140" fmla="*/ 193974 w 1020479"/>
                  <a:gd name="connsiteY140" fmla="*/ 66933 h 115759"/>
                  <a:gd name="connsiteX141" fmla="*/ 207331 w 1020479"/>
                  <a:gd name="connsiteY141" fmla="*/ 49866 h 115759"/>
                  <a:gd name="connsiteX142" fmla="*/ 208815 w 1020479"/>
                  <a:gd name="connsiteY142" fmla="*/ 48975 h 115759"/>
                  <a:gd name="connsiteX143" fmla="*/ 229890 w 1020479"/>
                  <a:gd name="connsiteY143" fmla="*/ 69456 h 115759"/>
                  <a:gd name="connsiteX144" fmla="*/ 209706 w 1020479"/>
                  <a:gd name="connsiteY144" fmla="*/ 81774 h 115759"/>
                  <a:gd name="connsiteX145" fmla="*/ 193826 w 1020479"/>
                  <a:gd name="connsiteY145" fmla="*/ 66933 h 115759"/>
                  <a:gd name="connsiteX146" fmla="*/ 201692 w 1020479"/>
                  <a:gd name="connsiteY146" fmla="*/ 23449 h 115759"/>
                  <a:gd name="connsiteX147" fmla="*/ 213119 w 1020479"/>
                  <a:gd name="connsiteY147" fmla="*/ 13060 h 115759"/>
                  <a:gd name="connsiteX148" fmla="*/ 224102 w 1020479"/>
                  <a:gd name="connsiteY148" fmla="*/ 24488 h 115759"/>
                  <a:gd name="connsiteX149" fmla="*/ 211932 w 1020479"/>
                  <a:gd name="connsiteY149" fmla="*/ 37844 h 115759"/>
                  <a:gd name="connsiteX150" fmla="*/ 211338 w 1020479"/>
                  <a:gd name="connsiteY150" fmla="*/ 38142 h 115759"/>
                  <a:gd name="connsiteX151" fmla="*/ 201840 w 1020479"/>
                  <a:gd name="connsiteY151" fmla="*/ 23597 h 115759"/>
                  <a:gd name="connsiteX152" fmla="*/ 250964 w 1020479"/>
                  <a:gd name="connsiteY152" fmla="*/ 89788 h 115759"/>
                  <a:gd name="connsiteX153" fmla="*/ 264321 w 1020479"/>
                  <a:gd name="connsiteY153" fmla="*/ 89788 h 115759"/>
                  <a:gd name="connsiteX154" fmla="*/ 242505 w 1020479"/>
                  <a:gd name="connsiteY154" fmla="*/ 68417 h 115759"/>
                  <a:gd name="connsiteX155" fmla="*/ 257643 w 1020479"/>
                  <a:gd name="connsiteY155" fmla="*/ 49124 h 115759"/>
                  <a:gd name="connsiteX156" fmla="*/ 245770 w 1020479"/>
                  <a:gd name="connsiteY156" fmla="*/ 49124 h 115759"/>
                  <a:gd name="connsiteX157" fmla="*/ 235826 w 1020479"/>
                  <a:gd name="connsiteY157" fmla="*/ 61887 h 115759"/>
                  <a:gd name="connsiteX158" fmla="*/ 217868 w 1020479"/>
                  <a:gd name="connsiteY158" fmla="*/ 44375 h 115759"/>
                  <a:gd name="connsiteX159" fmla="*/ 234194 w 1020479"/>
                  <a:gd name="connsiteY159" fmla="*/ 23746 h 115759"/>
                  <a:gd name="connsiteX160" fmla="*/ 213416 w 1020479"/>
                  <a:gd name="connsiteY160" fmla="*/ 4155 h 115759"/>
                  <a:gd name="connsiteX161" fmla="*/ 191896 w 1020479"/>
                  <a:gd name="connsiteY161" fmla="*/ 23301 h 115759"/>
                  <a:gd name="connsiteX162" fmla="*/ 202137 w 1020479"/>
                  <a:gd name="connsiteY162" fmla="*/ 42446 h 115759"/>
                  <a:gd name="connsiteX163" fmla="*/ 201543 w 1020479"/>
                  <a:gd name="connsiteY163" fmla="*/ 42742 h 115759"/>
                  <a:gd name="connsiteX164" fmla="*/ 183585 w 1020479"/>
                  <a:gd name="connsiteY164" fmla="*/ 66785 h 115759"/>
                  <a:gd name="connsiteX165" fmla="*/ 209409 w 1020479"/>
                  <a:gd name="connsiteY165" fmla="*/ 90976 h 115759"/>
                  <a:gd name="connsiteX166" fmla="*/ 236568 w 1020479"/>
                  <a:gd name="connsiteY166" fmla="*/ 75838 h 115759"/>
                  <a:gd name="connsiteX167" fmla="*/ 250964 w 1020479"/>
                  <a:gd name="connsiteY167" fmla="*/ 89788 h 115759"/>
                  <a:gd name="connsiteX168" fmla="*/ 83704 w 1020479"/>
                  <a:gd name="connsiteY168" fmla="*/ 79400 h 115759"/>
                  <a:gd name="connsiteX169" fmla="*/ 83704 w 1020479"/>
                  <a:gd name="connsiteY169" fmla="*/ 15731 h 115759"/>
                  <a:gd name="connsiteX170" fmla="*/ 96913 w 1020479"/>
                  <a:gd name="connsiteY170" fmla="*/ 15731 h 115759"/>
                  <a:gd name="connsiteX171" fmla="*/ 130602 w 1020479"/>
                  <a:gd name="connsiteY171" fmla="*/ 47640 h 115759"/>
                  <a:gd name="connsiteX172" fmla="*/ 96913 w 1020479"/>
                  <a:gd name="connsiteY172" fmla="*/ 79400 h 115759"/>
                  <a:gd name="connsiteX173" fmla="*/ 83704 w 1020479"/>
                  <a:gd name="connsiteY173" fmla="*/ 79400 h 115759"/>
                  <a:gd name="connsiteX174" fmla="*/ 72722 w 1020479"/>
                  <a:gd name="connsiteY174" fmla="*/ 89788 h 115759"/>
                  <a:gd name="connsiteX175" fmla="*/ 96913 w 1020479"/>
                  <a:gd name="connsiteY175" fmla="*/ 89788 h 115759"/>
                  <a:gd name="connsiteX176" fmla="*/ 141733 w 1020479"/>
                  <a:gd name="connsiteY176" fmla="*/ 47640 h 115759"/>
                  <a:gd name="connsiteX177" fmla="*/ 96913 w 1020479"/>
                  <a:gd name="connsiteY177" fmla="*/ 5491 h 115759"/>
                  <a:gd name="connsiteX178" fmla="*/ 72722 w 1020479"/>
                  <a:gd name="connsiteY178" fmla="*/ 5491 h 115759"/>
                  <a:gd name="connsiteX179" fmla="*/ 72722 w 1020479"/>
                  <a:gd name="connsiteY179" fmla="*/ 89788 h 115759"/>
                  <a:gd name="connsiteX180" fmla="*/ 54615 w 1020479"/>
                  <a:gd name="connsiteY180" fmla="*/ 79993 h 115759"/>
                  <a:gd name="connsiteX181" fmla="*/ 12615 w 1020479"/>
                  <a:gd name="connsiteY181" fmla="*/ 79993 h 115759"/>
                  <a:gd name="connsiteX182" fmla="*/ 34283 w 1020479"/>
                  <a:gd name="connsiteY182" fmla="*/ 58325 h 115759"/>
                  <a:gd name="connsiteX183" fmla="*/ 53725 w 1020479"/>
                  <a:gd name="connsiteY183" fmla="*/ 28792 h 115759"/>
                  <a:gd name="connsiteX184" fmla="*/ 27753 w 1020479"/>
                  <a:gd name="connsiteY184" fmla="*/ 4155 h 115759"/>
                  <a:gd name="connsiteX185" fmla="*/ 0 w 1020479"/>
                  <a:gd name="connsiteY185" fmla="*/ 30721 h 115759"/>
                  <a:gd name="connsiteX186" fmla="*/ 10389 w 1020479"/>
                  <a:gd name="connsiteY186" fmla="*/ 30721 h 115759"/>
                  <a:gd name="connsiteX187" fmla="*/ 27901 w 1020479"/>
                  <a:gd name="connsiteY187" fmla="*/ 14099 h 115759"/>
                  <a:gd name="connsiteX188" fmla="*/ 43336 w 1020479"/>
                  <a:gd name="connsiteY188" fmla="*/ 28643 h 115759"/>
                  <a:gd name="connsiteX189" fmla="*/ 28346 w 1020479"/>
                  <a:gd name="connsiteY189" fmla="*/ 50163 h 115759"/>
                  <a:gd name="connsiteX190" fmla="*/ 148 w 1020479"/>
                  <a:gd name="connsiteY190" fmla="*/ 85781 h 115759"/>
                  <a:gd name="connsiteX191" fmla="*/ 148 w 1020479"/>
                  <a:gd name="connsiteY191" fmla="*/ 89788 h 115759"/>
                  <a:gd name="connsiteX192" fmla="*/ 54764 w 1020479"/>
                  <a:gd name="connsiteY192" fmla="*/ 89788 h 115759"/>
                  <a:gd name="connsiteX193" fmla="*/ 54764 w 1020479"/>
                  <a:gd name="connsiteY193" fmla="*/ 79993 h 11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1020479" h="115759">
                    <a:moveTo>
                      <a:pt x="981596" y="114573"/>
                    </a:moveTo>
                    <a:lnTo>
                      <a:pt x="1020479" y="30424"/>
                    </a:lnTo>
                    <a:lnTo>
                      <a:pt x="1009052" y="30424"/>
                    </a:lnTo>
                    <a:lnTo>
                      <a:pt x="988719" y="75393"/>
                    </a:lnTo>
                    <a:lnTo>
                      <a:pt x="968238" y="30424"/>
                    </a:lnTo>
                    <a:lnTo>
                      <a:pt x="956959" y="30424"/>
                    </a:lnTo>
                    <a:lnTo>
                      <a:pt x="982931" y="86672"/>
                    </a:lnTo>
                    <a:lnTo>
                      <a:pt x="970019" y="114573"/>
                    </a:lnTo>
                    <a:lnTo>
                      <a:pt x="981447" y="114573"/>
                    </a:lnTo>
                    <a:close/>
                    <a:moveTo>
                      <a:pt x="895368" y="59513"/>
                    </a:moveTo>
                    <a:cubicBezTo>
                      <a:pt x="895368" y="47640"/>
                      <a:pt x="903531" y="38735"/>
                      <a:pt x="915404" y="38735"/>
                    </a:cubicBezTo>
                    <a:cubicBezTo>
                      <a:pt x="927277" y="38735"/>
                      <a:pt x="935439" y="47640"/>
                      <a:pt x="935439" y="59513"/>
                    </a:cubicBezTo>
                    <a:cubicBezTo>
                      <a:pt x="935439" y="71385"/>
                      <a:pt x="927277" y="80290"/>
                      <a:pt x="915404" y="80290"/>
                    </a:cubicBezTo>
                    <a:cubicBezTo>
                      <a:pt x="903531" y="80290"/>
                      <a:pt x="895368" y="71534"/>
                      <a:pt x="895368" y="59513"/>
                    </a:cubicBezTo>
                    <a:moveTo>
                      <a:pt x="944938" y="86523"/>
                    </a:moveTo>
                    <a:lnTo>
                      <a:pt x="944938" y="30572"/>
                    </a:lnTo>
                    <a:lnTo>
                      <a:pt x="934697" y="30572"/>
                    </a:lnTo>
                    <a:lnTo>
                      <a:pt x="934697" y="39626"/>
                    </a:lnTo>
                    <a:cubicBezTo>
                      <a:pt x="930690" y="33689"/>
                      <a:pt x="922824" y="29385"/>
                      <a:pt x="914068" y="29385"/>
                    </a:cubicBezTo>
                    <a:cubicBezTo>
                      <a:pt x="897594" y="29385"/>
                      <a:pt x="884979" y="42742"/>
                      <a:pt x="884979" y="59513"/>
                    </a:cubicBezTo>
                    <a:cubicBezTo>
                      <a:pt x="884979" y="76283"/>
                      <a:pt x="897594" y="89788"/>
                      <a:pt x="914068" y="89788"/>
                    </a:cubicBezTo>
                    <a:cubicBezTo>
                      <a:pt x="922824" y="89788"/>
                      <a:pt x="930690" y="85336"/>
                      <a:pt x="934697" y="79400"/>
                    </a:cubicBezTo>
                    <a:lnTo>
                      <a:pt x="934697" y="86078"/>
                    </a:lnTo>
                    <a:cubicBezTo>
                      <a:pt x="934697" y="100326"/>
                      <a:pt x="924902" y="106558"/>
                      <a:pt x="914810" y="106558"/>
                    </a:cubicBezTo>
                    <a:cubicBezTo>
                      <a:pt x="905609" y="106558"/>
                      <a:pt x="898782" y="102700"/>
                      <a:pt x="894032" y="96615"/>
                    </a:cubicBezTo>
                    <a:lnTo>
                      <a:pt x="886909" y="103739"/>
                    </a:lnTo>
                    <a:cubicBezTo>
                      <a:pt x="891955" y="110417"/>
                      <a:pt x="901898" y="115760"/>
                      <a:pt x="914810" y="115760"/>
                    </a:cubicBezTo>
                    <a:cubicBezTo>
                      <a:pt x="931878" y="115760"/>
                      <a:pt x="944789" y="106113"/>
                      <a:pt x="944789" y="86375"/>
                    </a:cubicBezTo>
                    <a:moveTo>
                      <a:pt x="821311" y="60106"/>
                    </a:moveTo>
                    <a:cubicBezTo>
                      <a:pt x="821311" y="48233"/>
                      <a:pt x="829622" y="38735"/>
                      <a:pt x="841940" y="38735"/>
                    </a:cubicBezTo>
                    <a:cubicBezTo>
                      <a:pt x="854258" y="38735"/>
                      <a:pt x="862421" y="48233"/>
                      <a:pt x="862421" y="60106"/>
                    </a:cubicBezTo>
                    <a:cubicBezTo>
                      <a:pt x="862421" y="71979"/>
                      <a:pt x="854258" y="81477"/>
                      <a:pt x="841940" y="81477"/>
                    </a:cubicBezTo>
                    <a:cubicBezTo>
                      <a:pt x="829622" y="81477"/>
                      <a:pt x="821311" y="71979"/>
                      <a:pt x="821311" y="60106"/>
                    </a:cubicBezTo>
                    <a:moveTo>
                      <a:pt x="872958" y="60106"/>
                    </a:moveTo>
                    <a:cubicBezTo>
                      <a:pt x="872958" y="43039"/>
                      <a:pt x="859749" y="29237"/>
                      <a:pt x="841940" y="29237"/>
                    </a:cubicBezTo>
                    <a:cubicBezTo>
                      <a:pt x="824131" y="29237"/>
                      <a:pt x="810773" y="43039"/>
                      <a:pt x="810773" y="60106"/>
                    </a:cubicBezTo>
                    <a:cubicBezTo>
                      <a:pt x="810773" y="77174"/>
                      <a:pt x="823982" y="90976"/>
                      <a:pt x="841940" y="90976"/>
                    </a:cubicBezTo>
                    <a:cubicBezTo>
                      <a:pt x="859898" y="90976"/>
                      <a:pt x="872958" y="77174"/>
                      <a:pt x="872958" y="60106"/>
                    </a:cubicBezTo>
                    <a:moveTo>
                      <a:pt x="784653" y="89788"/>
                    </a:moveTo>
                    <a:lnTo>
                      <a:pt x="794893" y="89788"/>
                    </a:lnTo>
                    <a:lnTo>
                      <a:pt x="794893" y="742"/>
                    </a:lnTo>
                    <a:lnTo>
                      <a:pt x="784653" y="742"/>
                    </a:lnTo>
                    <a:lnTo>
                      <a:pt x="784653" y="89788"/>
                    </a:lnTo>
                    <a:close/>
                    <a:moveTo>
                      <a:pt x="716977" y="60106"/>
                    </a:moveTo>
                    <a:cubicBezTo>
                      <a:pt x="716977" y="48233"/>
                      <a:pt x="725288" y="38735"/>
                      <a:pt x="737607" y="38735"/>
                    </a:cubicBezTo>
                    <a:cubicBezTo>
                      <a:pt x="749925" y="38735"/>
                      <a:pt x="758236" y="48233"/>
                      <a:pt x="758236" y="60106"/>
                    </a:cubicBezTo>
                    <a:cubicBezTo>
                      <a:pt x="758236" y="71979"/>
                      <a:pt x="750073" y="81477"/>
                      <a:pt x="737607" y="81477"/>
                    </a:cubicBezTo>
                    <a:cubicBezTo>
                      <a:pt x="725140" y="81477"/>
                      <a:pt x="716977" y="71979"/>
                      <a:pt x="716977" y="60106"/>
                    </a:cubicBezTo>
                    <a:moveTo>
                      <a:pt x="768625" y="60106"/>
                    </a:moveTo>
                    <a:cubicBezTo>
                      <a:pt x="768625" y="43039"/>
                      <a:pt x="755416" y="29237"/>
                      <a:pt x="737607" y="29237"/>
                    </a:cubicBezTo>
                    <a:cubicBezTo>
                      <a:pt x="719797" y="29237"/>
                      <a:pt x="706440" y="43039"/>
                      <a:pt x="706440" y="60106"/>
                    </a:cubicBezTo>
                    <a:cubicBezTo>
                      <a:pt x="706440" y="77174"/>
                      <a:pt x="719649" y="90976"/>
                      <a:pt x="737607" y="90976"/>
                    </a:cubicBezTo>
                    <a:cubicBezTo>
                      <a:pt x="755564" y="90976"/>
                      <a:pt x="768625" y="77174"/>
                      <a:pt x="768625" y="60106"/>
                    </a:cubicBezTo>
                    <a:moveTo>
                      <a:pt x="698129" y="88898"/>
                    </a:moveTo>
                    <a:lnTo>
                      <a:pt x="698129" y="79696"/>
                    </a:lnTo>
                    <a:cubicBezTo>
                      <a:pt x="696200" y="80439"/>
                      <a:pt x="693380" y="80884"/>
                      <a:pt x="690857" y="80884"/>
                    </a:cubicBezTo>
                    <a:cubicBezTo>
                      <a:pt x="684475" y="80884"/>
                      <a:pt x="681062" y="78361"/>
                      <a:pt x="681062" y="70792"/>
                    </a:cubicBezTo>
                    <a:lnTo>
                      <a:pt x="681062" y="39626"/>
                    </a:lnTo>
                    <a:lnTo>
                      <a:pt x="698129" y="39626"/>
                    </a:lnTo>
                    <a:lnTo>
                      <a:pt x="698129" y="30276"/>
                    </a:lnTo>
                    <a:lnTo>
                      <a:pt x="681062" y="30276"/>
                    </a:lnTo>
                    <a:lnTo>
                      <a:pt x="681062" y="13802"/>
                    </a:lnTo>
                    <a:lnTo>
                      <a:pt x="670821" y="13802"/>
                    </a:lnTo>
                    <a:lnTo>
                      <a:pt x="670821" y="30276"/>
                    </a:lnTo>
                    <a:lnTo>
                      <a:pt x="658206" y="30276"/>
                    </a:lnTo>
                    <a:lnTo>
                      <a:pt x="658206" y="39626"/>
                    </a:lnTo>
                    <a:lnTo>
                      <a:pt x="670821" y="39626"/>
                    </a:lnTo>
                    <a:lnTo>
                      <a:pt x="670821" y="71979"/>
                    </a:lnTo>
                    <a:cubicBezTo>
                      <a:pt x="670821" y="84297"/>
                      <a:pt x="678687" y="90085"/>
                      <a:pt x="688927" y="90085"/>
                    </a:cubicBezTo>
                    <a:cubicBezTo>
                      <a:pt x="692638" y="90085"/>
                      <a:pt x="695606" y="89491"/>
                      <a:pt x="698129" y="88601"/>
                    </a:cubicBezTo>
                    <a:moveTo>
                      <a:pt x="648411" y="73166"/>
                    </a:moveTo>
                    <a:cubicBezTo>
                      <a:pt x="648411" y="64113"/>
                      <a:pt x="642475" y="58770"/>
                      <a:pt x="632234" y="55654"/>
                    </a:cubicBezTo>
                    <a:lnTo>
                      <a:pt x="625704" y="53576"/>
                    </a:lnTo>
                    <a:cubicBezTo>
                      <a:pt x="619174" y="51498"/>
                      <a:pt x="617245" y="48530"/>
                      <a:pt x="617245" y="44968"/>
                    </a:cubicBezTo>
                    <a:cubicBezTo>
                      <a:pt x="617245" y="40516"/>
                      <a:pt x="622142" y="37844"/>
                      <a:pt x="627188" y="37844"/>
                    </a:cubicBezTo>
                    <a:cubicBezTo>
                      <a:pt x="632828" y="37844"/>
                      <a:pt x="636983" y="40813"/>
                      <a:pt x="639506" y="44672"/>
                    </a:cubicBezTo>
                    <a:lnTo>
                      <a:pt x="647075" y="39477"/>
                    </a:lnTo>
                    <a:cubicBezTo>
                      <a:pt x="643217" y="32799"/>
                      <a:pt x="636241" y="29237"/>
                      <a:pt x="627485" y="29237"/>
                    </a:cubicBezTo>
                    <a:cubicBezTo>
                      <a:pt x="616057" y="29237"/>
                      <a:pt x="607152" y="35322"/>
                      <a:pt x="607004" y="45414"/>
                    </a:cubicBezTo>
                    <a:cubicBezTo>
                      <a:pt x="607004" y="53724"/>
                      <a:pt x="612050" y="59958"/>
                      <a:pt x="621845" y="62778"/>
                    </a:cubicBezTo>
                    <a:lnTo>
                      <a:pt x="627782" y="64707"/>
                    </a:lnTo>
                    <a:cubicBezTo>
                      <a:pt x="635499" y="67081"/>
                      <a:pt x="638171" y="69753"/>
                      <a:pt x="638171" y="73908"/>
                    </a:cubicBezTo>
                    <a:cubicBezTo>
                      <a:pt x="638171" y="78954"/>
                      <a:pt x="633570" y="81922"/>
                      <a:pt x="627782" y="81922"/>
                    </a:cubicBezTo>
                    <a:cubicBezTo>
                      <a:pt x="621252" y="81922"/>
                      <a:pt x="614870" y="78657"/>
                      <a:pt x="612644" y="72573"/>
                    </a:cubicBezTo>
                    <a:lnTo>
                      <a:pt x="604333" y="77174"/>
                    </a:lnTo>
                    <a:cubicBezTo>
                      <a:pt x="607895" y="86375"/>
                      <a:pt x="617096" y="90976"/>
                      <a:pt x="627633" y="90976"/>
                    </a:cubicBezTo>
                    <a:cubicBezTo>
                      <a:pt x="639506" y="90976"/>
                      <a:pt x="648263" y="84594"/>
                      <a:pt x="648263" y="73166"/>
                    </a:cubicBezTo>
                    <a:moveTo>
                      <a:pt x="579251" y="89788"/>
                    </a:moveTo>
                    <a:lnTo>
                      <a:pt x="589492" y="89788"/>
                    </a:lnTo>
                    <a:lnTo>
                      <a:pt x="589492" y="30424"/>
                    </a:lnTo>
                    <a:lnTo>
                      <a:pt x="579251" y="30424"/>
                    </a:lnTo>
                    <a:lnTo>
                      <a:pt x="579251" y="89788"/>
                    </a:lnTo>
                    <a:close/>
                    <a:moveTo>
                      <a:pt x="591718" y="7272"/>
                    </a:moveTo>
                    <a:cubicBezTo>
                      <a:pt x="591718" y="3414"/>
                      <a:pt x="588601" y="0"/>
                      <a:pt x="584594" y="0"/>
                    </a:cubicBezTo>
                    <a:cubicBezTo>
                      <a:pt x="580587" y="0"/>
                      <a:pt x="577322" y="3265"/>
                      <a:pt x="577322" y="7272"/>
                    </a:cubicBezTo>
                    <a:cubicBezTo>
                      <a:pt x="577322" y="11279"/>
                      <a:pt x="580587" y="14544"/>
                      <a:pt x="584594" y="14544"/>
                    </a:cubicBezTo>
                    <a:cubicBezTo>
                      <a:pt x="588601" y="14544"/>
                      <a:pt x="591718" y="11279"/>
                      <a:pt x="591718" y="7272"/>
                    </a:cubicBezTo>
                    <a:moveTo>
                      <a:pt x="489165" y="89788"/>
                    </a:moveTo>
                    <a:lnTo>
                      <a:pt x="500148" y="89788"/>
                    </a:lnTo>
                    <a:lnTo>
                      <a:pt x="500148" y="51795"/>
                    </a:lnTo>
                    <a:lnTo>
                      <a:pt x="546304" y="51795"/>
                    </a:lnTo>
                    <a:lnTo>
                      <a:pt x="546304" y="89788"/>
                    </a:lnTo>
                    <a:lnTo>
                      <a:pt x="557286" y="89788"/>
                    </a:lnTo>
                    <a:lnTo>
                      <a:pt x="557286" y="5491"/>
                    </a:lnTo>
                    <a:lnTo>
                      <a:pt x="546304" y="5491"/>
                    </a:lnTo>
                    <a:lnTo>
                      <a:pt x="546304" y="41407"/>
                    </a:lnTo>
                    <a:lnTo>
                      <a:pt x="500148" y="41407"/>
                    </a:lnTo>
                    <a:lnTo>
                      <a:pt x="500148" y="5491"/>
                    </a:lnTo>
                    <a:lnTo>
                      <a:pt x="489165" y="5491"/>
                    </a:lnTo>
                    <a:lnTo>
                      <a:pt x="489165" y="89788"/>
                    </a:lnTo>
                    <a:close/>
                    <a:moveTo>
                      <a:pt x="385871" y="79400"/>
                    </a:moveTo>
                    <a:lnTo>
                      <a:pt x="385871" y="15731"/>
                    </a:lnTo>
                    <a:lnTo>
                      <a:pt x="399079" y="15731"/>
                    </a:lnTo>
                    <a:cubicBezTo>
                      <a:pt x="419412" y="15731"/>
                      <a:pt x="432769" y="29237"/>
                      <a:pt x="432769" y="47640"/>
                    </a:cubicBezTo>
                    <a:cubicBezTo>
                      <a:pt x="432769" y="66043"/>
                      <a:pt x="419412" y="79400"/>
                      <a:pt x="399079" y="79400"/>
                    </a:cubicBezTo>
                    <a:lnTo>
                      <a:pt x="385871" y="79400"/>
                    </a:lnTo>
                    <a:close/>
                    <a:moveTo>
                      <a:pt x="374888" y="89788"/>
                    </a:moveTo>
                    <a:lnTo>
                      <a:pt x="399079" y="89788"/>
                    </a:lnTo>
                    <a:cubicBezTo>
                      <a:pt x="425051" y="89788"/>
                      <a:pt x="443899" y="71682"/>
                      <a:pt x="443899" y="47640"/>
                    </a:cubicBezTo>
                    <a:cubicBezTo>
                      <a:pt x="443899" y="23597"/>
                      <a:pt x="424903" y="5491"/>
                      <a:pt x="399079" y="5491"/>
                    </a:cubicBezTo>
                    <a:lnTo>
                      <a:pt x="374888" y="5491"/>
                    </a:lnTo>
                    <a:lnTo>
                      <a:pt x="374888" y="89788"/>
                    </a:lnTo>
                    <a:close/>
                    <a:moveTo>
                      <a:pt x="355595" y="66191"/>
                    </a:moveTo>
                    <a:cubicBezTo>
                      <a:pt x="355595" y="56544"/>
                      <a:pt x="350400" y="49124"/>
                      <a:pt x="341792" y="45711"/>
                    </a:cubicBezTo>
                    <a:cubicBezTo>
                      <a:pt x="348174" y="42446"/>
                      <a:pt x="353072" y="35470"/>
                      <a:pt x="353220" y="27307"/>
                    </a:cubicBezTo>
                    <a:cubicBezTo>
                      <a:pt x="353220" y="13209"/>
                      <a:pt x="341792" y="4155"/>
                      <a:pt x="327545" y="4155"/>
                    </a:cubicBezTo>
                    <a:cubicBezTo>
                      <a:pt x="312110" y="4155"/>
                      <a:pt x="299347" y="14396"/>
                      <a:pt x="299347" y="30721"/>
                    </a:cubicBezTo>
                    <a:lnTo>
                      <a:pt x="309735" y="30721"/>
                    </a:lnTo>
                    <a:cubicBezTo>
                      <a:pt x="309735" y="19739"/>
                      <a:pt x="317749" y="14099"/>
                      <a:pt x="327396" y="14099"/>
                    </a:cubicBezTo>
                    <a:cubicBezTo>
                      <a:pt x="335856" y="14099"/>
                      <a:pt x="342683" y="19590"/>
                      <a:pt x="342534" y="27605"/>
                    </a:cubicBezTo>
                    <a:cubicBezTo>
                      <a:pt x="342534" y="35618"/>
                      <a:pt x="335707" y="41258"/>
                      <a:pt x="326951" y="41258"/>
                    </a:cubicBezTo>
                    <a:lnTo>
                      <a:pt x="320124" y="41258"/>
                    </a:lnTo>
                    <a:lnTo>
                      <a:pt x="320124" y="50608"/>
                    </a:lnTo>
                    <a:lnTo>
                      <a:pt x="326357" y="50608"/>
                    </a:lnTo>
                    <a:cubicBezTo>
                      <a:pt x="337340" y="50608"/>
                      <a:pt x="344761" y="55357"/>
                      <a:pt x="344761" y="65894"/>
                    </a:cubicBezTo>
                    <a:cubicBezTo>
                      <a:pt x="344761" y="75689"/>
                      <a:pt x="337043" y="81032"/>
                      <a:pt x="327693" y="81032"/>
                    </a:cubicBezTo>
                    <a:cubicBezTo>
                      <a:pt x="317304" y="81032"/>
                      <a:pt x="308548" y="74354"/>
                      <a:pt x="307954" y="64113"/>
                    </a:cubicBezTo>
                    <a:lnTo>
                      <a:pt x="297565" y="64113"/>
                    </a:lnTo>
                    <a:cubicBezTo>
                      <a:pt x="297565" y="79696"/>
                      <a:pt x="310774" y="90976"/>
                      <a:pt x="327545" y="90976"/>
                    </a:cubicBezTo>
                    <a:cubicBezTo>
                      <a:pt x="344315" y="90976"/>
                      <a:pt x="355149" y="81032"/>
                      <a:pt x="355149" y="66191"/>
                    </a:cubicBezTo>
                    <a:moveTo>
                      <a:pt x="193974" y="66933"/>
                    </a:moveTo>
                    <a:cubicBezTo>
                      <a:pt x="193974" y="58919"/>
                      <a:pt x="199020" y="54170"/>
                      <a:pt x="207331" y="49866"/>
                    </a:cubicBezTo>
                    <a:lnTo>
                      <a:pt x="208815" y="48975"/>
                    </a:lnTo>
                    <a:lnTo>
                      <a:pt x="229890" y="69456"/>
                    </a:lnTo>
                    <a:cubicBezTo>
                      <a:pt x="222914" y="77767"/>
                      <a:pt x="217275" y="81774"/>
                      <a:pt x="209706" y="81774"/>
                    </a:cubicBezTo>
                    <a:cubicBezTo>
                      <a:pt x="201543" y="81774"/>
                      <a:pt x="193826" y="76283"/>
                      <a:pt x="193826" y="66933"/>
                    </a:cubicBezTo>
                    <a:moveTo>
                      <a:pt x="201692" y="23449"/>
                    </a:moveTo>
                    <a:cubicBezTo>
                      <a:pt x="201692" y="16919"/>
                      <a:pt x="207034" y="13060"/>
                      <a:pt x="213119" y="13060"/>
                    </a:cubicBezTo>
                    <a:cubicBezTo>
                      <a:pt x="219798" y="13060"/>
                      <a:pt x="224102" y="17809"/>
                      <a:pt x="224102" y="24488"/>
                    </a:cubicBezTo>
                    <a:cubicBezTo>
                      <a:pt x="224102" y="31166"/>
                      <a:pt x="218610" y="34283"/>
                      <a:pt x="211932" y="37844"/>
                    </a:cubicBezTo>
                    <a:lnTo>
                      <a:pt x="211338" y="38142"/>
                    </a:lnTo>
                    <a:cubicBezTo>
                      <a:pt x="205847" y="33096"/>
                      <a:pt x="201840" y="29237"/>
                      <a:pt x="201840" y="23597"/>
                    </a:cubicBezTo>
                    <a:moveTo>
                      <a:pt x="250964" y="89788"/>
                    </a:moveTo>
                    <a:lnTo>
                      <a:pt x="264321" y="89788"/>
                    </a:lnTo>
                    <a:lnTo>
                      <a:pt x="242505" y="68417"/>
                    </a:lnTo>
                    <a:lnTo>
                      <a:pt x="257643" y="49124"/>
                    </a:lnTo>
                    <a:lnTo>
                      <a:pt x="245770" y="49124"/>
                    </a:lnTo>
                    <a:lnTo>
                      <a:pt x="235826" y="61887"/>
                    </a:lnTo>
                    <a:lnTo>
                      <a:pt x="217868" y="44375"/>
                    </a:lnTo>
                    <a:cubicBezTo>
                      <a:pt x="226031" y="40071"/>
                      <a:pt x="234194" y="34134"/>
                      <a:pt x="234194" y="23746"/>
                    </a:cubicBezTo>
                    <a:cubicBezTo>
                      <a:pt x="234194" y="13357"/>
                      <a:pt x="225883" y="4155"/>
                      <a:pt x="213416" y="4155"/>
                    </a:cubicBezTo>
                    <a:cubicBezTo>
                      <a:pt x="200949" y="4155"/>
                      <a:pt x="191896" y="12021"/>
                      <a:pt x="191896" y="23301"/>
                    </a:cubicBezTo>
                    <a:cubicBezTo>
                      <a:pt x="191896" y="31315"/>
                      <a:pt x="197091" y="37548"/>
                      <a:pt x="202137" y="42446"/>
                    </a:cubicBezTo>
                    <a:lnTo>
                      <a:pt x="201543" y="42742"/>
                    </a:lnTo>
                    <a:cubicBezTo>
                      <a:pt x="192638" y="47788"/>
                      <a:pt x="183585" y="54615"/>
                      <a:pt x="183585" y="66785"/>
                    </a:cubicBezTo>
                    <a:cubicBezTo>
                      <a:pt x="183585" y="80735"/>
                      <a:pt x="193974" y="90976"/>
                      <a:pt x="209409" y="90976"/>
                    </a:cubicBezTo>
                    <a:cubicBezTo>
                      <a:pt x="220391" y="90976"/>
                      <a:pt x="227812" y="86078"/>
                      <a:pt x="236568" y="75838"/>
                    </a:cubicBezTo>
                    <a:lnTo>
                      <a:pt x="250964" y="89788"/>
                    </a:lnTo>
                    <a:close/>
                    <a:moveTo>
                      <a:pt x="83704" y="79400"/>
                    </a:moveTo>
                    <a:lnTo>
                      <a:pt x="83704" y="15731"/>
                    </a:lnTo>
                    <a:lnTo>
                      <a:pt x="96913" y="15731"/>
                    </a:lnTo>
                    <a:cubicBezTo>
                      <a:pt x="117245" y="15731"/>
                      <a:pt x="130602" y="29237"/>
                      <a:pt x="130602" y="47640"/>
                    </a:cubicBezTo>
                    <a:cubicBezTo>
                      <a:pt x="130602" y="66043"/>
                      <a:pt x="117245" y="79400"/>
                      <a:pt x="96913" y="79400"/>
                    </a:cubicBezTo>
                    <a:lnTo>
                      <a:pt x="83704" y="79400"/>
                    </a:lnTo>
                    <a:close/>
                    <a:moveTo>
                      <a:pt x="72722" y="89788"/>
                    </a:moveTo>
                    <a:lnTo>
                      <a:pt x="96913" y="89788"/>
                    </a:lnTo>
                    <a:cubicBezTo>
                      <a:pt x="122736" y="89788"/>
                      <a:pt x="141733" y="71682"/>
                      <a:pt x="141733" y="47640"/>
                    </a:cubicBezTo>
                    <a:cubicBezTo>
                      <a:pt x="141733" y="23597"/>
                      <a:pt x="122736" y="5491"/>
                      <a:pt x="96913" y="5491"/>
                    </a:cubicBezTo>
                    <a:lnTo>
                      <a:pt x="72722" y="5491"/>
                    </a:lnTo>
                    <a:lnTo>
                      <a:pt x="72722" y="89788"/>
                    </a:lnTo>
                    <a:close/>
                    <a:moveTo>
                      <a:pt x="54615" y="79993"/>
                    </a:moveTo>
                    <a:lnTo>
                      <a:pt x="12615" y="79993"/>
                    </a:lnTo>
                    <a:cubicBezTo>
                      <a:pt x="14693" y="70198"/>
                      <a:pt x="24488" y="65449"/>
                      <a:pt x="34283" y="58325"/>
                    </a:cubicBezTo>
                    <a:cubicBezTo>
                      <a:pt x="48085" y="48382"/>
                      <a:pt x="53725" y="41258"/>
                      <a:pt x="53725" y="28792"/>
                    </a:cubicBezTo>
                    <a:cubicBezTo>
                      <a:pt x="53725" y="12466"/>
                      <a:pt x="41704" y="4155"/>
                      <a:pt x="27753" y="4155"/>
                    </a:cubicBezTo>
                    <a:cubicBezTo>
                      <a:pt x="12170" y="4155"/>
                      <a:pt x="0" y="14544"/>
                      <a:pt x="0" y="30721"/>
                    </a:cubicBezTo>
                    <a:lnTo>
                      <a:pt x="10389" y="30721"/>
                    </a:lnTo>
                    <a:cubicBezTo>
                      <a:pt x="10389" y="19739"/>
                      <a:pt x="18551" y="14099"/>
                      <a:pt x="27901" y="14099"/>
                    </a:cubicBezTo>
                    <a:cubicBezTo>
                      <a:pt x="37251" y="14099"/>
                      <a:pt x="43336" y="19887"/>
                      <a:pt x="43336" y="28643"/>
                    </a:cubicBezTo>
                    <a:cubicBezTo>
                      <a:pt x="43336" y="38438"/>
                      <a:pt x="38142" y="42891"/>
                      <a:pt x="28346" y="50163"/>
                    </a:cubicBezTo>
                    <a:cubicBezTo>
                      <a:pt x="15880" y="59364"/>
                      <a:pt x="148" y="67675"/>
                      <a:pt x="148" y="85781"/>
                    </a:cubicBezTo>
                    <a:lnTo>
                      <a:pt x="148" y="89788"/>
                    </a:lnTo>
                    <a:lnTo>
                      <a:pt x="54764" y="89788"/>
                    </a:lnTo>
                    <a:lnTo>
                      <a:pt x="54764" y="79993"/>
                    </a:lnTo>
                    <a:close/>
                  </a:path>
                </a:pathLst>
              </a:custGeom>
              <a:solidFill>
                <a:srgbClr val="FFFFFF"/>
              </a:solidFill>
              <a:ln w="14828" cap="flat">
                <a:noFill/>
                <a:prstDash val="solid"/>
                <a:miter/>
              </a:ln>
            </p:spPr>
            <p:txBody>
              <a:bodyPr rtlCol="0" anchor="ctr"/>
              <a:lstStyle/>
              <a:p>
                <a:endParaRPr lang="en-DK"/>
              </a:p>
            </p:txBody>
          </p:sp>
          <p:sp>
            <p:nvSpPr>
              <p:cNvPr id="176" name="Freeform 175">
                <a:extLst>
                  <a:ext uri="{FF2B5EF4-FFF2-40B4-BE49-F238E27FC236}">
                    <a16:creationId xmlns:a16="http://schemas.microsoft.com/office/drawing/2014/main" id="{ED8044B5-F5F1-C906-4BDB-5916D6A7175E}"/>
                  </a:ext>
                </a:extLst>
              </p:cNvPr>
              <p:cNvSpPr/>
              <p:nvPr/>
            </p:nvSpPr>
            <p:spPr>
              <a:xfrm>
                <a:off x="6318641" y="4533644"/>
                <a:ext cx="242356" cy="87265"/>
              </a:xfrm>
              <a:custGeom>
                <a:avLst/>
                <a:gdLst>
                  <a:gd name="connsiteX0" fmla="*/ 185960 w 242356"/>
                  <a:gd name="connsiteY0" fmla="*/ 71979 h 87265"/>
                  <a:gd name="connsiteX1" fmla="*/ 215494 w 242356"/>
                  <a:gd name="connsiteY1" fmla="*/ 87117 h 87265"/>
                  <a:gd name="connsiteX2" fmla="*/ 242357 w 242356"/>
                  <a:gd name="connsiteY2" fmla="*/ 63668 h 87265"/>
                  <a:gd name="connsiteX3" fmla="*/ 222766 w 242356"/>
                  <a:gd name="connsiteY3" fmla="*/ 39329 h 87265"/>
                  <a:gd name="connsiteX4" fmla="*/ 212526 w 242356"/>
                  <a:gd name="connsiteY4" fmla="*/ 35470 h 87265"/>
                  <a:gd name="connsiteX5" fmla="*/ 199762 w 242356"/>
                  <a:gd name="connsiteY5" fmla="*/ 21965 h 87265"/>
                  <a:gd name="connsiteX6" fmla="*/ 214900 w 242356"/>
                  <a:gd name="connsiteY6" fmla="*/ 10389 h 87265"/>
                  <a:gd name="connsiteX7" fmla="*/ 231671 w 242356"/>
                  <a:gd name="connsiteY7" fmla="*/ 18700 h 87265"/>
                  <a:gd name="connsiteX8" fmla="*/ 239685 w 242356"/>
                  <a:gd name="connsiteY8" fmla="*/ 11576 h 87265"/>
                  <a:gd name="connsiteX9" fmla="*/ 215049 w 242356"/>
                  <a:gd name="connsiteY9" fmla="*/ 149 h 87265"/>
                  <a:gd name="connsiteX10" fmla="*/ 188780 w 242356"/>
                  <a:gd name="connsiteY10" fmla="*/ 22558 h 87265"/>
                  <a:gd name="connsiteX11" fmla="*/ 207925 w 242356"/>
                  <a:gd name="connsiteY11" fmla="*/ 45859 h 87265"/>
                  <a:gd name="connsiteX12" fmla="*/ 219056 w 242356"/>
                  <a:gd name="connsiteY12" fmla="*/ 50163 h 87265"/>
                  <a:gd name="connsiteX13" fmla="*/ 231226 w 242356"/>
                  <a:gd name="connsiteY13" fmla="*/ 64410 h 87265"/>
                  <a:gd name="connsiteX14" fmla="*/ 215642 w 242356"/>
                  <a:gd name="connsiteY14" fmla="*/ 77025 h 87265"/>
                  <a:gd name="connsiteX15" fmla="*/ 194716 w 242356"/>
                  <a:gd name="connsiteY15" fmla="*/ 65449 h 87265"/>
                  <a:gd name="connsiteX16" fmla="*/ 185812 w 242356"/>
                  <a:gd name="connsiteY16" fmla="*/ 72127 h 87265"/>
                  <a:gd name="connsiteX17" fmla="*/ 168744 w 242356"/>
                  <a:gd name="connsiteY17" fmla="*/ 85781 h 87265"/>
                  <a:gd name="connsiteX18" fmla="*/ 168744 w 242356"/>
                  <a:gd name="connsiteY18" fmla="*/ 1484 h 87265"/>
                  <a:gd name="connsiteX19" fmla="*/ 157762 w 242356"/>
                  <a:gd name="connsiteY19" fmla="*/ 1484 h 87265"/>
                  <a:gd name="connsiteX20" fmla="*/ 157762 w 242356"/>
                  <a:gd name="connsiteY20" fmla="*/ 67082 h 87265"/>
                  <a:gd name="connsiteX21" fmla="*/ 106411 w 242356"/>
                  <a:gd name="connsiteY21" fmla="*/ 1484 h 87265"/>
                  <a:gd name="connsiteX22" fmla="*/ 96765 w 242356"/>
                  <a:gd name="connsiteY22" fmla="*/ 1484 h 87265"/>
                  <a:gd name="connsiteX23" fmla="*/ 96765 w 242356"/>
                  <a:gd name="connsiteY23" fmla="*/ 85781 h 87265"/>
                  <a:gd name="connsiteX24" fmla="*/ 107747 w 242356"/>
                  <a:gd name="connsiteY24" fmla="*/ 85781 h 87265"/>
                  <a:gd name="connsiteX25" fmla="*/ 107747 w 242356"/>
                  <a:gd name="connsiteY25" fmla="*/ 20184 h 87265"/>
                  <a:gd name="connsiteX26" fmla="*/ 159097 w 242356"/>
                  <a:gd name="connsiteY26" fmla="*/ 85781 h 87265"/>
                  <a:gd name="connsiteX27" fmla="*/ 168596 w 242356"/>
                  <a:gd name="connsiteY27" fmla="*/ 85781 h 87265"/>
                  <a:gd name="connsiteX28" fmla="*/ 0 w 242356"/>
                  <a:gd name="connsiteY28" fmla="*/ 43633 h 87265"/>
                  <a:gd name="connsiteX29" fmla="*/ 43485 w 242356"/>
                  <a:gd name="connsiteY29" fmla="*/ 87265 h 87265"/>
                  <a:gd name="connsiteX30" fmla="*/ 80736 w 242356"/>
                  <a:gd name="connsiteY30" fmla="*/ 66785 h 87265"/>
                  <a:gd name="connsiteX31" fmla="*/ 71535 w 242356"/>
                  <a:gd name="connsiteY31" fmla="*/ 61145 h 87265"/>
                  <a:gd name="connsiteX32" fmla="*/ 43485 w 242356"/>
                  <a:gd name="connsiteY32" fmla="*/ 76728 h 87265"/>
                  <a:gd name="connsiteX33" fmla="*/ 11131 w 242356"/>
                  <a:gd name="connsiteY33" fmla="*/ 43633 h 87265"/>
                  <a:gd name="connsiteX34" fmla="*/ 43485 w 242356"/>
                  <a:gd name="connsiteY34" fmla="*/ 10537 h 87265"/>
                  <a:gd name="connsiteX35" fmla="*/ 71535 w 242356"/>
                  <a:gd name="connsiteY35" fmla="*/ 26120 h 87265"/>
                  <a:gd name="connsiteX36" fmla="*/ 80736 w 242356"/>
                  <a:gd name="connsiteY36" fmla="*/ 20481 h 87265"/>
                  <a:gd name="connsiteX37" fmla="*/ 43485 w 242356"/>
                  <a:gd name="connsiteY37" fmla="*/ 0 h 87265"/>
                  <a:gd name="connsiteX38" fmla="*/ 0 w 242356"/>
                  <a:gd name="connsiteY38" fmla="*/ 43484 h 87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42356" h="87265">
                    <a:moveTo>
                      <a:pt x="185960" y="71979"/>
                    </a:moveTo>
                    <a:cubicBezTo>
                      <a:pt x="190413" y="80587"/>
                      <a:pt x="201692" y="87117"/>
                      <a:pt x="215494" y="87117"/>
                    </a:cubicBezTo>
                    <a:cubicBezTo>
                      <a:pt x="231226" y="87117"/>
                      <a:pt x="242357" y="78064"/>
                      <a:pt x="242357" y="63668"/>
                    </a:cubicBezTo>
                    <a:cubicBezTo>
                      <a:pt x="242357" y="51202"/>
                      <a:pt x="235233" y="44078"/>
                      <a:pt x="222766" y="39329"/>
                    </a:cubicBezTo>
                    <a:lnTo>
                      <a:pt x="212526" y="35470"/>
                    </a:lnTo>
                    <a:cubicBezTo>
                      <a:pt x="203918" y="32205"/>
                      <a:pt x="199762" y="29089"/>
                      <a:pt x="199762" y="21965"/>
                    </a:cubicBezTo>
                    <a:cubicBezTo>
                      <a:pt x="199762" y="14841"/>
                      <a:pt x="206589" y="10389"/>
                      <a:pt x="214900" y="10389"/>
                    </a:cubicBezTo>
                    <a:cubicBezTo>
                      <a:pt x="222172" y="10389"/>
                      <a:pt x="227367" y="13654"/>
                      <a:pt x="231671" y="18700"/>
                    </a:cubicBezTo>
                    <a:lnTo>
                      <a:pt x="239685" y="11576"/>
                    </a:lnTo>
                    <a:cubicBezTo>
                      <a:pt x="234491" y="4749"/>
                      <a:pt x="225734" y="149"/>
                      <a:pt x="215049" y="149"/>
                    </a:cubicBezTo>
                    <a:cubicBezTo>
                      <a:pt x="199911" y="149"/>
                      <a:pt x="188780" y="8756"/>
                      <a:pt x="188780" y="22558"/>
                    </a:cubicBezTo>
                    <a:cubicBezTo>
                      <a:pt x="188780" y="34134"/>
                      <a:pt x="194716" y="40961"/>
                      <a:pt x="207925" y="45859"/>
                    </a:cubicBezTo>
                    <a:lnTo>
                      <a:pt x="219056" y="50163"/>
                    </a:lnTo>
                    <a:cubicBezTo>
                      <a:pt x="226922" y="53131"/>
                      <a:pt x="231226" y="57583"/>
                      <a:pt x="231226" y="64410"/>
                    </a:cubicBezTo>
                    <a:cubicBezTo>
                      <a:pt x="231226" y="72276"/>
                      <a:pt x="224399" y="77025"/>
                      <a:pt x="215642" y="77025"/>
                    </a:cubicBezTo>
                    <a:cubicBezTo>
                      <a:pt x="206144" y="77025"/>
                      <a:pt x="199317" y="72573"/>
                      <a:pt x="194716" y="65449"/>
                    </a:cubicBezTo>
                    <a:lnTo>
                      <a:pt x="185812" y="72127"/>
                    </a:lnTo>
                    <a:close/>
                    <a:moveTo>
                      <a:pt x="168744" y="85781"/>
                    </a:moveTo>
                    <a:lnTo>
                      <a:pt x="168744" y="1484"/>
                    </a:lnTo>
                    <a:lnTo>
                      <a:pt x="157762" y="1484"/>
                    </a:lnTo>
                    <a:lnTo>
                      <a:pt x="157762" y="67082"/>
                    </a:lnTo>
                    <a:lnTo>
                      <a:pt x="106411" y="1484"/>
                    </a:lnTo>
                    <a:lnTo>
                      <a:pt x="96765" y="1484"/>
                    </a:lnTo>
                    <a:lnTo>
                      <a:pt x="96765" y="85781"/>
                    </a:lnTo>
                    <a:lnTo>
                      <a:pt x="107747" y="85781"/>
                    </a:lnTo>
                    <a:lnTo>
                      <a:pt x="107747" y="20184"/>
                    </a:lnTo>
                    <a:lnTo>
                      <a:pt x="159097" y="85781"/>
                    </a:lnTo>
                    <a:lnTo>
                      <a:pt x="168596" y="85781"/>
                    </a:lnTo>
                    <a:close/>
                    <a:moveTo>
                      <a:pt x="0" y="43633"/>
                    </a:moveTo>
                    <a:cubicBezTo>
                      <a:pt x="0" y="68121"/>
                      <a:pt x="19294" y="87265"/>
                      <a:pt x="43485" y="87265"/>
                    </a:cubicBezTo>
                    <a:cubicBezTo>
                      <a:pt x="59513" y="87265"/>
                      <a:pt x="73167" y="79251"/>
                      <a:pt x="80736" y="66785"/>
                    </a:cubicBezTo>
                    <a:lnTo>
                      <a:pt x="71535" y="61145"/>
                    </a:lnTo>
                    <a:cubicBezTo>
                      <a:pt x="65746" y="70495"/>
                      <a:pt x="55803" y="76728"/>
                      <a:pt x="43485" y="76728"/>
                    </a:cubicBezTo>
                    <a:cubicBezTo>
                      <a:pt x="25082" y="76728"/>
                      <a:pt x="11131" y="62036"/>
                      <a:pt x="11131" y="43633"/>
                    </a:cubicBezTo>
                    <a:cubicBezTo>
                      <a:pt x="11131" y="25230"/>
                      <a:pt x="25082" y="10537"/>
                      <a:pt x="43485" y="10537"/>
                    </a:cubicBezTo>
                    <a:cubicBezTo>
                      <a:pt x="55803" y="10537"/>
                      <a:pt x="65746" y="16770"/>
                      <a:pt x="71535" y="26120"/>
                    </a:cubicBezTo>
                    <a:lnTo>
                      <a:pt x="80736" y="20481"/>
                    </a:lnTo>
                    <a:cubicBezTo>
                      <a:pt x="73167" y="8014"/>
                      <a:pt x="59513" y="0"/>
                      <a:pt x="43485" y="0"/>
                    </a:cubicBezTo>
                    <a:cubicBezTo>
                      <a:pt x="19294" y="0"/>
                      <a:pt x="0" y="19145"/>
                      <a:pt x="0" y="43484"/>
                    </a:cubicBezTo>
                  </a:path>
                </a:pathLst>
              </a:custGeom>
              <a:solidFill>
                <a:srgbClr val="FFFFFF"/>
              </a:solidFill>
              <a:ln w="14828" cap="flat">
                <a:noFill/>
                <a:prstDash val="solid"/>
                <a:miter/>
              </a:ln>
            </p:spPr>
            <p:txBody>
              <a:bodyPr rtlCol="0" anchor="ctr"/>
              <a:lstStyle/>
              <a:p>
                <a:endParaRPr lang="en-DK"/>
              </a:p>
            </p:txBody>
          </p:sp>
          <p:sp>
            <p:nvSpPr>
              <p:cNvPr id="178" name="Freeform 177">
                <a:extLst>
                  <a:ext uri="{FF2B5EF4-FFF2-40B4-BE49-F238E27FC236}">
                    <a16:creationId xmlns:a16="http://schemas.microsoft.com/office/drawing/2014/main" id="{71F8F03B-E87C-EBAA-9123-B20F9EF4D0D9}"/>
                  </a:ext>
                </a:extLst>
              </p:cNvPr>
              <p:cNvSpPr/>
              <p:nvPr/>
            </p:nvSpPr>
            <p:spPr>
              <a:xfrm>
                <a:off x="2974330" y="4535128"/>
                <a:ext cx="537844" cy="110268"/>
              </a:xfrm>
              <a:custGeom>
                <a:avLst/>
                <a:gdLst>
                  <a:gd name="connsiteX0" fmla="*/ 488868 w 537844"/>
                  <a:gd name="connsiteY0" fmla="*/ 84297 h 110268"/>
                  <a:gd name="connsiteX1" fmla="*/ 499851 w 537844"/>
                  <a:gd name="connsiteY1" fmla="*/ 84297 h 110268"/>
                  <a:gd name="connsiteX2" fmla="*/ 499851 w 537844"/>
                  <a:gd name="connsiteY2" fmla="*/ 46452 h 110268"/>
                  <a:gd name="connsiteX3" fmla="*/ 529830 w 537844"/>
                  <a:gd name="connsiteY3" fmla="*/ 46452 h 110268"/>
                  <a:gd name="connsiteX4" fmla="*/ 529830 w 537844"/>
                  <a:gd name="connsiteY4" fmla="*/ 36064 h 110268"/>
                  <a:gd name="connsiteX5" fmla="*/ 499851 w 537844"/>
                  <a:gd name="connsiteY5" fmla="*/ 36064 h 110268"/>
                  <a:gd name="connsiteX6" fmla="*/ 499851 w 537844"/>
                  <a:gd name="connsiteY6" fmla="*/ 10537 h 110268"/>
                  <a:gd name="connsiteX7" fmla="*/ 537844 w 537844"/>
                  <a:gd name="connsiteY7" fmla="*/ 10537 h 110268"/>
                  <a:gd name="connsiteX8" fmla="*/ 537844 w 537844"/>
                  <a:gd name="connsiteY8" fmla="*/ 148 h 110268"/>
                  <a:gd name="connsiteX9" fmla="*/ 488868 w 537844"/>
                  <a:gd name="connsiteY9" fmla="*/ 148 h 110268"/>
                  <a:gd name="connsiteX10" fmla="*/ 488868 w 537844"/>
                  <a:gd name="connsiteY10" fmla="*/ 84446 h 110268"/>
                  <a:gd name="connsiteX11" fmla="*/ 444642 w 537844"/>
                  <a:gd name="connsiteY11" fmla="*/ 43336 h 110268"/>
                  <a:gd name="connsiteX12" fmla="*/ 429949 w 537844"/>
                  <a:gd name="connsiteY12" fmla="*/ 43336 h 110268"/>
                  <a:gd name="connsiteX13" fmla="*/ 429949 w 537844"/>
                  <a:gd name="connsiteY13" fmla="*/ 10389 h 110268"/>
                  <a:gd name="connsiteX14" fmla="*/ 444642 w 537844"/>
                  <a:gd name="connsiteY14" fmla="*/ 10389 h 110268"/>
                  <a:gd name="connsiteX15" fmla="*/ 462748 w 537844"/>
                  <a:gd name="connsiteY15" fmla="*/ 26862 h 110268"/>
                  <a:gd name="connsiteX16" fmla="*/ 444642 w 537844"/>
                  <a:gd name="connsiteY16" fmla="*/ 43336 h 110268"/>
                  <a:gd name="connsiteX17" fmla="*/ 444642 w 537844"/>
                  <a:gd name="connsiteY17" fmla="*/ 0 h 110268"/>
                  <a:gd name="connsiteX18" fmla="*/ 418818 w 537844"/>
                  <a:gd name="connsiteY18" fmla="*/ 0 h 110268"/>
                  <a:gd name="connsiteX19" fmla="*/ 418818 w 537844"/>
                  <a:gd name="connsiteY19" fmla="*/ 84297 h 110268"/>
                  <a:gd name="connsiteX20" fmla="*/ 429801 w 537844"/>
                  <a:gd name="connsiteY20" fmla="*/ 84297 h 110268"/>
                  <a:gd name="connsiteX21" fmla="*/ 429801 w 537844"/>
                  <a:gd name="connsiteY21" fmla="*/ 53576 h 110268"/>
                  <a:gd name="connsiteX22" fmla="*/ 444493 w 537844"/>
                  <a:gd name="connsiteY22" fmla="*/ 53576 h 110268"/>
                  <a:gd name="connsiteX23" fmla="*/ 473434 w 537844"/>
                  <a:gd name="connsiteY23" fmla="*/ 26862 h 110268"/>
                  <a:gd name="connsiteX24" fmla="*/ 444493 w 537844"/>
                  <a:gd name="connsiteY24" fmla="*/ 0 h 110268"/>
                  <a:gd name="connsiteX25" fmla="*/ 384535 w 537844"/>
                  <a:gd name="connsiteY25" fmla="*/ 84297 h 110268"/>
                  <a:gd name="connsiteX26" fmla="*/ 395518 w 537844"/>
                  <a:gd name="connsiteY26" fmla="*/ 84297 h 110268"/>
                  <a:gd name="connsiteX27" fmla="*/ 395518 w 537844"/>
                  <a:gd name="connsiteY27" fmla="*/ 0 h 110268"/>
                  <a:gd name="connsiteX28" fmla="*/ 384535 w 537844"/>
                  <a:gd name="connsiteY28" fmla="*/ 0 h 110268"/>
                  <a:gd name="connsiteX29" fmla="*/ 384535 w 537844"/>
                  <a:gd name="connsiteY29" fmla="*/ 84297 h 110268"/>
                  <a:gd name="connsiteX30" fmla="*/ 306619 w 537844"/>
                  <a:gd name="connsiteY30" fmla="*/ 56099 h 110268"/>
                  <a:gd name="connsiteX31" fmla="*/ 336895 w 537844"/>
                  <a:gd name="connsiteY31" fmla="*/ 56099 h 110268"/>
                  <a:gd name="connsiteX32" fmla="*/ 336895 w 537844"/>
                  <a:gd name="connsiteY32" fmla="*/ 45859 h 110268"/>
                  <a:gd name="connsiteX33" fmla="*/ 306619 w 537844"/>
                  <a:gd name="connsiteY33" fmla="*/ 45859 h 110268"/>
                  <a:gd name="connsiteX34" fmla="*/ 306619 w 537844"/>
                  <a:gd name="connsiteY34" fmla="*/ 56099 h 110268"/>
                  <a:gd name="connsiteX35" fmla="*/ 211190 w 537844"/>
                  <a:gd name="connsiteY35" fmla="*/ 53873 h 110268"/>
                  <a:gd name="connsiteX36" fmla="*/ 231226 w 537844"/>
                  <a:gd name="connsiteY36" fmla="*/ 33095 h 110268"/>
                  <a:gd name="connsiteX37" fmla="*/ 251261 w 537844"/>
                  <a:gd name="connsiteY37" fmla="*/ 53873 h 110268"/>
                  <a:gd name="connsiteX38" fmla="*/ 231226 w 537844"/>
                  <a:gd name="connsiteY38" fmla="*/ 74650 h 110268"/>
                  <a:gd name="connsiteX39" fmla="*/ 211190 w 537844"/>
                  <a:gd name="connsiteY39" fmla="*/ 53873 h 110268"/>
                  <a:gd name="connsiteX40" fmla="*/ 260611 w 537844"/>
                  <a:gd name="connsiteY40" fmla="*/ 80884 h 110268"/>
                  <a:gd name="connsiteX41" fmla="*/ 260611 w 537844"/>
                  <a:gd name="connsiteY41" fmla="*/ 24784 h 110268"/>
                  <a:gd name="connsiteX42" fmla="*/ 250371 w 537844"/>
                  <a:gd name="connsiteY42" fmla="*/ 24784 h 110268"/>
                  <a:gd name="connsiteX43" fmla="*/ 250371 w 537844"/>
                  <a:gd name="connsiteY43" fmla="*/ 33838 h 110268"/>
                  <a:gd name="connsiteX44" fmla="*/ 229741 w 537844"/>
                  <a:gd name="connsiteY44" fmla="*/ 23597 h 110268"/>
                  <a:gd name="connsiteX45" fmla="*/ 200653 w 537844"/>
                  <a:gd name="connsiteY45" fmla="*/ 53873 h 110268"/>
                  <a:gd name="connsiteX46" fmla="*/ 229741 w 537844"/>
                  <a:gd name="connsiteY46" fmla="*/ 84149 h 110268"/>
                  <a:gd name="connsiteX47" fmla="*/ 250371 w 537844"/>
                  <a:gd name="connsiteY47" fmla="*/ 73760 h 110268"/>
                  <a:gd name="connsiteX48" fmla="*/ 250371 w 537844"/>
                  <a:gd name="connsiteY48" fmla="*/ 80587 h 110268"/>
                  <a:gd name="connsiteX49" fmla="*/ 230483 w 537844"/>
                  <a:gd name="connsiteY49" fmla="*/ 101067 h 110268"/>
                  <a:gd name="connsiteX50" fmla="*/ 209706 w 537844"/>
                  <a:gd name="connsiteY50" fmla="*/ 91124 h 110268"/>
                  <a:gd name="connsiteX51" fmla="*/ 202582 w 537844"/>
                  <a:gd name="connsiteY51" fmla="*/ 98248 h 110268"/>
                  <a:gd name="connsiteX52" fmla="*/ 230483 w 537844"/>
                  <a:gd name="connsiteY52" fmla="*/ 110269 h 110268"/>
                  <a:gd name="connsiteX53" fmla="*/ 260463 w 537844"/>
                  <a:gd name="connsiteY53" fmla="*/ 80884 h 110268"/>
                  <a:gd name="connsiteX54" fmla="*/ 133867 w 537844"/>
                  <a:gd name="connsiteY54" fmla="*/ 84297 h 110268"/>
                  <a:gd name="connsiteX55" fmla="*/ 144108 w 537844"/>
                  <a:gd name="connsiteY55" fmla="*/ 84297 h 110268"/>
                  <a:gd name="connsiteX56" fmla="*/ 144108 w 537844"/>
                  <a:gd name="connsiteY56" fmla="*/ 54912 h 110268"/>
                  <a:gd name="connsiteX57" fmla="*/ 161324 w 537844"/>
                  <a:gd name="connsiteY57" fmla="*/ 33244 h 110268"/>
                  <a:gd name="connsiteX58" fmla="*/ 175423 w 537844"/>
                  <a:gd name="connsiteY58" fmla="*/ 49421 h 110268"/>
                  <a:gd name="connsiteX59" fmla="*/ 175423 w 537844"/>
                  <a:gd name="connsiteY59" fmla="*/ 84446 h 110268"/>
                  <a:gd name="connsiteX60" fmla="*/ 185515 w 537844"/>
                  <a:gd name="connsiteY60" fmla="*/ 84446 h 110268"/>
                  <a:gd name="connsiteX61" fmla="*/ 185515 w 537844"/>
                  <a:gd name="connsiteY61" fmla="*/ 47936 h 110268"/>
                  <a:gd name="connsiteX62" fmla="*/ 163105 w 537844"/>
                  <a:gd name="connsiteY62" fmla="*/ 23894 h 110268"/>
                  <a:gd name="connsiteX63" fmla="*/ 144256 w 537844"/>
                  <a:gd name="connsiteY63" fmla="*/ 34134 h 110268"/>
                  <a:gd name="connsiteX64" fmla="*/ 144256 w 537844"/>
                  <a:gd name="connsiteY64" fmla="*/ 25081 h 110268"/>
                  <a:gd name="connsiteX65" fmla="*/ 134016 w 537844"/>
                  <a:gd name="connsiteY65" fmla="*/ 25081 h 110268"/>
                  <a:gd name="connsiteX66" fmla="*/ 134016 w 537844"/>
                  <a:gd name="connsiteY66" fmla="*/ 84446 h 110268"/>
                  <a:gd name="connsiteX67" fmla="*/ 63372 w 537844"/>
                  <a:gd name="connsiteY67" fmla="*/ 61294 h 110268"/>
                  <a:gd name="connsiteX68" fmla="*/ 85188 w 537844"/>
                  <a:gd name="connsiteY68" fmla="*/ 85336 h 110268"/>
                  <a:gd name="connsiteX69" fmla="*/ 103443 w 537844"/>
                  <a:gd name="connsiteY69" fmla="*/ 75096 h 110268"/>
                  <a:gd name="connsiteX70" fmla="*/ 103443 w 537844"/>
                  <a:gd name="connsiteY70" fmla="*/ 84149 h 110268"/>
                  <a:gd name="connsiteX71" fmla="*/ 113683 w 537844"/>
                  <a:gd name="connsiteY71" fmla="*/ 84149 h 110268"/>
                  <a:gd name="connsiteX72" fmla="*/ 113683 w 537844"/>
                  <a:gd name="connsiteY72" fmla="*/ 24784 h 110268"/>
                  <a:gd name="connsiteX73" fmla="*/ 103443 w 537844"/>
                  <a:gd name="connsiteY73" fmla="*/ 24784 h 110268"/>
                  <a:gd name="connsiteX74" fmla="*/ 103443 w 537844"/>
                  <a:gd name="connsiteY74" fmla="*/ 54170 h 110268"/>
                  <a:gd name="connsiteX75" fmla="*/ 86969 w 537844"/>
                  <a:gd name="connsiteY75" fmla="*/ 75838 h 110268"/>
                  <a:gd name="connsiteX76" fmla="*/ 73612 w 537844"/>
                  <a:gd name="connsiteY76" fmla="*/ 59512 h 110268"/>
                  <a:gd name="connsiteX77" fmla="*/ 73612 w 537844"/>
                  <a:gd name="connsiteY77" fmla="*/ 24636 h 110268"/>
                  <a:gd name="connsiteX78" fmla="*/ 63372 w 537844"/>
                  <a:gd name="connsiteY78" fmla="*/ 24636 h 110268"/>
                  <a:gd name="connsiteX79" fmla="*/ 63372 w 537844"/>
                  <a:gd name="connsiteY79" fmla="*/ 61145 h 110268"/>
                  <a:gd name="connsiteX80" fmla="*/ 0 w 537844"/>
                  <a:gd name="connsiteY80" fmla="*/ 84297 h 110268"/>
                  <a:gd name="connsiteX81" fmla="*/ 51796 w 537844"/>
                  <a:gd name="connsiteY81" fmla="*/ 84297 h 110268"/>
                  <a:gd name="connsiteX82" fmla="*/ 51796 w 537844"/>
                  <a:gd name="connsiteY82" fmla="*/ 73908 h 110268"/>
                  <a:gd name="connsiteX83" fmla="*/ 11131 w 537844"/>
                  <a:gd name="connsiteY83" fmla="*/ 73908 h 110268"/>
                  <a:gd name="connsiteX84" fmla="*/ 11131 w 537844"/>
                  <a:gd name="connsiteY84" fmla="*/ 0 h 110268"/>
                  <a:gd name="connsiteX85" fmla="*/ 149 w 537844"/>
                  <a:gd name="connsiteY85" fmla="*/ 0 h 110268"/>
                  <a:gd name="connsiteX86" fmla="*/ 149 w 537844"/>
                  <a:gd name="connsiteY86" fmla="*/ 84297 h 11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537844" h="110268">
                    <a:moveTo>
                      <a:pt x="488868" y="84297"/>
                    </a:moveTo>
                    <a:lnTo>
                      <a:pt x="499851" y="84297"/>
                    </a:lnTo>
                    <a:lnTo>
                      <a:pt x="499851" y="46452"/>
                    </a:lnTo>
                    <a:lnTo>
                      <a:pt x="529830" y="46452"/>
                    </a:lnTo>
                    <a:lnTo>
                      <a:pt x="529830" y="36064"/>
                    </a:lnTo>
                    <a:lnTo>
                      <a:pt x="499851" y="36064"/>
                    </a:lnTo>
                    <a:lnTo>
                      <a:pt x="499851" y="10537"/>
                    </a:lnTo>
                    <a:lnTo>
                      <a:pt x="537844" y="10537"/>
                    </a:lnTo>
                    <a:lnTo>
                      <a:pt x="537844" y="148"/>
                    </a:lnTo>
                    <a:lnTo>
                      <a:pt x="488868" y="148"/>
                    </a:lnTo>
                    <a:lnTo>
                      <a:pt x="488868" y="84446"/>
                    </a:lnTo>
                    <a:close/>
                    <a:moveTo>
                      <a:pt x="444642" y="43336"/>
                    </a:moveTo>
                    <a:lnTo>
                      <a:pt x="429949" y="43336"/>
                    </a:lnTo>
                    <a:lnTo>
                      <a:pt x="429949" y="10389"/>
                    </a:lnTo>
                    <a:lnTo>
                      <a:pt x="444642" y="10389"/>
                    </a:lnTo>
                    <a:cubicBezTo>
                      <a:pt x="456218" y="10389"/>
                      <a:pt x="462748" y="17512"/>
                      <a:pt x="462748" y="26862"/>
                    </a:cubicBezTo>
                    <a:cubicBezTo>
                      <a:pt x="462748" y="36212"/>
                      <a:pt x="456366" y="43336"/>
                      <a:pt x="444642" y="43336"/>
                    </a:cubicBezTo>
                    <a:moveTo>
                      <a:pt x="444642" y="0"/>
                    </a:moveTo>
                    <a:lnTo>
                      <a:pt x="418818" y="0"/>
                    </a:lnTo>
                    <a:lnTo>
                      <a:pt x="418818" y="84297"/>
                    </a:lnTo>
                    <a:lnTo>
                      <a:pt x="429801" y="84297"/>
                    </a:lnTo>
                    <a:lnTo>
                      <a:pt x="429801" y="53576"/>
                    </a:lnTo>
                    <a:lnTo>
                      <a:pt x="444493" y="53576"/>
                    </a:lnTo>
                    <a:cubicBezTo>
                      <a:pt x="462006" y="53576"/>
                      <a:pt x="473434" y="42000"/>
                      <a:pt x="473434" y="26862"/>
                    </a:cubicBezTo>
                    <a:cubicBezTo>
                      <a:pt x="473434" y="11724"/>
                      <a:pt x="462006" y="0"/>
                      <a:pt x="444493" y="0"/>
                    </a:cubicBezTo>
                    <a:moveTo>
                      <a:pt x="384535" y="84297"/>
                    </a:moveTo>
                    <a:lnTo>
                      <a:pt x="395518" y="84297"/>
                    </a:lnTo>
                    <a:lnTo>
                      <a:pt x="395518" y="0"/>
                    </a:lnTo>
                    <a:lnTo>
                      <a:pt x="384535" y="0"/>
                    </a:lnTo>
                    <a:lnTo>
                      <a:pt x="384535" y="84297"/>
                    </a:lnTo>
                    <a:close/>
                    <a:moveTo>
                      <a:pt x="306619" y="56099"/>
                    </a:moveTo>
                    <a:lnTo>
                      <a:pt x="336895" y="56099"/>
                    </a:lnTo>
                    <a:lnTo>
                      <a:pt x="336895" y="45859"/>
                    </a:lnTo>
                    <a:lnTo>
                      <a:pt x="306619" y="45859"/>
                    </a:lnTo>
                    <a:lnTo>
                      <a:pt x="306619" y="56099"/>
                    </a:lnTo>
                    <a:close/>
                    <a:moveTo>
                      <a:pt x="211190" y="53873"/>
                    </a:moveTo>
                    <a:cubicBezTo>
                      <a:pt x="211190" y="42000"/>
                      <a:pt x="219353" y="33095"/>
                      <a:pt x="231226" y="33095"/>
                    </a:cubicBezTo>
                    <a:cubicBezTo>
                      <a:pt x="243099" y="33095"/>
                      <a:pt x="251261" y="42000"/>
                      <a:pt x="251261" y="53873"/>
                    </a:cubicBezTo>
                    <a:cubicBezTo>
                      <a:pt x="251261" y="65746"/>
                      <a:pt x="243099" y="74650"/>
                      <a:pt x="231226" y="74650"/>
                    </a:cubicBezTo>
                    <a:cubicBezTo>
                      <a:pt x="219353" y="74650"/>
                      <a:pt x="211190" y="65894"/>
                      <a:pt x="211190" y="53873"/>
                    </a:cubicBezTo>
                    <a:moveTo>
                      <a:pt x="260611" y="80884"/>
                    </a:moveTo>
                    <a:lnTo>
                      <a:pt x="260611" y="24784"/>
                    </a:lnTo>
                    <a:lnTo>
                      <a:pt x="250371" y="24784"/>
                    </a:lnTo>
                    <a:lnTo>
                      <a:pt x="250371" y="33838"/>
                    </a:lnTo>
                    <a:cubicBezTo>
                      <a:pt x="246364" y="27901"/>
                      <a:pt x="238498" y="23597"/>
                      <a:pt x="229741" y="23597"/>
                    </a:cubicBezTo>
                    <a:cubicBezTo>
                      <a:pt x="213268" y="23597"/>
                      <a:pt x="200653" y="36954"/>
                      <a:pt x="200653" y="53873"/>
                    </a:cubicBezTo>
                    <a:cubicBezTo>
                      <a:pt x="200653" y="70792"/>
                      <a:pt x="213268" y="84149"/>
                      <a:pt x="229741" y="84149"/>
                    </a:cubicBezTo>
                    <a:cubicBezTo>
                      <a:pt x="238498" y="84149"/>
                      <a:pt x="246364" y="79696"/>
                      <a:pt x="250371" y="73760"/>
                    </a:cubicBezTo>
                    <a:lnTo>
                      <a:pt x="250371" y="80587"/>
                    </a:lnTo>
                    <a:cubicBezTo>
                      <a:pt x="250371" y="94834"/>
                      <a:pt x="240576" y="101067"/>
                      <a:pt x="230483" y="101067"/>
                    </a:cubicBezTo>
                    <a:cubicBezTo>
                      <a:pt x="221282" y="101067"/>
                      <a:pt x="214455" y="97209"/>
                      <a:pt x="209706" y="91124"/>
                    </a:cubicBezTo>
                    <a:lnTo>
                      <a:pt x="202582" y="98248"/>
                    </a:lnTo>
                    <a:cubicBezTo>
                      <a:pt x="207628" y="104926"/>
                      <a:pt x="217572" y="110269"/>
                      <a:pt x="230483" y="110269"/>
                    </a:cubicBezTo>
                    <a:cubicBezTo>
                      <a:pt x="247551" y="110269"/>
                      <a:pt x="260463" y="100622"/>
                      <a:pt x="260463" y="80884"/>
                    </a:cubicBezTo>
                    <a:moveTo>
                      <a:pt x="133867" y="84297"/>
                    </a:moveTo>
                    <a:lnTo>
                      <a:pt x="144108" y="84297"/>
                    </a:lnTo>
                    <a:lnTo>
                      <a:pt x="144108" y="54912"/>
                    </a:lnTo>
                    <a:cubicBezTo>
                      <a:pt x="144108" y="40961"/>
                      <a:pt x="151677" y="33244"/>
                      <a:pt x="161324" y="33244"/>
                    </a:cubicBezTo>
                    <a:cubicBezTo>
                      <a:pt x="169635" y="33244"/>
                      <a:pt x="175423" y="39477"/>
                      <a:pt x="175423" y="49421"/>
                    </a:cubicBezTo>
                    <a:lnTo>
                      <a:pt x="175423" y="84446"/>
                    </a:lnTo>
                    <a:lnTo>
                      <a:pt x="185515" y="84446"/>
                    </a:lnTo>
                    <a:lnTo>
                      <a:pt x="185515" y="47936"/>
                    </a:lnTo>
                    <a:cubicBezTo>
                      <a:pt x="185515" y="33244"/>
                      <a:pt x="176313" y="23894"/>
                      <a:pt x="163105" y="23894"/>
                    </a:cubicBezTo>
                    <a:cubicBezTo>
                      <a:pt x="155387" y="23894"/>
                      <a:pt x="148263" y="27159"/>
                      <a:pt x="144256" y="34134"/>
                    </a:cubicBezTo>
                    <a:lnTo>
                      <a:pt x="144256" y="25081"/>
                    </a:lnTo>
                    <a:lnTo>
                      <a:pt x="134016" y="25081"/>
                    </a:lnTo>
                    <a:lnTo>
                      <a:pt x="134016" y="84446"/>
                    </a:lnTo>
                    <a:close/>
                    <a:moveTo>
                      <a:pt x="63372" y="61294"/>
                    </a:moveTo>
                    <a:cubicBezTo>
                      <a:pt x="63372" y="75986"/>
                      <a:pt x="72128" y="85336"/>
                      <a:pt x="85188" y="85336"/>
                    </a:cubicBezTo>
                    <a:cubicBezTo>
                      <a:pt x="92757" y="85336"/>
                      <a:pt x="99584" y="81923"/>
                      <a:pt x="103443" y="75096"/>
                    </a:cubicBezTo>
                    <a:lnTo>
                      <a:pt x="103443" y="84149"/>
                    </a:lnTo>
                    <a:lnTo>
                      <a:pt x="113683" y="84149"/>
                    </a:lnTo>
                    <a:lnTo>
                      <a:pt x="113683" y="24784"/>
                    </a:lnTo>
                    <a:lnTo>
                      <a:pt x="103443" y="24784"/>
                    </a:lnTo>
                    <a:lnTo>
                      <a:pt x="103443" y="54170"/>
                    </a:lnTo>
                    <a:cubicBezTo>
                      <a:pt x="103443" y="67823"/>
                      <a:pt x="96171" y="75838"/>
                      <a:pt x="86969" y="75838"/>
                    </a:cubicBezTo>
                    <a:cubicBezTo>
                      <a:pt x="78807" y="75838"/>
                      <a:pt x="73612" y="69604"/>
                      <a:pt x="73612" y="59512"/>
                    </a:cubicBezTo>
                    <a:lnTo>
                      <a:pt x="73612" y="24636"/>
                    </a:lnTo>
                    <a:lnTo>
                      <a:pt x="63372" y="24636"/>
                    </a:lnTo>
                    <a:lnTo>
                      <a:pt x="63372" y="61145"/>
                    </a:lnTo>
                    <a:close/>
                    <a:moveTo>
                      <a:pt x="0" y="84297"/>
                    </a:moveTo>
                    <a:lnTo>
                      <a:pt x="51796" y="84297"/>
                    </a:lnTo>
                    <a:lnTo>
                      <a:pt x="51796" y="73908"/>
                    </a:lnTo>
                    <a:lnTo>
                      <a:pt x="11131" y="73908"/>
                    </a:lnTo>
                    <a:lnTo>
                      <a:pt x="11131" y="0"/>
                    </a:lnTo>
                    <a:lnTo>
                      <a:pt x="149" y="0"/>
                    </a:lnTo>
                    <a:lnTo>
                      <a:pt x="149" y="84297"/>
                    </a:lnTo>
                    <a:close/>
                  </a:path>
                </a:pathLst>
              </a:custGeom>
              <a:solidFill>
                <a:srgbClr val="FFFFFF"/>
              </a:solidFill>
              <a:ln w="14828" cap="flat">
                <a:noFill/>
                <a:prstDash val="solid"/>
                <a:miter/>
              </a:ln>
            </p:spPr>
            <p:txBody>
              <a:bodyPr rtlCol="0" anchor="ctr"/>
              <a:lstStyle/>
              <a:p>
                <a:endParaRPr lang="en-DK"/>
              </a:p>
            </p:txBody>
          </p:sp>
          <p:sp>
            <p:nvSpPr>
              <p:cNvPr id="179" name="Freeform 178">
                <a:extLst>
                  <a:ext uri="{FF2B5EF4-FFF2-40B4-BE49-F238E27FC236}">
                    <a16:creationId xmlns:a16="http://schemas.microsoft.com/office/drawing/2014/main" id="{AB12EF32-1D7B-2C04-7727-7FDE7EE1386E}"/>
                  </a:ext>
                </a:extLst>
              </p:cNvPr>
              <p:cNvSpPr/>
              <p:nvPr/>
            </p:nvSpPr>
            <p:spPr>
              <a:xfrm>
                <a:off x="3027758" y="1977129"/>
                <a:ext cx="493617" cy="90975"/>
              </a:xfrm>
              <a:custGeom>
                <a:avLst/>
                <a:gdLst>
                  <a:gd name="connsiteX0" fmla="*/ 493618 w 493617"/>
                  <a:gd name="connsiteY0" fmla="*/ 73166 h 90975"/>
                  <a:gd name="connsiteX1" fmla="*/ 477441 w 493617"/>
                  <a:gd name="connsiteY1" fmla="*/ 55654 h 90975"/>
                  <a:gd name="connsiteX2" fmla="*/ 470911 w 493617"/>
                  <a:gd name="connsiteY2" fmla="*/ 53576 h 90975"/>
                  <a:gd name="connsiteX3" fmla="*/ 462451 w 493617"/>
                  <a:gd name="connsiteY3" fmla="*/ 44968 h 90975"/>
                  <a:gd name="connsiteX4" fmla="*/ 472246 w 493617"/>
                  <a:gd name="connsiteY4" fmla="*/ 37845 h 90975"/>
                  <a:gd name="connsiteX5" fmla="*/ 484564 w 493617"/>
                  <a:gd name="connsiteY5" fmla="*/ 44672 h 90975"/>
                  <a:gd name="connsiteX6" fmla="*/ 492134 w 493617"/>
                  <a:gd name="connsiteY6" fmla="*/ 39477 h 90975"/>
                  <a:gd name="connsiteX7" fmla="*/ 472543 w 493617"/>
                  <a:gd name="connsiteY7" fmla="*/ 29088 h 90975"/>
                  <a:gd name="connsiteX8" fmla="*/ 452062 w 493617"/>
                  <a:gd name="connsiteY8" fmla="*/ 45414 h 90975"/>
                  <a:gd name="connsiteX9" fmla="*/ 466903 w 493617"/>
                  <a:gd name="connsiteY9" fmla="*/ 62778 h 90975"/>
                  <a:gd name="connsiteX10" fmla="*/ 472840 w 493617"/>
                  <a:gd name="connsiteY10" fmla="*/ 64707 h 90975"/>
                  <a:gd name="connsiteX11" fmla="*/ 483229 w 493617"/>
                  <a:gd name="connsiteY11" fmla="*/ 73908 h 90975"/>
                  <a:gd name="connsiteX12" fmla="*/ 472840 w 493617"/>
                  <a:gd name="connsiteY12" fmla="*/ 81922 h 90975"/>
                  <a:gd name="connsiteX13" fmla="*/ 457702 w 493617"/>
                  <a:gd name="connsiteY13" fmla="*/ 72573 h 90975"/>
                  <a:gd name="connsiteX14" fmla="*/ 449391 w 493617"/>
                  <a:gd name="connsiteY14" fmla="*/ 77173 h 90975"/>
                  <a:gd name="connsiteX15" fmla="*/ 472691 w 493617"/>
                  <a:gd name="connsiteY15" fmla="*/ 90976 h 90975"/>
                  <a:gd name="connsiteX16" fmla="*/ 493321 w 493617"/>
                  <a:gd name="connsiteY16" fmla="*/ 73166 h 90975"/>
                  <a:gd name="connsiteX17" fmla="*/ 410359 w 493617"/>
                  <a:gd name="connsiteY17" fmla="*/ 38141 h 90975"/>
                  <a:gd name="connsiteX18" fmla="*/ 428465 w 493617"/>
                  <a:gd name="connsiteY18" fmla="*/ 53725 h 90975"/>
                  <a:gd name="connsiteX19" fmla="*/ 390768 w 493617"/>
                  <a:gd name="connsiteY19" fmla="*/ 53725 h 90975"/>
                  <a:gd name="connsiteX20" fmla="*/ 410210 w 493617"/>
                  <a:gd name="connsiteY20" fmla="*/ 38141 h 90975"/>
                  <a:gd name="connsiteX21" fmla="*/ 379786 w 493617"/>
                  <a:gd name="connsiteY21" fmla="*/ 60106 h 90975"/>
                  <a:gd name="connsiteX22" fmla="*/ 410507 w 493617"/>
                  <a:gd name="connsiteY22" fmla="*/ 90976 h 90975"/>
                  <a:gd name="connsiteX23" fmla="*/ 437221 w 493617"/>
                  <a:gd name="connsiteY23" fmla="*/ 76877 h 90975"/>
                  <a:gd name="connsiteX24" fmla="*/ 429207 w 493617"/>
                  <a:gd name="connsiteY24" fmla="*/ 71237 h 90975"/>
                  <a:gd name="connsiteX25" fmla="*/ 410655 w 493617"/>
                  <a:gd name="connsiteY25" fmla="*/ 81626 h 90975"/>
                  <a:gd name="connsiteX26" fmla="*/ 390174 w 493617"/>
                  <a:gd name="connsiteY26" fmla="*/ 62184 h 90975"/>
                  <a:gd name="connsiteX27" fmla="*/ 438854 w 493617"/>
                  <a:gd name="connsiteY27" fmla="*/ 62184 h 90975"/>
                  <a:gd name="connsiteX28" fmla="*/ 438854 w 493617"/>
                  <a:gd name="connsiteY28" fmla="*/ 59067 h 90975"/>
                  <a:gd name="connsiteX29" fmla="*/ 410655 w 493617"/>
                  <a:gd name="connsiteY29" fmla="*/ 29237 h 90975"/>
                  <a:gd name="connsiteX30" fmla="*/ 379786 w 493617"/>
                  <a:gd name="connsiteY30" fmla="*/ 60106 h 90975"/>
                  <a:gd name="connsiteX31" fmla="*/ 371178 w 493617"/>
                  <a:gd name="connsiteY31" fmla="*/ 88898 h 90975"/>
                  <a:gd name="connsiteX32" fmla="*/ 371178 w 493617"/>
                  <a:gd name="connsiteY32" fmla="*/ 79845 h 90975"/>
                  <a:gd name="connsiteX33" fmla="*/ 363906 w 493617"/>
                  <a:gd name="connsiteY33" fmla="*/ 81032 h 90975"/>
                  <a:gd name="connsiteX34" fmla="*/ 354111 w 493617"/>
                  <a:gd name="connsiteY34" fmla="*/ 70940 h 90975"/>
                  <a:gd name="connsiteX35" fmla="*/ 354111 w 493617"/>
                  <a:gd name="connsiteY35" fmla="*/ 39774 h 90975"/>
                  <a:gd name="connsiteX36" fmla="*/ 371178 w 493617"/>
                  <a:gd name="connsiteY36" fmla="*/ 39774 h 90975"/>
                  <a:gd name="connsiteX37" fmla="*/ 371178 w 493617"/>
                  <a:gd name="connsiteY37" fmla="*/ 30424 h 90975"/>
                  <a:gd name="connsiteX38" fmla="*/ 354111 w 493617"/>
                  <a:gd name="connsiteY38" fmla="*/ 30424 h 90975"/>
                  <a:gd name="connsiteX39" fmla="*/ 354111 w 493617"/>
                  <a:gd name="connsiteY39" fmla="*/ 13951 h 90975"/>
                  <a:gd name="connsiteX40" fmla="*/ 343870 w 493617"/>
                  <a:gd name="connsiteY40" fmla="*/ 13951 h 90975"/>
                  <a:gd name="connsiteX41" fmla="*/ 343870 w 493617"/>
                  <a:gd name="connsiteY41" fmla="*/ 30424 h 90975"/>
                  <a:gd name="connsiteX42" fmla="*/ 331255 w 493617"/>
                  <a:gd name="connsiteY42" fmla="*/ 30424 h 90975"/>
                  <a:gd name="connsiteX43" fmla="*/ 331255 w 493617"/>
                  <a:gd name="connsiteY43" fmla="*/ 39774 h 90975"/>
                  <a:gd name="connsiteX44" fmla="*/ 343870 w 493617"/>
                  <a:gd name="connsiteY44" fmla="*/ 39774 h 90975"/>
                  <a:gd name="connsiteX45" fmla="*/ 343870 w 493617"/>
                  <a:gd name="connsiteY45" fmla="*/ 72127 h 90975"/>
                  <a:gd name="connsiteX46" fmla="*/ 361976 w 493617"/>
                  <a:gd name="connsiteY46" fmla="*/ 90233 h 90975"/>
                  <a:gd name="connsiteX47" fmla="*/ 371178 w 493617"/>
                  <a:gd name="connsiteY47" fmla="*/ 88749 h 90975"/>
                  <a:gd name="connsiteX48" fmla="*/ 294746 w 493617"/>
                  <a:gd name="connsiteY48" fmla="*/ 38141 h 90975"/>
                  <a:gd name="connsiteX49" fmla="*/ 312852 w 493617"/>
                  <a:gd name="connsiteY49" fmla="*/ 53725 h 90975"/>
                  <a:gd name="connsiteX50" fmla="*/ 275155 w 493617"/>
                  <a:gd name="connsiteY50" fmla="*/ 53725 h 90975"/>
                  <a:gd name="connsiteX51" fmla="*/ 294597 w 493617"/>
                  <a:gd name="connsiteY51" fmla="*/ 38141 h 90975"/>
                  <a:gd name="connsiteX52" fmla="*/ 264173 w 493617"/>
                  <a:gd name="connsiteY52" fmla="*/ 60106 h 90975"/>
                  <a:gd name="connsiteX53" fmla="*/ 294894 w 493617"/>
                  <a:gd name="connsiteY53" fmla="*/ 90976 h 90975"/>
                  <a:gd name="connsiteX54" fmla="*/ 321608 w 493617"/>
                  <a:gd name="connsiteY54" fmla="*/ 76877 h 90975"/>
                  <a:gd name="connsiteX55" fmla="*/ 313594 w 493617"/>
                  <a:gd name="connsiteY55" fmla="*/ 71237 h 90975"/>
                  <a:gd name="connsiteX56" fmla="*/ 295042 w 493617"/>
                  <a:gd name="connsiteY56" fmla="*/ 81626 h 90975"/>
                  <a:gd name="connsiteX57" fmla="*/ 274562 w 493617"/>
                  <a:gd name="connsiteY57" fmla="*/ 62184 h 90975"/>
                  <a:gd name="connsiteX58" fmla="*/ 323241 w 493617"/>
                  <a:gd name="connsiteY58" fmla="*/ 62184 h 90975"/>
                  <a:gd name="connsiteX59" fmla="*/ 323241 w 493617"/>
                  <a:gd name="connsiteY59" fmla="*/ 59067 h 90975"/>
                  <a:gd name="connsiteX60" fmla="*/ 295042 w 493617"/>
                  <a:gd name="connsiteY60" fmla="*/ 29237 h 90975"/>
                  <a:gd name="connsiteX61" fmla="*/ 264173 w 493617"/>
                  <a:gd name="connsiteY61" fmla="*/ 60106 h 90975"/>
                  <a:gd name="connsiteX62" fmla="*/ 241763 w 493617"/>
                  <a:gd name="connsiteY62" fmla="*/ 60106 h 90975"/>
                  <a:gd name="connsiteX63" fmla="*/ 221579 w 493617"/>
                  <a:gd name="connsiteY63" fmla="*/ 81626 h 90975"/>
                  <a:gd name="connsiteX64" fmla="*/ 201395 w 493617"/>
                  <a:gd name="connsiteY64" fmla="*/ 60106 h 90975"/>
                  <a:gd name="connsiteX65" fmla="*/ 221579 w 493617"/>
                  <a:gd name="connsiteY65" fmla="*/ 38587 h 90975"/>
                  <a:gd name="connsiteX66" fmla="*/ 241763 w 493617"/>
                  <a:gd name="connsiteY66" fmla="*/ 60106 h 90975"/>
                  <a:gd name="connsiteX67" fmla="*/ 202137 w 493617"/>
                  <a:gd name="connsiteY67" fmla="*/ 80587 h 90975"/>
                  <a:gd name="connsiteX68" fmla="*/ 223063 w 493617"/>
                  <a:gd name="connsiteY68" fmla="*/ 90827 h 90975"/>
                  <a:gd name="connsiteX69" fmla="*/ 252151 w 493617"/>
                  <a:gd name="connsiteY69" fmla="*/ 59958 h 90975"/>
                  <a:gd name="connsiteX70" fmla="*/ 223063 w 493617"/>
                  <a:gd name="connsiteY70" fmla="*/ 29088 h 90975"/>
                  <a:gd name="connsiteX71" fmla="*/ 202137 w 493617"/>
                  <a:gd name="connsiteY71" fmla="*/ 39477 h 90975"/>
                  <a:gd name="connsiteX72" fmla="*/ 202137 w 493617"/>
                  <a:gd name="connsiteY72" fmla="*/ 742 h 90975"/>
                  <a:gd name="connsiteX73" fmla="*/ 191896 w 493617"/>
                  <a:gd name="connsiteY73" fmla="*/ 742 h 90975"/>
                  <a:gd name="connsiteX74" fmla="*/ 191896 w 493617"/>
                  <a:gd name="connsiteY74" fmla="*/ 89788 h 90975"/>
                  <a:gd name="connsiteX75" fmla="*/ 202137 w 493617"/>
                  <a:gd name="connsiteY75" fmla="*/ 89788 h 90975"/>
                  <a:gd name="connsiteX76" fmla="*/ 202137 w 493617"/>
                  <a:gd name="connsiteY76" fmla="*/ 80735 h 90975"/>
                  <a:gd name="connsiteX77" fmla="*/ 162511 w 493617"/>
                  <a:gd name="connsiteY77" fmla="*/ 60106 h 90975"/>
                  <a:gd name="connsiteX78" fmla="*/ 142327 w 493617"/>
                  <a:gd name="connsiteY78" fmla="*/ 81626 h 90975"/>
                  <a:gd name="connsiteX79" fmla="*/ 121995 w 493617"/>
                  <a:gd name="connsiteY79" fmla="*/ 60106 h 90975"/>
                  <a:gd name="connsiteX80" fmla="*/ 142327 w 493617"/>
                  <a:gd name="connsiteY80" fmla="*/ 38587 h 90975"/>
                  <a:gd name="connsiteX81" fmla="*/ 162511 w 493617"/>
                  <a:gd name="connsiteY81" fmla="*/ 60106 h 90975"/>
                  <a:gd name="connsiteX82" fmla="*/ 111754 w 493617"/>
                  <a:gd name="connsiteY82" fmla="*/ 60106 h 90975"/>
                  <a:gd name="connsiteX83" fmla="*/ 140843 w 493617"/>
                  <a:gd name="connsiteY83" fmla="*/ 90976 h 90975"/>
                  <a:gd name="connsiteX84" fmla="*/ 161769 w 493617"/>
                  <a:gd name="connsiteY84" fmla="*/ 80735 h 90975"/>
                  <a:gd name="connsiteX85" fmla="*/ 161769 w 493617"/>
                  <a:gd name="connsiteY85" fmla="*/ 89788 h 90975"/>
                  <a:gd name="connsiteX86" fmla="*/ 172009 w 493617"/>
                  <a:gd name="connsiteY86" fmla="*/ 89788 h 90975"/>
                  <a:gd name="connsiteX87" fmla="*/ 172009 w 493617"/>
                  <a:gd name="connsiteY87" fmla="*/ 30424 h 90975"/>
                  <a:gd name="connsiteX88" fmla="*/ 161769 w 493617"/>
                  <a:gd name="connsiteY88" fmla="*/ 30424 h 90975"/>
                  <a:gd name="connsiteX89" fmla="*/ 161769 w 493617"/>
                  <a:gd name="connsiteY89" fmla="*/ 39477 h 90975"/>
                  <a:gd name="connsiteX90" fmla="*/ 140843 w 493617"/>
                  <a:gd name="connsiteY90" fmla="*/ 29088 h 90975"/>
                  <a:gd name="connsiteX91" fmla="*/ 111754 w 493617"/>
                  <a:gd name="connsiteY91" fmla="*/ 59958 h 90975"/>
                  <a:gd name="connsiteX92" fmla="*/ 85633 w 493617"/>
                  <a:gd name="connsiteY92" fmla="*/ 89788 h 90975"/>
                  <a:gd name="connsiteX93" fmla="*/ 95874 w 493617"/>
                  <a:gd name="connsiteY93" fmla="*/ 89788 h 90975"/>
                  <a:gd name="connsiteX94" fmla="*/ 95874 w 493617"/>
                  <a:gd name="connsiteY94" fmla="*/ 30424 h 90975"/>
                  <a:gd name="connsiteX95" fmla="*/ 85633 w 493617"/>
                  <a:gd name="connsiteY95" fmla="*/ 30424 h 90975"/>
                  <a:gd name="connsiteX96" fmla="*/ 85633 w 493617"/>
                  <a:gd name="connsiteY96" fmla="*/ 89788 h 90975"/>
                  <a:gd name="connsiteX97" fmla="*/ 97952 w 493617"/>
                  <a:gd name="connsiteY97" fmla="*/ 7272 h 90975"/>
                  <a:gd name="connsiteX98" fmla="*/ 90828 w 493617"/>
                  <a:gd name="connsiteY98" fmla="*/ 0 h 90975"/>
                  <a:gd name="connsiteX99" fmla="*/ 83556 w 493617"/>
                  <a:gd name="connsiteY99" fmla="*/ 7272 h 90975"/>
                  <a:gd name="connsiteX100" fmla="*/ 90828 w 493617"/>
                  <a:gd name="connsiteY100" fmla="*/ 14544 h 90975"/>
                  <a:gd name="connsiteX101" fmla="*/ 97952 w 493617"/>
                  <a:gd name="connsiteY101" fmla="*/ 7272 h 90975"/>
                  <a:gd name="connsiteX102" fmla="*/ 10982 w 493617"/>
                  <a:gd name="connsiteY102" fmla="*/ 79400 h 90975"/>
                  <a:gd name="connsiteX103" fmla="*/ 10982 w 493617"/>
                  <a:gd name="connsiteY103" fmla="*/ 15731 h 90975"/>
                  <a:gd name="connsiteX104" fmla="*/ 24191 w 493617"/>
                  <a:gd name="connsiteY104" fmla="*/ 15731 h 90975"/>
                  <a:gd name="connsiteX105" fmla="*/ 57881 w 493617"/>
                  <a:gd name="connsiteY105" fmla="*/ 47491 h 90975"/>
                  <a:gd name="connsiteX106" fmla="*/ 24191 w 493617"/>
                  <a:gd name="connsiteY106" fmla="*/ 79251 h 90975"/>
                  <a:gd name="connsiteX107" fmla="*/ 10982 w 493617"/>
                  <a:gd name="connsiteY107" fmla="*/ 79251 h 90975"/>
                  <a:gd name="connsiteX108" fmla="*/ 0 w 493617"/>
                  <a:gd name="connsiteY108" fmla="*/ 89788 h 90975"/>
                  <a:gd name="connsiteX109" fmla="*/ 24191 w 493617"/>
                  <a:gd name="connsiteY109" fmla="*/ 89788 h 90975"/>
                  <a:gd name="connsiteX110" fmla="*/ 69011 w 493617"/>
                  <a:gd name="connsiteY110" fmla="*/ 47640 h 90975"/>
                  <a:gd name="connsiteX111" fmla="*/ 24191 w 493617"/>
                  <a:gd name="connsiteY111" fmla="*/ 5491 h 90975"/>
                  <a:gd name="connsiteX112" fmla="*/ 0 w 493617"/>
                  <a:gd name="connsiteY112" fmla="*/ 5491 h 90975"/>
                  <a:gd name="connsiteX113" fmla="*/ 0 w 493617"/>
                  <a:gd name="connsiteY113" fmla="*/ 89788 h 9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93617" h="90975">
                    <a:moveTo>
                      <a:pt x="493618" y="73166"/>
                    </a:moveTo>
                    <a:cubicBezTo>
                      <a:pt x="493618" y="64113"/>
                      <a:pt x="487681" y="58770"/>
                      <a:pt x="477441" y="55654"/>
                    </a:cubicBezTo>
                    <a:lnTo>
                      <a:pt x="470911" y="53576"/>
                    </a:lnTo>
                    <a:cubicBezTo>
                      <a:pt x="464380" y="51498"/>
                      <a:pt x="462451" y="48530"/>
                      <a:pt x="462451" y="44968"/>
                    </a:cubicBezTo>
                    <a:cubicBezTo>
                      <a:pt x="462451" y="40516"/>
                      <a:pt x="467349" y="37845"/>
                      <a:pt x="472246" y="37845"/>
                    </a:cubicBezTo>
                    <a:cubicBezTo>
                      <a:pt x="477886" y="37845"/>
                      <a:pt x="482041" y="40813"/>
                      <a:pt x="484564" y="44672"/>
                    </a:cubicBezTo>
                    <a:lnTo>
                      <a:pt x="492134" y="39477"/>
                    </a:lnTo>
                    <a:cubicBezTo>
                      <a:pt x="488275" y="32799"/>
                      <a:pt x="481299" y="29088"/>
                      <a:pt x="472543" y="29088"/>
                    </a:cubicBezTo>
                    <a:cubicBezTo>
                      <a:pt x="461115" y="29088"/>
                      <a:pt x="452211" y="35173"/>
                      <a:pt x="452062" y="45414"/>
                    </a:cubicBezTo>
                    <a:cubicBezTo>
                      <a:pt x="452062" y="53725"/>
                      <a:pt x="457108" y="59958"/>
                      <a:pt x="466903" y="62778"/>
                    </a:cubicBezTo>
                    <a:lnTo>
                      <a:pt x="472840" y="64707"/>
                    </a:lnTo>
                    <a:cubicBezTo>
                      <a:pt x="480557" y="67081"/>
                      <a:pt x="483229" y="69753"/>
                      <a:pt x="483229" y="73908"/>
                    </a:cubicBezTo>
                    <a:cubicBezTo>
                      <a:pt x="483229" y="78954"/>
                      <a:pt x="478628" y="81922"/>
                      <a:pt x="472840" y="81922"/>
                    </a:cubicBezTo>
                    <a:cubicBezTo>
                      <a:pt x="466310" y="81922"/>
                      <a:pt x="459928" y="78657"/>
                      <a:pt x="457702" y="72573"/>
                    </a:cubicBezTo>
                    <a:lnTo>
                      <a:pt x="449391" y="77173"/>
                    </a:lnTo>
                    <a:cubicBezTo>
                      <a:pt x="452953" y="86375"/>
                      <a:pt x="462154" y="90976"/>
                      <a:pt x="472691" y="90976"/>
                    </a:cubicBezTo>
                    <a:cubicBezTo>
                      <a:pt x="484564" y="90976"/>
                      <a:pt x="493321" y="84594"/>
                      <a:pt x="493321" y="73166"/>
                    </a:cubicBezTo>
                    <a:moveTo>
                      <a:pt x="410359" y="38141"/>
                    </a:moveTo>
                    <a:cubicBezTo>
                      <a:pt x="419412" y="38141"/>
                      <a:pt x="427129" y="43929"/>
                      <a:pt x="428465" y="53725"/>
                    </a:cubicBezTo>
                    <a:lnTo>
                      <a:pt x="390768" y="53725"/>
                    </a:lnTo>
                    <a:cubicBezTo>
                      <a:pt x="392697" y="43781"/>
                      <a:pt x="401305" y="38141"/>
                      <a:pt x="410210" y="38141"/>
                    </a:cubicBezTo>
                    <a:moveTo>
                      <a:pt x="379786" y="60106"/>
                    </a:moveTo>
                    <a:cubicBezTo>
                      <a:pt x="379786" y="77619"/>
                      <a:pt x="392104" y="90976"/>
                      <a:pt x="410507" y="90976"/>
                    </a:cubicBezTo>
                    <a:cubicBezTo>
                      <a:pt x="422825" y="90976"/>
                      <a:pt x="431878" y="85484"/>
                      <a:pt x="437221" y="76877"/>
                    </a:cubicBezTo>
                    <a:lnTo>
                      <a:pt x="429207" y="71237"/>
                    </a:lnTo>
                    <a:cubicBezTo>
                      <a:pt x="425497" y="77470"/>
                      <a:pt x="419857" y="81626"/>
                      <a:pt x="410655" y="81626"/>
                    </a:cubicBezTo>
                    <a:cubicBezTo>
                      <a:pt x="398931" y="81626"/>
                      <a:pt x="390471" y="73315"/>
                      <a:pt x="390174" y="62184"/>
                    </a:cubicBezTo>
                    <a:lnTo>
                      <a:pt x="438854" y="62184"/>
                    </a:lnTo>
                    <a:cubicBezTo>
                      <a:pt x="438854" y="60848"/>
                      <a:pt x="438854" y="60106"/>
                      <a:pt x="438854" y="59067"/>
                    </a:cubicBezTo>
                    <a:cubicBezTo>
                      <a:pt x="438854" y="40071"/>
                      <a:pt x="426090" y="29237"/>
                      <a:pt x="410655" y="29237"/>
                    </a:cubicBezTo>
                    <a:cubicBezTo>
                      <a:pt x="392549" y="29237"/>
                      <a:pt x="379786" y="42742"/>
                      <a:pt x="379786" y="60106"/>
                    </a:cubicBezTo>
                    <a:moveTo>
                      <a:pt x="371178" y="88898"/>
                    </a:moveTo>
                    <a:lnTo>
                      <a:pt x="371178" y="79845"/>
                    </a:lnTo>
                    <a:cubicBezTo>
                      <a:pt x="369248" y="80587"/>
                      <a:pt x="366429" y="81032"/>
                      <a:pt x="363906" y="81032"/>
                    </a:cubicBezTo>
                    <a:cubicBezTo>
                      <a:pt x="357524" y="81032"/>
                      <a:pt x="354111" y="78509"/>
                      <a:pt x="354111" y="70940"/>
                    </a:cubicBezTo>
                    <a:lnTo>
                      <a:pt x="354111" y="39774"/>
                    </a:lnTo>
                    <a:lnTo>
                      <a:pt x="371178" y="39774"/>
                    </a:lnTo>
                    <a:lnTo>
                      <a:pt x="371178" y="30424"/>
                    </a:lnTo>
                    <a:lnTo>
                      <a:pt x="354111" y="30424"/>
                    </a:lnTo>
                    <a:lnTo>
                      <a:pt x="354111" y="13951"/>
                    </a:lnTo>
                    <a:lnTo>
                      <a:pt x="343870" y="13951"/>
                    </a:lnTo>
                    <a:lnTo>
                      <a:pt x="343870" y="30424"/>
                    </a:lnTo>
                    <a:lnTo>
                      <a:pt x="331255" y="30424"/>
                    </a:lnTo>
                    <a:lnTo>
                      <a:pt x="331255" y="39774"/>
                    </a:lnTo>
                    <a:lnTo>
                      <a:pt x="343870" y="39774"/>
                    </a:lnTo>
                    <a:lnTo>
                      <a:pt x="343870" y="72127"/>
                    </a:lnTo>
                    <a:cubicBezTo>
                      <a:pt x="343870" y="84445"/>
                      <a:pt x="351736" y="90233"/>
                      <a:pt x="361976" y="90233"/>
                    </a:cubicBezTo>
                    <a:cubicBezTo>
                      <a:pt x="365687" y="90233"/>
                      <a:pt x="368655" y="89640"/>
                      <a:pt x="371178" y="88749"/>
                    </a:cubicBezTo>
                    <a:moveTo>
                      <a:pt x="294746" y="38141"/>
                    </a:moveTo>
                    <a:cubicBezTo>
                      <a:pt x="303799" y="38141"/>
                      <a:pt x="311516" y="43929"/>
                      <a:pt x="312852" y="53725"/>
                    </a:cubicBezTo>
                    <a:lnTo>
                      <a:pt x="275155" y="53725"/>
                    </a:lnTo>
                    <a:cubicBezTo>
                      <a:pt x="277085" y="43781"/>
                      <a:pt x="285693" y="38141"/>
                      <a:pt x="294597" y="38141"/>
                    </a:cubicBezTo>
                    <a:moveTo>
                      <a:pt x="264173" y="60106"/>
                    </a:moveTo>
                    <a:cubicBezTo>
                      <a:pt x="264173" y="77619"/>
                      <a:pt x="276491" y="90976"/>
                      <a:pt x="294894" y="90976"/>
                    </a:cubicBezTo>
                    <a:cubicBezTo>
                      <a:pt x="307212" y="90976"/>
                      <a:pt x="316265" y="85484"/>
                      <a:pt x="321608" y="76877"/>
                    </a:cubicBezTo>
                    <a:lnTo>
                      <a:pt x="313594" y="71237"/>
                    </a:lnTo>
                    <a:cubicBezTo>
                      <a:pt x="309884" y="77470"/>
                      <a:pt x="304244" y="81626"/>
                      <a:pt x="295042" y="81626"/>
                    </a:cubicBezTo>
                    <a:cubicBezTo>
                      <a:pt x="283318" y="81626"/>
                      <a:pt x="274858" y="73315"/>
                      <a:pt x="274562" y="62184"/>
                    </a:cubicBezTo>
                    <a:lnTo>
                      <a:pt x="323241" y="62184"/>
                    </a:lnTo>
                    <a:cubicBezTo>
                      <a:pt x="323241" y="60848"/>
                      <a:pt x="323241" y="60106"/>
                      <a:pt x="323241" y="59067"/>
                    </a:cubicBezTo>
                    <a:cubicBezTo>
                      <a:pt x="323241" y="40071"/>
                      <a:pt x="310477" y="29237"/>
                      <a:pt x="295042" y="29237"/>
                    </a:cubicBezTo>
                    <a:cubicBezTo>
                      <a:pt x="276936" y="29237"/>
                      <a:pt x="264173" y="42742"/>
                      <a:pt x="264173" y="60106"/>
                    </a:cubicBezTo>
                    <a:moveTo>
                      <a:pt x="241763" y="60106"/>
                    </a:moveTo>
                    <a:cubicBezTo>
                      <a:pt x="241763" y="72127"/>
                      <a:pt x="233600" y="81626"/>
                      <a:pt x="221579" y="81626"/>
                    </a:cubicBezTo>
                    <a:cubicBezTo>
                      <a:pt x="209557" y="81626"/>
                      <a:pt x="201395" y="72127"/>
                      <a:pt x="201395" y="60106"/>
                    </a:cubicBezTo>
                    <a:cubicBezTo>
                      <a:pt x="201395" y="48085"/>
                      <a:pt x="209557" y="38587"/>
                      <a:pt x="221579" y="38587"/>
                    </a:cubicBezTo>
                    <a:cubicBezTo>
                      <a:pt x="233600" y="38587"/>
                      <a:pt x="241763" y="48085"/>
                      <a:pt x="241763" y="60106"/>
                    </a:cubicBezTo>
                    <a:moveTo>
                      <a:pt x="202137" y="80587"/>
                    </a:moveTo>
                    <a:cubicBezTo>
                      <a:pt x="205995" y="86226"/>
                      <a:pt x="214158" y="90827"/>
                      <a:pt x="223063" y="90827"/>
                    </a:cubicBezTo>
                    <a:cubicBezTo>
                      <a:pt x="239537" y="90827"/>
                      <a:pt x="252151" y="77025"/>
                      <a:pt x="252151" y="59958"/>
                    </a:cubicBezTo>
                    <a:cubicBezTo>
                      <a:pt x="252151" y="42891"/>
                      <a:pt x="239537" y="29088"/>
                      <a:pt x="223063" y="29088"/>
                    </a:cubicBezTo>
                    <a:cubicBezTo>
                      <a:pt x="214158" y="29088"/>
                      <a:pt x="205995" y="33689"/>
                      <a:pt x="202137" y="39477"/>
                    </a:cubicBezTo>
                    <a:lnTo>
                      <a:pt x="202137" y="742"/>
                    </a:lnTo>
                    <a:lnTo>
                      <a:pt x="191896" y="742"/>
                    </a:lnTo>
                    <a:lnTo>
                      <a:pt x="191896" y="89788"/>
                    </a:lnTo>
                    <a:lnTo>
                      <a:pt x="202137" y="89788"/>
                    </a:lnTo>
                    <a:lnTo>
                      <a:pt x="202137" y="80735"/>
                    </a:lnTo>
                    <a:close/>
                    <a:moveTo>
                      <a:pt x="162511" y="60106"/>
                    </a:moveTo>
                    <a:cubicBezTo>
                      <a:pt x="162511" y="72127"/>
                      <a:pt x="154348" y="81626"/>
                      <a:pt x="142327" y="81626"/>
                    </a:cubicBezTo>
                    <a:cubicBezTo>
                      <a:pt x="130306" y="81626"/>
                      <a:pt x="121995" y="72127"/>
                      <a:pt x="121995" y="60106"/>
                    </a:cubicBezTo>
                    <a:cubicBezTo>
                      <a:pt x="121995" y="48085"/>
                      <a:pt x="130306" y="38587"/>
                      <a:pt x="142327" y="38587"/>
                    </a:cubicBezTo>
                    <a:cubicBezTo>
                      <a:pt x="154348" y="38587"/>
                      <a:pt x="162511" y="48085"/>
                      <a:pt x="162511" y="60106"/>
                    </a:cubicBezTo>
                    <a:moveTo>
                      <a:pt x="111754" y="60106"/>
                    </a:moveTo>
                    <a:cubicBezTo>
                      <a:pt x="111754" y="77025"/>
                      <a:pt x="124221" y="90976"/>
                      <a:pt x="140843" y="90976"/>
                    </a:cubicBezTo>
                    <a:cubicBezTo>
                      <a:pt x="149747" y="90976"/>
                      <a:pt x="157762" y="86375"/>
                      <a:pt x="161769" y="80735"/>
                    </a:cubicBezTo>
                    <a:lnTo>
                      <a:pt x="161769" y="89788"/>
                    </a:lnTo>
                    <a:lnTo>
                      <a:pt x="172009" y="89788"/>
                    </a:lnTo>
                    <a:lnTo>
                      <a:pt x="172009" y="30424"/>
                    </a:lnTo>
                    <a:lnTo>
                      <a:pt x="161769" y="30424"/>
                    </a:lnTo>
                    <a:lnTo>
                      <a:pt x="161769" y="39477"/>
                    </a:lnTo>
                    <a:cubicBezTo>
                      <a:pt x="157910" y="33838"/>
                      <a:pt x="149747" y="29088"/>
                      <a:pt x="140843" y="29088"/>
                    </a:cubicBezTo>
                    <a:cubicBezTo>
                      <a:pt x="124221" y="29088"/>
                      <a:pt x="111754" y="42891"/>
                      <a:pt x="111754" y="59958"/>
                    </a:cubicBezTo>
                    <a:moveTo>
                      <a:pt x="85633" y="89788"/>
                    </a:moveTo>
                    <a:lnTo>
                      <a:pt x="95874" y="89788"/>
                    </a:lnTo>
                    <a:lnTo>
                      <a:pt x="95874" y="30424"/>
                    </a:lnTo>
                    <a:lnTo>
                      <a:pt x="85633" y="30424"/>
                    </a:lnTo>
                    <a:lnTo>
                      <a:pt x="85633" y="89788"/>
                    </a:lnTo>
                    <a:close/>
                    <a:moveTo>
                      <a:pt x="97952" y="7272"/>
                    </a:moveTo>
                    <a:cubicBezTo>
                      <a:pt x="97952" y="3413"/>
                      <a:pt x="94835" y="0"/>
                      <a:pt x="90828" y="0"/>
                    </a:cubicBezTo>
                    <a:cubicBezTo>
                      <a:pt x="86821" y="0"/>
                      <a:pt x="83556" y="3265"/>
                      <a:pt x="83556" y="7272"/>
                    </a:cubicBezTo>
                    <a:cubicBezTo>
                      <a:pt x="83556" y="11279"/>
                      <a:pt x="86821" y="14544"/>
                      <a:pt x="90828" y="14544"/>
                    </a:cubicBezTo>
                    <a:cubicBezTo>
                      <a:pt x="94835" y="14544"/>
                      <a:pt x="97952" y="11279"/>
                      <a:pt x="97952" y="7272"/>
                    </a:cubicBezTo>
                    <a:moveTo>
                      <a:pt x="10982" y="79400"/>
                    </a:moveTo>
                    <a:lnTo>
                      <a:pt x="10982" y="15731"/>
                    </a:lnTo>
                    <a:lnTo>
                      <a:pt x="24191" y="15731"/>
                    </a:lnTo>
                    <a:cubicBezTo>
                      <a:pt x="44524" y="15731"/>
                      <a:pt x="57881" y="29237"/>
                      <a:pt x="57881" y="47491"/>
                    </a:cubicBezTo>
                    <a:cubicBezTo>
                      <a:pt x="57881" y="65746"/>
                      <a:pt x="44524" y="79251"/>
                      <a:pt x="24191" y="79251"/>
                    </a:cubicBezTo>
                    <a:lnTo>
                      <a:pt x="10982" y="79251"/>
                    </a:lnTo>
                    <a:close/>
                    <a:moveTo>
                      <a:pt x="0" y="89788"/>
                    </a:moveTo>
                    <a:lnTo>
                      <a:pt x="24191" y="89788"/>
                    </a:lnTo>
                    <a:cubicBezTo>
                      <a:pt x="50163" y="89788"/>
                      <a:pt x="69011" y="71831"/>
                      <a:pt x="69011" y="47640"/>
                    </a:cubicBezTo>
                    <a:cubicBezTo>
                      <a:pt x="69011" y="23449"/>
                      <a:pt x="50015" y="5491"/>
                      <a:pt x="24191" y="5491"/>
                    </a:cubicBezTo>
                    <a:lnTo>
                      <a:pt x="0" y="5491"/>
                    </a:lnTo>
                    <a:lnTo>
                      <a:pt x="0" y="89788"/>
                    </a:lnTo>
                    <a:close/>
                  </a:path>
                </a:pathLst>
              </a:custGeom>
              <a:solidFill>
                <a:srgbClr val="FFFFFF"/>
              </a:solidFill>
              <a:ln w="14828" cap="flat">
                <a:noFill/>
                <a:prstDash val="solid"/>
                <a:miter/>
              </a:ln>
            </p:spPr>
            <p:txBody>
              <a:bodyPr rtlCol="0" anchor="ctr"/>
              <a:lstStyle/>
              <a:p>
                <a:endParaRPr lang="en-DK"/>
              </a:p>
            </p:txBody>
          </p:sp>
          <p:sp>
            <p:nvSpPr>
              <p:cNvPr id="180" name="Freeform 179">
                <a:extLst>
                  <a:ext uri="{FF2B5EF4-FFF2-40B4-BE49-F238E27FC236}">
                    <a16:creationId xmlns:a16="http://schemas.microsoft.com/office/drawing/2014/main" id="{01176B27-3726-5C49-CD59-65E7201E4565}"/>
                  </a:ext>
                </a:extLst>
              </p:cNvPr>
              <p:cNvSpPr/>
              <p:nvPr/>
            </p:nvSpPr>
            <p:spPr>
              <a:xfrm>
                <a:off x="1361391" y="4529637"/>
                <a:ext cx="639803" cy="114572"/>
              </a:xfrm>
              <a:custGeom>
                <a:avLst/>
                <a:gdLst>
                  <a:gd name="connsiteX0" fmla="*/ 630305 w 639803"/>
                  <a:gd name="connsiteY0" fmla="*/ 60106 h 114572"/>
                  <a:gd name="connsiteX1" fmla="*/ 610121 w 639803"/>
                  <a:gd name="connsiteY1" fmla="*/ 81626 h 114572"/>
                  <a:gd name="connsiteX2" fmla="*/ 589788 w 639803"/>
                  <a:gd name="connsiteY2" fmla="*/ 60106 h 114572"/>
                  <a:gd name="connsiteX3" fmla="*/ 610121 w 639803"/>
                  <a:gd name="connsiteY3" fmla="*/ 38587 h 114572"/>
                  <a:gd name="connsiteX4" fmla="*/ 630305 w 639803"/>
                  <a:gd name="connsiteY4" fmla="*/ 60106 h 114572"/>
                  <a:gd name="connsiteX5" fmla="*/ 579548 w 639803"/>
                  <a:gd name="connsiteY5" fmla="*/ 60106 h 114572"/>
                  <a:gd name="connsiteX6" fmla="*/ 608637 w 639803"/>
                  <a:gd name="connsiteY6" fmla="*/ 90975 h 114572"/>
                  <a:gd name="connsiteX7" fmla="*/ 629563 w 639803"/>
                  <a:gd name="connsiteY7" fmla="*/ 80735 h 114572"/>
                  <a:gd name="connsiteX8" fmla="*/ 629563 w 639803"/>
                  <a:gd name="connsiteY8" fmla="*/ 89937 h 114572"/>
                  <a:gd name="connsiteX9" fmla="*/ 639803 w 639803"/>
                  <a:gd name="connsiteY9" fmla="*/ 89937 h 114572"/>
                  <a:gd name="connsiteX10" fmla="*/ 639803 w 639803"/>
                  <a:gd name="connsiteY10" fmla="*/ 30572 h 114572"/>
                  <a:gd name="connsiteX11" fmla="*/ 629563 w 639803"/>
                  <a:gd name="connsiteY11" fmla="*/ 30572 h 114572"/>
                  <a:gd name="connsiteX12" fmla="*/ 629563 w 639803"/>
                  <a:gd name="connsiteY12" fmla="*/ 39626 h 114572"/>
                  <a:gd name="connsiteX13" fmla="*/ 608637 w 639803"/>
                  <a:gd name="connsiteY13" fmla="*/ 29385 h 114572"/>
                  <a:gd name="connsiteX14" fmla="*/ 579548 w 639803"/>
                  <a:gd name="connsiteY14" fmla="*/ 60255 h 114572"/>
                  <a:gd name="connsiteX15" fmla="*/ 553428 w 639803"/>
                  <a:gd name="connsiteY15" fmla="*/ 89788 h 114572"/>
                  <a:gd name="connsiteX16" fmla="*/ 563668 w 639803"/>
                  <a:gd name="connsiteY16" fmla="*/ 89788 h 114572"/>
                  <a:gd name="connsiteX17" fmla="*/ 563668 w 639803"/>
                  <a:gd name="connsiteY17" fmla="*/ 30424 h 114572"/>
                  <a:gd name="connsiteX18" fmla="*/ 553428 w 639803"/>
                  <a:gd name="connsiteY18" fmla="*/ 30424 h 114572"/>
                  <a:gd name="connsiteX19" fmla="*/ 553428 w 639803"/>
                  <a:gd name="connsiteY19" fmla="*/ 89788 h 114572"/>
                  <a:gd name="connsiteX20" fmla="*/ 565746 w 639803"/>
                  <a:gd name="connsiteY20" fmla="*/ 7272 h 114572"/>
                  <a:gd name="connsiteX21" fmla="*/ 558622 w 639803"/>
                  <a:gd name="connsiteY21" fmla="*/ 0 h 114572"/>
                  <a:gd name="connsiteX22" fmla="*/ 551350 w 639803"/>
                  <a:gd name="connsiteY22" fmla="*/ 7272 h 114572"/>
                  <a:gd name="connsiteX23" fmla="*/ 558622 w 639803"/>
                  <a:gd name="connsiteY23" fmla="*/ 14544 h 114572"/>
                  <a:gd name="connsiteX24" fmla="*/ 565746 w 639803"/>
                  <a:gd name="connsiteY24" fmla="*/ 7272 h 114572"/>
                  <a:gd name="connsiteX25" fmla="*/ 482487 w 639803"/>
                  <a:gd name="connsiteY25" fmla="*/ 89788 h 114572"/>
                  <a:gd name="connsiteX26" fmla="*/ 492727 w 639803"/>
                  <a:gd name="connsiteY26" fmla="*/ 89788 h 114572"/>
                  <a:gd name="connsiteX27" fmla="*/ 492727 w 639803"/>
                  <a:gd name="connsiteY27" fmla="*/ 60403 h 114572"/>
                  <a:gd name="connsiteX28" fmla="*/ 509943 w 639803"/>
                  <a:gd name="connsiteY28" fmla="*/ 38735 h 114572"/>
                  <a:gd name="connsiteX29" fmla="*/ 523894 w 639803"/>
                  <a:gd name="connsiteY29" fmla="*/ 54912 h 114572"/>
                  <a:gd name="connsiteX30" fmla="*/ 523894 w 639803"/>
                  <a:gd name="connsiteY30" fmla="*/ 89937 h 114572"/>
                  <a:gd name="connsiteX31" fmla="*/ 533986 w 639803"/>
                  <a:gd name="connsiteY31" fmla="*/ 89937 h 114572"/>
                  <a:gd name="connsiteX32" fmla="*/ 533986 w 639803"/>
                  <a:gd name="connsiteY32" fmla="*/ 53428 h 114572"/>
                  <a:gd name="connsiteX33" fmla="*/ 511575 w 639803"/>
                  <a:gd name="connsiteY33" fmla="*/ 29534 h 114572"/>
                  <a:gd name="connsiteX34" fmla="*/ 492727 w 639803"/>
                  <a:gd name="connsiteY34" fmla="*/ 39774 h 114572"/>
                  <a:gd name="connsiteX35" fmla="*/ 492727 w 639803"/>
                  <a:gd name="connsiteY35" fmla="*/ 30721 h 114572"/>
                  <a:gd name="connsiteX36" fmla="*/ 482487 w 639803"/>
                  <a:gd name="connsiteY36" fmla="*/ 30721 h 114572"/>
                  <a:gd name="connsiteX37" fmla="*/ 482487 w 639803"/>
                  <a:gd name="connsiteY37" fmla="*/ 90085 h 114572"/>
                  <a:gd name="connsiteX38" fmla="*/ 437815 w 639803"/>
                  <a:gd name="connsiteY38" fmla="*/ 38141 h 114572"/>
                  <a:gd name="connsiteX39" fmla="*/ 455921 w 639803"/>
                  <a:gd name="connsiteY39" fmla="*/ 53724 h 114572"/>
                  <a:gd name="connsiteX40" fmla="*/ 418224 w 639803"/>
                  <a:gd name="connsiteY40" fmla="*/ 53724 h 114572"/>
                  <a:gd name="connsiteX41" fmla="*/ 437666 w 639803"/>
                  <a:gd name="connsiteY41" fmla="*/ 38141 h 114572"/>
                  <a:gd name="connsiteX42" fmla="*/ 407242 w 639803"/>
                  <a:gd name="connsiteY42" fmla="*/ 60106 h 114572"/>
                  <a:gd name="connsiteX43" fmla="*/ 437963 w 639803"/>
                  <a:gd name="connsiteY43" fmla="*/ 90975 h 114572"/>
                  <a:gd name="connsiteX44" fmla="*/ 464677 w 639803"/>
                  <a:gd name="connsiteY44" fmla="*/ 76876 h 114572"/>
                  <a:gd name="connsiteX45" fmla="*/ 456663 w 639803"/>
                  <a:gd name="connsiteY45" fmla="*/ 71237 h 114572"/>
                  <a:gd name="connsiteX46" fmla="*/ 438112 w 639803"/>
                  <a:gd name="connsiteY46" fmla="*/ 81626 h 114572"/>
                  <a:gd name="connsiteX47" fmla="*/ 417631 w 639803"/>
                  <a:gd name="connsiteY47" fmla="*/ 62184 h 114572"/>
                  <a:gd name="connsiteX48" fmla="*/ 466310 w 639803"/>
                  <a:gd name="connsiteY48" fmla="*/ 62184 h 114572"/>
                  <a:gd name="connsiteX49" fmla="*/ 466310 w 639803"/>
                  <a:gd name="connsiteY49" fmla="*/ 59067 h 114572"/>
                  <a:gd name="connsiteX50" fmla="*/ 438112 w 639803"/>
                  <a:gd name="connsiteY50" fmla="*/ 29237 h 114572"/>
                  <a:gd name="connsiteX51" fmla="*/ 407242 w 639803"/>
                  <a:gd name="connsiteY51" fmla="*/ 60106 h 114572"/>
                  <a:gd name="connsiteX52" fmla="*/ 384832 w 639803"/>
                  <a:gd name="connsiteY52" fmla="*/ 60106 h 114572"/>
                  <a:gd name="connsiteX53" fmla="*/ 364648 w 639803"/>
                  <a:gd name="connsiteY53" fmla="*/ 81626 h 114572"/>
                  <a:gd name="connsiteX54" fmla="*/ 344464 w 639803"/>
                  <a:gd name="connsiteY54" fmla="*/ 60106 h 114572"/>
                  <a:gd name="connsiteX55" fmla="*/ 364648 w 639803"/>
                  <a:gd name="connsiteY55" fmla="*/ 38587 h 114572"/>
                  <a:gd name="connsiteX56" fmla="*/ 384832 w 639803"/>
                  <a:gd name="connsiteY56" fmla="*/ 60106 h 114572"/>
                  <a:gd name="connsiteX57" fmla="*/ 334965 w 639803"/>
                  <a:gd name="connsiteY57" fmla="*/ 114573 h 114572"/>
                  <a:gd name="connsiteX58" fmla="*/ 345206 w 639803"/>
                  <a:gd name="connsiteY58" fmla="*/ 114573 h 114572"/>
                  <a:gd name="connsiteX59" fmla="*/ 345206 w 639803"/>
                  <a:gd name="connsiteY59" fmla="*/ 80587 h 114572"/>
                  <a:gd name="connsiteX60" fmla="*/ 366132 w 639803"/>
                  <a:gd name="connsiteY60" fmla="*/ 90827 h 114572"/>
                  <a:gd name="connsiteX61" fmla="*/ 395221 w 639803"/>
                  <a:gd name="connsiteY61" fmla="*/ 59958 h 114572"/>
                  <a:gd name="connsiteX62" fmla="*/ 366132 w 639803"/>
                  <a:gd name="connsiteY62" fmla="*/ 29088 h 114572"/>
                  <a:gd name="connsiteX63" fmla="*/ 345206 w 639803"/>
                  <a:gd name="connsiteY63" fmla="*/ 39329 h 114572"/>
                  <a:gd name="connsiteX64" fmla="*/ 345206 w 639803"/>
                  <a:gd name="connsiteY64" fmla="*/ 30276 h 114572"/>
                  <a:gd name="connsiteX65" fmla="*/ 334965 w 639803"/>
                  <a:gd name="connsiteY65" fmla="*/ 30276 h 114572"/>
                  <a:gd name="connsiteX66" fmla="*/ 334965 w 639803"/>
                  <a:gd name="connsiteY66" fmla="*/ 114424 h 114572"/>
                  <a:gd name="connsiteX67" fmla="*/ 267290 w 639803"/>
                  <a:gd name="connsiteY67" fmla="*/ 60106 h 114572"/>
                  <a:gd name="connsiteX68" fmla="*/ 287919 w 639803"/>
                  <a:gd name="connsiteY68" fmla="*/ 38735 h 114572"/>
                  <a:gd name="connsiteX69" fmla="*/ 308400 w 639803"/>
                  <a:gd name="connsiteY69" fmla="*/ 60106 h 114572"/>
                  <a:gd name="connsiteX70" fmla="*/ 287919 w 639803"/>
                  <a:gd name="connsiteY70" fmla="*/ 81477 h 114572"/>
                  <a:gd name="connsiteX71" fmla="*/ 267290 w 639803"/>
                  <a:gd name="connsiteY71" fmla="*/ 60106 h 114572"/>
                  <a:gd name="connsiteX72" fmla="*/ 318937 w 639803"/>
                  <a:gd name="connsiteY72" fmla="*/ 60106 h 114572"/>
                  <a:gd name="connsiteX73" fmla="*/ 287919 w 639803"/>
                  <a:gd name="connsiteY73" fmla="*/ 29237 h 114572"/>
                  <a:gd name="connsiteX74" fmla="*/ 256752 w 639803"/>
                  <a:gd name="connsiteY74" fmla="*/ 60106 h 114572"/>
                  <a:gd name="connsiteX75" fmla="*/ 287919 w 639803"/>
                  <a:gd name="connsiteY75" fmla="*/ 90975 h 114572"/>
                  <a:gd name="connsiteX76" fmla="*/ 318937 w 639803"/>
                  <a:gd name="connsiteY76" fmla="*/ 60106 h 114572"/>
                  <a:gd name="connsiteX77" fmla="*/ 246957 w 639803"/>
                  <a:gd name="connsiteY77" fmla="*/ 75096 h 114572"/>
                  <a:gd name="connsiteX78" fmla="*/ 238052 w 639803"/>
                  <a:gd name="connsiteY78" fmla="*/ 70050 h 114572"/>
                  <a:gd name="connsiteX79" fmla="*/ 219501 w 639803"/>
                  <a:gd name="connsiteY79" fmla="*/ 81477 h 114572"/>
                  <a:gd name="connsiteX80" fmla="*/ 198723 w 639803"/>
                  <a:gd name="connsiteY80" fmla="*/ 60106 h 114572"/>
                  <a:gd name="connsiteX81" fmla="*/ 219501 w 639803"/>
                  <a:gd name="connsiteY81" fmla="*/ 38735 h 114572"/>
                  <a:gd name="connsiteX82" fmla="*/ 238052 w 639803"/>
                  <a:gd name="connsiteY82" fmla="*/ 50163 h 114572"/>
                  <a:gd name="connsiteX83" fmla="*/ 246957 w 639803"/>
                  <a:gd name="connsiteY83" fmla="*/ 45117 h 114572"/>
                  <a:gd name="connsiteX84" fmla="*/ 219501 w 639803"/>
                  <a:gd name="connsiteY84" fmla="*/ 29237 h 114572"/>
                  <a:gd name="connsiteX85" fmla="*/ 188335 w 639803"/>
                  <a:gd name="connsiteY85" fmla="*/ 60106 h 114572"/>
                  <a:gd name="connsiteX86" fmla="*/ 219501 w 639803"/>
                  <a:gd name="connsiteY86" fmla="*/ 90975 h 114572"/>
                  <a:gd name="connsiteX87" fmla="*/ 246957 w 639803"/>
                  <a:gd name="connsiteY87" fmla="*/ 75096 h 114572"/>
                  <a:gd name="connsiteX88" fmla="*/ 149005 w 639803"/>
                  <a:gd name="connsiteY88" fmla="*/ 89788 h 114572"/>
                  <a:gd name="connsiteX89" fmla="*/ 159246 w 639803"/>
                  <a:gd name="connsiteY89" fmla="*/ 89788 h 114572"/>
                  <a:gd name="connsiteX90" fmla="*/ 159246 w 639803"/>
                  <a:gd name="connsiteY90" fmla="*/ 60403 h 114572"/>
                  <a:gd name="connsiteX91" fmla="*/ 174977 w 639803"/>
                  <a:gd name="connsiteY91" fmla="*/ 39922 h 114572"/>
                  <a:gd name="connsiteX92" fmla="*/ 180617 w 639803"/>
                  <a:gd name="connsiteY92" fmla="*/ 40813 h 114572"/>
                  <a:gd name="connsiteX93" fmla="*/ 180617 w 639803"/>
                  <a:gd name="connsiteY93" fmla="*/ 30424 h 114572"/>
                  <a:gd name="connsiteX94" fmla="*/ 176016 w 639803"/>
                  <a:gd name="connsiteY94" fmla="*/ 29830 h 114572"/>
                  <a:gd name="connsiteX95" fmla="*/ 159394 w 639803"/>
                  <a:gd name="connsiteY95" fmla="*/ 42000 h 114572"/>
                  <a:gd name="connsiteX96" fmla="*/ 159394 w 639803"/>
                  <a:gd name="connsiteY96" fmla="*/ 30424 h 114572"/>
                  <a:gd name="connsiteX97" fmla="*/ 149154 w 639803"/>
                  <a:gd name="connsiteY97" fmla="*/ 30424 h 114572"/>
                  <a:gd name="connsiteX98" fmla="*/ 149154 w 639803"/>
                  <a:gd name="connsiteY98" fmla="*/ 89788 h 114572"/>
                  <a:gd name="connsiteX99" fmla="*/ 119471 w 639803"/>
                  <a:gd name="connsiteY99" fmla="*/ 60106 h 114572"/>
                  <a:gd name="connsiteX100" fmla="*/ 99287 w 639803"/>
                  <a:gd name="connsiteY100" fmla="*/ 81626 h 114572"/>
                  <a:gd name="connsiteX101" fmla="*/ 78955 w 639803"/>
                  <a:gd name="connsiteY101" fmla="*/ 60106 h 114572"/>
                  <a:gd name="connsiteX102" fmla="*/ 99287 w 639803"/>
                  <a:gd name="connsiteY102" fmla="*/ 38587 h 114572"/>
                  <a:gd name="connsiteX103" fmla="*/ 119471 w 639803"/>
                  <a:gd name="connsiteY103" fmla="*/ 60106 h 114572"/>
                  <a:gd name="connsiteX104" fmla="*/ 68715 w 639803"/>
                  <a:gd name="connsiteY104" fmla="*/ 60106 h 114572"/>
                  <a:gd name="connsiteX105" fmla="*/ 97803 w 639803"/>
                  <a:gd name="connsiteY105" fmla="*/ 90975 h 114572"/>
                  <a:gd name="connsiteX106" fmla="*/ 118729 w 639803"/>
                  <a:gd name="connsiteY106" fmla="*/ 80735 h 114572"/>
                  <a:gd name="connsiteX107" fmla="*/ 118729 w 639803"/>
                  <a:gd name="connsiteY107" fmla="*/ 89937 h 114572"/>
                  <a:gd name="connsiteX108" fmla="*/ 128970 w 639803"/>
                  <a:gd name="connsiteY108" fmla="*/ 89937 h 114572"/>
                  <a:gd name="connsiteX109" fmla="*/ 128970 w 639803"/>
                  <a:gd name="connsiteY109" fmla="*/ 30572 h 114572"/>
                  <a:gd name="connsiteX110" fmla="*/ 118729 w 639803"/>
                  <a:gd name="connsiteY110" fmla="*/ 30572 h 114572"/>
                  <a:gd name="connsiteX111" fmla="*/ 118729 w 639803"/>
                  <a:gd name="connsiteY111" fmla="*/ 39626 h 114572"/>
                  <a:gd name="connsiteX112" fmla="*/ 97803 w 639803"/>
                  <a:gd name="connsiteY112" fmla="*/ 29385 h 114572"/>
                  <a:gd name="connsiteX113" fmla="*/ 68715 w 639803"/>
                  <a:gd name="connsiteY113" fmla="*/ 60255 h 114572"/>
                  <a:gd name="connsiteX114" fmla="*/ 148 w 639803"/>
                  <a:gd name="connsiteY114" fmla="*/ 75986 h 114572"/>
                  <a:gd name="connsiteX115" fmla="*/ 29682 w 639803"/>
                  <a:gd name="connsiteY115" fmla="*/ 91124 h 114572"/>
                  <a:gd name="connsiteX116" fmla="*/ 56545 w 639803"/>
                  <a:gd name="connsiteY116" fmla="*/ 67675 h 114572"/>
                  <a:gd name="connsiteX117" fmla="*/ 36955 w 639803"/>
                  <a:gd name="connsiteY117" fmla="*/ 43336 h 114572"/>
                  <a:gd name="connsiteX118" fmla="*/ 26714 w 639803"/>
                  <a:gd name="connsiteY118" fmla="*/ 39477 h 114572"/>
                  <a:gd name="connsiteX119" fmla="*/ 13951 w 639803"/>
                  <a:gd name="connsiteY119" fmla="*/ 25972 h 114572"/>
                  <a:gd name="connsiteX120" fmla="*/ 29089 w 639803"/>
                  <a:gd name="connsiteY120" fmla="*/ 14396 h 114572"/>
                  <a:gd name="connsiteX121" fmla="*/ 45859 w 639803"/>
                  <a:gd name="connsiteY121" fmla="*/ 22707 h 114572"/>
                  <a:gd name="connsiteX122" fmla="*/ 53873 w 639803"/>
                  <a:gd name="connsiteY122" fmla="*/ 15583 h 114572"/>
                  <a:gd name="connsiteX123" fmla="*/ 29237 w 639803"/>
                  <a:gd name="connsiteY123" fmla="*/ 4007 h 114572"/>
                  <a:gd name="connsiteX124" fmla="*/ 2968 w 639803"/>
                  <a:gd name="connsiteY124" fmla="*/ 26417 h 114572"/>
                  <a:gd name="connsiteX125" fmla="*/ 22113 w 639803"/>
                  <a:gd name="connsiteY125" fmla="*/ 49717 h 114572"/>
                  <a:gd name="connsiteX126" fmla="*/ 33244 w 639803"/>
                  <a:gd name="connsiteY126" fmla="*/ 54021 h 114572"/>
                  <a:gd name="connsiteX127" fmla="*/ 45414 w 639803"/>
                  <a:gd name="connsiteY127" fmla="*/ 68269 h 114572"/>
                  <a:gd name="connsiteX128" fmla="*/ 29831 w 639803"/>
                  <a:gd name="connsiteY128" fmla="*/ 80884 h 114572"/>
                  <a:gd name="connsiteX129" fmla="*/ 8905 w 639803"/>
                  <a:gd name="connsiteY129" fmla="*/ 69308 h 114572"/>
                  <a:gd name="connsiteX130" fmla="*/ 0 w 639803"/>
                  <a:gd name="connsiteY130" fmla="*/ 75986 h 11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639803" h="114572">
                    <a:moveTo>
                      <a:pt x="630305" y="60106"/>
                    </a:moveTo>
                    <a:cubicBezTo>
                      <a:pt x="630305" y="72127"/>
                      <a:pt x="622142" y="81626"/>
                      <a:pt x="610121" y="81626"/>
                    </a:cubicBezTo>
                    <a:cubicBezTo>
                      <a:pt x="598100" y="81626"/>
                      <a:pt x="589788" y="72127"/>
                      <a:pt x="589788" y="60106"/>
                    </a:cubicBezTo>
                    <a:cubicBezTo>
                      <a:pt x="589788" y="48085"/>
                      <a:pt x="598100" y="38587"/>
                      <a:pt x="610121" y="38587"/>
                    </a:cubicBezTo>
                    <a:cubicBezTo>
                      <a:pt x="622142" y="38587"/>
                      <a:pt x="630305" y="48085"/>
                      <a:pt x="630305" y="60106"/>
                    </a:cubicBezTo>
                    <a:moveTo>
                      <a:pt x="579548" y="60106"/>
                    </a:moveTo>
                    <a:cubicBezTo>
                      <a:pt x="579548" y="77025"/>
                      <a:pt x="592015" y="90975"/>
                      <a:pt x="608637" y="90975"/>
                    </a:cubicBezTo>
                    <a:cubicBezTo>
                      <a:pt x="617541" y="90975"/>
                      <a:pt x="625556" y="86375"/>
                      <a:pt x="629563" y="80735"/>
                    </a:cubicBezTo>
                    <a:lnTo>
                      <a:pt x="629563" y="89937"/>
                    </a:lnTo>
                    <a:lnTo>
                      <a:pt x="639803" y="89937"/>
                    </a:lnTo>
                    <a:lnTo>
                      <a:pt x="639803" y="30572"/>
                    </a:lnTo>
                    <a:lnTo>
                      <a:pt x="629563" y="30572"/>
                    </a:lnTo>
                    <a:lnTo>
                      <a:pt x="629563" y="39626"/>
                    </a:lnTo>
                    <a:cubicBezTo>
                      <a:pt x="625704" y="33986"/>
                      <a:pt x="617541" y="29385"/>
                      <a:pt x="608637" y="29385"/>
                    </a:cubicBezTo>
                    <a:cubicBezTo>
                      <a:pt x="592015" y="29385"/>
                      <a:pt x="579548" y="43187"/>
                      <a:pt x="579548" y="60255"/>
                    </a:cubicBezTo>
                    <a:moveTo>
                      <a:pt x="553428" y="89788"/>
                    </a:moveTo>
                    <a:lnTo>
                      <a:pt x="563668" y="89788"/>
                    </a:lnTo>
                    <a:lnTo>
                      <a:pt x="563668" y="30424"/>
                    </a:lnTo>
                    <a:lnTo>
                      <a:pt x="553428" y="30424"/>
                    </a:lnTo>
                    <a:lnTo>
                      <a:pt x="553428" y="89788"/>
                    </a:lnTo>
                    <a:close/>
                    <a:moveTo>
                      <a:pt x="565746" y="7272"/>
                    </a:moveTo>
                    <a:cubicBezTo>
                      <a:pt x="565746" y="3413"/>
                      <a:pt x="562629" y="0"/>
                      <a:pt x="558622" y="0"/>
                    </a:cubicBezTo>
                    <a:cubicBezTo>
                      <a:pt x="554615" y="0"/>
                      <a:pt x="551350" y="3265"/>
                      <a:pt x="551350" y="7272"/>
                    </a:cubicBezTo>
                    <a:cubicBezTo>
                      <a:pt x="551350" y="11279"/>
                      <a:pt x="554615" y="14544"/>
                      <a:pt x="558622" y="14544"/>
                    </a:cubicBezTo>
                    <a:cubicBezTo>
                      <a:pt x="562629" y="14544"/>
                      <a:pt x="565746" y="11279"/>
                      <a:pt x="565746" y="7272"/>
                    </a:cubicBezTo>
                    <a:moveTo>
                      <a:pt x="482487" y="89788"/>
                    </a:moveTo>
                    <a:lnTo>
                      <a:pt x="492727" y="89788"/>
                    </a:lnTo>
                    <a:lnTo>
                      <a:pt x="492727" y="60403"/>
                    </a:lnTo>
                    <a:cubicBezTo>
                      <a:pt x="492727" y="46452"/>
                      <a:pt x="500296" y="38735"/>
                      <a:pt x="509943" y="38735"/>
                    </a:cubicBezTo>
                    <a:cubicBezTo>
                      <a:pt x="518254" y="38735"/>
                      <a:pt x="523894" y="44968"/>
                      <a:pt x="523894" y="54912"/>
                    </a:cubicBezTo>
                    <a:lnTo>
                      <a:pt x="523894" y="89937"/>
                    </a:lnTo>
                    <a:lnTo>
                      <a:pt x="533986" y="89937"/>
                    </a:lnTo>
                    <a:lnTo>
                      <a:pt x="533986" y="53428"/>
                    </a:lnTo>
                    <a:cubicBezTo>
                      <a:pt x="533986" y="38735"/>
                      <a:pt x="524932" y="29534"/>
                      <a:pt x="511575" y="29534"/>
                    </a:cubicBezTo>
                    <a:cubicBezTo>
                      <a:pt x="503858" y="29534"/>
                      <a:pt x="496734" y="32799"/>
                      <a:pt x="492727" y="39774"/>
                    </a:cubicBezTo>
                    <a:lnTo>
                      <a:pt x="492727" y="30721"/>
                    </a:lnTo>
                    <a:lnTo>
                      <a:pt x="482487" y="30721"/>
                    </a:lnTo>
                    <a:lnTo>
                      <a:pt x="482487" y="90085"/>
                    </a:lnTo>
                    <a:close/>
                    <a:moveTo>
                      <a:pt x="437815" y="38141"/>
                    </a:moveTo>
                    <a:cubicBezTo>
                      <a:pt x="446868" y="38141"/>
                      <a:pt x="454585" y="43929"/>
                      <a:pt x="455921" y="53724"/>
                    </a:cubicBezTo>
                    <a:lnTo>
                      <a:pt x="418224" y="53724"/>
                    </a:lnTo>
                    <a:cubicBezTo>
                      <a:pt x="420154" y="43781"/>
                      <a:pt x="428762" y="38141"/>
                      <a:pt x="437666" y="38141"/>
                    </a:cubicBezTo>
                    <a:moveTo>
                      <a:pt x="407242" y="60106"/>
                    </a:moveTo>
                    <a:cubicBezTo>
                      <a:pt x="407242" y="77619"/>
                      <a:pt x="419560" y="90975"/>
                      <a:pt x="437963" y="90975"/>
                    </a:cubicBezTo>
                    <a:cubicBezTo>
                      <a:pt x="450281" y="90975"/>
                      <a:pt x="459334" y="85484"/>
                      <a:pt x="464677" y="76876"/>
                    </a:cubicBezTo>
                    <a:lnTo>
                      <a:pt x="456663" y="71237"/>
                    </a:lnTo>
                    <a:cubicBezTo>
                      <a:pt x="452953" y="77470"/>
                      <a:pt x="447313" y="81626"/>
                      <a:pt x="438112" y="81626"/>
                    </a:cubicBezTo>
                    <a:cubicBezTo>
                      <a:pt x="426387" y="81626"/>
                      <a:pt x="417928" y="73315"/>
                      <a:pt x="417631" y="62184"/>
                    </a:cubicBezTo>
                    <a:lnTo>
                      <a:pt x="466310" y="62184"/>
                    </a:lnTo>
                    <a:cubicBezTo>
                      <a:pt x="466310" y="60848"/>
                      <a:pt x="466310" y="60106"/>
                      <a:pt x="466310" y="59067"/>
                    </a:cubicBezTo>
                    <a:cubicBezTo>
                      <a:pt x="466310" y="40071"/>
                      <a:pt x="453546" y="29237"/>
                      <a:pt x="438112" y="29237"/>
                    </a:cubicBezTo>
                    <a:cubicBezTo>
                      <a:pt x="420005" y="29237"/>
                      <a:pt x="407242" y="42742"/>
                      <a:pt x="407242" y="60106"/>
                    </a:cubicBezTo>
                    <a:moveTo>
                      <a:pt x="384832" y="60106"/>
                    </a:moveTo>
                    <a:cubicBezTo>
                      <a:pt x="384832" y="72127"/>
                      <a:pt x="376669" y="81626"/>
                      <a:pt x="364648" y="81626"/>
                    </a:cubicBezTo>
                    <a:cubicBezTo>
                      <a:pt x="352626" y="81626"/>
                      <a:pt x="344464" y="72127"/>
                      <a:pt x="344464" y="60106"/>
                    </a:cubicBezTo>
                    <a:cubicBezTo>
                      <a:pt x="344464" y="48085"/>
                      <a:pt x="352626" y="38587"/>
                      <a:pt x="364648" y="38587"/>
                    </a:cubicBezTo>
                    <a:cubicBezTo>
                      <a:pt x="376669" y="38587"/>
                      <a:pt x="384832" y="48085"/>
                      <a:pt x="384832" y="60106"/>
                    </a:cubicBezTo>
                    <a:moveTo>
                      <a:pt x="334965" y="114573"/>
                    </a:moveTo>
                    <a:lnTo>
                      <a:pt x="345206" y="114573"/>
                    </a:lnTo>
                    <a:lnTo>
                      <a:pt x="345206" y="80587"/>
                    </a:lnTo>
                    <a:cubicBezTo>
                      <a:pt x="349065" y="86226"/>
                      <a:pt x="357227" y="90827"/>
                      <a:pt x="366132" y="90827"/>
                    </a:cubicBezTo>
                    <a:cubicBezTo>
                      <a:pt x="382606" y="90827"/>
                      <a:pt x="395221" y="77025"/>
                      <a:pt x="395221" y="59958"/>
                    </a:cubicBezTo>
                    <a:cubicBezTo>
                      <a:pt x="395221" y="42891"/>
                      <a:pt x="382606" y="29088"/>
                      <a:pt x="366132" y="29088"/>
                    </a:cubicBezTo>
                    <a:cubicBezTo>
                      <a:pt x="357227" y="29088"/>
                      <a:pt x="349213" y="33689"/>
                      <a:pt x="345206" y="39329"/>
                    </a:cubicBezTo>
                    <a:lnTo>
                      <a:pt x="345206" y="30276"/>
                    </a:lnTo>
                    <a:lnTo>
                      <a:pt x="334965" y="30276"/>
                    </a:lnTo>
                    <a:lnTo>
                      <a:pt x="334965" y="114424"/>
                    </a:lnTo>
                    <a:close/>
                    <a:moveTo>
                      <a:pt x="267290" y="60106"/>
                    </a:moveTo>
                    <a:cubicBezTo>
                      <a:pt x="267290" y="48233"/>
                      <a:pt x="275601" y="38735"/>
                      <a:pt x="287919" y="38735"/>
                    </a:cubicBezTo>
                    <a:cubicBezTo>
                      <a:pt x="300237" y="38735"/>
                      <a:pt x="308400" y="48233"/>
                      <a:pt x="308400" y="60106"/>
                    </a:cubicBezTo>
                    <a:cubicBezTo>
                      <a:pt x="308400" y="71979"/>
                      <a:pt x="300237" y="81477"/>
                      <a:pt x="287919" y="81477"/>
                    </a:cubicBezTo>
                    <a:cubicBezTo>
                      <a:pt x="275601" y="81477"/>
                      <a:pt x="267290" y="71979"/>
                      <a:pt x="267290" y="60106"/>
                    </a:cubicBezTo>
                    <a:moveTo>
                      <a:pt x="318937" y="60106"/>
                    </a:moveTo>
                    <a:cubicBezTo>
                      <a:pt x="318937" y="43039"/>
                      <a:pt x="305728" y="29237"/>
                      <a:pt x="287919" y="29237"/>
                    </a:cubicBezTo>
                    <a:cubicBezTo>
                      <a:pt x="270109" y="29237"/>
                      <a:pt x="256752" y="43039"/>
                      <a:pt x="256752" y="60106"/>
                    </a:cubicBezTo>
                    <a:cubicBezTo>
                      <a:pt x="256752" y="77173"/>
                      <a:pt x="269961" y="90975"/>
                      <a:pt x="287919" y="90975"/>
                    </a:cubicBezTo>
                    <a:cubicBezTo>
                      <a:pt x="305877" y="90975"/>
                      <a:pt x="318937" y="77173"/>
                      <a:pt x="318937" y="60106"/>
                    </a:cubicBezTo>
                    <a:moveTo>
                      <a:pt x="246957" y="75096"/>
                    </a:moveTo>
                    <a:lnTo>
                      <a:pt x="238052" y="70050"/>
                    </a:lnTo>
                    <a:cubicBezTo>
                      <a:pt x="234787" y="76876"/>
                      <a:pt x="228109" y="81477"/>
                      <a:pt x="219501" y="81477"/>
                    </a:cubicBezTo>
                    <a:cubicBezTo>
                      <a:pt x="207183" y="81477"/>
                      <a:pt x="198723" y="71979"/>
                      <a:pt x="198723" y="60106"/>
                    </a:cubicBezTo>
                    <a:cubicBezTo>
                      <a:pt x="198723" y="48233"/>
                      <a:pt x="207183" y="38735"/>
                      <a:pt x="219501" y="38735"/>
                    </a:cubicBezTo>
                    <a:cubicBezTo>
                      <a:pt x="228109" y="38735"/>
                      <a:pt x="234639" y="43336"/>
                      <a:pt x="238052" y="50163"/>
                    </a:cubicBezTo>
                    <a:lnTo>
                      <a:pt x="246957" y="45117"/>
                    </a:lnTo>
                    <a:cubicBezTo>
                      <a:pt x="241763" y="35618"/>
                      <a:pt x="231819" y="29237"/>
                      <a:pt x="219501" y="29237"/>
                    </a:cubicBezTo>
                    <a:cubicBezTo>
                      <a:pt x="201543" y="29237"/>
                      <a:pt x="188335" y="42891"/>
                      <a:pt x="188335" y="60106"/>
                    </a:cubicBezTo>
                    <a:cubicBezTo>
                      <a:pt x="188335" y="77322"/>
                      <a:pt x="201543" y="90975"/>
                      <a:pt x="219501" y="90975"/>
                    </a:cubicBezTo>
                    <a:cubicBezTo>
                      <a:pt x="231671" y="90975"/>
                      <a:pt x="241763" y="84594"/>
                      <a:pt x="246957" y="75096"/>
                    </a:cubicBezTo>
                    <a:moveTo>
                      <a:pt x="149005" y="89788"/>
                    </a:moveTo>
                    <a:lnTo>
                      <a:pt x="159246" y="89788"/>
                    </a:lnTo>
                    <a:lnTo>
                      <a:pt x="159246" y="60403"/>
                    </a:lnTo>
                    <a:cubicBezTo>
                      <a:pt x="159246" y="46452"/>
                      <a:pt x="167409" y="39922"/>
                      <a:pt x="174977" y="39922"/>
                    </a:cubicBezTo>
                    <a:cubicBezTo>
                      <a:pt x="177055" y="39922"/>
                      <a:pt x="178688" y="40219"/>
                      <a:pt x="180617" y="40813"/>
                    </a:cubicBezTo>
                    <a:lnTo>
                      <a:pt x="180617" y="30424"/>
                    </a:lnTo>
                    <a:cubicBezTo>
                      <a:pt x="178985" y="29979"/>
                      <a:pt x="177500" y="29830"/>
                      <a:pt x="176016" y="29830"/>
                    </a:cubicBezTo>
                    <a:cubicBezTo>
                      <a:pt x="169189" y="29830"/>
                      <a:pt x="161769" y="34283"/>
                      <a:pt x="159394" y="42000"/>
                    </a:cubicBezTo>
                    <a:lnTo>
                      <a:pt x="159394" y="30424"/>
                    </a:lnTo>
                    <a:lnTo>
                      <a:pt x="149154" y="30424"/>
                    </a:lnTo>
                    <a:lnTo>
                      <a:pt x="149154" y="89788"/>
                    </a:lnTo>
                    <a:close/>
                    <a:moveTo>
                      <a:pt x="119471" y="60106"/>
                    </a:moveTo>
                    <a:cubicBezTo>
                      <a:pt x="119471" y="72127"/>
                      <a:pt x="111309" y="81626"/>
                      <a:pt x="99287" y="81626"/>
                    </a:cubicBezTo>
                    <a:cubicBezTo>
                      <a:pt x="87266" y="81626"/>
                      <a:pt x="78955" y="72127"/>
                      <a:pt x="78955" y="60106"/>
                    </a:cubicBezTo>
                    <a:cubicBezTo>
                      <a:pt x="78955" y="48085"/>
                      <a:pt x="87266" y="38587"/>
                      <a:pt x="99287" y="38587"/>
                    </a:cubicBezTo>
                    <a:cubicBezTo>
                      <a:pt x="111309" y="38587"/>
                      <a:pt x="119471" y="48085"/>
                      <a:pt x="119471" y="60106"/>
                    </a:cubicBezTo>
                    <a:moveTo>
                      <a:pt x="68715" y="60106"/>
                    </a:moveTo>
                    <a:cubicBezTo>
                      <a:pt x="68715" y="77025"/>
                      <a:pt x="81181" y="90975"/>
                      <a:pt x="97803" y="90975"/>
                    </a:cubicBezTo>
                    <a:cubicBezTo>
                      <a:pt x="106708" y="90975"/>
                      <a:pt x="114722" y="86375"/>
                      <a:pt x="118729" y="80735"/>
                    </a:cubicBezTo>
                    <a:lnTo>
                      <a:pt x="118729" y="89937"/>
                    </a:lnTo>
                    <a:lnTo>
                      <a:pt x="128970" y="89937"/>
                    </a:lnTo>
                    <a:lnTo>
                      <a:pt x="128970" y="30572"/>
                    </a:lnTo>
                    <a:lnTo>
                      <a:pt x="118729" y="30572"/>
                    </a:lnTo>
                    <a:lnTo>
                      <a:pt x="118729" y="39626"/>
                    </a:lnTo>
                    <a:cubicBezTo>
                      <a:pt x="114871" y="33986"/>
                      <a:pt x="106708" y="29385"/>
                      <a:pt x="97803" y="29385"/>
                    </a:cubicBezTo>
                    <a:cubicBezTo>
                      <a:pt x="81181" y="29385"/>
                      <a:pt x="68715" y="43187"/>
                      <a:pt x="68715" y="60255"/>
                    </a:cubicBezTo>
                    <a:moveTo>
                      <a:pt x="148" y="75986"/>
                    </a:moveTo>
                    <a:cubicBezTo>
                      <a:pt x="4601" y="84594"/>
                      <a:pt x="15880" y="91124"/>
                      <a:pt x="29682" y="91124"/>
                    </a:cubicBezTo>
                    <a:cubicBezTo>
                      <a:pt x="45414" y="91124"/>
                      <a:pt x="56545" y="82071"/>
                      <a:pt x="56545" y="67675"/>
                    </a:cubicBezTo>
                    <a:cubicBezTo>
                      <a:pt x="56545" y="55209"/>
                      <a:pt x="49421" y="48085"/>
                      <a:pt x="36955" y="43336"/>
                    </a:cubicBezTo>
                    <a:lnTo>
                      <a:pt x="26714" y="39477"/>
                    </a:lnTo>
                    <a:cubicBezTo>
                      <a:pt x="18106" y="36212"/>
                      <a:pt x="13951" y="33095"/>
                      <a:pt x="13951" y="25972"/>
                    </a:cubicBezTo>
                    <a:cubicBezTo>
                      <a:pt x="13951" y="18848"/>
                      <a:pt x="20778" y="14396"/>
                      <a:pt x="29089" y="14396"/>
                    </a:cubicBezTo>
                    <a:cubicBezTo>
                      <a:pt x="36361" y="14396"/>
                      <a:pt x="41555" y="17661"/>
                      <a:pt x="45859" y="22707"/>
                    </a:cubicBezTo>
                    <a:lnTo>
                      <a:pt x="53873" y="15583"/>
                    </a:lnTo>
                    <a:cubicBezTo>
                      <a:pt x="48679" y="8756"/>
                      <a:pt x="39923" y="4007"/>
                      <a:pt x="29237" y="4007"/>
                    </a:cubicBezTo>
                    <a:cubicBezTo>
                      <a:pt x="14099" y="4007"/>
                      <a:pt x="2968" y="12615"/>
                      <a:pt x="2968" y="26417"/>
                    </a:cubicBezTo>
                    <a:cubicBezTo>
                      <a:pt x="2968" y="37993"/>
                      <a:pt x="8905" y="44820"/>
                      <a:pt x="22113" y="49717"/>
                    </a:cubicBezTo>
                    <a:lnTo>
                      <a:pt x="33244" y="54021"/>
                    </a:lnTo>
                    <a:cubicBezTo>
                      <a:pt x="41110" y="56990"/>
                      <a:pt x="45414" y="61442"/>
                      <a:pt x="45414" y="68269"/>
                    </a:cubicBezTo>
                    <a:cubicBezTo>
                      <a:pt x="45414" y="76134"/>
                      <a:pt x="38587" y="80884"/>
                      <a:pt x="29831" y="80884"/>
                    </a:cubicBezTo>
                    <a:cubicBezTo>
                      <a:pt x="20332" y="80884"/>
                      <a:pt x="13505" y="76431"/>
                      <a:pt x="8905" y="69308"/>
                    </a:cubicBezTo>
                    <a:lnTo>
                      <a:pt x="0" y="75986"/>
                    </a:lnTo>
                    <a:close/>
                  </a:path>
                </a:pathLst>
              </a:custGeom>
              <a:solidFill>
                <a:srgbClr val="FFFFFF"/>
              </a:solidFill>
              <a:ln w="14828" cap="flat">
                <a:noFill/>
                <a:prstDash val="solid"/>
                <a:miter/>
              </a:ln>
            </p:spPr>
            <p:txBody>
              <a:bodyPr rtlCol="0" anchor="ctr"/>
              <a:lstStyle/>
              <a:p>
                <a:endParaRPr lang="en-DK"/>
              </a:p>
            </p:txBody>
          </p:sp>
          <p:sp>
            <p:nvSpPr>
              <p:cNvPr id="181" name="Freeform 180">
                <a:extLst>
                  <a:ext uri="{FF2B5EF4-FFF2-40B4-BE49-F238E27FC236}">
                    <a16:creationId xmlns:a16="http://schemas.microsoft.com/office/drawing/2014/main" id="{578B5D81-659A-DF35-63B3-043EF245CB11}"/>
                  </a:ext>
                </a:extLst>
              </p:cNvPr>
              <p:cNvSpPr/>
              <p:nvPr/>
            </p:nvSpPr>
            <p:spPr>
              <a:xfrm>
                <a:off x="4399528" y="4530379"/>
                <a:ext cx="915552" cy="90382"/>
              </a:xfrm>
              <a:custGeom>
                <a:avLst/>
                <a:gdLst>
                  <a:gd name="connsiteX0" fmla="*/ 863905 w 915552"/>
                  <a:gd name="connsiteY0" fmla="*/ 89046 h 90382"/>
                  <a:gd name="connsiteX1" fmla="*/ 874145 w 915552"/>
                  <a:gd name="connsiteY1" fmla="*/ 89046 h 90382"/>
                  <a:gd name="connsiteX2" fmla="*/ 874145 w 915552"/>
                  <a:gd name="connsiteY2" fmla="*/ 59661 h 90382"/>
                  <a:gd name="connsiteX3" fmla="*/ 891361 w 915552"/>
                  <a:gd name="connsiteY3" fmla="*/ 37993 h 90382"/>
                  <a:gd name="connsiteX4" fmla="*/ 905460 w 915552"/>
                  <a:gd name="connsiteY4" fmla="*/ 54170 h 90382"/>
                  <a:gd name="connsiteX5" fmla="*/ 905460 w 915552"/>
                  <a:gd name="connsiteY5" fmla="*/ 89195 h 90382"/>
                  <a:gd name="connsiteX6" fmla="*/ 915552 w 915552"/>
                  <a:gd name="connsiteY6" fmla="*/ 89195 h 90382"/>
                  <a:gd name="connsiteX7" fmla="*/ 915552 w 915552"/>
                  <a:gd name="connsiteY7" fmla="*/ 52686 h 90382"/>
                  <a:gd name="connsiteX8" fmla="*/ 893142 w 915552"/>
                  <a:gd name="connsiteY8" fmla="*/ 28643 h 90382"/>
                  <a:gd name="connsiteX9" fmla="*/ 874294 w 915552"/>
                  <a:gd name="connsiteY9" fmla="*/ 38884 h 90382"/>
                  <a:gd name="connsiteX10" fmla="*/ 874294 w 915552"/>
                  <a:gd name="connsiteY10" fmla="*/ 149 h 90382"/>
                  <a:gd name="connsiteX11" fmla="*/ 864053 w 915552"/>
                  <a:gd name="connsiteY11" fmla="*/ 149 h 90382"/>
                  <a:gd name="connsiteX12" fmla="*/ 864053 w 915552"/>
                  <a:gd name="connsiteY12" fmla="*/ 89195 h 90382"/>
                  <a:gd name="connsiteX13" fmla="*/ 850103 w 915552"/>
                  <a:gd name="connsiteY13" fmla="*/ 88156 h 90382"/>
                  <a:gd name="connsiteX14" fmla="*/ 850103 w 915552"/>
                  <a:gd name="connsiteY14" fmla="*/ 79103 h 90382"/>
                  <a:gd name="connsiteX15" fmla="*/ 842831 w 915552"/>
                  <a:gd name="connsiteY15" fmla="*/ 80290 h 90382"/>
                  <a:gd name="connsiteX16" fmla="*/ 833035 w 915552"/>
                  <a:gd name="connsiteY16" fmla="*/ 70198 h 90382"/>
                  <a:gd name="connsiteX17" fmla="*/ 833035 w 915552"/>
                  <a:gd name="connsiteY17" fmla="*/ 39032 h 90382"/>
                  <a:gd name="connsiteX18" fmla="*/ 850103 w 915552"/>
                  <a:gd name="connsiteY18" fmla="*/ 39032 h 90382"/>
                  <a:gd name="connsiteX19" fmla="*/ 850103 w 915552"/>
                  <a:gd name="connsiteY19" fmla="*/ 29682 h 90382"/>
                  <a:gd name="connsiteX20" fmla="*/ 833035 w 915552"/>
                  <a:gd name="connsiteY20" fmla="*/ 29682 h 90382"/>
                  <a:gd name="connsiteX21" fmla="*/ 833035 w 915552"/>
                  <a:gd name="connsiteY21" fmla="*/ 13209 h 90382"/>
                  <a:gd name="connsiteX22" fmla="*/ 822795 w 915552"/>
                  <a:gd name="connsiteY22" fmla="*/ 13209 h 90382"/>
                  <a:gd name="connsiteX23" fmla="*/ 822795 w 915552"/>
                  <a:gd name="connsiteY23" fmla="*/ 29682 h 90382"/>
                  <a:gd name="connsiteX24" fmla="*/ 810180 w 915552"/>
                  <a:gd name="connsiteY24" fmla="*/ 29682 h 90382"/>
                  <a:gd name="connsiteX25" fmla="*/ 810180 w 915552"/>
                  <a:gd name="connsiteY25" fmla="*/ 39032 h 90382"/>
                  <a:gd name="connsiteX26" fmla="*/ 822795 w 915552"/>
                  <a:gd name="connsiteY26" fmla="*/ 39032 h 90382"/>
                  <a:gd name="connsiteX27" fmla="*/ 822795 w 915552"/>
                  <a:gd name="connsiteY27" fmla="*/ 71386 h 90382"/>
                  <a:gd name="connsiteX28" fmla="*/ 840901 w 915552"/>
                  <a:gd name="connsiteY28" fmla="*/ 89492 h 90382"/>
                  <a:gd name="connsiteX29" fmla="*/ 850103 w 915552"/>
                  <a:gd name="connsiteY29" fmla="*/ 88007 h 90382"/>
                  <a:gd name="connsiteX30" fmla="*/ 787325 w 915552"/>
                  <a:gd name="connsiteY30" fmla="*/ 89046 h 90382"/>
                  <a:gd name="connsiteX31" fmla="*/ 797565 w 915552"/>
                  <a:gd name="connsiteY31" fmla="*/ 89046 h 90382"/>
                  <a:gd name="connsiteX32" fmla="*/ 797565 w 915552"/>
                  <a:gd name="connsiteY32" fmla="*/ 0 h 90382"/>
                  <a:gd name="connsiteX33" fmla="*/ 787325 w 915552"/>
                  <a:gd name="connsiteY33" fmla="*/ 0 h 90382"/>
                  <a:gd name="connsiteX34" fmla="*/ 787325 w 915552"/>
                  <a:gd name="connsiteY34" fmla="*/ 89046 h 90382"/>
                  <a:gd name="connsiteX35" fmla="*/ 757939 w 915552"/>
                  <a:gd name="connsiteY35" fmla="*/ 59364 h 90382"/>
                  <a:gd name="connsiteX36" fmla="*/ 737755 w 915552"/>
                  <a:gd name="connsiteY36" fmla="*/ 80884 h 90382"/>
                  <a:gd name="connsiteX37" fmla="*/ 717423 w 915552"/>
                  <a:gd name="connsiteY37" fmla="*/ 59364 h 90382"/>
                  <a:gd name="connsiteX38" fmla="*/ 737755 w 915552"/>
                  <a:gd name="connsiteY38" fmla="*/ 37845 h 90382"/>
                  <a:gd name="connsiteX39" fmla="*/ 757939 w 915552"/>
                  <a:gd name="connsiteY39" fmla="*/ 59364 h 90382"/>
                  <a:gd name="connsiteX40" fmla="*/ 707034 w 915552"/>
                  <a:gd name="connsiteY40" fmla="*/ 59364 h 90382"/>
                  <a:gd name="connsiteX41" fmla="*/ 736123 w 915552"/>
                  <a:gd name="connsiteY41" fmla="*/ 90233 h 90382"/>
                  <a:gd name="connsiteX42" fmla="*/ 757049 w 915552"/>
                  <a:gd name="connsiteY42" fmla="*/ 79993 h 90382"/>
                  <a:gd name="connsiteX43" fmla="*/ 757049 w 915552"/>
                  <a:gd name="connsiteY43" fmla="*/ 89046 h 90382"/>
                  <a:gd name="connsiteX44" fmla="*/ 767289 w 915552"/>
                  <a:gd name="connsiteY44" fmla="*/ 89046 h 90382"/>
                  <a:gd name="connsiteX45" fmla="*/ 767289 w 915552"/>
                  <a:gd name="connsiteY45" fmla="*/ 29682 h 90382"/>
                  <a:gd name="connsiteX46" fmla="*/ 757049 w 915552"/>
                  <a:gd name="connsiteY46" fmla="*/ 29682 h 90382"/>
                  <a:gd name="connsiteX47" fmla="*/ 757049 w 915552"/>
                  <a:gd name="connsiteY47" fmla="*/ 38735 h 90382"/>
                  <a:gd name="connsiteX48" fmla="*/ 736123 w 915552"/>
                  <a:gd name="connsiteY48" fmla="*/ 28495 h 90382"/>
                  <a:gd name="connsiteX49" fmla="*/ 707034 w 915552"/>
                  <a:gd name="connsiteY49" fmla="*/ 59364 h 90382"/>
                  <a:gd name="connsiteX50" fmla="*/ 666517 w 915552"/>
                  <a:gd name="connsiteY50" fmla="*/ 37548 h 90382"/>
                  <a:gd name="connsiteX51" fmla="*/ 684624 w 915552"/>
                  <a:gd name="connsiteY51" fmla="*/ 53131 h 90382"/>
                  <a:gd name="connsiteX52" fmla="*/ 646927 w 915552"/>
                  <a:gd name="connsiteY52" fmla="*/ 53131 h 90382"/>
                  <a:gd name="connsiteX53" fmla="*/ 666369 w 915552"/>
                  <a:gd name="connsiteY53" fmla="*/ 37548 h 90382"/>
                  <a:gd name="connsiteX54" fmla="*/ 636093 w 915552"/>
                  <a:gd name="connsiteY54" fmla="*/ 59364 h 90382"/>
                  <a:gd name="connsiteX55" fmla="*/ 666814 w 915552"/>
                  <a:gd name="connsiteY55" fmla="*/ 90233 h 90382"/>
                  <a:gd name="connsiteX56" fmla="*/ 693528 w 915552"/>
                  <a:gd name="connsiteY56" fmla="*/ 76135 h 90382"/>
                  <a:gd name="connsiteX57" fmla="*/ 685514 w 915552"/>
                  <a:gd name="connsiteY57" fmla="*/ 70495 h 90382"/>
                  <a:gd name="connsiteX58" fmla="*/ 666963 w 915552"/>
                  <a:gd name="connsiteY58" fmla="*/ 80884 h 90382"/>
                  <a:gd name="connsiteX59" fmla="*/ 646482 w 915552"/>
                  <a:gd name="connsiteY59" fmla="*/ 61442 h 90382"/>
                  <a:gd name="connsiteX60" fmla="*/ 695161 w 915552"/>
                  <a:gd name="connsiteY60" fmla="*/ 61442 h 90382"/>
                  <a:gd name="connsiteX61" fmla="*/ 695161 w 915552"/>
                  <a:gd name="connsiteY61" fmla="*/ 58325 h 90382"/>
                  <a:gd name="connsiteX62" fmla="*/ 666963 w 915552"/>
                  <a:gd name="connsiteY62" fmla="*/ 28495 h 90382"/>
                  <a:gd name="connsiteX63" fmla="*/ 636093 w 915552"/>
                  <a:gd name="connsiteY63" fmla="*/ 59364 h 90382"/>
                  <a:gd name="connsiteX64" fmla="*/ 550014 w 915552"/>
                  <a:gd name="connsiteY64" fmla="*/ 89046 h 90382"/>
                  <a:gd name="connsiteX65" fmla="*/ 560997 w 915552"/>
                  <a:gd name="connsiteY65" fmla="*/ 89046 h 90382"/>
                  <a:gd name="connsiteX66" fmla="*/ 560997 w 915552"/>
                  <a:gd name="connsiteY66" fmla="*/ 51053 h 90382"/>
                  <a:gd name="connsiteX67" fmla="*/ 607153 w 915552"/>
                  <a:gd name="connsiteY67" fmla="*/ 51053 h 90382"/>
                  <a:gd name="connsiteX68" fmla="*/ 607153 w 915552"/>
                  <a:gd name="connsiteY68" fmla="*/ 89046 h 90382"/>
                  <a:gd name="connsiteX69" fmla="*/ 618135 w 915552"/>
                  <a:gd name="connsiteY69" fmla="*/ 89046 h 90382"/>
                  <a:gd name="connsiteX70" fmla="*/ 618135 w 915552"/>
                  <a:gd name="connsiteY70" fmla="*/ 4749 h 90382"/>
                  <a:gd name="connsiteX71" fmla="*/ 607153 w 915552"/>
                  <a:gd name="connsiteY71" fmla="*/ 4749 h 90382"/>
                  <a:gd name="connsiteX72" fmla="*/ 607153 w 915552"/>
                  <a:gd name="connsiteY72" fmla="*/ 40665 h 90382"/>
                  <a:gd name="connsiteX73" fmla="*/ 560997 w 915552"/>
                  <a:gd name="connsiteY73" fmla="*/ 40665 h 90382"/>
                  <a:gd name="connsiteX74" fmla="*/ 560997 w 915552"/>
                  <a:gd name="connsiteY74" fmla="*/ 4749 h 90382"/>
                  <a:gd name="connsiteX75" fmla="*/ 550014 w 915552"/>
                  <a:gd name="connsiteY75" fmla="*/ 4749 h 90382"/>
                  <a:gd name="connsiteX76" fmla="*/ 550014 w 915552"/>
                  <a:gd name="connsiteY76" fmla="*/ 89046 h 90382"/>
                  <a:gd name="connsiteX77" fmla="*/ 505045 w 915552"/>
                  <a:gd name="connsiteY77" fmla="*/ 72424 h 90382"/>
                  <a:gd name="connsiteX78" fmla="*/ 488868 w 915552"/>
                  <a:gd name="connsiteY78" fmla="*/ 54912 h 90382"/>
                  <a:gd name="connsiteX79" fmla="*/ 482338 w 915552"/>
                  <a:gd name="connsiteY79" fmla="*/ 52834 h 90382"/>
                  <a:gd name="connsiteX80" fmla="*/ 473879 w 915552"/>
                  <a:gd name="connsiteY80" fmla="*/ 44226 h 90382"/>
                  <a:gd name="connsiteX81" fmla="*/ 483674 w 915552"/>
                  <a:gd name="connsiteY81" fmla="*/ 37103 h 90382"/>
                  <a:gd name="connsiteX82" fmla="*/ 495992 w 915552"/>
                  <a:gd name="connsiteY82" fmla="*/ 43930 h 90382"/>
                  <a:gd name="connsiteX83" fmla="*/ 503561 w 915552"/>
                  <a:gd name="connsiteY83" fmla="*/ 38735 h 90382"/>
                  <a:gd name="connsiteX84" fmla="*/ 483971 w 915552"/>
                  <a:gd name="connsiteY84" fmla="*/ 28495 h 90382"/>
                  <a:gd name="connsiteX85" fmla="*/ 463490 w 915552"/>
                  <a:gd name="connsiteY85" fmla="*/ 44820 h 90382"/>
                  <a:gd name="connsiteX86" fmla="*/ 478331 w 915552"/>
                  <a:gd name="connsiteY86" fmla="*/ 62184 h 90382"/>
                  <a:gd name="connsiteX87" fmla="*/ 484268 w 915552"/>
                  <a:gd name="connsiteY87" fmla="*/ 64113 h 90382"/>
                  <a:gd name="connsiteX88" fmla="*/ 494657 w 915552"/>
                  <a:gd name="connsiteY88" fmla="*/ 73315 h 90382"/>
                  <a:gd name="connsiteX89" fmla="*/ 484268 w 915552"/>
                  <a:gd name="connsiteY89" fmla="*/ 81329 h 90382"/>
                  <a:gd name="connsiteX90" fmla="*/ 469130 w 915552"/>
                  <a:gd name="connsiteY90" fmla="*/ 71979 h 90382"/>
                  <a:gd name="connsiteX91" fmla="*/ 460819 w 915552"/>
                  <a:gd name="connsiteY91" fmla="*/ 76580 h 90382"/>
                  <a:gd name="connsiteX92" fmla="*/ 484119 w 915552"/>
                  <a:gd name="connsiteY92" fmla="*/ 90382 h 90382"/>
                  <a:gd name="connsiteX93" fmla="*/ 504749 w 915552"/>
                  <a:gd name="connsiteY93" fmla="*/ 72573 h 90382"/>
                  <a:gd name="connsiteX94" fmla="*/ 454140 w 915552"/>
                  <a:gd name="connsiteY94" fmla="*/ 17513 h 90382"/>
                  <a:gd name="connsiteX95" fmla="*/ 455772 w 915552"/>
                  <a:gd name="connsiteY95" fmla="*/ 12170 h 90382"/>
                  <a:gd name="connsiteX96" fmla="*/ 447016 w 915552"/>
                  <a:gd name="connsiteY96" fmla="*/ 3265 h 90382"/>
                  <a:gd name="connsiteX97" fmla="*/ 438111 w 915552"/>
                  <a:gd name="connsiteY97" fmla="*/ 12170 h 90382"/>
                  <a:gd name="connsiteX98" fmla="*/ 443009 w 915552"/>
                  <a:gd name="connsiteY98" fmla="*/ 20184 h 90382"/>
                  <a:gd name="connsiteX99" fmla="*/ 434995 w 915552"/>
                  <a:gd name="connsiteY99" fmla="*/ 37103 h 90382"/>
                  <a:gd name="connsiteX100" fmla="*/ 441822 w 915552"/>
                  <a:gd name="connsiteY100" fmla="*/ 37103 h 90382"/>
                  <a:gd name="connsiteX101" fmla="*/ 453992 w 915552"/>
                  <a:gd name="connsiteY101" fmla="*/ 17513 h 90382"/>
                  <a:gd name="connsiteX102" fmla="*/ 368655 w 915552"/>
                  <a:gd name="connsiteY102" fmla="*/ 89046 h 90382"/>
                  <a:gd name="connsiteX103" fmla="*/ 378895 w 915552"/>
                  <a:gd name="connsiteY103" fmla="*/ 89046 h 90382"/>
                  <a:gd name="connsiteX104" fmla="*/ 378895 w 915552"/>
                  <a:gd name="connsiteY104" fmla="*/ 59661 h 90382"/>
                  <a:gd name="connsiteX105" fmla="*/ 396111 w 915552"/>
                  <a:gd name="connsiteY105" fmla="*/ 37993 h 90382"/>
                  <a:gd name="connsiteX106" fmla="*/ 410062 w 915552"/>
                  <a:gd name="connsiteY106" fmla="*/ 54170 h 90382"/>
                  <a:gd name="connsiteX107" fmla="*/ 410062 w 915552"/>
                  <a:gd name="connsiteY107" fmla="*/ 89195 h 90382"/>
                  <a:gd name="connsiteX108" fmla="*/ 420154 w 915552"/>
                  <a:gd name="connsiteY108" fmla="*/ 89195 h 90382"/>
                  <a:gd name="connsiteX109" fmla="*/ 420154 w 915552"/>
                  <a:gd name="connsiteY109" fmla="*/ 52686 h 90382"/>
                  <a:gd name="connsiteX110" fmla="*/ 397744 w 915552"/>
                  <a:gd name="connsiteY110" fmla="*/ 28643 h 90382"/>
                  <a:gd name="connsiteX111" fmla="*/ 378895 w 915552"/>
                  <a:gd name="connsiteY111" fmla="*/ 38884 h 90382"/>
                  <a:gd name="connsiteX112" fmla="*/ 378895 w 915552"/>
                  <a:gd name="connsiteY112" fmla="*/ 29831 h 90382"/>
                  <a:gd name="connsiteX113" fmla="*/ 368655 w 915552"/>
                  <a:gd name="connsiteY113" fmla="*/ 29831 h 90382"/>
                  <a:gd name="connsiteX114" fmla="*/ 368655 w 915552"/>
                  <a:gd name="connsiteY114" fmla="*/ 89195 h 90382"/>
                  <a:gd name="connsiteX115" fmla="*/ 323983 w 915552"/>
                  <a:gd name="connsiteY115" fmla="*/ 37548 h 90382"/>
                  <a:gd name="connsiteX116" fmla="*/ 342089 w 915552"/>
                  <a:gd name="connsiteY116" fmla="*/ 53131 h 90382"/>
                  <a:gd name="connsiteX117" fmla="*/ 304393 w 915552"/>
                  <a:gd name="connsiteY117" fmla="*/ 53131 h 90382"/>
                  <a:gd name="connsiteX118" fmla="*/ 323835 w 915552"/>
                  <a:gd name="connsiteY118" fmla="*/ 37548 h 90382"/>
                  <a:gd name="connsiteX119" fmla="*/ 293410 w 915552"/>
                  <a:gd name="connsiteY119" fmla="*/ 59364 h 90382"/>
                  <a:gd name="connsiteX120" fmla="*/ 324131 w 915552"/>
                  <a:gd name="connsiteY120" fmla="*/ 90233 h 90382"/>
                  <a:gd name="connsiteX121" fmla="*/ 350846 w 915552"/>
                  <a:gd name="connsiteY121" fmla="*/ 76135 h 90382"/>
                  <a:gd name="connsiteX122" fmla="*/ 342831 w 915552"/>
                  <a:gd name="connsiteY122" fmla="*/ 70495 h 90382"/>
                  <a:gd name="connsiteX123" fmla="*/ 324280 w 915552"/>
                  <a:gd name="connsiteY123" fmla="*/ 80884 h 90382"/>
                  <a:gd name="connsiteX124" fmla="*/ 303799 w 915552"/>
                  <a:gd name="connsiteY124" fmla="*/ 61442 h 90382"/>
                  <a:gd name="connsiteX125" fmla="*/ 352478 w 915552"/>
                  <a:gd name="connsiteY125" fmla="*/ 61442 h 90382"/>
                  <a:gd name="connsiteX126" fmla="*/ 352478 w 915552"/>
                  <a:gd name="connsiteY126" fmla="*/ 58325 h 90382"/>
                  <a:gd name="connsiteX127" fmla="*/ 324280 w 915552"/>
                  <a:gd name="connsiteY127" fmla="*/ 28495 h 90382"/>
                  <a:gd name="connsiteX128" fmla="*/ 293410 w 915552"/>
                  <a:gd name="connsiteY128" fmla="*/ 59364 h 90382"/>
                  <a:gd name="connsiteX129" fmla="*/ 191303 w 915552"/>
                  <a:gd name="connsiteY129" fmla="*/ 89046 h 90382"/>
                  <a:gd name="connsiteX130" fmla="*/ 201543 w 915552"/>
                  <a:gd name="connsiteY130" fmla="*/ 89046 h 90382"/>
                  <a:gd name="connsiteX131" fmla="*/ 201543 w 915552"/>
                  <a:gd name="connsiteY131" fmla="*/ 59661 h 90382"/>
                  <a:gd name="connsiteX132" fmla="*/ 217868 w 915552"/>
                  <a:gd name="connsiteY132" fmla="*/ 37993 h 90382"/>
                  <a:gd name="connsiteX133" fmla="*/ 229593 w 915552"/>
                  <a:gd name="connsiteY133" fmla="*/ 54318 h 90382"/>
                  <a:gd name="connsiteX134" fmla="*/ 229593 w 915552"/>
                  <a:gd name="connsiteY134" fmla="*/ 89195 h 90382"/>
                  <a:gd name="connsiteX135" fmla="*/ 239834 w 915552"/>
                  <a:gd name="connsiteY135" fmla="*/ 89195 h 90382"/>
                  <a:gd name="connsiteX136" fmla="*/ 239834 w 915552"/>
                  <a:gd name="connsiteY136" fmla="*/ 59810 h 90382"/>
                  <a:gd name="connsiteX137" fmla="*/ 256159 w 915552"/>
                  <a:gd name="connsiteY137" fmla="*/ 38142 h 90382"/>
                  <a:gd name="connsiteX138" fmla="*/ 267884 w 915552"/>
                  <a:gd name="connsiteY138" fmla="*/ 54467 h 90382"/>
                  <a:gd name="connsiteX139" fmla="*/ 267884 w 915552"/>
                  <a:gd name="connsiteY139" fmla="*/ 89343 h 90382"/>
                  <a:gd name="connsiteX140" fmla="*/ 278124 w 915552"/>
                  <a:gd name="connsiteY140" fmla="*/ 89343 h 90382"/>
                  <a:gd name="connsiteX141" fmla="*/ 278124 w 915552"/>
                  <a:gd name="connsiteY141" fmla="*/ 52834 h 90382"/>
                  <a:gd name="connsiteX142" fmla="*/ 257346 w 915552"/>
                  <a:gd name="connsiteY142" fmla="*/ 28792 h 90382"/>
                  <a:gd name="connsiteX143" fmla="*/ 237904 w 915552"/>
                  <a:gd name="connsiteY143" fmla="*/ 41555 h 90382"/>
                  <a:gd name="connsiteX144" fmla="*/ 219650 w 915552"/>
                  <a:gd name="connsiteY144" fmla="*/ 28792 h 90382"/>
                  <a:gd name="connsiteX145" fmla="*/ 201692 w 915552"/>
                  <a:gd name="connsiteY145" fmla="*/ 39032 h 90382"/>
                  <a:gd name="connsiteX146" fmla="*/ 201692 w 915552"/>
                  <a:gd name="connsiteY146" fmla="*/ 29979 h 90382"/>
                  <a:gd name="connsiteX147" fmla="*/ 191451 w 915552"/>
                  <a:gd name="connsiteY147" fmla="*/ 29979 h 90382"/>
                  <a:gd name="connsiteX148" fmla="*/ 191451 w 915552"/>
                  <a:gd name="connsiteY148" fmla="*/ 89343 h 90382"/>
                  <a:gd name="connsiteX149" fmla="*/ 123627 w 915552"/>
                  <a:gd name="connsiteY149" fmla="*/ 59364 h 90382"/>
                  <a:gd name="connsiteX150" fmla="*/ 144256 w 915552"/>
                  <a:gd name="connsiteY150" fmla="*/ 37993 h 90382"/>
                  <a:gd name="connsiteX151" fmla="*/ 164737 w 915552"/>
                  <a:gd name="connsiteY151" fmla="*/ 59364 h 90382"/>
                  <a:gd name="connsiteX152" fmla="*/ 144256 w 915552"/>
                  <a:gd name="connsiteY152" fmla="*/ 80735 h 90382"/>
                  <a:gd name="connsiteX153" fmla="*/ 123627 w 915552"/>
                  <a:gd name="connsiteY153" fmla="*/ 59364 h 90382"/>
                  <a:gd name="connsiteX154" fmla="*/ 175274 w 915552"/>
                  <a:gd name="connsiteY154" fmla="*/ 59364 h 90382"/>
                  <a:gd name="connsiteX155" fmla="*/ 144256 w 915552"/>
                  <a:gd name="connsiteY155" fmla="*/ 28495 h 90382"/>
                  <a:gd name="connsiteX156" fmla="*/ 113090 w 915552"/>
                  <a:gd name="connsiteY156" fmla="*/ 59364 h 90382"/>
                  <a:gd name="connsiteX157" fmla="*/ 144256 w 915552"/>
                  <a:gd name="connsiteY157" fmla="*/ 90233 h 90382"/>
                  <a:gd name="connsiteX158" fmla="*/ 175274 w 915552"/>
                  <a:gd name="connsiteY158" fmla="*/ 59364 h 90382"/>
                  <a:gd name="connsiteX159" fmla="*/ 74206 w 915552"/>
                  <a:gd name="connsiteY159" fmla="*/ 89046 h 90382"/>
                  <a:gd name="connsiteX160" fmla="*/ 84001 w 915552"/>
                  <a:gd name="connsiteY160" fmla="*/ 89046 h 90382"/>
                  <a:gd name="connsiteX161" fmla="*/ 107005 w 915552"/>
                  <a:gd name="connsiteY161" fmla="*/ 4749 h 90382"/>
                  <a:gd name="connsiteX162" fmla="*/ 95429 w 915552"/>
                  <a:gd name="connsiteY162" fmla="*/ 4749 h 90382"/>
                  <a:gd name="connsiteX163" fmla="*/ 77768 w 915552"/>
                  <a:gd name="connsiteY163" fmla="*/ 70495 h 90382"/>
                  <a:gd name="connsiteX164" fmla="*/ 53428 w 915552"/>
                  <a:gd name="connsiteY164" fmla="*/ 3265 h 90382"/>
                  <a:gd name="connsiteX165" fmla="*/ 29237 w 915552"/>
                  <a:gd name="connsiteY165" fmla="*/ 70495 h 90382"/>
                  <a:gd name="connsiteX166" fmla="*/ 11576 w 915552"/>
                  <a:gd name="connsiteY166" fmla="*/ 4749 h 90382"/>
                  <a:gd name="connsiteX167" fmla="*/ 0 w 915552"/>
                  <a:gd name="connsiteY167" fmla="*/ 4749 h 90382"/>
                  <a:gd name="connsiteX168" fmla="*/ 23004 w 915552"/>
                  <a:gd name="connsiteY168" fmla="*/ 89046 h 90382"/>
                  <a:gd name="connsiteX169" fmla="*/ 32799 w 915552"/>
                  <a:gd name="connsiteY169" fmla="*/ 89046 h 90382"/>
                  <a:gd name="connsiteX170" fmla="*/ 53428 w 915552"/>
                  <a:gd name="connsiteY170" fmla="*/ 31760 h 90382"/>
                  <a:gd name="connsiteX171" fmla="*/ 73909 w 915552"/>
                  <a:gd name="connsiteY171" fmla="*/ 89046 h 90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915552" h="90382">
                    <a:moveTo>
                      <a:pt x="863905" y="89046"/>
                    </a:moveTo>
                    <a:lnTo>
                      <a:pt x="874145" y="89046"/>
                    </a:lnTo>
                    <a:lnTo>
                      <a:pt x="874145" y="59661"/>
                    </a:lnTo>
                    <a:cubicBezTo>
                      <a:pt x="874145" y="45710"/>
                      <a:pt x="881714" y="37993"/>
                      <a:pt x="891361" y="37993"/>
                    </a:cubicBezTo>
                    <a:cubicBezTo>
                      <a:pt x="899672" y="37993"/>
                      <a:pt x="905460" y="44226"/>
                      <a:pt x="905460" y="54170"/>
                    </a:cubicBezTo>
                    <a:lnTo>
                      <a:pt x="905460" y="89195"/>
                    </a:lnTo>
                    <a:lnTo>
                      <a:pt x="915552" y="89195"/>
                    </a:lnTo>
                    <a:lnTo>
                      <a:pt x="915552" y="52686"/>
                    </a:lnTo>
                    <a:cubicBezTo>
                      <a:pt x="915552" y="37993"/>
                      <a:pt x="906351" y="28643"/>
                      <a:pt x="893142" y="28643"/>
                    </a:cubicBezTo>
                    <a:cubicBezTo>
                      <a:pt x="885425" y="28643"/>
                      <a:pt x="878301" y="31908"/>
                      <a:pt x="874294" y="38884"/>
                    </a:cubicBezTo>
                    <a:lnTo>
                      <a:pt x="874294" y="149"/>
                    </a:lnTo>
                    <a:lnTo>
                      <a:pt x="864053" y="149"/>
                    </a:lnTo>
                    <a:lnTo>
                      <a:pt x="864053" y="89195"/>
                    </a:lnTo>
                    <a:close/>
                    <a:moveTo>
                      <a:pt x="850103" y="88156"/>
                    </a:moveTo>
                    <a:lnTo>
                      <a:pt x="850103" y="79103"/>
                    </a:lnTo>
                    <a:cubicBezTo>
                      <a:pt x="848173" y="79845"/>
                      <a:pt x="845353" y="80290"/>
                      <a:pt x="842831" y="80290"/>
                    </a:cubicBezTo>
                    <a:cubicBezTo>
                      <a:pt x="836449" y="80290"/>
                      <a:pt x="833035" y="77767"/>
                      <a:pt x="833035" y="70198"/>
                    </a:cubicBezTo>
                    <a:lnTo>
                      <a:pt x="833035" y="39032"/>
                    </a:lnTo>
                    <a:lnTo>
                      <a:pt x="850103" y="39032"/>
                    </a:lnTo>
                    <a:lnTo>
                      <a:pt x="850103" y="29682"/>
                    </a:lnTo>
                    <a:lnTo>
                      <a:pt x="833035" y="29682"/>
                    </a:lnTo>
                    <a:lnTo>
                      <a:pt x="833035" y="13209"/>
                    </a:lnTo>
                    <a:lnTo>
                      <a:pt x="822795" y="13209"/>
                    </a:lnTo>
                    <a:lnTo>
                      <a:pt x="822795" y="29682"/>
                    </a:lnTo>
                    <a:lnTo>
                      <a:pt x="810180" y="29682"/>
                    </a:lnTo>
                    <a:lnTo>
                      <a:pt x="810180" y="39032"/>
                    </a:lnTo>
                    <a:lnTo>
                      <a:pt x="822795" y="39032"/>
                    </a:lnTo>
                    <a:lnTo>
                      <a:pt x="822795" y="71386"/>
                    </a:lnTo>
                    <a:cubicBezTo>
                      <a:pt x="822795" y="83703"/>
                      <a:pt x="830661" y="89492"/>
                      <a:pt x="840901" y="89492"/>
                    </a:cubicBezTo>
                    <a:cubicBezTo>
                      <a:pt x="844612" y="89492"/>
                      <a:pt x="847580" y="88898"/>
                      <a:pt x="850103" y="88007"/>
                    </a:cubicBezTo>
                    <a:moveTo>
                      <a:pt x="787325" y="89046"/>
                    </a:moveTo>
                    <a:lnTo>
                      <a:pt x="797565" y="89046"/>
                    </a:lnTo>
                    <a:lnTo>
                      <a:pt x="797565" y="0"/>
                    </a:lnTo>
                    <a:lnTo>
                      <a:pt x="787325" y="0"/>
                    </a:lnTo>
                    <a:lnTo>
                      <a:pt x="787325" y="89046"/>
                    </a:lnTo>
                    <a:close/>
                    <a:moveTo>
                      <a:pt x="757939" y="59364"/>
                    </a:moveTo>
                    <a:cubicBezTo>
                      <a:pt x="757939" y="71386"/>
                      <a:pt x="749776" y="80884"/>
                      <a:pt x="737755" y="80884"/>
                    </a:cubicBezTo>
                    <a:cubicBezTo>
                      <a:pt x="725734" y="80884"/>
                      <a:pt x="717423" y="71386"/>
                      <a:pt x="717423" y="59364"/>
                    </a:cubicBezTo>
                    <a:cubicBezTo>
                      <a:pt x="717423" y="47343"/>
                      <a:pt x="725734" y="37845"/>
                      <a:pt x="737755" y="37845"/>
                    </a:cubicBezTo>
                    <a:cubicBezTo>
                      <a:pt x="749776" y="37845"/>
                      <a:pt x="757939" y="47343"/>
                      <a:pt x="757939" y="59364"/>
                    </a:cubicBezTo>
                    <a:moveTo>
                      <a:pt x="707034" y="59364"/>
                    </a:moveTo>
                    <a:cubicBezTo>
                      <a:pt x="707034" y="76283"/>
                      <a:pt x="719501" y="90233"/>
                      <a:pt x="736123" y="90233"/>
                    </a:cubicBezTo>
                    <a:cubicBezTo>
                      <a:pt x="745027" y="90233"/>
                      <a:pt x="753041" y="85633"/>
                      <a:pt x="757049" y="79993"/>
                    </a:cubicBezTo>
                    <a:lnTo>
                      <a:pt x="757049" y="89046"/>
                    </a:lnTo>
                    <a:lnTo>
                      <a:pt x="767289" y="89046"/>
                    </a:lnTo>
                    <a:lnTo>
                      <a:pt x="767289" y="29682"/>
                    </a:lnTo>
                    <a:lnTo>
                      <a:pt x="757049" y="29682"/>
                    </a:lnTo>
                    <a:lnTo>
                      <a:pt x="757049" y="38735"/>
                    </a:lnTo>
                    <a:cubicBezTo>
                      <a:pt x="753190" y="33096"/>
                      <a:pt x="745027" y="28495"/>
                      <a:pt x="736123" y="28495"/>
                    </a:cubicBezTo>
                    <a:cubicBezTo>
                      <a:pt x="719501" y="28495"/>
                      <a:pt x="707034" y="42445"/>
                      <a:pt x="707034" y="59364"/>
                    </a:cubicBezTo>
                    <a:moveTo>
                      <a:pt x="666517" y="37548"/>
                    </a:moveTo>
                    <a:cubicBezTo>
                      <a:pt x="675570" y="37548"/>
                      <a:pt x="683288" y="43336"/>
                      <a:pt x="684624" y="53131"/>
                    </a:cubicBezTo>
                    <a:lnTo>
                      <a:pt x="646927" y="53131"/>
                    </a:lnTo>
                    <a:cubicBezTo>
                      <a:pt x="648856" y="43187"/>
                      <a:pt x="657464" y="37548"/>
                      <a:pt x="666369" y="37548"/>
                    </a:cubicBezTo>
                    <a:moveTo>
                      <a:pt x="636093" y="59364"/>
                    </a:moveTo>
                    <a:cubicBezTo>
                      <a:pt x="636093" y="76877"/>
                      <a:pt x="648411" y="90233"/>
                      <a:pt x="666814" y="90233"/>
                    </a:cubicBezTo>
                    <a:cubicBezTo>
                      <a:pt x="679132" y="90233"/>
                      <a:pt x="688185" y="84742"/>
                      <a:pt x="693528" y="76135"/>
                    </a:cubicBezTo>
                    <a:lnTo>
                      <a:pt x="685514" y="70495"/>
                    </a:lnTo>
                    <a:cubicBezTo>
                      <a:pt x="681804" y="76877"/>
                      <a:pt x="676164" y="80884"/>
                      <a:pt x="666963" y="80884"/>
                    </a:cubicBezTo>
                    <a:cubicBezTo>
                      <a:pt x="655238" y="80884"/>
                      <a:pt x="646779" y="72573"/>
                      <a:pt x="646482" y="61442"/>
                    </a:cubicBezTo>
                    <a:lnTo>
                      <a:pt x="695161" y="61442"/>
                    </a:lnTo>
                    <a:cubicBezTo>
                      <a:pt x="695161" y="60106"/>
                      <a:pt x="695161" y="59364"/>
                      <a:pt x="695161" y="58325"/>
                    </a:cubicBezTo>
                    <a:cubicBezTo>
                      <a:pt x="695161" y="39329"/>
                      <a:pt x="682398" y="28495"/>
                      <a:pt x="666963" y="28495"/>
                    </a:cubicBezTo>
                    <a:cubicBezTo>
                      <a:pt x="648856" y="28495"/>
                      <a:pt x="636093" y="42000"/>
                      <a:pt x="636093" y="59364"/>
                    </a:cubicBezTo>
                    <a:moveTo>
                      <a:pt x="550014" y="89046"/>
                    </a:moveTo>
                    <a:lnTo>
                      <a:pt x="560997" y="89046"/>
                    </a:lnTo>
                    <a:lnTo>
                      <a:pt x="560997" y="51053"/>
                    </a:lnTo>
                    <a:lnTo>
                      <a:pt x="607153" y="51053"/>
                    </a:lnTo>
                    <a:lnTo>
                      <a:pt x="607153" y="89046"/>
                    </a:lnTo>
                    <a:lnTo>
                      <a:pt x="618135" y="89046"/>
                    </a:lnTo>
                    <a:lnTo>
                      <a:pt x="618135" y="4749"/>
                    </a:lnTo>
                    <a:lnTo>
                      <a:pt x="607153" y="4749"/>
                    </a:lnTo>
                    <a:lnTo>
                      <a:pt x="607153" y="40665"/>
                    </a:lnTo>
                    <a:lnTo>
                      <a:pt x="560997" y="40665"/>
                    </a:lnTo>
                    <a:lnTo>
                      <a:pt x="560997" y="4749"/>
                    </a:lnTo>
                    <a:lnTo>
                      <a:pt x="550014" y="4749"/>
                    </a:lnTo>
                    <a:lnTo>
                      <a:pt x="550014" y="89046"/>
                    </a:lnTo>
                    <a:close/>
                    <a:moveTo>
                      <a:pt x="505045" y="72424"/>
                    </a:moveTo>
                    <a:cubicBezTo>
                      <a:pt x="505045" y="63371"/>
                      <a:pt x="499109" y="58028"/>
                      <a:pt x="488868" y="54912"/>
                    </a:cubicBezTo>
                    <a:lnTo>
                      <a:pt x="482338" y="52834"/>
                    </a:lnTo>
                    <a:cubicBezTo>
                      <a:pt x="475808" y="50757"/>
                      <a:pt x="473879" y="47788"/>
                      <a:pt x="473879" y="44226"/>
                    </a:cubicBezTo>
                    <a:cubicBezTo>
                      <a:pt x="473879" y="39774"/>
                      <a:pt x="478777" y="37103"/>
                      <a:pt x="483674" y="37103"/>
                    </a:cubicBezTo>
                    <a:cubicBezTo>
                      <a:pt x="489314" y="37103"/>
                      <a:pt x="493469" y="40071"/>
                      <a:pt x="495992" y="43930"/>
                    </a:cubicBezTo>
                    <a:lnTo>
                      <a:pt x="503561" y="38735"/>
                    </a:lnTo>
                    <a:cubicBezTo>
                      <a:pt x="499703" y="32057"/>
                      <a:pt x="492727" y="28495"/>
                      <a:pt x="483971" y="28495"/>
                    </a:cubicBezTo>
                    <a:cubicBezTo>
                      <a:pt x="472543" y="28495"/>
                      <a:pt x="463638" y="34580"/>
                      <a:pt x="463490" y="44820"/>
                    </a:cubicBezTo>
                    <a:cubicBezTo>
                      <a:pt x="463490" y="53131"/>
                      <a:pt x="468536" y="59364"/>
                      <a:pt x="478331" y="62184"/>
                    </a:cubicBezTo>
                    <a:lnTo>
                      <a:pt x="484268" y="64113"/>
                    </a:lnTo>
                    <a:cubicBezTo>
                      <a:pt x="491985" y="66488"/>
                      <a:pt x="494657" y="69159"/>
                      <a:pt x="494657" y="73315"/>
                    </a:cubicBezTo>
                    <a:cubicBezTo>
                      <a:pt x="494657" y="78361"/>
                      <a:pt x="490056" y="81329"/>
                      <a:pt x="484268" y="81329"/>
                    </a:cubicBezTo>
                    <a:cubicBezTo>
                      <a:pt x="477738" y="81329"/>
                      <a:pt x="471356" y="78064"/>
                      <a:pt x="469130" y="71979"/>
                    </a:cubicBezTo>
                    <a:lnTo>
                      <a:pt x="460819" y="76580"/>
                    </a:lnTo>
                    <a:cubicBezTo>
                      <a:pt x="464381" y="85781"/>
                      <a:pt x="473582" y="90382"/>
                      <a:pt x="484119" y="90382"/>
                    </a:cubicBezTo>
                    <a:cubicBezTo>
                      <a:pt x="495992" y="90382"/>
                      <a:pt x="504749" y="84000"/>
                      <a:pt x="504749" y="72573"/>
                    </a:cubicBezTo>
                    <a:moveTo>
                      <a:pt x="454140" y="17513"/>
                    </a:moveTo>
                    <a:cubicBezTo>
                      <a:pt x="455031" y="16028"/>
                      <a:pt x="455772" y="14099"/>
                      <a:pt x="455772" y="12170"/>
                    </a:cubicBezTo>
                    <a:cubicBezTo>
                      <a:pt x="455772" y="7272"/>
                      <a:pt x="451914" y="3265"/>
                      <a:pt x="447016" y="3265"/>
                    </a:cubicBezTo>
                    <a:cubicBezTo>
                      <a:pt x="442119" y="3265"/>
                      <a:pt x="438111" y="7272"/>
                      <a:pt x="438111" y="12170"/>
                    </a:cubicBezTo>
                    <a:cubicBezTo>
                      <a:pt x="438111" y="15583"/>
                      <a:pt x="440189" y="18700"/>
                      <a:pt x="443009" y="20184"/>
                    </a:cubicBezTo>
                    <a:lnTo>
                      <a:pt x="434995" y="37103"/>
                    </a:lnTo>
                    <a:lnTo>
                      <a:pt x="441822" y="37103"/>
                    </a:lnTo>
                    <a:lnTo>
                      <a:pt x="453992" y="17513"/>
                    </a:lnTo>
                    <a:close/>
                    <a:moveTo>
                      <a:pt x="368655" y="89046"/>
                    </a:moveTo>
                    <a:lnTo>
                      <a:pt x="378895" y="89046"/>
                    </a:lnTo>
                    <a:lnTo>
                      <a:pt x="378895" y="59661"/>
                    </a:lnTo>
                    <a:cubicBezTo>
                      <a:pt x="378895" y="45710"/>
                      <a:pt x="386464" y="37993"/>
                      <a:pt x="396111" y="37993"/>
                    </a:cubicBezTo>
                    <a:cubicBezTo>
                      <a:pt x="404422" y="37993"/>
                      <a:pt x="410062" y="44226"/>
                      <a:pt x="410062" y="54170"/>
                    </a:cubicBezTo>
                    <a:lnTo>
                      <a:pt x="410062" y="89195"/>
                    </a:lnTo>
                    <a:lnTo>
                      <a:pt x="420154" y="89195"/>
                    </a:lnTo>
                    <a:lnTo>
                      <a:pt x="420154" y="52686"/>
                    </a:lnTo>
                    <a:cubicBezTo>
                      <a:pt x="420154" y="37993"/>
                      <a:pt x="410952" y="28643"/>
                      <a:pt x="397744" y="28643"/>
                    </a:cubicBezTo>
                    <a:cubicBezTo>
                      <a:pt x="390026" y="28643"/>
                      <a:pt x="382903" y="31908"/>
                      <a:pt x="378895" y="38884"/>
                    </a:cubicBezTo>
                    <a:lnTo>
                      <a:pt x="378895" y="29831"/>
                    </a:lnTo>
                    <a:lnTo>
                      <a:pt x="368655" y="29831"/>
                    </a:lnTo>
                    <a:lnTo>
                      <a:pt x="368655" y="89195"/>
                    </a:lnTo>
                    <a:close/>
                    <a:moveTo>
                      <a:pt x="323983" y="37548"/>
                    </a:moveTo>
                    <a:cubicBezTo>
                      <a:pt x="333036" y="37548"/>
                      <a:pt x="340753" y="43336"/>
                      <a:pt x="342089" y="53131"/>
                    </a:cubicBezTo>
                    <a:lnTo>
                      <a:pt x="304393" y="53131"/>
                    </a:lnTo>
                    <a:cubicBezTo>
                      <a:pt x="306322" y="43187"/>
                      <a:pt x="314930" y="37548"/>
                      <a:pt x="323835" y="37548"/>
                    </a:cubicBezTo>
                    <a:moveTo>
                      <a:pt x="293410" y="59364"/>
                    </a:moveTo>
                    <a:cubicBezTo>
                      <a:pt x="293410" y="76877"/>
                      <a:pt x="305728" y="90233"/>
                      <a:pt x="324131" y="90233"/>
                    </a:cubicBezTo>
                    <a:cubicBezTo>
                      <a:pt x="336450" y="90233"/>
                      <a:pt x="345503" y="84742"/>
                      <a:pt x="350846" y="76135"/>
                    </a:cubicBezTo>
                    <a:lnTo>
                      <a:pt x="342831" y="70495"/>
                    </a:lnTo>
                    <a:cubicBezTo>
                      <a:pt x="339121" y="76877"/>
                      <a:pt x="333481" y="80884"/>
                      <a:pt x="324280" y="80884"/>
                    </a:cubicBezTo>
                    <a:cubicBezTo>
                      <a:pt x="312555" y="80884"/>
                      <a:pt x="304096" y="72573"/>
                      <a:pt x="303799" y="61442"/>
                    </a:cubicBezTo>
                    <a:lnTo>
                      <a:pt x="352478" y="61442"/>
                    </a:lnTo>
                    <a:cubicBezTo>
                      <a:pt x="352478" y="60106"/>
                      <a:pt x="352478" y="59364"/>
                      <a:pt x="352478" y="58325"/>
                    </a:cubicBezTo>
                    <a:cubicBezTo>
                      <a:pt x="352478" y="39329"/>
                      <a:pt x="339715" y="28495"/>
                      <a:pt x="324280" y="28495"/>
                    </a:cubicBezTo>
                    <a:cubicBezTo>
                      <a:pt x="306174" y="28495"/>
                      <a:pt x="293410" y="42000"/>
                      <a:pt x="293410" y="59364"/>
                    </a:cubicBezTo>
                    <a:moveTo>
                      <a:pt x="191303" y="89046"/>
                    </a:moveTo>
                    <a:lnTo>
                      <a:pt x="201543" y="89046"/>
                    </a:lnTo>
                    <a:lnTo>
                      <a:pt x="201543" y="59661"/>
                    </a:lnTo>
                    <a:cubicBezTo>
                      <a:pt x="201543" y="46304"/>
                      <a:pt x="208370" y="37993"/>
                      <a:pt x="217868" y="37993"/>
                    </a:cubicBezTo>
                    <a:cubicBezTo>
                      <a:pt x="225586" y="37993"/>
                      <a:pt x="229593" y="44672"/>
                      <a:pt x="229593" y="54318"/>
                    </a:cubicBezTo>
                    <a:lnTo>
                      <a:pt x="229593" y="89195"/>
                    </a:lnTo>
                    <a:lnTo>
                      <a:pt x="239834" y="89195"/>
                    </a:lnTo>
                    <a:lnTo>
                      <a:pt x="239834" y="59810"/>
                    </a:lnTo>
                    <a:cubicBezTo>
                      <a:pt x="239834" y="46452"/>
                      <a:pt x="246512" y="38142"/>
                      <a:pt x="256159" y="38142"/>
                    </a:cubicBezTo>
                    <a:cubicBezTo>
                      <a:pt x="263876" y="38142"/>
                      <a:pt x="267884" y="44820"/>
                      <a:pt x="267884" y="54467"/>
                    </a:cubicBezTo>
                    <a:lnTo>
                      <a:pt x="267884" y="89343"/>
                    </a:lnTo>
                    <a:lnTo>
                      <a:pt x="278124" y="89343"/>
                    </a:lnTo>
                    <a:lnTo>
                      <a:pt x="278124" y="52834"/>
                    </a:lnTo>
                    <a:cubicBezTo>
                      <a:pt x="278124" y="38290"/>
                      <a:pt x="270258" y="28792"/>
                      <a:pt x="257346" y="28792"/>
                    </a:cubicBezTo>
                    <a:cubicBezTo>
                      <a:pt x="248590" y="28792"/>
                      <a:pt x="241021" y="33689"/>
                      <a:pt x="237904" y="41555"/>
                    </a:cubicBezTo>
                    <a:cubicBezTo>
                      <a:pt x="234936" y="33689"/>
                      <a:pt x="228554" y="28792"/>
                      <a:pt x="219650" y="28792"/>
                    </a:cubicBezTo>
                    <a:cubicBezTo>
                      <a:pt x="211635" y="28792"/>
                      <a:pt x="205105" y="32799"/>
                      <a:pt x="201692" y="39032"/>
                    </a:cubicBezTo>
                    <a:lnTo>
                      <a:pt x="201692" y="29979"/>
                    </a:lnTo>
                    <a:lnTo>
                      <a:pt x="191451" y="29979"/>
                    </a:lnTo>
                    <a:lnTo>
                      <a:pt x="191451" y="89343"/>
                    </a:lnTo>
                    <a:close/>
                    <a:moveTo>
                      <a:pt x="123627" y="59364"/>
                    </a:moveTo>
                    <a:cubicBezTo>
                      <a:pt x="123627" y="47491"/>
                      <a:pt x="131938" y="37993"/>
                      <a:pt x="144256" y="37993"/>
                    </a:cubicBezTo>
                    <a:cubicBezTo>
                      <a:pt x="156575" y="37993"/>
                      <a:pt x="164737" y="47491"/>
                      <a:pt x="164737" y="59364"/>
                    </a:cubicBezTo>
                    <a:cubicBezTo>
                      <a:pt x="164737" y="71237"/>
                      <a:pt x="156575" y="80735"/>
                      <a:pt x="144256" y="80735"/>
                    </a:cubicBezTo>
                    <a:cubicBezTo>
                      <a:pt x="131938" y="80735"/>
                      <a:pt x="123627" y="71237"/>
                      <a:pt x="123627" y="59364"/>
                    </a:cubicBezTo>
                    <a:moveTo>
                      <a:pt x="175274" y="59364"/>
                    </a:moveTo>
                    <a:cubicBezTo>
                      <a:pt x="175274" y="42297"/>
                      <a:pt x="162066" y="28495"/>
                      <a:pt x="144256" y="28495"/>
                    </a:cubicBezTo>
                    <a:cubicBezTo>
                      <a:pt x="126447" y="28495"/>
                      <a:pt x="113090" y="42297"/>
                      <a:pt x="113090" y="59364"/>
                    </a:cubicBezTo>
                    <a:cubicBezTo>
                      <a:pt x="113090" y="76431"/>
                      <a:pt x="126299" y="90233"/>
                      <a:pt x="144256" y="90233"/>
                    </a:cubicBezTo>
                    <a:cubicBezTo>
                      <a:pt x="162214" y="90233"/>
                      <a:pt x="175274" y="76431"/>
                      <a:pt x="175274" y="59364"/>
                    </a:cubicBezTo>
                    <a:moveTo>
                      <a:pt x="74206" y="89046"/>
                    </a:moveTo>
                    <a:lnTo>
                      <a:pt x="84001" y="89046"/>
                    </a:lnTo>
                    <a:lnTo>
                      <a:pt x="107005" y="4749"/>
                    </a:lnTo>
                    <a:lnTo>
                      <a:pt x="95429" y="4749"/>
                    </a:lnTo>
                    <a:lnTo>
                      <a:pt x="77768" y="70495"/>
                    </a:lnTo>
                    <a:lnTo>
                      <a:pt x="53428" y="3265"/>
                    </a:lnTo>
                    <a:lnTo>
                      <a:pt x="29237" y="70495"/>
                    </a:lnTo>
                    <a:lnTo>
                      <a:pt x="11576" y="4749"/>
                    </a:lnTo>
                    <a:lnTo>
                      <a:pt x="0" y="4749"/>
                    </a:lnTo>
                    <a:lnTo>
                      <a:pt x="23004" y="89046"/>
                    </a:lnTo>
                    <a:lnTo>
                      <a:pt x="32799" y="89046"/>
                    </a:lnTo>
                    <a:lnTo>
                      <a:pt x="53428" y="31760"/>
                    </a:lnTo>
                    <a:lnTo>
                      <a:pt x="73909" y="89046"/>
                    </a:lnTo>
                    <a:close/>
                  </a:path>
                </a:pathLst>
              </a:custGeom>
              <a:solidFill>
                <a:srgbClr val="FFFFFF"/>
              </a:solidFill>
              <a:ln w="14828" cap="flat">
                <a:noFill/>
                <a:prstDash val="solid"/>
                <a:miter/>
              </a:ln>
            </p:spPr>
            <p:txBody>
              <a:bodyPr rtlCol="0" anchor="ctr"/>
              <a:lstStyle/>
              <a:p>
                <a:endParaRPr lang="en-DK"/>
              </a:p>
            </p:txBody>
          </p:sp>
        </p:grpSp>
      </p:grpSp>
      <p:graphicFrame>
        <p:nvGraphicFramePr>
          <p:cNvPr id="6" name="think-cell data - do not delete" hidden="1">
            <a:extLst>
              <a:ext uri="{FF2B5EF4-FFF2-40B4-BE49-F238E27FC236}">
                <a16:creationId xmlns:a16="http://schemas.microsoft.com/office/drawing/2014/main" id="{C9BA015B-4712-A781-2C1B-C6E9F6BCA1E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think-cell data - do not delete" hidden="1">
                        <a:extLst>
                          <a:ext uri="{FF2B5EF4-FFF2-40B4-BE49-F238E27FC236}">
                            <a16:creationId xmlns:a16="http://schemas.microsoft.com/office/drawing/2014/main" id="{C9BA015B-4712-A781-2C1B-C6E9F6BCA1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DC1E036-C7C9-9A58-F9EB-C7E599CFB2BD}"/>
              </a:ext>
            </a:extLst>
          </p:cNvPr>
          <p:cNvSpPr>
            <a:spLocks noGrp="1"/>
          </p:cNvSpPr>
          <p:nvPr>
            <p:ph type="title"/>
          </p:nvPr>
        </p:nvSpPr>
        <p:spPr>
          <a:xfrm>
            <a:off x="565459" y="552715"/>
            <a:ext cx="10017711" cy="720197"/>
          </a:xfrm>
        </p:spPr>
        <p:txBody>
          <a:bodyPr vert="horz"/>
          <a:lstStyle/>
          <a:p>
            <a:r>
              <a:rPr lang="en-DK" sz="2600"/>
              <a:t>Our</a:t>
            </a:r>
            <a:r>
              <a:rPr lang="en-US" sz="2600"/>
              <a:t> CRO business </a:t>
            </a:r>
            <a:r>
              <a:rPr lang="en-DK" sz="2600"/>
              <a:t>is</a:t>
            </a:r>
            <a:r>
              <a:rPr lang="en-US" sz="2600"/>
              <a:t> </a:t>
            </a:r>
            <a:r>
              <a:rPr lang="en-DK" sz="2600" err="1"/>
              <a:t>Gubra’s</a:t>
            </a:r>
            <a:r>
              <a:rPr lang="en-US" sz="2600"/>
              <a:t> foundation, specializing in </a:t>
            </a:r>
            <a:br>
              <a:rPr lang="en-US" sz="2600"/>
            </a:br>
            <a:r>
              <a:rPr lang="en-US" sz="2600"/>
              <a:t>high-growth markets</a:t>
            </a:r>
            <a:r>
              <a:rPr lang="en-DK" sz="2600"/>
              <a:t> since inception in 2008</a:t>
            </a:r>
            <a:endParaRPr lang="en-US" sz="2600"/>
          </a:p>
        </p:txBody>
      </p:sp>
      <p:sp>
        <p:nvSpPr>
          <p:cNvPr id="8" name="Rectangle 7">
            <a:extLst>
              <a:ext uri="{FF2B5EF4-FFF2-40B4-BE49-F238E27FC236}">
                <a16:creationId xmlns:a16="http://schemas.microsoft.com/office/drawing/2014/main" id="{057780F3-C1D0-48AE-6D46-15A0C8171489}"/>
              </a:ext>
            </a:extLst>
          </p:cNvPr>
          <p:cNvSpPr>
            <a:spLocks/>
          </p:cNvSpPr>
          <p:nvPr/>
        </p:nvSpPr>
        <p:spPr>
          <a:xfrm>
            <a:off x="8693058" y="4139498"/>
            <a:ext cx="2039675" cy="1838188"/>
          </a:xfrm>
          <a:prstGeom prst="rect">
            <a:avLst/>
          </a:prstGeom>
          <a:noFill/>
          <a:ln w="12700" cap="flat" cmpd="sng" algn="ctr">
            <a:no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600"/>
              </a:spcAft>
              <a:buClrTx/>
              <a:buSzTx/>
              <a:buFontTx/>
              <a:buNone/>
              <a:tabLst/>
              <a:defRPr/>
            </a:pPr>
            <a:r>
              <a:rPr lang="en-DK" sz="4000" b="1">
                <a:solidFill>
                  <a:srgbClr val="FFFFFF"/>
                </a:solidFill>
                <a:latin typeface="Avenir Next LT Pro" panose="020B0504020202020204" pitchFamily="34" charset="0"/>
              </a:rPr>
              <a:t>14</a:t>
            </a:r>
            <a:r>
              <a:rPr kumimoji="0" lang="en-DK" sz="4000" b="1"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a:t>
            </a:r>
          </a:p>
          <a:p>
            <a:pPr algn="ctr">
              <a:spcAft>
                <a:spcPts val="600"/>
              </a:spcAft>
              <a:defRPr/>
            </a:pPr>
            <a:r>
              <a:rPr lang="en-DK" sz="1400">
                <a:solidFill>
                  <a:srgbClr val="FFFFFF"/>
                </a:solidFill>
                <a:latin typeface="Avenir Next LT Pro" panose="020B0504020202020204" pitchFamily="34" charset="0"/>
              </a:rPr>
              <a:t>10-year organic revenue CAGR</a:t>
            </a:r>
            <a:endParaRPr lang="en-US" sz="1400">
              <a:solidFill>
                <a:srgbClr val="FFFFFF"/>
              </a:solidFill>
              <a:latin typeface="Avenir Next LT Pro" panose="020B0504020202020204" pitchFamily="34" charset="0"/>
            </a:endParaRPr>
          </a:p>
          <a:p>
            <a:pPr marL="0" marR="0" lvl="0" indent="0" algn="ctr" defTabSz="914446"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sp>
        <p:nvSpPr>
          <p:cNvPr id="2" name="Oval 1">
            <a:extLst>
              <a:ext uri="{FF2B5EF4-FFF2-40B4-BE49-F238E27FC236}">
                <a16:creationId xmlns:a16="http://schemas.microsoft.com/office/drawing/2014/main" id="{1C608CBF-4749-27C9-D714-67BD7CDA57A2}"/>
              </a:ext>
            </a:extLst>
          </p:cNvPr>
          <p:cNvSpPr/>
          <p:nvPr/>
        </p:nvSpPr>
        <p:spPr>
          <a:xfrm>
            <a:off x="4409768" y="4706754"/>
            <a:ext cx="881216" cy="881216"/>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nvGrpSpPr>
          <p:cNvPr id="10" name="Graphic 8">
            <a:extLst>
              <a:ext uri="{FF2B5EF4-FFF2-40B4-BE49-F238E27FC236}">
                <a16:creationId xmlns:a16="http://schemas.microsoft.com/office/drawing/2014/main" id="{530FE343-6679-2065-7AC1-31A64BD6A832}"/>
              </a:ext>
            </a:extLst>
          </p:cNvPr>
          <p:cNvGrpSpPr/>
          <p:nvPr/>
        </p:nvGrpSpPr>
        <p:grpSpPr>
          <a:xfrm>
            <a:off x="4586176" y="4823592"/>
            <a:ext cx="528398" cy="604415"/>
            <a:chOff x="4576607" y="5159195"/>
            <a:chExt cx="556996" cy="637127"/>
          </a:xfrm>
        </p:grpSpPr>
        <p:sp>
          <p:nvSpPr>
            <p:cNvPr id="12" name="Freeform 11">
              <a:extLst>
                <a:ext uri="{FF2B5EF4-FFF2-40B4-BE49-F238E27FC236}">
                  <a16:creationId xmlns:a16="http://schemas.microsoft.com/office/drawing/2014/main" id="{3A5828F1-BA27-BF4C-A655-EE7C7541E64F}"/>
                </a:ext>
              </a:extLst>
            </p:cNvPr>
            <p:cNvSpPr/>
            <p:nvPr/>
          </p:nvSpPr>
          <p:spPr>
            <a:xfrm>
              <a:off x="4680536" y="5161253"/>
              <a:ext cx="450782" cy="633090"/>
            </a:xfrm>
            <a:custGeom>
              <a:avLst/>
              <a:gdLst>
                <a:gd name="connsiteX0" fmla="*/ 355363 w 450782"/>
                <a:gd name="connsiteY0" fmla="*/ 270352 h 633090"/>
                <a:gd name="connsiteX1" fmla="*/ 279720 w 450782"/>
                <a:gd name="connsiteY1" fmla="*/ 133474 h 633090"/>
                <a:gd name="connsiteX2" fmla="*/ 279720 w 450782"/>
                <a:gd name="connsiteY2" fmla="*/ 43700 h 633090"/>
                <a:gd name="connsiteX3" fmla="*/ 298158 w 450782"/>
                <a:gd name="connsiteY3" fmla="*/ 22008 h 633090"/>
                <a:gd name="connsiteX4" fmla="*/ 276253 w 450782"/>
                <a:gd name="connsiteY4" fmla="*/ 0 h 633090"/>
                <a:gd name="connsiteX5" fmla="*/ 172323 w 450782"/>
                <a:gd name="connsiteY5" fmla="*/ 0 h 633090"/>
                <a:gd name="connsiteX6" fmla="*/ 150418 w 450782"/>
                <a:gd name="connsiteY6" fmla="*/ 22008 h 633090"/>
                <a:gd name="connsiteX7" fmla="*/ 171220 w 450782"/>
                <a:gd name="connsiteY7" fmla="*/ 43937 h 633090"/>
                <a:gd name="connsiteX8" fmla="*/ 171220 w 450782"/>
                <a:gd name="connsiteY8" fmla="*/ 133553 h 633090"/>
                <a:gd name="connsiteX9" fmla="*/ 95578 w 450782"/>
                <a:gd name="connsiteY9" fmla="*/ 270431 h 633090"/>
                <a:gd name="connsiteX10" fmla="*/ 0 w 450782"/>
                <a:gd name="connsiteY10" fmla="*/ 460904 h 633090"/>
                <a:gd name="connsiteX11" fmla="*/ 44361 w 450782"/>
                <a:gd name="connsiteY11" fmla="*/ 568570 h 633090"/>
                <a:gd name="connsiteX12" fmla="*/ 225509 w 450782"/>
                <a:gd name="connsiteY12" fmla="*/ 633091 h 633090"/>
                <a:gd name="connsiteX13" fmla="*/ 228346 w 450782"/>
                <a:gd name="connsiteY13" fmla="*/ 633091 h 633090"/>
                <a:gd name="connsiteX14" fmla="*/ 450783 w 450782"/>
                <a:gd name="connsiteY14" fmla="*/ 460984 h 633090"/>
                <a:gd name="connsiteX15" fmla="*/ 355205 w 450782"/>
                <a:gd name="connsiteY15" fmla="*/ 270510 h 63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782" h="633090">
                  <a:moveTo>
                    <a:pt x="355363" y="270352"/>
                  </a:moveTo>
                  <a:cubicBezTo>
                    <a:pt x="316438" y="227286"/>
                    <a:pt x="279720" y="186515"/>
                    <a:pt x="279720" y="133474"/>
                  </a:cubicBezTo>
                  <a:lnTo>
                    <a:pt x="279720" y="43700"/>
                  </a:lnTo>
                  <a:cubicBezTo>
                    <a:pt x="290200" y="42037"/>
                    <a:pt x="298158" y="32933"/>
                    <a:pt x="298158" y="22008"/>
                  </a:cubicBezTo>
                  <a:cubicBezTo>
                    <a:pt x="298158" y="9896"/>
                    <a:pt x="288309" y="0"/>
                    <a:pt x="276253" y="0"/>
                  </a:cubicBezTo>
                  <a:lnTo>
                    <a:pt x="172323" y="0"/>
                  </a:lnTo>
                  <a:cubicBezTo>
                    <a:pt x="160268" y="0"/>
                    <a:pt x="150418" y="9896"/>
                    <a:pt x="150418" y="22008"/>
                  </a:cubicBezTo>
                  <a:cubicBezTo>
                    <a:pt x="150418" y="34121"/>
                    <a:pt x="159637" y="43383"/>
                    <a:pt x="171220" y="43937"/>
                  </a:cubicBezTo>
                  <a:lnTo>
                    <a:pt x="171220" y="133553"/>
                  </a:lnTo>
                  <a:cubicBezTo>
                    <a:pt x="171220" y="186594"/>
                    <a:pt x="134502" y="227286"/>
                    <a:pt x="95578" y="270431"/>
                  </a:cubicBezTo>
                  <a:cubicBezTo>
                    <a:pt x="50744" y="320068"/>
                    <a:pt x="0" y="376355"/>
                    <a:pt x="0" y="460904"/>
                  </a:cubicBezTo>
                  <a:cubicBezTo>
                    <a:pt x="0" y="503021"/>
                    <a:pt x="14892" y="539200"/>
                    <a:pt x="44361" y="568570"/>
                  </a:cubicBezTo>
                  <a:cubicBezTo>
                    <a:pt x="85019" y="609024"/>
                    <a:pt x="152546" y="633091"/>
                    <a:pt x="225509" y="633091"/>
                  </a:cubicBezTo>
                  <a:cubicBezTo>
                    <a:pt x="226455" y="633091"/>
                    <a:pt x="227401" y="633091"/>
                    <a:pt x="228346" y="633091"/>
                  </a:cubicBezTo>
                  <a:cubicBezTo>
                    <a:pt x="335506" y="632061"/>
                    <a:pt x="450783" y="577753"/>
                    <a:pt x="450783" y="460984"/>
                  </a:cubicBezTo>
                  <a:cubicBezTo>
                    <a:pt x="450783" y="376434"/>
                    <a:pt x="400039" y="320147"/>
                    <a:pt x="355205" y="270510"/>
                  </a:cubicBezTo>
                  <a:close/>
                </a:path>
              </a:pathLst>
            </a:custGeom>
            <a:solidFill>
              <a:srgbClr val="001965"/>
            </a:solidFill>
            <a:ln w="7781" cap="flat">
              <a:noFill/>
              <a:prstDash val="solid"/>
              <a:miter/>
            </a:ln>
          </p:spPr>
          <p:txBody>
            <a:bodyPr rtlCol="0" anchor="ctr"/>
            <a:lstStyle/>
            <a:p>
              <a:endParaRPr lang="en-DK"/>
            </a:p>
          </p:txBody>
        </p:sp>
        <p:sp>
          <p:nvSpPr>
            <p:cNvPr id="13" name="Freeform 12">
              <a:extLst>
                <a:ext uri="{FF2B5EF4-FFF2-40B4-BE49-F238E27FC236}">
                  <a16:creationId xmlns:a16="http://schemas.microsoft.com/office/drawing/2014/main" id="{5F672AD7-A26E-BE8C-E8DF-9479177DD7DA}"/>
                </a:ext>
              </a:extLst>
            </p:cNvPr>
            <p:cNvSpPr/>
            <p:nvPr/>
          </p:nvSpPr>
          <p:spPr>
            <a:xfrm>
              <a:off x="4680773" y="5473961"/>
              <a:ext cx="450782" cy="320382"/>
            </a:xfrm>
            <a:custGeom>
              <a:avLst/>
              <a:gdLst>
                <a:gd name="connsiteX0" fmla="*/ 400039 w 450782"/>
                <a:gd name="connsiteY0" fmla="*/ 10606 h 320382"/>
                <a:gd name="connsiteX1" fmla="*/ 385935 w 450782"/>
                <a:gd name="connsiteY1" fmla="*/ 4352 h 320382"/>
                <a:gd name="connsiteX2" fmla="*/ 345041 w 450782"/>
                <a:gd name="connsiteY2" fmla="*/ 5856 h 320382"/>
                <a:gd name="connsiteX3" fmla="*/ 326051 w 450782"/>
                <a:gd name="connsiteY3" fmla="*/ 20106 h 320382"/>
                <a:gd name="connsiteX4" fmla="*/ 280193 w 450782"/>
                <a:gd name="connsiteY4" fmla="*/ 38155 h 320382"/>
                <a:gd name="connsiteX5" fmla="*/ 244420 w 450782"/>
                <a:gd name="connsiteY5" fmla="*/ 19710 h 320382"/>
                <a:gd name="connsiteX6" fmla="*/ 215739 w 450782"/>
                <a:gd name="connsiteY6" fmla="*/ 3639 h 320382"/>
                <a:gd name="connsiteX7" fmla="*/ 165468 w 450782"/>
                <a:gd name="connsiteY7" fmla="*/ 28893 h 320382"/>
                <a:gd name="connsiteX8" fmla="*/ 136472 w 450782"/>
                <a:gd name="connsiteY8" fmla="*/ 40530 h 320382"/>
                <a:gd name="connsiteX9" fmla="*/ 101251 w 450782"/>
                <a:gd name="connsiteY9" fmla="*/ 21847 h 320382"/>
                <a:gd name="connsiteX10" fmla="*/ 57599 w 450782"/>
                <a:gd name="connsiteY10" fmla="*/ 14010 h 320382"/>
                <a:gd name="connsiteX11" fmla="*/ 39555 w 450782"/>
                <a:gd name="connsiteY11" fmla="*/ 26281 h 320382"/>
                <a:gd name="connsiteX12" fmla="*/ 0 w 450782"/>
                <a:gd name="connsiteY12" fmla="*/ 148196 h 320382"/>
                <a:gd name="connsiteX13" fmla="*/ 44361 w 450782"/>
                <a:gd name="connsiteY13" fmla="*/ 255862 h 320382"/>
                <a:gd name="connsiteX14" fmla="*/ 225509 w 450782"/>
                <a:gd name="connsiteY14" fmla="*/ 320382 h 320382"/>
                <a:gd name="connsiteX15" fmla="*/ 228346 w 450782"/>
                <a:gd name="connsiteY15" fmla="*/ 320382 h 320382"/>
                <a:gd name="connsiteX16" fmla="*/ 450783 w 450782"/>
                <a:gd name="connsiteY16" fmla="*/ 148275 h 320382"/>
                <a:gd name="connsiteX17" fmla="*/ 400039 w 450782"/>
                <a:gd name="connsiteY17" fmla="*/ 10764 h 320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0782" h="320382">
                  <a:moveTo>
                    <a:pt x="400039" y="10606"/>
                  </a:moveTo>
                  <a:lnTo>
                    <a:pt x="385935" y="4352"/>
                  </a:lnTo>
                  <a:cubicBezTo>
                    <a:pt x="372146" y="-1903"/>
                    <a:pt x="358751" y="-1428"/>
                    <a:pt x="345041" y="5856"/>
                  </a:cubicBezTo>
                  <a:cubicBezTo>
                    <a:pt x="337713" y="9735"/>
                    <a:pt x="331803" y="15039"/>
                    <a:pt x="326051" y="20106"/>
                  </a:cubicBezTo>
                  <a:cubicBezTo>
                    <a:pt x="314468" y="30397"/>
                    <a:pt x="302570" y="41005"/>
                    <a:pt x="280193" y="38155"/>
                  </a:cubicBezTo>
                  <a:cubicBezTo>
                    <a:pt x="266010" y="36335"/>
                    <a:pt x="255057" y="27864"/>
                    <a:pt x="244420" y="19710"/>
                  </a:cubicBezTo>
                  <a:cubicBezTo>
                    <a:pt x="235044" y="12506"/>
                    <a:pt x="226219" y="5777"/>
                    <a:pt x="215739" y="3639"/>
                  </a:cubicBezTo>
                  <a:cubicBezTo>
                    <a:pt x="199271" y="393"/>
                    <a:pt x="184300" y="10843"/>
                    <a:pt x="165468" y="28893"/>
                  </a:cubicBezTo>
                  <a:cubicBezTo>
                    <a:pt x="157116" y="36889"/>
                    <a:pt x="147188" y="40926"/>
                    <a:pt x="136472" y="40530"/>
                  </a:cubicBezTo>
                  <a:cubicBezTo>
                    <a:pt x="124022" y="40055"/>
                    <a:pt x="111809" y="33643"/>
                    <a:pt x="101251" y="21847"/>
                  </a:cubicBezTo>
                  <a:cubicBezTo>
                    <a:pt x="78637" y="-3248"/>
                    <a:pt x="58465" y="13297"/>
                    <a:pt x="57599" y="14010"/>
                  </a:cubicBezTo>
                  <a:lnTo>
                    <a:pt x="39555" y="26281"/>
                  </a:lnTo>
                  <a:cubicBezTo>
                    <a:pt x="16783" y="60322"/>
                    <a:pt x="0" y="99588"/>
                    <a:pt x="0" y="148196"/>
                  </a:cubicBezTo>
                  <a:cubicBezTo>
                    <a:pt x="0" y="190313"/>
                    <a:pt x="14892" y="226491"/>
                    <a:pt x="44361" y="255862"/>
                  </a:cubicBezTo>
                  <a:cubicBezTo>
                    <a:pt x="85019" y="296316"/>
                    <a:pt x="152546" y="320382"/>
                    <a:pt x="225509" y="320382"/>
                  </a:cubicBezTo>
                  <a:cubicBezTo>
                    <a:pt x="226455" y="320382"/>
                    <a:pt x="227401" y="320382"/>
                    <a:pt x="228346" y="320382"/>
                  </a:cubicBezTo>
                  <a:cubicBezTo>
                    <a:pt x="335506" y="319353"/>
                    <a:pt x="450783" y="265045"/>
                    <a:pt x="450783" y="148275"/>
                  </a:cubicBezTo>
                  <a:cubicBezTo>
                    <a:pt x="450783" y="91988"/>
                    <a:pt x="428247" y="48368"/>
                    <a:pt x="400039" y="10764"/>
                  </a:cubicBezTo>
                  <a:close/>
                </a:path>
              </a:pathLst>
            </a:custGeom>
            <a:solidFill>
              <a:srgbClr val="2878FF">
                <a:alpha val="50128"/>
              </a:srgbClr>
            </a:solidFill>
            <a:ln w="7781" cap="flat">
              <a:noFill/>
              <a:prstDash val="solid"/>
              <a:miter/>
            </a:ln>
          </p:spPr>
          <p:txBody>
            <a:bodyPr rtlCol="0" anchor="ctr"/>
            <a:lstStyle/>
            <a:p>
              <a:endParaRPr lang="en-DK"/>
            </a:p>
          </p:txBody>
        </p:sp>
        <p:sp>
          <p:nvSpPr>
            <p:cNvPr id="14" name="Freeform 13">
              <a:extLst>
                <a:ext uri="{FF2B5EF4-FFF2-40B4-BE49-F238E27FC236}">
                  <a16:creationId xmlns:a16="http://schemas.microsoft.com/office/drawing/2014/main" id="{66FCB20E-9107-CA5B-D8D5-B197FA4E29FC}"/>
                </a:ext>
              </a:extLst>
            </p:cNvPr>
            <p:cNvSpPr/>
            <p:nvPr/>
          </p:nvSpPr>
          <p:spPr>
            <a:xfrm>
              <a:off x="4921017" y="5195373"/>
              <a:ext cx="39318" cy="11874"/>
            </a:xfrm>
            <a:custGeom>
              <a:avLst/>
              <a:gdLst>
                <a:gd name="connsiteX0" fmla="*/ 33409 w 39318"/>
                <a:gd name="connsiteY0" fmla="*/ 11875 h 11874"/>
                <a:gd name="connsiteX1" fmla="*/ 5910 w 39318"/>
                <a:gd name="connsiteY1" fmla="*/ 11875 h 11874"/>
                <a:gd name="connsiteX2" fmla="*/ 0 w 39318"/>
                <a:gd name="connsiteY2" fmla="*/ 5937 h 11874"/>
                <a:gd name="connsiteX3" fmla="*/ 5910 w 39318"/>
                <a:gd name="connsiteY3" fmla="*/ 0 h 11874"/>
                <a:gd name="connsiteX4" fmla="*/ 33409 w 39318"/>
                <a:gd name="connsiteY4" fmla="*/ 0 h 11874"/>
                <a:gd name="connsiteX5" fmla="*/ 39318 w 39318"/>
                <a:gd name="connsiteY5" fmla="*/ 5937 h 11874"/>
                <a:gd name="connsiteX6" fmla="*/ 33409 w 39318"/>
                <a:gd name="connsiteY6" fmla="*/ 11875 h 1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18" h="11874">
                  <a:moveTo>
                    <a:pt x="33409" y="11875"/>
                  </a:moveTo>
                  <a:lnTo>
                    <a:pt x="5910" y="11875"/>
                  </a:lnTo>
                  <a:cubicBezTo>
                    <a:pt x="2679" y="11875"/>
                    <a:pt x="0" y="9183"/>
                    <a:pt x="0" y="5937"/>
                  </a:cubicBezTo>
                  <a:cubicBezTo>
                    <a:pt x="0" y="2692"/>
                    <a:pt x="2679" y="0"/>
                    <a:pt x="5910" y="0"/>
                  </a:cubicBezTo>
                  <a:lnTo>
                    <a:pt x="33409" y="0"/>
                  </a:lnTo>
                  <a:cubicBezTo>
                    <a:pt x="36639" y="0"/>
                    <a:pt x="39318" y="2692"/>
                    <a:pt x="39318" y="5937"/>
                  </a:cubicBezTo>
                  <a:cubicBezTo>
                    <a:pt x="39318" y="9183"/>
                    <a:pt x="36639" y="11875"/>
                    <a:pt x="33409" y="11875"/>
                  </a:cubicBezTo>
                  <a:close/>
                </a:path>
              </a:pathLst>
            </a:custGeom>
            <a:solidFill>
              <a:srgbClr val="FFFFFF"/>
            </a:solidFill>
            <a:ln w="7781" cap="flat">
              <a:noFill/>
              <a:prstDash val="solid"/>
              <a:miter/>
            </a:ln>
          </p:spPr>
          <p:txBody>
            <a:bodyPr rtlCol="0" anchor="ctr"/>
            <a:lstStyle/>
            <a:p>
              <a:endParaRPr lang="en-DK"/>
            </a:p>
          </p:txBody>
        </p:sp>
        <p:sp>
          <p:nvSpPr>
            <p:cNvPr id="15" name="Freeform 14">
              <a:extLst>
                <a:ext uri="{FF2B5EF4-FFF2-40B4-BE49-F238E27FC236}">
                  <a16:creationId xmlns:a16="http://schemas.microsoft.com/office/drawing/2014/main" id="{E7146306-A305-56B9-55C2-053E5EBB4EF4}"/>
                </a:ext>
              </a:extLst>
            </p:cNvPr>
            <p:cNvSpPr/>
            <p:nvPr/>
          </p:nvSpPr>
          <p:spPr>
            <a:xfrm>
              <a:off x="4729949" y="5464188"/>
              <a:ext cx="344257" cy="52440"/>
            </a:xfrm>
            <a:custGeom>
              <a:avLst/>
              <a:gdLst>
                <a:gd name="connsiteX0" fmla="*/ 88714 w 344257"/>
                <a:gd name="connsiteY0" fmla="*/ 52361 h 52440"/>
                <a:gd name="connsiteX1" fmla="*/ 87217 w 344257"/>
                <a:gd name="connsiteY1" fmla="*/ 52361 h 52440"/>
                <a:gd name="connsiteX2" fmla="*/ 50578 w 344257"/>
                <a:gd name="connsiteY2" fmla="*/ 32966 h 52440"/>
                <a:gd name="connsiteX3" fmla="*/ 9762 w 344257"/>
                <a:gd name="connsiteY3" fmla="*/ 25366 h 52440"/>
                <a:gd name="connsiteX4" fmla="*/ 1410 w 344257"/>
                <a:gd name="connsiteY4" fmla="*/ 24653 h 52440"/>
                <a:gd name="connsiteX5" fmla="*/ 2119 w 344257"/>
                <a:gd name="connsiteY5" fmla="*/ 16262 h 52440"/>
                <a:gd name="connsiteX6" fmla="*/ 59324 w 344257"/>
                <a:gd name="connsiteY6" fmla="*/ 25049 h 52440"/>
                <a:gd name="connsiteX7" fmla="*/ 87690 w 344257"/>
                <a:gd name="connsiteY7" fmla="*/ 40487 h 52440"/>
                <a:gd name="connsiteX8" fmla="*/ 109516 w 344257"/>
                <a:gd name="connsiteY8" fmla="*/ 31620 h 52440"/>
                <a:gd name="connsiteX9" fmla="*/ 168533 w 344257"/>
                <a:gd name="connsiteY9" fmla="*/ 3833 h 52440"/>
                <a:gd name="connsiteX10" fmla="*/ 201232 w 344257"/>
                <a:gd name="connsiteY10" fmla="*/ 21724 h 52440"/>
                <a:gd name="connsiteX11" fmla="*/ 232277 w 344257"/>
                <a:gd name="connsiteY11" fmla="*/ 38191 h 52440"/>
                <a:gd name="connsiteX12" fmla="*/ 270414 w 344257"/>
                <a:gd name="connsiteY12" fmla="*/ 22595 h 52440"/>
                <a:gd name="connsiteX13" fmla="*/ 291294 w 344257"/>
                <a:gd name="connsiteY13" fmla="*/ 6999 h 52440"/>
                <a:gd name="connsiteX14" fmla="*/ 340777 w 344257"/>
                <a:gd name="connsiteY14" fmla="*/ 5179 h 52440"/>
                <a:gd name="connsiteX15" fmla="*/ 343771 w 344257"/>
                <a:gd name="connsiteY15" fmla="*/ 13016 h 52440"/>
                <a:gd name="connsiteX16" fmla="*/ 335971 w 344257"/>
                <a:gd name="connsiteY16" fmla="*/ 16024 h 52440"/>
                <a:gd name="connsiteX17" fmla="*/ 296889 w 344257"/>
                <a:gd name="connsiteY17" fmla="*/ 17528 h 52440"/>
                <a:gd name="connsiteX18" fmla="*/ 278293 w 344257"/>
                <a:gd name="connsiteY18" fmla="*/ 31462 h 52440"/>
                <a:gd name="connsiteX19" fmla="*/ 230859 w 344257"/>
                <a:gd name="connsiteY19" fmla="*/ 49986 h 52440"/>
                <a:gd name="connsiteX20" fmla="*/ 194141 w 344257"/>
                <a:gd name="connsiteY20" fmla="*/ 31145 h 52440"/>
                <a:gd name="connsiteX21" fmla="*/ 166326 w 344257"/>
                <a:gd name="connsiteY21" fmla="*/ 15470 h 52440"/>
                <a:gd name="connsiteX22" fmla="*/ 117789 w 344257"/>
                <a:gd name="connsiteY22" fmla="*/ 40249 h 52440"/>
                <a:gd name="connsiteX23" fmla="*/ 88872 w 344257"/>
                <a:gd name="connsiteY23" fmla="*/ 52441 h 52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4257" h="52440">
                  <a:moveTo>
                    <a:pt x="88714" y="52361"/>
                  </a:moveTo>
                  <a:cubicBezTo>
                    <a:pt x="88241" y="52361"/>
                    <a:pt x="87690" y="52361"/>
                    <a:pt x="87217" y="52361"/>
                  </a:cubicBezTo>
                  <a:cubicBezTo>
                    <a:pt x="74216" y="51886"/>
                    <a:pt x="61530" y="45157"/>
                    <a:pt x="50578" y="32966"/>
                  </a:cubicBezTo>
                  <a:cubicBezTo>
                    <a:pt x="29224" y="9295"/>
                    <a:pt x="10550" y="24653"/>
                    <a:pt x="9762" y="25366"/>
                  </a:cubicBezTo>
                  <a:cubicBezTo>
                    <a:pt x="7319" y="27503"/>
                    <a:pt x="3537" y="27187"/>
                    <a:pt x="1410" y="24653"/>
                  </a:cubicBezTo>
                  <a:cubicBezTo>
                    <a:pt x="-718" y="22120"/>
                    <a:pt x="-402" y="18399"/>
                    <a:pt x="2119" y="16262"/>
                  </a:cubicBezTo>
                  <a:cubicBezTo>
                    <a:pt x="2434" y="16024"/>
                    <a:pt x="30406" y="-7092"/>
                    <a:pt x="59324" y="25049"/>
                  </a:cubicBezTo>
                  <a:cubicBezTo>
                    <a:pt x="68149" y="34787"/>
                    <a:pt x="77919" y="40170"/>
                    <a:pt x="87690" y="40487"/>
                  </a:cubicBezTo>
                  <a:cubicBezTo>
                    <a:pt x="95648" y="40882"/>
                    <a:pt x="103133" y="37716"/>
                    <a:pt x="109516" y="31620"/>
                  </a:cubicBezTo>
                  <a:cubicBezTo>
                    <a:pt x="126063" y="15787"/>
                    <a:pt x="145604" y="-838"/>
                    <a:pt x="168533" y="3833"/>
                  </a:cubicBezTo>
                  <a:cubicBezTo>
                    <a:pt x="181219" y="6366"/>
                    <a:pt x="191383" y="14203"/>
                    <a:pt x="201232" y="21724"/>
                  </a:cubicBezTo>
                  <a:cubicBezTo>
                    <a:pt x="211239" y="29403"/>
                    <a:pt x="220773" y="36687"/>
                    <a:pt x="232277" y="38191"/>
                  </a:cubicBezTo>
                  <a:cubicBezTo>
                    <a:pt x="250242" y="40487"/>
                    <a:pt x="259146" y="32570"/>
                    <a:pt x="270414" y="22595"/>
                  </a:cubicBezTo>
                  <a:cubicBezTo>
                    <a:pt x="276560" y="17133"/>
                    <a:pt x="282942" y="11433"/>
                    <a:pt x="291294" y="6999"/>
                  </a:cubicBezTo>
                  <a:cubicBezTo>
                    <a:pt x="307684" y="-1709"/>
                    <a:pt x="324309" y="-2263"/>
                    <a:pt x="340777" y="5179"/>
                  </a:cubicBezTo>
                  <a:cubicBezTo>
                    <a:pt x="343771" y="6524"/>
                    <a:pt x="345032" y="10008"/>
                    <a:pt x="343771" y="13016"/>
                  </a:cubicBezTo>
                  <a:cubicBezTo>
                    <a:pt x="342511" y="16024"/>
                    <a:pt x="338965" y="17291"/>
                    <a:pt x="335971" y="16024"/>
                  </a:cubicBezTo>
                  <a:cubicBezTo>
                    <a:pt x="322812" y="10087"/>
                    <a:pt x="309969" y="10562"/>
                    <a:pt x="296889" y="17528"/>
                  </a:cubicBezTo>
                  <a:cubicBezTo>
                    <a:pt x="289797" y="21328"/>
                    <a:pt x="283966" y="26474"/>
                    <a:pt x="278293" y="31462"/>
                  </a:cubicBezTo>
                  <a:cubicBezTo>
                    <a:pt x="266395" y="42070"/>
                    <a:pt x="254025" y="52916"/>
                    <a:pt x="230859" y="49986"/>
                  </a:cubicBezTo>
                  <a:cubicBezTo>
                    <a:pt x="216125" y="48086"/>
                    <a:pt x="204936" y="39457"/>
                    <a:pt x="194141" y="31145"/>
                  </a:cubicBezTo>
                  <a:cubicBezTo>
                    <a:pt x="185001" y="24099"/>
                    <a:pt x="176333" y="17528"/>
                    <a:pt x="166326" y="15470"/>
                  </a:cubicBezTo>
                  <a:cubicBezTo>
                    <a:pt x="150725" y="12303"/>
                    <a:pt x="136148" y="22595"/>
                    <a:pt x="117789" y="40249"/>
                  </a:cubicBezTo>
                  <a:cubicBezTo>
                    <a:pt x="109437" y="48245"/>
                    <a:pt x="99430" y="52441"/>
                    <a:pt x="88872" y="52441"/>
                  </a:cubicBezTo>
                  <a:close/>
                </a:path>
              </a:pathLst>
            </a:custGeom>
            <a:solidFill>
              <a:srgbClr val="FFFFFF"/>
            </a:solidFill>
            <a:ln w="7781" cap="flat">
              <a:noFill/>
              <a:prstDash val="solid"/>
              <a:miter/>
            </a:ln>
          </p:spPr>
          <p:txBody>
            <a:bodyPr rtlCol="0" anchor="ctr"/>
            <a:lstStyle/>
            <a:p>
              <a:endParaRPr lang="en-DK"/>
            </a:p>
          </p:txBody>
        </p:sp>
        <p:grpSp>
          <p:nvGrpSpPr>
            <p:cNvPr id="16" name="Graphic 8">
              <a:extLst>
                <a:ext uri="{FF2B5EF4-FFF2-40B4-BE49-F238E27FC236}">
                  <a16:creationId xmlns:a16="http://schemas.microsoft.com/office/drawing/2014/main" id="{CA05AB3A-5058-1F50-7034-AF687C2A7CA5}"/>
                </a:ext>
              </a:extLst>
            </p:cNvPr>
            <p:cNvGrpSpPr/>
            <p:nvPr/>
          </p:nvGrpSpPr>
          <p:grpSpPr>
            <a:xfrm>
              <a:off x="4964669" y="5607195"/>
              <a:ext cx="67132" cy="67370"/>
              <a:chOff x="4964669" y="5607195"/>
              <a:chExt cx="67132" cy="67370"/>
            </a:xfrm>
          </p:grpSpPr>
          <p:sp>
            <p:nvSpPr>
              <p:cNvPr id="17" name="Freeform 16">
                <a:extLst>
                  <a:ext uri="{FF2B5EF4-FFF2-40B4-BE49-F238E27FC236}">
                    <a16:creationId xmlns:a16="http://schemas.microsoft.com/office/drawing/2014/main" id="{15CF9F54-49E3-57BB-A8CA-EA25A39DB553}"/>
                  </a:ext>
                </a:extLst>
              </p:cNvPr>
              <p:cNvSpPr/>
              <p:nvPr/>
            </p:nvSpPr>
            <p:spPr>
              <a:xfrm>
                <a:off x="4970579" y="5613132"/>
                <a:ext cx="55313" cy="55574"/>
              </a:xfrm>
              <a:custGeom>
                <a:avLst/>
                <a:gdLst>
                  <a:gd name="connsiteX0" fmla="*/ 55314 w 55313"/>
                  <a:gd name="connsiteY0" fmla="*/ 27787 h 55574"/>
                  <a:gd name="connsiteX1" fmla="*/ 27657 w 55313"/>
                  <a:gd name="connsiteY1" fmla="*/ 55575 h 55574"/>
                  <a:gd name="connsiteX2" fmla="*/ 0 w 55313"/>
                  <a:gd name="connsiteY2" fmla="*/ 27787 h 55574"/>
                  <a:gd name="connsiteX3" fmla="*/ 27657 w 55313"/>
                  <a:gd name="connsiteY3" fmla="*/ 0 h 55574"/>
                  <a:gd name="connsiteX4" fmla="*/ 55314 w 55313"/>
                  <a:gd name="connsiteY4" fmla="*/ 27787 h 5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13" h="55574">
                    <a:moveTo>
                      <a:pt x="55314" y="27787"/>
                    </a:moveTo>
                    <a:cubicBezTo>
                      <a:pt x="55314" y="43134"/>
                      <a:pt x="42931" y="55575"/>
                      <a:pt x="27657" y="55575"/>
                    </a:cubicBezTo>
                    <a:cubicBezTo>
                      <a:pt x="12382" y="55575"/>
                      <a:pt x="0" y="43134"/>
                      <a:pt x="0" y="27787"/>
                    </a:cubicBezTo>
                    <a:cubicBezTo>
                      <a:pt x="0" y="12441"/>
                      <a:pt x="12382" y="0"/>
                      <a:pt x="27657" y="0"/>
                    </a:cubicBezTo>
                    <a:cubicBezTo>
                      <a:pt x="42931" y="0"/>
                      <a:pt x="55314" y="12441"/>
                      <a:pt x="55314" y="27787"/>
                    </a:cubicBezTo>
                    <a:close/>
                  </a:path>
                </a:pathLst>
              </a:custGeom>
              <a:solidFill>
                <a:srgbClr val="001965"/>
              </a:solidFill>
              <a:ln w="7781" cap="flat">
                <a:noFill/>
                <a:prstDash val="solid"/>
                <a:miter/>
              </a:ln>
            </p:spPr>
            <p:txBody>
              <a:bodyPr rtlCol="0" anchor="ctr"/>
              <a:lstStyle/>
              <a:p>
                <a:endParaRPr lang="en-DK"/>
              </a:p>
            </p:txBody>
          </p:sp>
          <p:sp>
            <p:nvSpPr>
              <p:cNvPr id="18" name="Freeform 17">
                <a:extLst>
                  <a:ext uri="{FF2B5EF4-FFF2-40B4-BE49-F238E27FC236}">
                    <a16:creationId xmlns:a16="http://schemas.microsoft.com/office/drawing/2014/main" id="{FCB34537-35B2-1961-04C8-6F1CC8809601}"/>
                  </a:ext>
                </a:extLst>
              </p:cNvPr>
              <p:cNvSpPr/>
              <p:nvPr/>
            </p:nvSpPr>
            <p:spPr>
              <a:xfrm>
                <a:off x="4964669" y="5607195"/>
                <a:ext cx="67132" cy="67370"/>
              </a:xfrm>
              <a:custGeom>
                <a:avLst/>
                <a:gdLst>
                  <a:gd name="connsiteX0" fmla="*/ 33566 w 67132"/>
                  <a:gd name="connsiteY0" fmla="*/ 67370 h 67370"/>
                  <a:gd name="connsiteX1" fmla="*/ 0 w 67132"/>
                  <a:gd name="connsiteY1" fmla="*/ 33646 h 67370"/>
                  <a:gd name="connsiteX2" fmla="*/ 33566 w 67132"/>
                  <a:gd name="connsiteY2" fmla="*/ 0 h 67370"/>
                  <a:gd name="connsiteX3" fmla="*/ 67133 w 67132"/>
                  <a:gd name="connsiteY3" fmla="*/ 33646 h 67370"/>
                  <a:gd name="connsiteX4" fmla="*/ 33566 w 67132"/>
                  <a:gd name="connsiteY4" fmla="*/ 67370 h 67370"/>
                  <a:gd name="connsiteX5" fmla="*/ 33566 w 67132"/>
                  <a:gd name="connsiteY5" fmla="*/ 11875 h 67370"/>
                  <a:gd name="connsiteX6" fmla="*/ 11819 w 67132"/>
                  <a:gd name="connsiteY6" fmla="*/ 33646 h 67370"/>
                  <a:gd name="connsiteX7" fmla="*/ 33566 w 67132"/>
                  <a:gd name="connsiteY7" fmla="*/ 55495 h 67370"/>
                  <a:gd name="connsiteX8" fmla="*/ 55314 w 67132"/>
                  <a:gd name="connsiteY8" fmla="*/ 33646 h 67370"/>
                  <a:gd name="connsiteX9" fmla="*/ 33566 w 67132"/>
                  <a:gd name="connsiteY9" fmla="*/ 11875 h 6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132" h="67370">
                    <a:moveTo>
                      <a:pt x="33566" y="67370"/>
                    </a:moveTo>
                    <a:cubicBezTo>
                      <a:pt x="15050" y="67370"/>
                      <a:pt x="0" y="52250"/>
                      <a:pt x="0" y="33646"/>
                    </a:cubicBezTo>
                    <a:cubicBezTo>
                      <a:pt x="0" y="15042"/>
                      <a:pt x="15050" y="0"/>
                      <a:pt x="33566" y="0"/>
                    </a:cubicBezTo>
                    <a:cubicBezTo>
                      <a:pt x="52083" y="0"/>
                      <a:pt x="67133" y="15121"/>
                      <a:pt x="67133" y="33646"/>
                    </a:cubicBezTo>
                    <a:cubicBezTo>
                      <a:pt x="67133" y="52170"/>
                      <a:pt x="52083" y="67370"/>
                      <a:pt x="33566" y="67370"/>
                    </a:cubicBezTo>
                    <a:close/>
                    <a:moveTo>
                      <a:pt x="33566" y="11875"/>
                    </a:moveTo>
                    <a:cubicBezTo>
                      <a:pt x="21590" y="11875"/>
                      <a:pt x="11819" y="21691"/>
                      <a:pt x="11819" y="33646"/>
                    </a:cubicBezTo>
                    <a:cubicBezTo>
                      <a:pt x="11819" y="45600"/>
                      <a:pt x="21590" y="55495"/>
                      <a:pt x="33566" y="55495"/>
                    </a:cubicBezTo>
                    <a:cubicBezTo>
                      <a:pt x="45543" y="55495"/>
                      <a:pt x="55314" y="45679"/>
                      <a:pt x="55314" y="33646"/>
                    </a:cubicBezTo>
                    <a:cubicBezTo>
                      <a:pt x="55314" y="21612"/>
                      <a:pt x="45543" y="11875"/>
                      <a:pt x="33566" y="11875"/>
                    </a:cubicBezTo>
                    <a:close/>
                  </a:path>
                </a:pathLst>
              </a:custGeom>
              <a:solidFill>
                <a:srgbClr val="FFFFFF"/>
              </a:solidFill>
              <a:ln w="7781" cap="flat">
                <a:noFill/>
                <a:prstDash val="solid"/>
                <a:miter/>
              </a:ln>
            </p:spPr>
            <p:txBody>
              <a:bodyPr rtlCol="0" anchor="ctr"/>
              <a:lstStyle/>
              <a:p>
                <a:endParaRPr lang="en-DK"/>
              </a:p>
            </p:txBody>
          </p:sp>
        </p:grpSp>
        <p:grpSp>
          <p:nvGrpSpPr>
            <p:cNvPr id="19" name="Graphic 8">
              <a:extLst>
                <a:ext uri="{FF2B5EF4-FFF2-40B4-BE49-F238E27FC236}">
                  <a16:creationId xmlns:a16="http://schemas.microsoft.com/office/drawing/2014/main" id="{0776CF69-D715-A31D-04DD-13C4C106A8E2}"/>
                </a:ext>
              </a:extLst>
            </p:cNvPr>
            <p:cNvGrpSpPr/>
            <p:nvPr/>
          </p:nvGrpSpPr>
          <p:grpSpPr>
            <a:xfrm>
              <a:off x="4875316" y="5549087"/>
              <a:ext cx="51689" cy="51932"/>
              <a:chOff x="4875316" y="5549087"/>
              <a:chExt cx="51689" cy="51932"/>
            </a:xfrm>
          </p:grpSpPr>
          <p:sp>
            <p:nvSpPr>
              <p:cNvPr id="20" name="Freeform 19">
                <a:extLst>
                  <a:ext uri="{FF2B5EF4-FFF2-40B4-BE49-F238E27FC236}">
                    <a16:creationId xmlns:a16="http://schemas.microsoft.com/office/drawing/2014/main" id="{EDB23F5C-EB4C-F633-568B-AD47E811E805}"/>
                  </a:ext>
                </a:extLst>
              </p:cNvPr>
              <p:cNvSpPr/>
              <p:nvPr/>
            </p:nvSpPr>
            <p:spPr>
              <a:xfrm>
                <a:off x="4881226" y="5554945"/>
                <a:ext cx="39869" cy="40057"/>
              </a:xfrm>
              <a:custGeom>
                <a:avLst/>
                <a:gdLst>
                  <a:gd name="connsiteX0" fmla="*/ 39870 w 39869"/>
                  <a:gd name="connsiteY0" fmla="*/ 20029 h 40057"/>
                  <a:gd name="connsiteX1" fmla="*/ 19935 w 39869"/>
                  <a:gd name="connsiteY1" fmla="*/ 40058 h 40057"/>
                  <a:gd name="connsiteX2" fmla="*/ 0 w 39869"/>
                  <a:gd name="connsiteY2" fmla="*/ 20029 h 40057"/>
                  <a:gd name="connsiteX3" fmla="*/ 19935 w 39869"/>
                  <a:gd name="connsiteY3" fmla="*/ 0 h 40057"/>
                  <a:gd name="connsiteX4" fmla="*/ 39870 w 39869"/>
                  <a:gd name="connsiteY4" fmla="*/ 20029 h 40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69" h="40057">
                    <a:moveTo>
                      <a:pt x="39870" y="20029"/>
                    </a:moveTo>
                    <a:cubicBezTo>
                      <a:pt x="39870" y="31112"/>
                      <a:pt x="30966" y="40058"/>
                      <a:pt x="19935" y="40058"/>
                    </a:cubicBezTo>
                    <a:cubicBezTo>
                      <a:pt x="8904" y="40058"/>
                      <a:pt x="0" y="31112"/>
                      <a:pt x="0" y="20029"/>
                    </a:cubicBezTo>
                    <a:cubicBezTo>
                      <a:pt x="0" y="8946"/>
                      <a:pt x="8904" y="0"/>
                      <a:pt x="19935" y="0"/>
                    </a:cubicBezTo>
                    <a:cubicBezTo>
                      <a:pt x="30966" y="0"/>
                      <a:pt x="39870" y="8946"/>
                      <a:pt x="39870" y="20029"/>
                    </a:cubicBezTo>
                    <a:close/>
                  </a:path>
                </a:pathLst>
              </a:custGeom>
              <a:solidFill>
                <a:srgbClr val="001965"/>
              </a:solidFill>
              <a:ln w="7781" cap="flat">
                <a:noFill/>
                <a:prstDash val="solid"/>
                <a:miter/>
              </a:ln>
            </p:spPr>
            <p:txBody>
              <a:bodyPr rtlCol="0" anchor="ctr"/>
              <a:lstStyle/>
              <a:p>
                <a:endParaRPr lang="en-DK"/>
              </a:p>
            </p:txBody>
          </p:sp>
          <p:sp>
            <p:nvSpPr>
              <p:cNvPr id="21" name="Freeform 20">
                <a:extLst>
                  <a:ext uri="{FF2B5EF4-FFF2-40B4-BE49-F238E27FC236}">
                    <a16:creationId xmlns:a16="http://schemas.microsoft.com/office/drawing/2014/main" id="{7F17CE70-7288-D2C4-F494-3E32628274C7}"/>
                  </a:ext>
                </a:extLst>
              </p:cNvPr>
              <p:cNvSpPr/>
              <p:nvPr/>
            </p:nvSpPr>
            <p:spPr>
              <a:xfrm>
                <a:off x="4875316" y="5549087"/>
                <a:ext cx="51689" cy="51932"/>
              </a:xfrm>
              <a:custGeom>
                <a:avLst/>
                <a:gdLst>
                  <a:gd name="connsiteX0" fmla="*/ 25845 w 51689"/>
                  <a:gd name="connsiteY0" fmla="*/ 51933 h 51932"/>
                  <a:gd name="connsiteX1" fmla="*/ 0 w 51689"/>
                  <a:gd name="connsiteY1" fmla="*/ 25966 h 51932"/>
                  <a:gd name="connsiteX2" fmla="*/ 25845 w 51689"/>
                  <a:gd name="connsiteY2" fmla="*/ 0 h 51932"/>
                  <a:gd name="connsiteX3" fmla="*/ 51689 w 51689"/>
                  <a:gd name="connsiteY3" fmla="*/ 25966 h 51932"/>
                  <a:gd name="connsiteX4" fmla="*/ 25845 w 51689"/>
                  <a:gd name="connsiteY4" fmla="*/ 51933 h 51932"/>
                  <a:gd name="connsiteX5" fmla="*/ 25845 w 51689"/>
                  <a:gd name="connsiteY5" fmla="*/ 11796 h 51932"/>
                  <a:gd name="connsiteX6" fmla="*/ 11819 w 51689"/>
                  <a:gd name="connsiteY6" fmla="*/ 25887 h 51932"/>
                  <a:gd name="connsiteX7" fmla="*/ 25845 w 51689"/>
                  <a:gd name="connsiteY7" fmla="*/ 39979 h 51932"/>
                  <a:gd name="connsiteX8" fmla="*/ 39870 w 51689"/>
                  <a:gd name="connsiteY8" fmla="*/ 25887 h 51932"/>
                  <a:gd name="connsiteX9" fmla="*/ 25845 w 51689"/>
                  <a:gd name="connsiteY9" fmla="*/ 11796 h 5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689" h="51932">
                    <a:moveTo>
                      <a:pt x="25845" y="51933"/>
                    </a:moveTo>
                    <a:cubicBezTo>
                      <a:pt x="11583" y="51933"/>
                      <a:pt x="0" y="40295"/>
                      <a:pt x="0" y="25966"/>
                    </a:cubicBezTo>
                    <a:cubicBezTo>
                      <a:pt x="0" y="11637"/>
                      <a:pt x="11583" y="0"/>
                      <a:pt x="25845" y="0"/>
                    </a:cubicBezTo>
                    <a:cubicBezTo>
                      <a:pt x="40106" y="0"/>
                      <a:pt x="51689" y="11637"/>
                      <a:pt x="51689" y="25966"/>
                    </a:cubicBezTo>
                    <a:cubicBezTo>
                      <a:pt x="51689" y="40295"/>
                      <a:pt x="40106" y="51933"/>
                      <a:pt x="25845" y="51933"/>
                    </a:cubicBezTo>
                    <a:close/>
                    <a:moveTo>
                      <a:pt x="25845" y="11796"/>
                    </a:moveTo>
                    <a:cubicBezTo>
                      <a:pt x="18123" y="11796"/>
                      <a:pt x="11819" y="18129"/>
                      <a:pt x="11819" y="25887"/>
                    </a:cubicBezTo>
                    <a:cubicBezTo>
                      <a:pt x="11819" y="33646"/>
                      <a:pt x="18123" y="39979"/>
                      <a:pt x="25845" y="39979"/>
                    </a:cubicBezTo>
                    <a:cubicBezTo>
                      <a:pt x="33566" y="39979"/>
                      <a:pt x="39870" y="33646"/>
                      <a:pt x="39870" y="25887"/>
                    </a:cubicBezTo>
                    <a:cubicBezTo>
                      <a:pt x="39870" y="18129"/>
                      <a:pt x="33566" y="11796"/>
                      <a:pt x="25845" y="11796"/>
                    </a:cubicBezTo>
                    <a:close/>
                  </a:path>
                </a:pathLst>
              </a:custGeom>
              <a:solidFill>
                <a:srgbClr val="FFFFFF"/>
              </a:solidFill>
              <a:ln w="7781" cap="flat">
                <a:noFill/>
                <a:prstDash val="solid"/>
                <a:miter/>
              </a:ln>
            </p:spPr>
            <p:txBody>
              <a:bodyPr rtlCol="0" anchor="ctr"/>
              <a:lstStyle/>
              <a:p>
                <a:endParaRPr lang="en-DK"/>
              </a:p>
            </p:txBody>
          </p:sp>
        </p:grpSp>
        <p:grpSp>
          <p:nvGrpSpPr>
            <p:cNvPr id="22" name="Graphic 8">
              <a:extLst>
                <a:ext uri="{FF2B5EF4-FFF2-40B4-BE49-F238E27FC236}">
                  <a16:creationId xmlns:a16="http://schemas.microsoft.com/office/drawing/2014/main" id="{DFD5064F-582A-C6B5-7208-82846842AD3B}"/>
                </a:ext>
              </a:extLst>
            </p:cNvPr>
            <p:cNvGrpSpPr/>
            <p:nvPr/>
          </p:nvGrpSpPr>
          <p:grpSpPr>
            <a:xfrm>
              <a:off x="4807789" y="5638782"/>
              <a:ext cx="71545" cy="71882"/>
              <a:chOff x="4807789" y="5638782"/>
              <a:chExt cx="71545" cy="71882"/>
            </a:xfrm>
          </p:grpSpPr>
          <p:sp>
            <p:nvSpPr>
              <p:cNvPr id="23" name="Freeform 22">
                <a:extLst>
                  <a:ext uri="{FF2B5EF4-FFF2-40B4-BE49-F238E27FC236}">
                    <a16:creationId xmlns:a16="http://schemas.microsoft.com/office/drawing/2014/main" id="{912B10AB-D622-2229-301C-80D4F0A84950}"/>
                  </a:ext>
                </a:extLst>
              </p:cNvPr>
              <p:cNvSpPr/>
              <p:nvPr/>
            </p:nvSpPr>
            <p:spPr>
              <a:xfrm>
                <a:off x="4813699" y="5644720"/>
                <a:ext cx="59726" cy="60007"/>
              </a:xfrm>
              <a:custGeom>
                <a:avLst/>
                <a:gdLst>
                  <a:gd name="connsiteX0" fmla="*/ 59726 w 59726"/>
                  <a:gd name="connsiteY0" fmla="*/ 30004 h 60007"/>
                  <a:gd name="connsiteX1" fmla="*/ 29863 w 59726"/>
                  <a:gd name="connsiteY1" fmla="*/ 60008 h 60007"/>
                  <a:gd name="connsiteX2" fmla="*/ 0 w 59726"/>
                  <a:gd name="connsiteY2" fmla="*/ 30004 h 60007"/>
                  <a:gd name="connsiteX3" fmla="*/ 29863 w 59726"/>
                  <a:gd name="connsiteY3" fmla="*/ 0 h 60007"/>
                  <a:gd name="connsiteX4" fmla="*/ 59726 w 59726"/>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26" h="60007">
                    <a:moveTo>
                      <a:pt x="59726" y="30004"/>
                    </a:moveTo>
                    <a:cubicBezTo>
                      <a:pt x="59726" y="46575"/>
                      <a:pt x="46356" y="60008"/>
                      <a:pt x="29863" y="60008"/>
                    </a:cubicBezTo>
                    <a:cubicBezTo>
                      <a:pt x="13370" y="60008"/>
                      <a:pt x="0" y="46575"/>
                      <a:pt x="0" y="30004"/>
                    </a:cubicBezTo>
                    <a:cubicBezTo>
                      <a:pt x="0" y="13433"/>
                      <a:pt x="13370" y="0"/>
                      <a:pt x="29863" y="0"/>
                    </a:cubicBezTo>
                    <a:cubicBezTo>
                      <a:pt x="46356" y="0"/>
                      <a:pt x="59726" y="13433"/>
                      <a:pt x="59726" y="30004"/>
                    </a:cubicBezTo>
                    <a:close/>
                  </a:path>
                </a:pathLst>
              </a:custGeom>
              <a:solidFill>
                <a:srgbClr val="001965"/>
              </a:solidFill>
              <a:ln w="7781" cap="flat">
                <a:noFill/>
                <a:prstDash val="solid"/>
                <a:miter/>
              </a:ln>
            </p:spPr>
            <p:txBody>
              <a:bodyPr rtlCol="0" anchor="ctr"/>
              <a:lstStyle/>
              <a:p>
                <a:endParaRPr lang="en-DK"/>
              </a:p>
            </p:txBody>
          </p:sp>
          <p:sp>
            <p:nvSpPr>
              <p:cNvPr id="24" name="Freeform 23">
                <a:extLst>
                  <a:ext uri="{FF2B5EF4-FFF2-40B4-BE49-F238E27FC236}">
                    <a16:creationId xmlns:a16="http://schemas.microsoft.com/office/drawing/2014/main" id="{8D96BDD1-A498-8699-A45B-55A9F4CE8E2A}"/>
                  </a:ext>
                </a:extLst>
              </p:cNvPr>
              <p:cNvSpPr/>
              <p:nvPr/>
            </p:nvSpPr>
            <p:spPr>
              <a:xfrm>
                <a:off x="4807789" y="5638782"/>
                <a:ext cx="71545" cy="71882"/>
              </a:xfrm>
              <a:custGeom>
                <a:avLst/>
                <a:gdLst>
                  <a:gd name="connsiteX0" fmla="*/ 35773 w 71545"/>
                  <a:gd name="connsiteY0" fmla="*/ 71883 h 71882"/>
                  <a:gd name="connsiteX1" fmla="*/ 0 w 71545"/>
                  <a:gd name="connsiteY1" fmla="*/ 35941 h 71882"/>
                  <a:gd name="connsiteX2" fmla="*/ 35773 w 71545"/>
                  <a:gd name="connsiteY2" fmla="*/ 0 h 71882"/>
                  <a:gd name="connsiteX3" fmla="*/ 71545 w 71545"/>
                  <a:gd name="connsiteY3" fmla="*/ 35941 h 71882"/>
                  <a:gd name="connsiteX4" fmla="*/ 35773 w 71545"/>
                  <a:gd name="connsiteY4" fmla="*/ 71883 h 71882"/>
                  <a:gd name="connsiteX5" fmla="*/ 35773 w 71545"/>
                  <a:gd name="connsiteY5" fmla="*/ 11875 h 71882"/>
                  <a:gd name="connsiteX6" fmla="*/ 11819 w 71545"/>
                  <a:gd name="connsiteY6" fmla="*/ 35941 h 71882"/>
                  <a:gd name="connsiteX7" fmla="*/ 35773 w 71545"/>
                  <a:gd name="connsiteY7" fmla="*/ 60008 h 71882"/>
                  <a:gd name="connsiteX8" fmla="*/ 59726 w 71545"/>
                  <a:gd name="connsiteY8" fmla="*/ 35941 h 71882"/>
                  <a:gd name="connsiteX9" fmla="*/ 35773 w 71545"/>
                  <a:gd name="connsiteY9" fmla="*/ 11875 h 7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45" h="71882">
                    <a:moveTo>
                      <a:pt x="35773" y="71883"/>
                    </a:moveTo>
                    <a:cubicBezTo>
                      <a:pt x="16074" y="71883"/>
                      <a:pt x="0" y="55733"/>
                      <a:pt x="0" y="35941"/>
                    </a:cubicBezTo>
                    <a:cubicBezTo>
                      <a:pt x="0" y="16150"/>
                      <a:pt x="16074" y="0"/>
                      <a:pt x="35773" y="0"/>
                    </a:cubicBezTo>
                    <a:cubicBezTo>
                      <a:pt x="55471" y="0"/>
                      <a:pt x="71545" y="16150"/>
                      <a:pt x="71545" y="35941"/>
                    </a:cubicBezTo>
                    <a:cubicBezTo>
                      <a:pt x="71545" y="55733"/>
                      <a:pt x="55471" y="71883"/>
                      <a:pt x="35773" y="71883"/>
                    </a:cubicBezTo>
                    <a:close/>
                    <a:moveTo>
                      <a:pt x="35773" y="11875"/>
                    </a:moveTo>
                    <a:cubicBezTo>
                      <a:pt x="22614" y="11875"/>
                      <a:pt x="11819" y="22641"/>
                      <a:pt x="11819" y="35941"/>
                    </a:cubicBezTo>
                    <a:cubicBezTo>
                      <a:pt x="11819" y="49241"/>
                      <a:pt x="22535" y="60008"/>
                      <a:pt x="35773" y="60008"/>
                    </a:cubicBezTo>
                    <a:cubicBezTo>
                      <a:pt x="49010" y="60008"/>
                      <a:pt x="59726" y="49241"/>
                      <a:pt x="59726" y="35941"/>
                    </a:cubicBezTo>
                    <a:cubicBezTo>
                      <a:pt x="59726" y="22641"/>
                      <a:pt x="49010" y="11875"/>
                      <a:pt x="35773" y="11875"/>
                    </a:cubicBezTo>
                    <a:close/>
                  </a:path>
                </a:pathLst>
              </a:custGeom>
              <a:solidFill>
                <a:srgbClr val="FFFFFF"/>
              </a:solidFill>
              <a:ln w="7781" cap="flat">
                <a:noFill/>
                <a:prstDash val="solid"/>
                <a:miter/>
              </a:ln>
            </p:spPr>
            <p:txBody>
              <a:bodyPr rtlCol="0" anchor="ctr"/>
              <a:lstStyle/>
              <a:p>
                <a:endParaRPr lang="en-DK"/>
              </a:p>
            </p:txBody>
          </p:sp>
        </p:grpSp>
        <p:sp>
          <p:nvSpPr>
            <p:cNvPr id="25" name="Freeform 24">
              <a:extLst>
                <a:ext uri="{FF2B5EF4-FFF2-40B4-BE49-F238E27FC236}">
                  <a16:creationId xmlns:a16="http://schemas.microsoft.com/office/drawing/2014/main" id="{46CF73F0-E78B-F545-4063-013AABFCD924}"/>
                </a:ext>
              </a:extLst>
            </p:cNvPr>
            <p:cNvSpPr/>
            <p:nvPr/>
          </p:nvSpPr>
          <p:spPr>
            <a:xfrm>
              <a:off x="4678724" y="5159195"/>
              <a:ext cx="454879" cy="637127"/>
            </a:xfrm>
            <a:custGeom>
              <a:avLst/>
              <a:gdLst>
                <a:gd name="connsiteX0" fmla="*/ 227558 w 454879"/>
                <a:gd name="connsiteY0" fmla="*/ 637049 h 637127"/>
                <a:gd name="connsiteX1" fmla="*/ 44992 w 454879"/>
                <a:gd name="connsiteY1" fmla="*/ 571974 h 637127"/>
                <a:gd name="connsiteX2" fmla="*/ 0 w 454879"/>
                <a:gd name="connsiteY2" fmla="*/ 462884 h 637127"/>
                <a:gd name="connsiteX3" fmla="*/ 96129 w 454879"/>
                <a:gd name="connsiteY3" fmla="*/ 270985 h 637127"/>
                <a:gd name="connsiteX4" fmla="*/ 171220 w 454879"/>
                <a:gd name="connsiteY4" fmla="*/ 135453 h 637127"/>
                <a:gd name="connsiteX5" fmla="*/ 171220 w 454879"/>
                <a:gd name="connsiteY5" fmla="*/ 47816 h 637127"/>
                <a:gd name="connsiteX6" fmla="*/ 150418 w 454879"/>
                <a:gd name="connsiteY6" fmla="*/ 23987 h 637127"/>
                <a:gd name="connsiteX7" fmla="*/ 174293 w 454879"/>
                <a:gd name="connsiteY7" fmla="*/ 0 h 637127"/>
                <a:gd name="connsiteX8" fmla="*/ 278223 w 454879"/>
                <a:gd name="connsiteY8" fmla="*/ 0 h 637127"/>
                <a:gd name="connsiteX9" fmla="*/ 302098 w 454879"/>
                <a:gd name="connsiteY9" fmla="*/ 23987 h 637127"/>
                <a:gd name="connsiteX10" fmla="*/ 283660 w 454879"/>
                <a:gd name="connsiteY10" fmla="*/ 47420 h 637127"/>
                <a:gd name="connsiteX11" fmla="*/ 283660 w 454879"/>
                <a:gd name="connsiteY11" fmla="*/ 135532 h 637127"/>
                <a:gd name="connsiteX12" fmla="*/ 358751 w 454879"/>
                <a:gd name="connsiteY12" fmla="*/ 271064 h 637127"/>
                <a:gd name="connsiteX13" fmla="*/ 454880 w 454879"/>
                <a:gd name="connsiteY13" fmla="*/ 462963 h 637127"/>
                <a:gd name="connsiteX14" fmla="*/ 230474 w 454879"/>
                <a:gd name="connsiteY14" fmla="*/ 637128 h 637127"/>
                <a:gd name="connsiteX15" fmla="*/ 227637 w 454879"/>
                <a:gd name="connsiteY15" fmla="*/ 637128 h 637127"/>
                <a:gd name="connsiteX16" fmla="*/ 174293 w 454879"/>
                <a:gd name="connsiteY16" fmla="*/ 11875 h 637127"/>
                <a:gd name="connsiteX17" fmla="*/ 162238 w 454879"/>
                <a:gd name="connsiteY17" fmla="*/ 23987 h 637127"/>
                <a:gd name="connsiteX18" fmla="*/ 174293 w 454879"/>
                <a:gd name="connsiteY18" fmla="*/ 36100 h 637127"/>
                <a:gd name="connsiteX19" fmla="*/ 177051 w 454879"/>
                <a:gd name="connsiteY19" fmla="*/ 36100 h 637127"/>
                <a:gd name="connsiteX20" fmla="*/ 182961 w 454879"/>
                <a:gd name="connsiteY20" fmla="*/ 42037 h 637127"/>
                <a:gd name="connsiteX21" fmla="*/ 182961 w 454879"/>
                <a:gd name="connsiteY21" fmla="*/ 135453 h 637127"/>
                <a:gd name="connsiteX22" fmla="*/ 104797 w 454879"/>
                <a:gd name="connsiteY22" fmla="*/ 278902 h 637127"/>
                <a:gd name="connsiteX23" fmla="*/ 11740 w 454879"/>
                <a:gd name="connsiteY23" fmla="*/ 462804 h 637127"/>
                <a:gd name="connsiteX24" fmla="*/ 53186 w 454879"/>
                <a:gd name="connsiteY24" fmla="*/ 563424 h 637127"/>
                <a:gd name="connsiteX25" fmla="*/ 230237 w 454879"/>
                <a:gd name="connsiteY25" fmla="*/ 625095 h 637127"/>
                <a:gd name="connsiteX26" fmla="*/ 442982 w 454879"/>
                <a:gd name="connsiteY26" fmla="*/ 462804 h 637127"/>
                <a:gd name="connsiteX27" fmla="*/ 349926 w 454879"/>
                <a:gd name="connsiteY27" fmla="*/ 278902 h 637127"/>
                <a:gd name="connsiteX28" fmla="*/ 271762 w 454879"/>
                <a:gd name="connsiteY28" fmla="*/ 135453 h 637127"/>
                <a:gd name="connsiteX29" fmla="*/ 271762 w 454879"/>
                <a:gd name="connsiteY29" fmla="*/ 46550 h 637127"/>
                <a:gd name="connsiteX30" fmla="*/ 269713 w 454879"/>
                <a:gd name="connsiteY30" fmla="*/ 42037 h 637127"/>
                <a:gd name="connsiteX31" fmla="*/ 275623 w 454879"/>
                <a:gd name="connsiteY31" fmla="*/ 36100 h 637127"/>
                <a:gd name="connsiteX32" fmla="*/ 278144 w 454879"/>
                <a:gd name="connsiteY32" fmla="*/ 36100 h 637127"/>
                <a:gd name="connsiteX33" fmla="*/ 290200 w 454879"/>
                <a:gd name="connsiteY33" fmla="*/ 23987 h 637127"/>
                <a:gd name="connsiteX34" fmla="*/ 278144 w 454879"/>
                <a:gd name="connsiteY34" fmla="*/ 11875 h 637127"/>
                <a:gd name="connsiteX35" fmla="*/ 174214 w 454879"/>
                <a:gd name="connsiteY35" fmla="*/ 11875 h 63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54879" h="637127">
                  <a:moveTo>
                    <a:pt x="227558" y="637049"/>
                  </a:moveTo>
                  <a:cubicBezTo>
                    <a:pt x="154043" y="637049"/>
                    <a:pt x="85965" y="612824"/>
                    <a:pt x="44992" y="571974"/>
                  </a:cubicBezTo>
                  <a:cubicBezTo>
                    <a:pt x="15129" y="542287"/>
                    <a:pt x="0" y="505554"/>
                    <a:pt x="0" y="462884"/>
                  </a:cubicBezTo>
                  <a:cubicBezTo>
                    <a:pt x="0" y="377543"/>
                    <a:pt x="51059" y="320939"/>
                    <a:pt x="96129" y="270985"/>
                  </a:cubicBezTo>
                  <a:cubicBezTo>
                    <a:pt x="134738" y="228156"/>
                    <a:pt x="171220" y="187782"/>
                    <a:pt x="171220" y="135453"/>
                  </a:cubicBezTo>
                  <a:lnTo>
                    <a:pt x="171220" y="47816"/>
                  </a:lnTo>
                  <a:cubicBezTo>
                    <a:pt x="159480" y="46312"/>
                    <a:pt x="150418" y="36179"/>
                    <a:pt x="150418" y="23987"/>
                  </a:cubicBezTo>
                  <a:cubicBezTo>
                    <a:pt x="150418" y="10767"/>
                    <a:pt x="161135" y="0"/>
                    <a:pt x="174293" y="0"/>
                  </a:cubicBezTo>
                  <a:lnTo>
                    <a:pt x="278223" y="0"/>
                  </a:lnTo>
                  <a:cubicBezTo>
                    <a:pt x="291382" y="0"/>
                    <a:pt x="302098" y="10767"/>
                    <a:pt x="302098" y="23987"/>
                  </a:cubicBezTo>
                  <a:cubicBezTo>
                    <a:pt x="302098" y="35387"/>
                    <a:pt x="294218" y="44887"/>
                    <a:pt x="283660" y="47420"/>
                  </a:cubicBezTo>
                  <a:lnTo>
                    <a:pt x="283660" y="135532"/>
                  </a:lnTo>
                  <a:cubicBezTo>
                    <a:pt x="283660" y="187782"/>
                    <a:pt x="320142" y="228236"/>
                    <a:pt x="358751" y="271064"/>
                  </a:cubicBezTo>
                  <a:cubicBezTo>
                    <a:pt x="403821" y="321018"/>
                    <a:pt x="454880" y="377543"/>
                    <a:pt x="454880" y="462963"/>
                  </a:cubicBezTo>
                  <a:cubicBezTo>
                    <a:pt x="454880" y="581158"/>
                    <a:pt x="338579" y="636099"/>
                    <a:pt x="230474" y="637128"/>
                  </a:cubicBezTo>
                  <a:cubicBezTo>
                    <a:pt x="229528" y="637128"/>
                    <a:pt x="228582" y="637128"/>
                    <a:pt x="227637" y="637128"/>
                  </a:cubicBezTo>
                  <a:close/>
                  <a:moveTo>
                    <a:pt x="174293" y="11875"/>
                  </a:moveTo>
                  <a:cubicBezTo>
                    <a:pt x="167596" y="11875"/>
                    <a:pt x="162238" y="17337"/>
                    <a:pt x="162238" y="23987"/>
                  </a:cubicBezTo>
                  <a:cubicBezTo>
                    <a:pt x="162238" y="30637"/>
                    <a:pt x="167674" y="36100"/>
                    <a:pt x="174293" y="36100"/>
                  </a:cubicBezTo>
                  <a:lnTo>
                    <a:pt x="177051" y="36100"/>
                  </a:lnTo>
                  <a:cubicBezTo>
                    <a:pt x="180282" y="36100"/>
                    <a:pt x="182961" y="38791"/>
                    <a:pt x="182961" y="42037"/>
                  </a:cubicBezTo>
                  <a:lnTo>
                    <a:pt x="182961" y="135453"/>
                  </a:lnTo>
                  <a:cubicBezTo>
                    <a:pt x="182961" y="192294"/>
                    <a:pt x="144982" y="234411"/>
                    <a:pt x="104797" y="278902"/>
                  </a:cubicBezTo>
                  <a:cubicBezTo>
                    <a:pt x="59096" y="329568"/>
                    <a:pt x="11740" y="382055"/>
                    <a:pt x="11740" y="462804"/>
                  </a:cubicBezTo>
                  <a:cubicBezTo>
                    <a:pt x="11740" y="502150"/>
                    <a:pt x="25687" y="536033"/>
                    <a:pt x="53186" y="563424"/>
                  </a:cubicBezTo>
                  <a:cubicBezTo>
                    <a:pt x="92505" y="602612"/>
                    <a:pt x="159007" y="625570"/>
                    <a:pt x="230237" y="625095"/>
                  </a:cubicBezTo>
                  <a:cubicBezTo>
                    <a:pt x="332670" y="624145"/>
                    <a:pt x="442982" y="572924"/>
                    <a:pt x="442982" y="462804"/>
                  </a:cubicBezTo>
                  <a:cubicBezTo>
                    <a:pt x="442982" y="382055"/>
                    <a:pt x="395705" y="329568"/>
                    <a:pt x="349926" y="278902"/>
                  </a:cubicBezTo>
                  <a:cubicBezTo>
                    <a:pt x="309741" y="234331"/>
                    <a:pt x="271762" y="192294"/>
                    <a:pt x="271762" y="135453"/>
                  </a:cubicBezTo>
                  <a:lnTo>
                    <a:pt x="271762" y="46550"/>
                  </a:lnTo>
                  <a:cubicBezTo>
                    <a:pt x="270501" y="45441"/>
                    <a:pt x="269713" y="43858"/>
                    <a:pt x="269713" y="42037"/>
                  </a:cubicBezTo>
                  <a:cubicBezTo>
                    <a:pt x="269713" y="38791"/>
                    <a:pt x="272392" y="36100"/>
                    <a:pt x="275623" y="36100"/>
                  </a:cubicBezTo>
                  <a:lnTo>
                    <a:pt x="278144" y="36100"/>
                  </a:lnTo>
                  <a:cubicBezTo>
                    <a:pt x="284842" y="36100"/>
                    <a:pt x="290200" y="30637"/>
                    <a:pt x="290200" y="23987"/>
                  </a:cubicBezTo>
                  <a:cubicBezTo>
                    <a:pt x="290200" y="17337"/>
                    <a:pt x="284763" y="11875"/>
                    <a:pt x="278144" y="11875"/>
                  </a:cubicBezTo>
                  <a:lnTo>
                    <a:pt x="174214" y="11875"/>
                  </a:lnTo>
                  <a:close/>
                </a:path>
              </a:pathLst>
            </a:custGeom>
            <a:solidFill>
              <a:srgbClr val="FFFFFF"/>
            </a:solidFill>
            <a:ln w="7781" cap="flat">
              <a:noFill/>
              <a:prstDash val="solid"/>
              <a:miter/>
            </a:ln>
          </p:spPr>
          <p:txBody>
            <a:bodyPr rtlCol="0" anchor="ctr"/>
            <a:lstStyle/>
            <a:p>
              <a:endParaRPr lang="en-DK"/>
            </a:p>
          </p:txBody>
        </p:sp>
        <p:sp>
          <p:nvSpPr>
            <p:cNvPr id="26" name="Freeform 25">
              <a:extLst>
                <a:ext uri="{FF2B5EF4-FFF2-40B4-BE49-F238E27FC236}">
                  <a16:creationId xmlns:a16="http://schemas.microsoft.com/office/drawing/2014/main" id="{DDCDB177-D7F5-A9A1-EC4A-3C9414E39557}"/>
                </a:ext>
              </a:extLst>
            </p:cNvPr>
            <p:cNvSpPr/>
            <p:nvPr/>
          </p:nvSpPr>
          <p:spPr>
            <a:xfrm>
              <a:off x="4578734" y="5328372"/>
              <a:ext cx="203762" cy="465812"/>
            </a:xfrm>
            <a:custGeom>
              <a:avLst/>
              <a:gdLst>
                <a:gd name="connsiteX0" fmla="*/ 179494 w 203762"/>
                <a:gd name="connsiteY0" fmla="*/ 0 h 465812"/>
                <a:gd name="connsiteX1" fmla="*/ 24190 w 203762"/>
                <a:gd name="connsiteY1" fmla="*/ 0 h 465812"/>
                <a:gd name="connsiteX2" fmla="*/ 0 w 203762"/>
                <a:gd name="connsiteY2" fmla="*/ 24304 h 465812"/>
                <a:gd name="connsiteX3" fmla="*/ 23166 w 203762"/>
                <a:gd name="connsiteY3" fmla="*/ 48291 h 465812"/>
                <a:gd name="connsiteX4" fmla="*/ 23166 w 203762"/>
                <a:gd name="connsiteY4" fmla="*/ 384113 h 465812"/>
                <a:gd name="connsiteX5" fmla="*/ 96681 w 203762"/>
                <a:gd name="connsiteY5" fmla="*/ 465654 h 465812"/>
                <a:gd name="connsiteX6" fmla="*/ 101960 w 203762"/>
                <a:gd name="connsiteY6" fmla="*/ 465813 h 465812"/>
                <a:gd name="connsiteX7" fmla="*/ 155698 w 203762"/>
                <a:gd name="connsiteY7" fmla="*/ 444438 h 465812"/>
                <a:gd name="connsiteX8" fmla="*/ 180597 w 203762"/>
                <a:gd name="connsiteY8" fmla="*/ 386726 h 465812"/>
                <a:gd name="connsiteX9" fmla="*/ 180597 w 203762"/>
                <a:gd name="connsiteY9" fmla="*/ 48687 h 465812"/>
                <a:gd name="connsiteX10" fmla="*/ 203762 w 203762"/>
                <a:gd name="connsiteY10" fmla="*/ 24383 h 465812"/>
                <a:gd name="connsiteX11" fmla="*/ 179572 w 203762"/>
                <a:gd name="connsiteY11" fmla="*/ 79 h 46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3762" h="465812">
                  <a:moveTo>
                    <a:pt x="179494" y="0"/>
                  </a:moveTo>
                  <a:lnTo>
                    <a:pt x="24190" y="0"/>
                  </a:lnTo>
                  <a:cubicBezTo>
                    <a:pt x="10874" y="0"/>
                    <a:pt x="0" y="10925"/>
                    <a:pt x="0" y="24304"/>
                  </a:cubicBezTo>
                  <a:cubicBezTo>
                    <a:pt x="0" y="36812"/>
                    <a:pt x="11504" y="46470"/>
                    <a:pt x="23166" y="48291"/>
                  </a:cubicBezTo>
                  <a:lnTo>
                    <a:pt x="23166" y="384113"/>
                  </a:lnTo>
                  <a:cubicBezTo>
                    <a:pt x="23166" y="427101"/>
                    <a:pt x="55471" y="462963"/>
                    <a:pt x="96681" y="465654"/>
                  </a:cubicBezTo>
                  <a:cubicBezTo>
                    <a:pt x="98414" y="465734"/>
                    <a:pt x="100226" y="465813"/>
                    <a:pt x="101960" y="465813"/>
                  </a:cubicBezTo>
                  <a:cubicBezTo>
                    <a:pt x="122052" y="465813"/>
                    <a:pt x="140963" y="458292"/>
                    <a:pt x="155698" y="444438"/>
                  </a:cubicBezTo>
                  <a:cubicBezTo>
                    <a:pt x="171535" y="429555"/>
                    <a:pt x="180597" y="408497"/>
                    <a:pt x="180597" y="386726"/>
                  </a:cubicBezTo>
                  <a:lnTo>
                    <a:pt x="180597" y="48687"/>
                  </a:lnTo>
                  <a:cubicBezTo>
                    <a:pt x="193440" y="48133"/>
                    <a:pt x="203762" y="37446"/>
                    <a:pt x="203762" y="24383"/>
                  </a:cubicBezTo>
                  <a:cubicBezTo>
                    <a:pt x="203762" y="11321"/>
                    <a:pt x="192889" y="79"/>
                    <a:pt x="179572" y="79"/>
                  </a:cubicBezTo>
                  <a:close/>
                </a:path>
              </a:pathLst>
            </a:custGeom>
            <a:solidFill>
              <a:srgbClr val="001965"/>
            </a:solidFill>
            <a:ln w="7781" cap="flat">
              <a:noFill/>
              <a:prstDash val="solid"/>
              <a:miter/>
            </a:ln>
          </p:spPr>
          <p:txBody>
            <a:bodyPr rtlCol="0" anchor="ctr"/>
            <a:lstStyle/>
            <a:p>
              <a:endParaRPr lang="en-DK"/>
            </a:p>
          </p:txBody>
        </p:sp>
        <p:sp>
          <p:nvSpPr>
            <p:cNvPr id="27" name="Freeform 26">
              <a:extLst>
                <a:ext uri="{FF2B5EF4-FFF2-40B4-BE49-F238E27FC236}">
                  <a16:creationId xmlns:a16="http://schemas.microsoft.com/office/drawing/2014/main" id="{D78601DE-A1D8-54AC-832E-1B7FA4C92F50}"/>
                </a:ext>
              </a:extLst>
            </p:cNvPr>
            <p:cNvSpPr/>
            <p:nvPr/>
          </p:nvSpPr>
          <p:spPr>
            <a:xfrm>
              <a:off x="4605761" y="5506892"/>
              <a:ext cx="149709" cy="283419"/>
            </a:xfrm>
            <a:custGeom>
              <a:avLst/>
              <a:gdLst>
                <a:gd name="connsiteX0" fmla="*/ 0 w 149709"/>
                <a:gd name="connsiteY0" fmla="*/ 0 h 283419"/>
                <a:gd name="connsiteX1" fmla="*/ 0 w 149709"/>
                <a:gd name="connsiteY1" fmla="*/ 205673 h 283419"/>
                <a:gd name="connsiteX2" fmla="*/ 69891 w 149709"/>
                <a:gd name="connsiteY2" fmla="*/ 283256 h 283419"/>
                <a:gd name="connsiteX3" fmla="*/ 149709 w 149709"/>
                <a:gd name="connsiteY3" fmla="*/ 208207 h 283419"/>
                <a:gd name="connsiteX4" fmla="*/ 149709 w 149709"/>
                <a:gd name="connsiteY4" fmla="*/ 0 h 283419"/>
                <a:gd name="connsiteX5" fmla="*/ 0 w 149709"/>
                <a:gd name="connsiteY5" fmla="*/ 0 h 283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709" h="283419">
                  <a:moveTo>
                    <a:pt x="0" y="0"/>
                  </a:moveTo>
                  <a:lnTo>
                    <a:pt x="0" y="205673"/>
                  </a:lnTo>
                  <a:cubicBezTo>
                    <a:pt x="0" y="245731"/>
                    <a:pt x="30099" y="280723"/>
                    <a:pt x="69891" y="283256"/>
                  </a:cubicBezTo>
                  <a:cubicBezTo>
                    <a:pt x="113464" y="286106"/>
                    <a:pt x="149709" y="251431"/>
                    <a:pt x="149709" y="208207"/>
                  </a:cubicBezTo>
                  <a:lnTo>
                    <a:pt x="149709" y="0"/>
                  </a:lnTo>
                  <a:lnTo>
                    <a:pt x="0" y="0"/>
                  </a:lnTo>
                  <a:close/>
                </a:path>
              </a:pathLst>
            </a:custGeom>
            <a:solidFill>
              <a:srgbClr val="2878FF">
                <a:alpha val="50128"/>
              </a:srgbClr>
            </a:solidFill>
            <a:ln w="7781" cap="flat">
              <a:noFill/>
              <a:prstDash val="solid"/>
              <a:miter/>
            </a:ln>
          </p:spPr>
          <p:txBody>
            <a:bodyPr rtlCol="0" anchor="ctr"/>
            <a:lstStyle/>
            <a:p>
              <a:endParaRPr lang="en-DK"/>
            </a:p>
          </p:txBody>
        </p:sp>
        <p:sp>
          <p:nvSpPr>
            <p:cNvPr id="28" name="Freeform 27">
              <a:extLst>
                <a:ext uri="{FF2B5EF4-FFF2-40B4-BE49-F238E27FC236}">
                  <a16:creationId xmlns:a16="http://schemas.microsoft.com/office/drawing/2014/main" id="{712A8E1C-C91E-4477-6A13-CBB8600CD75C}"/>
                </a:ext>
              </a:extLst>
            </p:cNvPr>
            <p:cNvSpPr/>
            <p:nvPr/>
          </p:nvSpPr>
          <p:spPr>
            <a:xfrm>
              <a:off x="4576607" y="5326314"/>
              <a:ext cx="207780" cy="469929"/>
            </a:xfrm>
            <a:custGeom>
              <a:avLst/>
              <a:gdLst>
                <a:gd name="connsiteX0" fmla="*/ 104009 w 207780"/>
                <a:gd name="connsiteY0" fmla="*/ 469929 h 469929"/>
                <a:gd name="connsiteX1" fmla="*/ 98572 w 207780"/>
                <a:gd name="connsiteY1" fmla="*/ 469771 h 469929"/>
                <a:gd name="connsiteX2" fmla="*/ 23166 w 207780"/>
                <a:gd name="connsiteY2" fmla="*/ 386251 h 469929"/>
                <a:gd name="connsiteX3" fmla="*/ 23166 w 207780"/>
                <a:gd name="connsiteY3" fmla="*/ 52091 h 469929"/>
                <a:gd name="connsiteX4" fmla="*/ 0 w 207780"/>
                <a:gd name="connsiteY4" fmla="*/ 26362 h 469929"/>
                <a:gd name="connsiteX5" fmla="*/ 26239 w 207780"/>
                <a:gd name="connsiteY5" fmla="*/ 0 h 469929"/>
                <a:gd name="connsiteX6" fmla="*/ 181542 w 207780"/>
                <a:gd name="connsiteY6" fmla="*/ 0 h 469929"/>
                <a:gd name="connsiteX7" fmla="*/ 207781 w 207780"/>
                <a:gd name="connsiteY7" fmla="*/ 26362 h 469929"/>
                <a:gd name="connsiteX8" fmla="*/ 184615 w 207780"/>
                <a:gd name="connsiteY8" fmla="*/ 52566 h 469929"/>
                <a:gd name="connsiteX9" fmla="*/ 184615 w 207780"/>
                <a:gd name="connsiteY9" fmla="*/ 388784 h 469929"/>
                <a:gd name="connsiteX10" fmla="*/ 159086 w 207780"/>
                <a:gd name="connsiteY10" fmla="*/ 448000 h 469929"/>
                <a:gd name="connsiteX11" fmla="*/ 103930 w 207780"/>
                <a:gd name="connsiteY11" fmla="*/ 469929 h 469929"/>
                <a:gd name="connsiteX12" fmla="*/ 26317 w 207780"/>
                <a:gd name="connsiteY12" fmla="*/ 11954 h 469929"/>
                <a:gd name="connsiteX13" fmla="*/ 11898 w 207780"/>
                <a:gd name="connsiteY13" fmla="*/ 26441 h 469929"/>
                <a:gd name="connsiteX14" fmla="*/ 29154 w 207780"/>
                <a:gd name="connsiteY14" fmla="*/ 40929 h 469929"/>
                <a:gd name="connsiteX15" fmla="*/ 33330 w 207780"/>
                <a:gd name="connsiteY15" fmla="*/ 42670 h 469929"/>
                <a:gd name="connsiteX16" fmla="*/ 35063 w 207780"/>
                <a:gd name="connsiteY16" fmla="*/ 46866 h 469929"/>
                <a:gd name="connsiteX17" fmla="*/ 35063 w 207780"/>
                <a:gd name="connsiteY17" fmla="*/ 386251 h 469929"/>
                <a:gd name="connsiteX18" fmla="*/ 99360 w 207780"/>
                <a:gd name="connsiteY18" fmla="*/ 457896 h 469929"/>
                <a:gd name="connsiteX19" fmla="*/ 151128 w 207780"/>
                <a:gd name="connsiteY19" fmla="*/ 439292 h 469929"/>
                <a:gd name="connsiteX20" fmla="*/ 172954 w 207780"/>
                <a:gd name="connsiteY20" fmla="*/ 388784 h 469929"/>
                <a:gd name="connsiteX21" fmla="*/ 172954 w 207780"/>
                <a:gd name="connsiteY21" fmla="*/ 46866 h 469929"/>
                <a:gd name="connsiteX22" fmla="*/ 178863 w 207780"/>
                <a:gd name="connsiteY22" fmla="*/ 40929 h 469929"/>
                <a:gd name="connsiteX23" fmla="*/ 181700 w 207780"/>
                <a:gd name="connsiteY23" fmla="*/ 40929 h 469929"/>
                <a:gd name="connsiteX24" fmla="*/ 196119 w 207780"/>
                <a:gd name="connsiteY24" fmla="*/ 26441 h 469929"/>
                <a:gd name="connsiteX25" fmla="*/ 181700 w 207780"/>
                <a:gd name="connsiteY25" fmla="*/ 11954 h 469929"/>
                <a:gd name="connsiteX26" fmla="*/ 26317 w 207780"/>
                <a:gd name="connsiteY26" fmla="*/ 11954 h 46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07780" h="469929">
                  <a:moveTo>
                    <a:pt x="104009" y="469929"/>
                  </a:moveTo>
                  <a:cubicBezTo>
                    <a:pt x="102196" y="469929"/>
                    <a:pt x="100384" y="469929"/>
                    <a:pt x="98572" y="469771"/>
                  </a:cubicBezTo>
                  <a:cubicBezTo>
                    <a:pt x="56338" y="467000"/>
                    <a:pt x="23166" y="430346"/>
                    <a:pt x="23166" y="386251"/>
                  </a:cubicBezTo>
                  <a:lnTo>
                    <a:pt x="23166" y="52091"/>
                  </a:lnTo>
                  <a:cubicBezTo>
                    <a:pt x="11346" y="49479"/>
                    <a:pt x="0" y="39345"/>
                    <a:pt x="0" y="26362"/>
                  </a:cubicBezTo>
                  <a:cubicBezTo>
                    <a:pt x="0" y="11796"/>
                    <a:pt x="11740" y="0"/>
                    <a:pt x="26239" y="0"/>
                  </a:cubicBezTo>
                  <a:lnTo>
                    <a:pt x="181542" y="0"/>
                  </a:lnTo>
                  <a:cubicBezTo>
                    <a:pt x="196040" y="0"/>
                    <a:pt x="207781" y="11796"/>
                    <a:pt x="207781" y="26362"/>
                  </a:cubicBezTo>
                  <a:cubicBezTo>
                    <a:pt x="207781" y="39820"/>
                    <a:pt x="197695" y="50983"/>
                    <a:pt x="184615" y="52566"/>
                  </a:cubicBezTo>
                  <a:lnTo>
                    <a:pt x="184615" y="388784"/>
                  </a:lnTo>
                  <a:cubicBezTo>
                    <a:pt x="184615" y="411109"/>
                    <a:pt x="175317" y="432721"/>
                    <a:pt x="159086" y="448000"/>
                  </a:cubicBezTo>
                  <a:cubicBezTo>
                    <a:pt x="143957" y="462250"/>
                    <a:pt x="124574" y="469929"/>
                    <a:pt x="103930" y="469929"/>
                  </a:cubicBezTo>
                  <a:close/>
                  <a:moveTo>
                    <a:pt x="26317" y="11954"/>
                  </a:moveTo>
                  <a:cubicBezTo>
                    <a:pt x="18359" y="11954"/>
                    <a:pt x="11898" y="18446"/>
                    <a:pt x="11898" y="26441"/>
                  </a:cubicBezTo>
                  <a:cubicBezTo>
                    <a:pt x="11898" y="34437"/>
                    <a:pt x="21353" y="40929"/>
                    <a:pt x="29154" y="40929"/>
                  </a:cubicBezTo>
                  <a:cubicBezTo>
                    <a:pt x="30730" y="40929"/>
                    <a:pt x="32227" y="41562"/>
                    <a:pt x="33330" y="42670"/>
                  </a:cubicBezTo>
                  <a:cubicBezTo>
                    <a:pt x="34433" y="43779"/>
                    <a:pt x="35063" y="45283"/>
                    <a:pt x="35063" y="46866"/>
                  </a:cubicBezTo>
                  <a:lnTo>
                    <a:pt x="35063" y="386251"/>
                  </a:lnTo>
                  <a:cubicBezTo>
                    <a:pt x="35063" y="424092"/>
                    <a:pt x="63272" y="455600"/>
                    <a:pt x="99360" y="457896"/>
                  </a:cubicBezTo>
                  <a:cubicBezTo>
                    <a:pt x="118586" y="459163"/>
                    <a:pt x="137023" y="452592"/>
                    <a:pt x="151128" y="439292"/>
                  </a:cubicBezTo>
                  <a:cubicBezTo>
                    <a:pt x="165232" y="425992"/>
                    <a:pt x="172954" y="408101"/>
                    <a:pt x="172954" y="388784"/>
                  </a:cubicBezTo>
                  <a:lnTo>
                    <a:pt x="172954" y="46866"/>
                  </a:lnTo>
                  <a:cubicBezTo>
                    <a:pt x="172954" y="43620"/>
                    <a:pt x="175633" y="40929"/>
                    <a:pt x="178863" y="40929"/>
                  </a:cubicBezTo>
                  <a:lnTo>
                    <a:pt x="181700" y="40929"/>
                  </a:lnTo>
                  <a:cubicBezTo>
                    <a:pt x="189658" y="40929"/>
                    <a:pt x="196119" y="34437"/>
                    <a:pt x="196119" y="26441"/>
                  </a:cubicBezTo>
                  <a:cubicBezTo>
                    <a:pt x="196119" y="18446"/>
                    <a:pt x="189658" y="11954"/>
                    <a:pt x="181700" y="11954"/>
                  </a:cubicBezTo>
                  <a:lnTo>
                    <a:pt x="26317" y="11954"/>
                  </a:lnTo>
                  <a:close/>
                </a:path>
              </a:pathLst>
            </a:custGeom>
            <a:solidFill>
              <a:srgbClr val="FFFFFF"/>
            </a:solidFill>
            <a:ln w="7781" cap="flat">
              <a:noFill/>
              <a:prstDash val="solid"/>
              <a:miter/>
            </a:ln>
          </p:spPr>
          <p:txBody>
            <a:bodyPr rtlCol="0" anchor="ctr"/>
            <a:lstStyle/>
            <a:p>
              <a:endParaRPr lang="en-DK"/>
            </a:p>
          </p:txBody>
        </p:sp>
        <p:sp>
          <p:nvSpPr>
            <p:cNvPr id="29" name="Freeform 28">
              <a:extLst>
                <a:ext uri="{FF2B5EF4-FFF2-40B4-BE49-F238E27FC236}">
                  <a16:creationId xmlns:a16="http://schemas.microsoft.com/office/drawing/2014/main" id="{9D803EF5-DF22-2268-4709-C9C531628AFC}"/>
                </a:ext>
              </a:extLst>
            </p:cNvPr>
            <p:cNvSpPr/>
            <p:nvPr/>
          </p:nvSpPr>
          <p:spPr>
            <a:xfrm>
              <a:off x="4714812" y="5367243"/>
              <a:ext cx="46488" cy="11874"/>
            </a:xfrm>
            <a:custGeom>
              <a:avLst/>
              <a:gdLst>
                <a:gd name="connsiteX0" fmla="*/ 40579 w 46488"/>
                <a:gd name="connsiteY0" fmla="*/ 11875 h 11874"/>
                <a:gd name="connsiteX1" fmla="*/ 5910 w 46488"/>
                <a:gd name="connsiteY1" fmla="*/ 11875 h 11874"/>
                <a:gd name="connsiteX2" fmla="*/ 0 w 46488"/>
                <a:gd name="connsiteY2" fmla="*/ 5937 h 11874"/>
                <a:gd name="connsiteX3" fmla="*/ 5910 w 46488"/>
                <a:gd name="connsiteY3" fmla="*/ 0 h 11874"/>
                <a:gd name="connsiteX4" fmla="*/ 40579 w 46488"/>
                <a:gd name="connsiteY4" fmla="*/ 0 h 11874"/>
                <a:gd name="connsiteX5" fmla="*/ 46489 w 46488"/>
                <a:gd name="connsiteY5" fmla="*/ 5937 h 11874"/>
                <a:gd name="connsiteX6" fmla="*/ 40579 w 46488"/>
                <a:gd name="connsiteY6" fmla="*/ 11875 h 1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488" h="11874">
                  <a:moveTo>
                    <a:pt x="40579" y="11875"/>
                  </a:moveTo>
                  <a:lnTo>
                    <a:pt x="5910" y="11875"/>
                  </a:lnTo>
                  <a:cubicBezTo>
                    <a:pt x="2679" y="11875"/>
                    <a:pt x="0" y="9183"/>
                    <a:pt x="0" y="5937"/>
                  </a:cubicBezTo>
                  <a:cubicBezTo>
                    <a:pt x="0" y="2692"/>
                    <a:pt x="2679" y="0"/>
                    <a:pt x="5910" y="0"/>
                  </a:cubicBezTo>
                  <a:lnTo>
                    <a:pt x="40579" y="0"/>
                  </a:lnTo>
                  <a:cubicBezTo>
                    <a:pt x="43810" y="0"/>
                    <a:pt x="46489" y="2692"/>
                    <a:pt x="46489" y="5937"/>
                  </a:cubicBezTo>
                  <a:cubicBezTo>
                    <a:pt x="46489" y="9183"/>
                    <a:pt x="43810" y="11875"/>
                    <a:pt x="40579" y="11875"/>
                  </a:cubicBezTo>
                  <a:close/>
                </a:path>
              </a:pathLst>
            </a:custGeom>
            <a:solidFill>
              <a:srgbClr val="FFFFFF"/>
            </a:solidFill>
            <a:ln w="7781" cap="flat">
              <a:noFill/>
              <a:prstDash val="solid"/>
              <a:miter/>
            </a:ln>
          </p:spPr>
          <p:txBody>
            <a:bodyPr rtlCol="0" anchor="ctr"/>
            <a:lstStyle/>
            <a:p>
              <a:endParaRPr lang="en-DK"/>
            </a:p>
          </p:txBody>
        </p:sp>
        <p:sp>
          <p:nvSpPr>
            <p:cNvPr id="30" name="Freeform 29">
              <a:extLst>
                <a:ext uri="{FF2B5EF4-FFF2-40B4-BE49-F238E27FC236}">
                  <a16:creationId xmlns:a16="http://schemas.microsoft.com/office/drawing/2014/main" id="{1177322F-F3D4-217D-6788-F8B1997AB13E}"/>
                </a:ext>
              </a:extLst>
            </p:cNvPr>
            <p:cNvSpPr/>
            <p:nvPr/>
          </p:nvSpPr>
          <p:spPr>
            <a:xfrm>
              <a:off x="4600009" y="5556924"/>
              <a:ext cx="65084" cy="11874"/>
            </a:xfrm>
            <a:custGeom>
              <a:avLst/>
              <a:gdLst>
                <a:gd name="connsiteX0" fmla="*/ 59175 w 65084"/>
                <a:gd name="connsiteY0" fmla="*/ 11875 h 11874"/>
                <a:gd name="connsiteX1" fmla="*/ 5910 w 65084"/>
                <a:gd name="connsiteY1" fmla="*/ 11875 h 11874"/>
                <a:gd name="connsiteX2" fmla="*/ 0 w 65084"/>
                <a:gd name="connsiteY2" fmla="*/ 5937 h 11874"/>
                <a:gd name="connsiteX3" fmla="*/ 5910 w 65084"/>
                <a:gd name="connsiteY3" fmla="*/ 0 h 11874"/>
                <a:gd name="connsiteX4" fmla="*/ 59175 w 65084"/>
                <a:gd name="connsiteY4" fmla="*/ 0 h 11874"/>
                <a:gd name="connsiteX5" fmla="*/ 65084 w 65084"/>
                <a:gd name="connsiteY5" fmla="*/ 5937 h 11874"/>
                <a:gd name="connsiteX6" fmla="*/ 59175 w 65084"/>
                <a:gd name="connsiteY6" fmla="*/ 11875 h 1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84" h="11874">
                  <a:moveTo>
                    <a:pt x="59175" y="11875"/>
                  </a:moveTo>
                  <a:lnTo>
                    <a:pt x="5910" y="11875"/>
                  </a:lnTo>
                  <a:cubicBezTo>
                    <a:pt x="2679" y="11875"/>
                    <a:pt x="0" y="9183"/>
                    <a:pt x="0" y="5937"/>
                  </a:cubicBezTo>
                  <a:cubicBezTo>
                    <a:pt x="0" y="2692"/>
                    <a:pt x="2679" y="0"/>
                    <a:pt x="5910" y="0"/>
                  </a:cubicBezTo>
                  <a:lnTo>
                    <a:pt x="59175" y="0"/>
                  </a:lnTo>
                  <a:cubicBezTo>
                    <a:pt x="62405" y="0"/>
                    <a:pt x="65084" y="2692"/>
                    <a:pt x="65084" y="5937"/>
                  </a:cubicBezTo>
                  <a:cubicBezTo>
                    <a:pt x="65084" y="9183"/>
                    <a:pt x="62405" y="11875"/>
                    <a:pt x="59175" y="11875"/>
                  </a:cubicBezTo>
                  <a:close/>
                </a:path>
              </a:pathLst>
            </a:custGeom>
            <a:solidFill>
              <a:srgbClr val="FFFFFF"/>
            </a:solidFill>
            <a:ln w="7781" cap="flat">
              <a:noFill/>
              <a:prstDash val="solid"/>
              <a:miter/>
            </a:ln>
          </p:spPr>
          <p:txBody>
            <a:bodyPr rtlCol="0" anchor="ctr"/>
            <a:lstStyle/>
            <a:p>
              <a:endParaRPr lang="en-DK"/>
            </a:p>
          </p:txBody>
        </p:sp>
        <p:sp>
          <p:nvSpPr>
            <p:cNvPr id="31" name="Freeform 30">
              <a:extLst>
                <a:ext uri="{FF2B5EF4-FFF2-40B4-BE49-F238E27FC236}">
                  <a16:creationId xmlns:a16="http://schemas.microsoft.com/office/drawing/2014/main" id="{5C225BD7-1BC8-0341-3DBD-1D0857AD30C4}"/>
                </a:ext>
              </a:extLst>
            </p:cNvPr>
            <p:cNvSpPr/>
            <p:nvPr/>
          </p:nvSpPr>
          <p:spPr>
            <a:xfrm>
              <a:off x="4600009" y="5616061"/>
              <a:ext cx="65084" cy="11874"/>
            </a:xfrm>
            <a:custGeom>
              <a:avLst/>
              <a:gdLst>
                <a:gd name="connsiteX0" fmla="*/ 59175 w 65084"/>
                <a:gd name="connsiteY0" fmla="*/ 11875 h 11874"/>
                <a:gd name="connsiteX1" fmla="*/ 5910 w 65084"/>
                <a:gd name="connsiteY1" fmla="*/ 11875 h 11874"/>
                <a:gd name="connsiteX2" fmla="*/ 0 w 65084"/>
                <a:gd name="connsiteY2" fmla="*/ 5937 h 11874"/>
                <a:gd name="connsiteX3" fmla="*/ 5910 w 65084"/>
                <a:gd name="connsiteY3" fmla="*/ 0 h 11874"/>
                <a:gd name="connsiteX4" fmla="*/ 59175 w 65084"/>
                <a:gd name="connsiteY4" fmla="*/ 0 h 11874"/>
                <a:gd name="connsiteX5" fmla="*/ 65084 w 65084"/>
                <a:gd name="connsiteY5" fmla="*/ 5937 h 11874"/>
                <a:gd name="connsiteX6" fmla="*/ 59175 w 65084"/>
                <a:gd name="connsiteY6" fmla="*/ 11875 h 1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84" h="11874">
                  <a:moveTo>
                    <a:pt x="59175" y="11875"/>
                  </a:moveTo>
                  <a:lnTo>
                    <a:pt x="5910" y="11875"/>
                  </a:lnTo>
                  <a:cubicBezTo>
                    <a:pt x="2679" y="11875"/>
                    <a:pt x="0" y="9183"/>
                    <a:pt x="0" y="5937"/>
                  </a:cubicBezTo>
                  <a:cubicBezTo>
                    <a:pt x="0" y="2692"/>
                    <a:pt x="2679" y="0"/>
                    <a:pt x="5910" y="0"/>
                  </a:cubicBezTo>
                  <a:lnTo>
                    <a:pt x="59175" y="0"/>
                  </a:lnTo>
                  <a:cubicBezTo>
                    <a:pt x="62405" y="0"/>
                    <a:pt x="65084" y="2692"/>
                    <a:pt x="65084" y="5937"/>
                  </a:cubicBezTo>
                  <a:cubicBezTo>
                    <a:pt x="65084" y="9183"/>
                    <a:pt x="62405" y="11875"/>
                    <a:pt x="59175" y="11875"/>
                  </a:cubicBezTo>
                  <a:close/>
                </a:path>
              </a:pathLst>
            </a:custGeom>
            <a:solidFill>
              <a:srgbClr val="FFFFFF"/>
            </a:solidFill>
            <a:ln w="7781" cap="flat">
              <a:noFill/>
              <a:prstDash val="solid"/>
              <a:miter/>
            </a:ln>
          </p:spPr>
          <p:txBody>
            <a:bodyPr rtlCol="0" anchor="ctr"/>
            <a:lstStyle/>
            <a:p>
              <a:endParaRPr lang="en-DK"/>
            </a:p>
          </p:txBody>
        </p:sp>
        <p:sp>
          <p:nvSpPr>
            <p:cNvPr id="32" name="Freeform 31">
              <a:extLst>
                <a:ext uri="{FF2B5EF4-FFF2-40B4-BE49-F238E27FC236}">
                  <a16:creationId xmlns:a16="http://schemas.microsoft.com/office/drawing/2014/main" id="{C92F9261-4A4E-8004-04AD-91F8D9873031}"/>
                </a:ext>
              </a:extLst>
            </p:cNvPr>
            <p:cNvSpPr/>
            <p:nvPr/>
          </p:nvSpPr>
          <p:spPr>
            <a:xfrm>
              <a:off x="4600009" y="5675198"/>
              <a:ext cx="65084" cy="11874"/>
            </a:xfrm>
            <a:custGeom>
              <a:avLst/>
              <a:gdLst>
                <a:gd name="connsiteX0" fmla="*/ 59175 w 65084"/>
                <a:gd name="connsiteY0" fmla="*/ 11875 h 11874"/>
                <a:gd name="connsiteX1" fmla="*/ 5910 w 65084"/>
                <a:gd name="connsiteY1" fmla="*/ 11875 h 11874"/>
                <a:gd name="connsiteX2" fmla="*/ 0 w 65084"/>
                <a:gd name="connsiteY2" fmla="*/ 5937 h 11874"/>
                <a:gd name="connsiteX3" fmla="*/ 5910 w 65084"/>
                <a:gd name="connsiteY3" fmla="*/ 0 h 11874"/>
                <a:gd name="connsiteX4" fmla="*/ 59175 w 65084"/>
                <a:gd name="connsiteY4" fmla="*/ 0 h 11874"/>
                <a:gd name="connsiteX5" fmla="*/ 65084 w 65084"/>
                <a:gd name="connsiteY5" fmla="*/ 5937 h 11874"/>
                <a:gd name="connsiteX6" fmla="*/ 59175 w 65084"/>
                <a:gd name="connsiteY6" fmla="*/ 11875 h 1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84" h="11874">
                  <a:moveTo>
                    <a:pt x="59175" y="11875"/>
                  </a:moveTo>
                  <a:lnTo>
                    <a:pt x="5910" y="11875"/>
                  </a:lnTo>
                  <a:cubicBezTo>
                    <a:pt x="2679" y="11875"/>
                    <a:pt x="0" y="9183"/>
                    <a:pt x="0" y="5937"/>
                  </a:cubicBezTo>
                  <a:cubicBezTo>
                    <a:pt x="0" y="2692"/>
                    <a:pt x="2679" y="0"/>
                    <a:pt x="5910" y="0"/>
                  </a:cubicBezTo>
                  <a:lnTo>
                    <a:pt x="59175" y="0"/>
                  </a:lnTo>
                  <a:cubicBezTo>
                    <a:pt x="62405" y="0"/>
                    <a:pt x="65084" y="2692"/>
                    <a:pt x="65084" y="5937"/>
                  </a:cubicBezTo>
                  <a:cubicBezTo>
                    <a:pt x="65084" y="9183"/>
                    <a:pt x="62405" y="11875"/>
                    <a:pt x="59175" y="11875"/>
                  </a:cubicBezTo>
                  <a:close/>
                </a:path>
              </a:pathLst>
            </a:custGeom>
            <a:solidFill>
              <a:srgbClr val="FFFFFF"/>
            </a:solidFill>
            <a:ln w="7781" cap="flat">
              <a:noFill/>
              <a:prstDash val="solid"/>
              <a:miter/>
            </a:ln>
          </p:spPr>
          <p:txBody>
            <a:bodyPr rtlCol="0" anchor="ctr"/>
            <a:lstStyle/>
            <a:p>
              <a:endParaRPr lang="en-DK"/>
            </a:p>
          </p:txBody>
        </p:sp>
        <p:sp>
          <p:nvSpPr>
            <p:cNvPr id="33" name="Freeform 32">
              <a:extLst>
                <a:ext uri="{FF2B5EF4-FFF2-40B4-BE49-F238E27FC236}">
                  <a16:creationId xmlns:a16="http://schemas.microsoft.com/office/drawing/2014/main" id="{7906B602-4549-D94D-02D1-90F9B5B1DC14}"/>
                </a:ext>
              </a:extLst>
            </p:cNvPr>
            <p:cNvSpPr/>
            <p:nvPr/>
          </p:nvSpPr>
          <p:spPr>
            <a:xfrm>
              <a:off x="4600009" y="5497075"/>
              <a:ext cx="160740" cy="11874"/>
            </a:xfrm>
            <a:custGeom>
              <a:avLst/>
              <a:gdLst>
                <a:gd name="connsiteX0" fmla="*/ 154831 w 160740"/>
                <a:gd name="connsiteY0" fmla="*/ 11875 h 11874"/>
                <a:gd name="connsiteX1" fmla="*/ 5910 w 160740"/>
                <a:gd name="connsiteY1" fmla="*/ 11875 h 11874"/>
                <a:gd name="connsiteX2" fmla="*/ 0 w 160740"/>
                <a:gd name="connsiteY2" fmla="*/ 5937 h 11874"/>
                <a:gd name="connsiteX3" fmla="*/ 5910 w 160740"/>
                <a:gd name="connsiteY3" fmla="*/ 0 h 11874"/>
                <a:gd name="connsiteX4" fmla="*/ 154831 w 160740"/>
                <a:gd name="connsiteY4" fmla="*/ 0 h 11874"/>
                <a:gd name="connsiteX5" fmla="*/ 160741 w 160740"/>
                <a:gd name="connsiteY5" fmla="*/ 5937 h 11874"/>
                <a:gd name="connsiteX6" fmla="*/ 154831 w 160740"/>
                <a:gd name="connsiteY6" fmla="*/ 11875 h 1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740" h="11874">
                  <a:moveTo>
                    <a:pt x="154831" y="11875"/>
                  </a:moveTo>
                  <a:lnTo>
                    <a:pt x="5910" y="11875"/>
                  </a:lnTo>
                  <a:cubicBezTo>
                    <a:pt x="2679" y="11875"/>
                    <a:pt x="0" y="9183"/>
                    <a:pt x="0" y="5937"/>
                  </a:cubicBezTo>
                  <a:cubicBezTo>
                    <a:pt x="0" y="2692"/>
                    <a:pt x="2679" y="0"/>
                    <a:pt x="5910" y="0"/>
                  </a:cubicBezTo>
                  <a:lnTo>
                    <a:pt x="154831" y="0"/>
                  </a:lnTo>
                  <a:cubicBezTo>
                    <a:pt x="158062" y="0"/>
                    <a:pt x="160741" y="2692"/>
                    <a:pt x="160741" y="5937"/>
                  </a:cubicBezTo>
                  <a:cubicBezTo>
                    <a:pt x="160741" y="9183"/>
                    <a:pt x="158062" y="11875"/>
                    <a:pt x="154831" y="11875"/>
                  </a:cubicBezTo>
                  <a:close/>
                </a:path>
              </a:pathLst>
            </a:custGeom>
            <a:solidFill>
              <a:srgbClr val="FFFFFF"/>
            </a:solidFill>
            <a:ln w="7781" cap="flat">
              <a:noFill/>
              <a:prstDash val="solid"/>
              <a:miter/>
            </a:ln>
          </p:spPr>
          <p:txBody>
            <a:bodyPr rtlCol="0" anchor="ctr"/>
            <a:lstStyle/>
            <a:p>
              <a:endParaRPr lang="en-DK"/>
            </a:p>
          </p:txBody>
        </p:sp>
        <p:sp>
          <p:nvSpPr>
            <p:cNvPr id="34" name="Freeform 33">
              <a:extLst>
                <a:ext uri="{FF2B5EF4-FFF2-40B4-BE49-F238E27FC236}">
                  <a16:creationId xmlns:a16="http://schemas.microsoft.com/office/drawing/2014/main" id="{82E32925-80DE-35CB-E01D-2C66CADA1D80}"/>
                </a:ext>
              </a:extLst>
            </p:cNvPr>
            <p:cNvSpPr/>
            <p:nvPr/>
          </p:nvSpPr>
          <p:spPr>
            <a:xfrm>
              <a:off x="4649019" y="5221102"/>
              <a:ext cx="11819" cy="92782"/>
            </a:xfrm>
            <a:custGeom>
              <a:avLst/>
              <a:gdLst>
                <a:gd name="connsiteX0" fmla="*/ 5910 w 11819"/>
                <a:gd name="connsiteY0" fmla="*/ 92783 h 92782"/>
                <a:gd name="connsiteX1" fmla="*/ 0 w 11819"/>
                <a:gd name="connsiteY1" fmla="*/ 86845 h 92782"/>
                <a:gd name="connsiteX2" fmla="*/ 0 w 11819"/>
                <a:gd name="connsiteY2" fmla="*/ 85103 h 92782"/>
                <a:gd name="connsiteX3" fmla="*/ 5910 w 11819"/>
                <a:gd name="connsiteY3" fmla="*/ 79166 h 92782"/>
                <a:gd name="connsiteX4" fmla="*/ 11819 w 11819"/>
                <a:gd name="connsiteY4" fmla="*/ 85103 h 92782"/>
                <a:gd name="connsiteX5" fmla="*/ 11819 w 11819"/>
                <a:gd name="connsiteY5" fmla="*/ 86845 h 92782"/>
                <a:gd name="connsiteX6" fmla="*/ 5910 w 11819"/>
                <a:gd name="connsiteY6" fmla="*/ 92783 h 92782"/>
                <a:gd name="connsiteX7" fmla="*/ 5910 w 11819"/>
                <a:gd name="connsiteY7" fmla="*/ 67291 h 92782"/>
                <a:gd name="connsiteX8" fmla="*/ 0 w 11819"/>
                <a:gd name="connsiteY8" fmla="*/ 61354 h 92782"/>
                <a:gd name="connsiteX9" fmla="*/ 0 w 11819"/>
                <a:gd name="connsiteY9" fmla="*/ 45520 h 92782"/>
                <a:gd name="connsiteX10" fmla="*/ 5910 w 11819"/>
                <a:gd name="connsiteY10" fmla="*/ 39583 h 92782"/>
                <a:gd name="connsiteX11" fmla="*/ 11819 w 11819"/>
                <a:gd name="connsiteY11" fmla="*/ 45520 h 92782"/>
                <a:gd name="connsiteX12" fmla="*/ 11819 w 11819"/>
                <a:gd name="connsiteY12" fmla="*/ 61354 h 92782"/>
                <a:gd name="connsiteX13" fmla="*/ 5910 w 11819"/>
                <a:gd name="connsiteY13" fmla="*/ 67291 h 92782"/>
                <a:gd name="connsiteX14" fmla="*/ 5910 w 11819"/>
                <a:gd name="connsiteY14" fmla="*/ 27708 h 92782"/>
                <a:gd name="connsiteX15" fmla="*/ 0 w 11819"/>
                <a:gd name="connsiteY15" fmla="*/ 21771 h 92782"/>
                <a:gd name="connsiteX16" fmla="*/ 0 w 11819"/>
                <a:gd name="connsiteY16" fmla="*/ 5937 h 92782"/>
                <a:gd name="connsiteX17" fmla="*/ 5910 w 11819"/>
                <a:gd name="connsiteY17" fmla="*/ 0 h 92782"/>
                <a:gd name="connsiteX18" fmla="*/ 11819 w 11819"/>
                <a:gd name="connsiteY18" fmla="*/ 5937 h 92782"/>
                <a:gd name="connsiteX19" fmla="*/ 11819 w 11819"/>
                <a:gd name="connsiteY19" fmla="*/ 21771 h 92782"/>
                <a:gd name="connsiteX20" fmla="*/ 5910 w 11819"/>
                <a:gd name="connsiteY20" fmla="*/ 27708 h 9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819" h="92782">
                  <a:moveTo>
                    <a:pt x="5910" y="92783"/>
                  </a:moveTo>
                  <a:cubicBezTo>
                    <a:pt x="2679" y="92783"/>
                    <a:pt x="0" y="90091"/>
                    <a:pt x="0" y="86845"/>
                  </a:cubicBezTo>
                  <a:lnTo>
                    <a:pt x="0" y="85103"/>
                  </a:lnTo>
                  <a:cubicBezTo>
                    <a:pt x="0" y="81858"/>
                    <a:pt x="2679" y="79166"/>
                    <a:pt x="5910" y="79166"/>
                  </a:cubicBezTo>
                  <a:cubicBezTo>
                    <a:pt x="9140" y="79166"/>
                    <a:pt x="11819" y="81858"/>
                    <a:pt x="11819" y="85103"/>
                  </a:cubicBezTo>
                  <a:lnTo>
                    <a:pt x="11819" y="86845"/>
                  </a:lnTo>
                  <a:cubicBezTo>
                    <a:pt x="11819" y="90091"/>
                    <a:pt x="9140" y="92783"/>
                    <a:pt x="5910" y="92783"/>
                  </a:cubicBezTo>
                  <a:close/>
                  <a:moveTo>
                    <a:pt x="5910" y="67291"/>
                  </a:moveTo>
                  <a:cubicBezTo>
                    <a:pt x="2679" y="67291"/>
                    <a:pt x="0" y="64599"/>
                    <a:pt x="0" y="61354"/>
                  </a:cubicBezTo>
                  <a:lnTo>
                    <a:pt x="0" y="45520"/>
                  </a:lnTo>
                  <a:cubicBezTo>
                    <a:pt x="0" y="42275"/>
                    <a:pt x="2679" y="39583"/>
                    <a:pt x="5910" y="39583"/>
                  </a:cubicBezTo>
                  <a:cubicBezTo>
                    <a:pt x="9140" y="39583"/>
                    <a:pt x="11819" y="42275"/>
                    <a:pt x="11819" y="45520"/>
                  </a:cubicBezTo>
                  <a:lnTo>
                    <a:pt x="11819" y="61354"/>
                  </a:lnTo>
                  <a:cubicBezTo>
                    <a:pt x="11819" y="64599"/>
                    <a:pt x="9140" y="67291"/>
                    <a:pt x="5910" y="67291"/>
                  </a:cubicBezTo>
                  <a:close/>
                  <a:moveTo>
                    <a:pt x="5910" y="27708"/>
                  </a:moveTo>
                  <a:cubicBezTo>
                    <a:pt x="2679" y="27708"/>
                    <a:pt x="0" y="25016"/>
                    <a:pt x="0" y="21771"/>
                  </a:cubicBezTo>
                  <a:lnTo>
                    <a:pt x="0" y="5937"/>
                  </a:lnTo>
                  <a:cubicBezTo>
                    <a:pt x="0" y="2692"/>
                    <a:pt x="2679" y="0"/>
                    <a:pt x="5910" y="0"/>
                  </a:cubicBezTo>
                  <a:cubicBezTo>
                    <a:pt x="9140" y="0"/>
                    <a:pt x="11819" y="2692"/>
                    <a:pt x="11819" y="5937"/>
                  </a:cubicBezTo>
                  <a:lnTo>
                    <a:pt x="11819" y="21771"/>
                  </a:lnTo>
                  <a:cubicBezTo>
                    <a:pt x="11819" y="25016"/>
                    <a:pt x="9140" y="27708"/>
                    <a:pt x="5910" y="27708"/>
                  </a:cubicBezTo>
                  <a:close/>
                </a:path>
              </a:pathLst>
            </a:custGeom>
            <a:solidFill>
              <a:srgbClr val="FFFFFF"/>
            </a:solidFill>
            <a:ln w="7781" cap="flat">
              <a:noFill/>
              <a:prstDash val="solid"/>
              <a:miter/>
            </a:ln>
          </p:spPr>
          <p:txBody>
            <a:bodyPr rtlCol="0" anchor="ctr"/>
            <a:lstStyle/>
            <a:p>
              <a:endParaRPr lang="en-DK"/>
            </a:p>
          </p:txBody>
        </p:sp>
        <p:sp>
          <p:nvSpPr>
            <p:cNvPr id="35" name="Freeform 34">
              <a:extLst>
                <a:ext uri="{FF2B5EF4-FFF2-40B4-BE49-F238E27FC236}">
                  <a16:creationId xmlns:a16="http://schemas.microsoft.com/office/drawing/2014/main" id="{F18CD0DB-CE07-39D4-316C-1AF517B0B993}"/>
                </a:ext>
              </a:extLst>
            </p:cNvPr>
            <p:cNvSpPr/>
            <p:nvPr/>
          </p:nvSpPr>
          <p:spPr>
            <a:xfrm>
              <a:off x="4695665" y="5166399"/>
              <a:ext cx="11819" cy="146457"/>
            </a:xfrm>
            <a:custGeom>
              <a:avLst/>
              <a:gdLst>
                <a:gd name="connsiteX0" fmla="*/ 5910 w 11819"/>
                <a:gd name="connsiteY0" fmla="*/ 146457 h 146457"/>
                <a:gd name="connsiteX1" fmla="*/ 0 w 11819"/>
                <a:gd name="connsiteY1" fmla="*/ 140520 h 146457"/>
                <a:gd name="connsiteX2" fmla="*/ 0 w 11819"/>
                <a:gd name="connsiteY2" fmla="*/ 124686 h 146457"/>
                <a:gd name="connsiteX3" fmla="*/ 5910 w 11819"/>
                <a:gd name="connsiteY3" fmla="*/ 118749 h 146457"/>
                <a:gd name="connsiteX4" fmla="*/ 11819 w 11819"/>
                <a:gd name="connsiteY4" fmla="*/ 124686 h 146457"/>
                <a:gd name="connsiteX5" fmla="*/ 11819 w 11819"/>
                <a:gd name="connsiteY5" fmla="*/ 140520 h 146457"/>
                <a:gd name="connsiteX6" fmla="*/ 5910 w 11819"/>
                <a:gd name="connsiteY6" fmla="*/ 146457 h 146457"/>
                <a:gd name="connsiteX7" fmla="*/ 5910 w 11819"/>
                <a:gd name="connsiteY7" fmla="*/ 106874 h 146457"/>
                <a:gd name="connsiteX8" fmla="*/ 0 w 11819"/>
                <a:gd name="connsiteY8" fmla="*/ 100937 h 146457"/>
                <a:gd name="connsiteX9" fmla="*/ 0 w 11819"/>
                <a:gd name="connsiteY9" fmla="*/ 85103 h 146457"/>
                <a:gd name="connsiteX10" fmla="*/ 5910 w 11819"/>
                <a:gd name="connsiteY10" fmla="*/ 79166 h 146457"/>
                <a:gd name="connsiteX11" fmla="*/ 11819 w 11819"/>
                <a:gd name="connsiteY11" fmla="*/ 85103 h 146457"/>
                <a:gd name="connsiteX12" fmla="*/ 11819 w 11819"/>
                <a:gd name="connsiteY12" fmla="*/ 100937 h 146457"/>
                <a:gd name="connsiteX13" fmla="*/ 5910 w 11819"/>
                <a:gd name="connsiteY13" fmla="*/ 106874 h 146457"/>
                <a:gd name="connsiteX14" fmla="*/ 5910 w 11819"/>
                <a:gd name="connsiteY14" fmla="*/ 67291 h 146457"/>
                <a:gd name="connsiteX15" fmla="*/ 0 w 11819"/>
                <a:gd name="connsiteY15" fmla="*/ 61354 h 146457"/>
                <a:gd name="connsiteX16" fmla="*/ 0 w 11819"/>
                <a:gd name="connsiteY16" fmla="*/ 45520 h 146457"/>
                <a:gd name="connsiteX17" fmla="*/ 5910 w 11819"/>
                <a:gd name="connsiteY17" fmla="*/ 39583 h 146457"/>
                <a:gd name="connsiteX18" fmla="*/ 11819 w 11819"/>
                <a:gd name="connsiteY18" fmla="*/ 45520 h 146457"/>
                <a:gd name="connsiteX19" fmla="*/ 11819 w 11819"/>
                <a:gd name="connsiteY19" fmla="*/ 61354 h 146457"/>
                <a:gd name="connsiteX20" fmla="*/ 5910 w 11819"/>
                <a:gd name="connsiteY20" fmla="*/ 67291 h 146457"/>
                <a:gd name="connsiteX21" fmla="*/ 5910 w 11819"/>
                <a:gd name="connsiteY21" fmla="*/ 27708 h 146457"/>
                <a:gd name="connsiteX22" fmla="*/ 0 w 11819"/>
                <a:gd name="connsiteY22" fmla="*/ 21771 h 146457"/>
                <a:gd name="connsiteX23" fmla="*/ 0 w 11819"/>
                <a:gd name="connsiteY23" fmla="*/ 5937 h 146457"/>
                <a:gd name="connsiteX24" fmla="*/ 5910 w 11819"/>
                <a:gd name="connsiteY24" fmla="*/ 0 h 146457"/>
                <a:gd name="connsiteX25" fmla="*/ 11819 w 11819"/>
                <a:gd name="connsiteY25" fmla="*/ 5937 h 146457"/>
                <a:gd name="connsiteX26" fmla="*/ 11819 w 11819"/>
                <a:gd name="connsiteY26" fmla="*/ 21771 h 146457"/>
                <a:gd name="connsiteX27" fmla="*/ 5910 w 11819"/>
                <a:gd name="connsiteY27" fmla="*/ 27708 h 146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819" h="146457">
                  <a:moveTo>
                    <a:pt x="5910" y="146457"/>
                  </a:moveTo>
                  <a:cubicBezTo>
                    <a:pt x="2679" y="146457"/>
                    <a:pt x="0" y="143765"/>
                    <a:pt x="0" y="140520"/>
                  </a:cubicBezTo>
                  <a:lnTo>
                    <a:pt x="0" y="124686"/>
                  </a:lnTo>
                  <a:cubicBezTo>
                    <a:pt x="0" y="121441"/>
                    <a:pt x="2679" y="118749"/>
                    <a:pt x="5910" y="118749"/>
                  </a:cubicBezTo>
                  <a:cubicBezTo>
                    <a:pt x="9140" y="118749"/>
                    <a:pt x="11819" y="121441"/>
                    <a:pt x="11819" y="124686"/>
                  </a:cubicBezTo>
                  <a:lnTo>
                    <a:pt x="11819" y="140520"/>
                  </a:lnTo>
                  <a:cubicBezTo>
                    <a:pt x="11819" y="143765"/>
                    <a:pt x="9140" y="146457"/>
                    <a:pt x="5910" y="146457"/>
                  </a:cubicBezTo>
                  <a:close/>
                  <a:moveTo>
                    <a:pt x="5910" y="106874"/>
                  </a:moveTo>
                  <a:cubicBezTo>
                    <a:pt x="2679" y="106874"/>
                    <a:pt x="0" y="104182"/>
                    <a:pt x="0" y="100937"/>
                  </a:cubicBezTo>
                  <a:lnTo>
                    <a:pt x="0" y="85103"/>
                  </a:lnTo>
                  <a:cubicBezTo>
                    <a:pt x="0" y="81858"/>
                    <a:pt x="2679" y="79166"/>
                    <a:pt x="5910" y="79166"/>
                  </a:cubicBezTo>
                  <a:cubicBezTo>
                    <a:pt x="9140" y="79166"/>
                    <a:pt x="11819" y="81858"/>
                    <a:pt x="11819" y="85103"/>
                  </a:cubicBezTo>
                  <a:lnTo>
                    <a:pt x="11819" y="100937"/>
                  </a:lnTo>
                  <a:cubicBezTo>
                    <a:pt x="11819" y="104182"/>
                    <a:pt x="9140" y="106874"/>
                    <a:pt x="5910" y="106874"/>
                  </a:cubicBezTo>
                  <a:close/>
                  <a:moveTo>
                    <a:pt x="5910" y="67291"/>
                  </a:moveTo>
                  <a:cubicBezTo>
                    <a:pt x="2679" y="67291"/>
                    <a:pt x="0" y="64599"/>
                    <a:pt x="0" y="61354"/>
                  </a:cubicBezTo>
                  <a:lnTo>
                    <a:pt x="0" y="45520"/>
                  </a:lnTo>
                  <a:cubicBezTo>
                    <a:pt x="0" y="42275"/>
                    <a:pt x="2679" y="39583"/>
                    <a:pt x="5910" y="39583"/>
                  </a:cubicBezTo>
                  <a:cubicBezTo>
                    <a:pt x="9140" y="39583"/>
                    <a:pt x="11819" y="42275"/>
                    <a:pt x="11819" y="45520"/>
                  </a:cubicBezTo>
                  <a:lnTo>
                    <a:pt x="11819" y="61354"/>
                  </a:lnTo>
                  <a:cubicBezTo>
                    <a:pt x="11819" y="64599"/>
                    <a:pt x="9140" y="67291"/>
                    <a:pt x="5910" y="67291"/>
                  </a:cubicBezTo>
                  <a:close/>
                  <a:moveTo>
                    <a:pt x="5910" y="27708"/>
                  </a:moveTo>
                  <a:cubicBezTo>
                    <a:pt x="2679" y="27708"/>
                    <a:pt x="0" y="25016"/>
                    <a:pt x="0" y="21771"/>
                  </a:cubicBezTo>
                  <a:lnTo>
                    <a:pt x="0" y="5937"/>
                  </a:lnTo>
                  <a:cubicBezTo>
                    <a:pt x="0" y="2692"/>
                    <a:pt x="2679" y="0"/>
                    <a:pt x="5910" y="0"/>
                  </a:cubicBezTo>
                  <a:cubicBezTo>
                    <a:pt x="9140" y="0"/>
                    <a:pt x="11819" y="2692"/>
                    <a:pt x="11819" y="5937"/>
                  </a:cubicBezTo>
                  <a:lnTo>
                    <a:pt x="11819" y="21771"/>
                  </a:lnTo>
                  <a:cubicBezTo>
                    <a:pt x="11819" y="25016"/>
                    <a:pt x="9140" y="27708"/>
                    <a:pt x="5910" y="27708"/>
                  </a:cubicBezTo>
                  <a:close/>
                </a:path>
              </a:pathLst>
            </a:custGeom>
            <a:solidFill>
              <a:srgbClr val="FFFFFF"/>
            </a:solidFill>
            <a:ln w="7781" cap="flat">
              <a:noFill/>
              <a:prstDash val="solid"/>
              <a:miter/>
            </a:ln>
          </p:spPr>
          <p:txBody>
            <a:bodyPr rtlCol="0" anchor="ctr"/>
            <a:lstStyle/>
            <a:p>
              <a:endParaRPr lang="en-DK"/>
            </a:p>
          </p:txBody>
        </p:sp>
      </p:grpSp>
      <p:pic>
        <p:nvPicPr>
          <p:cNvPr id="4" name="Graphic 3">
            <a:extLst>
              <a:ext uri="{FF2B5EF4-FFF2-40B4-BE49-F238E27FC236}">
                <a16:creationId xmlns:a16="http://schemas.microsoft.com/office/drawing/2014/main" id="{51A5E843-4782-EABF-27B7-1703CA7C289D}"/>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0692254" y="311151"/>
            <a:ext cx="986918" cy="469900"/>
          </a:xfrm>
          <a:prstGeom prst="rect">
            <a:avLst/>
          </a:prstGeom>
        </p:spPr>
      </p:pic>
      <p:sp>
        <p:nvSpPr>
          <p:cNvPr id="177" name="Rectangle 176">
            <a:extLst>
              <a:ext uri="{FF2B5EF4-FFF2-40B4-BE49-F238E27FC236}">
                <a16:creationId xmlns:a16="http://schemas.microsoft.com/office/drawing/2014/main" id="{AC114C5D-9331-376D-3F08-55C718F84BDE}"/>
              </a:ext>
            </a:extLst>
          </p:cNvPr>
          <p:cNvSpPr>
            <a:spLocks/>
          </p:cNvSpPr>
          <p:nvPr/>
        </p:nvSpPr>
        <p:spPr>
          <a:xfrm>
            <a:off x="8355492" y="1805615"/>
            <a:ext cx="2714808" cy="1915043"/>
          </a:xfrm>
          <a:prstGeom prst="rect">
            <a:avLst/>
          </a:prstGeom>
          <a:noFill/>
          <a:ln w="12700" cap="flat" cmpd="sng" algn="ctr">
            <a:no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600"/>
              </a:spcAft>
              <a:buClrTx/>
              <a:buSzTx/>
              <a:buFontTx/>
              <a:buNone/>
              <a:tabLst/>
              <a:defRPr/>
            </a:pPr>
            <a:r>
              <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Gubra serves</a:t>
            </a:r>
          </a:p>
          <a:p>
            <a:pPr marL="0" marR="0" lvl="0" indent="0" algn="ctr" defTabSz="914446" rtl="0" eaLnBrk="1" fontAlgn="auto" latinLnBrk="0" hangingPunct="1">
              <a:lnSpc>
                <a:spcPct val="100000"/>
              </a:lnSpc>
              <a:spcBef>
                <a:spcPts val="0"/>
              </a:spcBef>
              <a:spcAft>
                <a:spcPts val="600"/>
              </a:spcAft>
              <a:buClrTx/>
              <a:buSzTx/>
              <a:buFontTx/>
              <a:buNone/>
              <a:tabLst/>
              <a:defRPr/>
            </a:pPr>
            <a:r>
              <a:rPr kumimoji="0" lang="en-DK" sz="4000" b="1" i="0" u="none" strike="noStrike" kern="1200" cap="none" spc="0" normalizeH="0" baseline="0" noProof="0">
                <a:ln>
                  <a:noFill/>
                </a:ln>
                <a:solidFill>
                  <a:schemeClr val="bg1"/>
                </a:solidFill>
                <a:effectLst/>
                <a:uLnTx/>
                <a:uFillTx/>
                <a:latin typeface="Avenir Next LT Pro" panose="020B0504020202020204" pitchFamily="34" charset="0"/>
                <a:ea typeface="+mn-ea"/>
                <a:cs typeface="+mn-cs"/>
              </a:rPr>
              <a:t>17/20</a:t>
            </a:r>
          </a:p>
          <a:p>
            <a:pPr marL="0" marR="0" lvl="0" indent="0" algn="ctr" defTabSz="914446" rtl="0" eaLnBrk="1" fontAlgn="auto" latinLnBrk="0" hangingPunct="1">
              <a:lnSpc>
                <a:spcPct val="100000"/>
              </a:lnSpc>
              <a:spcBef>
                <a:spcPts val="0"/>
              </a:spcBef>
              <a:spcAft>
                <a:spcPts val="600"/>
              </a:spcAft>
              <a:buClrTx/>
              <a:buSzTx/>
              <a:buFontTx/>
              <a:buNone/>
              <a:tabLst/>
              <a:defRPr/>
            </a:pPr>
            <a:r>
              <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of the largest pharma </a:t>
            </a:r>
            <a:br>
              <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br>
            <a:r>
              <a:rPr kumimoji="0" lang="en-DK"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companies globally</a:t>
            </a:r>
            <a:endParaRPr kumimoji="0" lang="en-US"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sp>
        <p:nvSpPr>
          <p:cNvPr id="266" name="Rectangle 265">
            <a:extLst>
              <a:ext uri="{FF2B5EF4-FFF2-40B4-BE49-F238E27FC236}">
                <a16:creationId xmlns:a16="http://schemas.microsoft.com/office/drawing/2014/main" id="{9AB0D28E-E9B8-1161-F325-25D5E95DB23B}"/>
              </a:ext>
            </a:extLst>
          </p:cNvPr>
          <p:cNvSpPr/>
          <p:nvPr/>
        </p:nvSpPr>
        <p:spPr>
          <a:xfrm>
            <a:off x="540685" y="2468934"/>
            <a:ext cx="175169" cy="98841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67" name="Freeform 266">
            <a:extLst>
              <a:ext uri="{FF2B5EF4-FFF2-40B4-BE49-F238E27FC236}">
                <a16:creationId xmlns:a16="http://schemas.microsoft.com/office/drawing/2014/main" id="{E87A151A-7C6C-84DD-3F47-CC24C5D4926C}"/>
              </a:ext>
            </a:extLst>
          </p:cNvPr>
          <p:cNvSpPr/>
          <p:nvPr/>
        </p:nvSpPr>
        <p:spPr>
          <a:xfrm>
            <a:off x="570019" y="2525924"/>
            <a:ext cx="102404" cy="874433"/>
          </a:xfrm>
          <a:custGeom>
            <a:avLst/>
            <a:gdLst>
              <a:gd name="connsiteX0" fmla="*/ 80588 w 102404"/>
              <a:gd name="connsiteY0" fmla="*/ 0 h 874433"/>
              <a:gd name="connsiteX1" fmla="*/ 59810 w 102404"/>
              <a:gd name="connsiteY1" fmla="*/ 19293 h 874433"/>
              <a:gd name="connsiteX2" fmla="*/ 57881 w 102404"/>
              <a:gd name="connsiteY2" fmla="*/ 25527 h 874433"/>
              <a:gd name="connsiteX3" fmla="*/ 52093 w 102404"/>
              <a:gd name="connsiteY3" fmla="*/ 32057 h 874433"/>
              <a:gd name="connsiteX4" fmla="*/ 47492 w 102404"/>
              <a:gd name="connsiteY4" fmla="*/ 25378 h 874433"/>
              <a:gd name="connsiteX5" fmla="*/ 53428 w 102404"/>
              <a:gd name="connsiteY5" fmla="*/ 13951 h 874433"/>
              <a:gd name="connsiteX6" fmla="*/ 43633 w 102404"/>
              <a:gd name="connsiteY6" fmla="*/ 1929 h 874433"/>
              <a:gd name="connsiteX7" fmla="*/ 32354 w 102404"/>
              <a:gd name="connsiteY7" fmla="*/ 25081 h 874433"/>
              <a:gd name="connsiteX8" fmla="*/ 52538 w 102404"/>
              <a:gd name="connsiteY8" fmla="*/ 50163 h 874433"/>
              <a:gd name="connsiteX9" fmla="*/ 73909 w 102404"/>
              <a:gd name="connsiteY9" fmla="*/ 31760 h 874433"/>
              <a:gd name="connsiteX10" fmla="*/ 75096 w 102404"/>
              <a:gd name="connsiteY10" fmla="*/ 26862 h 874433"/>
              <a:gd name="connsiteX11" fmla="*/ 81478 w 102404"/>
              <a:gd name="connsiteY11" fmla="*/ 17958 h 874433"/>
              <a:gd name="connsiteX12" fmla="*/ 86227 w 102404"/>
              <a:gd name="connsiteY12" fmla="*/ 25378 h 874433"/>
              <a:gd name="connsiteX13" fmla="*/ 78510 w 102404"/>
              <a:gd name="connsiteY13" fmla="*/ 40368 h 874433"/>
              <a:gd name="connsiteX14" fmla="*/ 89195 w 102404"/>
              <a:gd name="connsiteY14" fmla="*/ 52982 h 874433"/>
              <a:gd name="connsiteX15" fmla="*/ 101959 w 102404"/>
              <a:gd name="connsiteY15" fmla="*/ 25527 h 874433"/>
              <a:gd name="connsiteX16" fmla="*/ 80142 w 102404"/>
              <a:gd name="connsiteY16" fmla="*/ 148 h 874433"/>
              <a:gd name="connsiteX17" fmla="*/ 67527 w 102404"/>
              <a:gd name="connsiteY17" fmla="*/ 83555 h 874433"/>
              <a:gd name="connsiteX18" fmla="*/ 85634 w 102404"/>
              <a:gd name="connsiteY18" fmla="*/ 100325 h 874433"/>
              <a:gd name="connsiteX19" fmla="*/ 67527 w 102404"/>
              <a:gd name="connsiteY19" fmla="*/ 117244 h 874433"/>
              <a:gd name="connsiteX20" fmla="*/ 49421 w 102404"/>
              <a:gd name="connsiteY20" fmla="*/ 100325 h 874433"/>
              <a:gd name="connsiteX21" fmla="*/ 67527 w 102404"/>
              <a:gd name="connsiteY21" fmla="*/ 83555 h 874433"/>
              <a:gd name="connsiteX22" fmla="*/ 67527 w 102404"/>
              <a:gd name="connsiteY22" fmla="*/ 135647 h 874433"/>
              <a:gd name="connsiteX23" fmla="*/ 102404 w 102404"/>
              <a:gd name="connsiteY23" fmla="*/ 104332 h 874433"/>
              <a:gd name="connsiteX24" fmla="*/ 93499 w 102404"/>
              <a:gd name="connsiteY24" fmla="*/ 85039 h 874433"/>
              <a:gd name="connsiteX25" fmla="*/ 100920 w 102404"/>
              <a:gd name="connsiteY25" fmla="*/ 85039 h 874433"/>
              <a:gd name="connsiteX26" fmla="*/ 100920 w 102404"/>
              <a:gd name="connsiteY26" fmla="*/ 66785 h 874433"/>
              <a:gd name="connsiteX27" fmla="*/ 34135 w 102404"/>
              <a:gd name="connsiteY27" fmla="*/ 66785 h 874433"/>
              <a:gd name="connsiteX28" fmla="*/ 34135 w 102404"/>
              <a:gd name="connsiteY28" fmla="*/ 85039 h 874433"/>
              <a:gd name="connsiteX29" fmla="*/ 41555 w 102404"/>
              <a:gd name="connsiteY29" fmla="*/ 85039 h 874433"/>
              <a:gd name="connsiteX30" fmla="*/ 32651 w 102404"/>
              <a:gd name="connsiteY30" fmla="*/ 104332 h 874433"/>
              <a:gd name="connsiteX31" fmla="*/ 67527 w 102404"/>
              <a:gd name="connsiteY31" fmla="*/ 135647 h 874433"/>
              <a:gd name="connsiteX32" fmla="*/ 47640 w 102404"/>
              <a:gd name="connsiteY32" fmla="*/ 180022 h 874433"/>
              <a:gd name="connsiteX33" fmla="*/ 59216 w 102404"/>
              <a:gd name="connsiteY33" fmla="*/ 164884 h 874433"/>
              <a:gd name="connsiteX34" fmla="*/ 59216 w 102404"/>
              <a:gd name="connsiteY34" fmla="*/ 196198 h 874433"/>
              <a:gd name="connsiteX35" fmla="*/ 47640 w 102404"/>
              <a:gd name="connsiteY35" fmla="*/ 180022 h 874433"/>
              <a:gd name="connsiteX36" fmla="*/ 67527 w 102404"/>
              <a:gd name="connsiteY36" fmla="*/ 214601 h 874433"/>
              <a:gd name="connsiteX37" fmla="*/ 102404 w 102404"/>
              <a:gd name="connsiteY37" fmla="*/ 179280 h 874433"/>
              <a:gd name="connsiteX38" fmla="*/ 87415 w 102404"/>
              <a:gd name="connsiteY38" fmla="*/ 148262 h 874433"/>
              <a:gd name="connsiteX39" fmla="*/ 77323 w 102404"/>
              <a:gd name="connsiteY39" fmla="*/ 161916 h 874433"/>
              <a:gd name="connsiteX40" fmla="*/ 85782 w 102404"/>
              <a:gd name="connsiteY40" fmla="*/ 179131 h 874433"/>
              <a:gd name="connsiteX41" fmla="*/ 71831 w 102404"/>
              <a:gd name="connsiteY41" fmla="*/ 196940 h 874433"/>
              <a:gd name="connsiteX42" fmla="*/ 71831 w 102404"/>
              <a:gd name="connsiteY42" fmla="*/ 146926 h 874433"/>
              <a:gd name="connsiteX43" fmla="*/ 65598 w 102404"/>
              <a:gd name="connsiteY43" fmla="*/ 146629 h 874433"/>
              <a:gd name="connsiteX44" fmla="*/ 32799 w 102404"/>
              <a:gd name="connsiteY44" fmla="*/ 179428 h 874433"/>
              <a:gd name="connsiteX45" fmla="*/ 67676 w 102404"/>
              <a:gd name="connsiteY45" fmla="*/ 214601 h 874433"/>
              <a:gd name="connsiteX46" fmla="*/ 100920 w 102404"/>
              <a:gd name="connsiteY46" fmla="*/ 264170 h 874433"/>
              <a:gd name="connsiteX47" fmla="*/ 100920 w 102404"/>
              <a:gd name="connsiteY47" fmla="*/ 245916 h 874433"/>
              <a:gd name="connsiteX48" fmla="*/ 69011 w 102404"/>
              <a:gd name="connsiteY48" fmla="*/ 245916 h 874433"/>
              <a:gd name="connsiteX49" fmla="*/ 51202 w 102404"/>
              <a:gd name="connsiteY49" fmla="*/ 231520 h 874433"/>
              <a:gd name="connsiteX50" fmla="*/ 52686 w 102404"/>
              <a:gd name="connsiteY50" fmla="*/ 223209 h 874433"/>
              <a:gd name="connsiteX51" fmla="*/ 34135 w 102404"/>
              <a:gd name="connsiteY51" fmla="*/ 223209 h 874433"/>
              <a:gd name="connsiteX52" fmla="*/ 33393 w 102404"/>
              <a:gd name="connsiteY52" fmla="*/ 229294 h 874433"/>
              <a:gd name="connsiteX53" fmla="*/ 44820 w 102404"/>
              <a:gd name="connsiteY53" fmla="*/ 245916 h 874433"/>
              <a:gd name="connsiteX54" fmla="*/ 34135 w 102404"/>
              <a:gd name="connsiteY54" fmla="*/ 245916 h 874433"/>
              <a:gd name="connsiteX55" fmla="*/ 34135 w 102404"/>
              <a:gd name="connsiteY55" fmla="*/ 264170 h 874433"/>
              <a:gd name="connsiteX56" fmla="*/ 100920 w 102404"/>
              <a:gd name="connsiteY56" fmla="*/ 264170 h 874433"/>
              <a:gd name="connsiteX57" fmla="*/ 67527 w 102404"/>
              <a:gd name="connsiteY57" fmla="*/ 299640 h 874433"/>
              <a:gd name="connsiteX58" fmla="*/ 85634 w 102404"/>
              <a:gd name="connsiteY58" fmla="*/ 316559 h 874433"/>
              <a:gd name="connsiteX59" fmla="*/ 67527 w 102404"/>
              <a:gd name="connsiteY59" fmla="*/ 333330 h 874433"/>
              <a:gd name="connsiteX60" fmla="*/ 49421 w 102404"/>
              <a:gd name="connsiteY60" fmla="*/ 316559 h 874433"/>
              <a:gd name="connsiteX61" fmla="*/ 67527 w 102404"/>
              <a:gd name="connsiteY61" fmla="*/ 299640 h 874433"/>
              <a:gd name="connsiteX62" fmla="*/ 67527 w 102404"/>
              <a:gd name="connsiteY62" fmla="*/ 351732 h 874433"/>
              <a:gd name="connsiteX63" fmla="*/ 102404 w 102404"/>
              <a:gd name="connsiteY63" fmla="*/ 320418 h 874433"/>
              <a:gd name="connsiteX64" fmla="*/ 93499 w 102404"/>
              <a:gd name="connsiteY64" fmla="*/ 301125 h 874433"/>
              <a:gd name="connsiteX65" fmla="*/ 100920 w 102404"/>
              <a:gd name="connsiteY65" fmla="*/ 301125 h 874433"/>
              <a:gd name="connsiteX66" fmla="*/ 100920 w 102404"/>
              <a:gd name="connsiteY66" fmla="*/ 282870 h 874433"/>
              <a:gd name="connsiteX67" fmla="*/ 34135 w 102404"/>
              <a:gd name="connsiteY67" fmla="*/ 282870 h 874433"/>
              <a:gd name="connsiteX68" fmla="*/ 34135 w 102404"/>
              <a:gd name="connsiteY68" fmla="*/ 301125 h 874433"/>
              <a:gd name="connsiteX69" fmla="*/ 41555 w 102404"/>
              <a:gd name="connsiteY69" fmla="*/ 301125 h 874433"/>
              <a:gd name="connsiteX70" fmla="*/ 32651 w 102404"/>
              <a:gd name="connsiteY70" fmla="*/ 320418 h 874433"/>
              <a:gd name="connsiteX71" fmla="*/ 67527 w 102404"/>
              <a:gd name="connsiteY71" fmla="*/ 351732 h 874433"/>
              <a:gd name="connsiteX72" fmla="*/ 47640 w 102404"/>
              <a:gd name="connsiteY72" fmla="*/ 424899 h 874433"/>
              <a:gd name="connsiteX73" fmla="*/ 59216 w 102404"/>
              <a:gd name="connsiteY73" fmla="*/ 409761 h 874433"/>
              <a:gd name="connsiteX74" fmla="*/ 59216 w 102404"/>
              <a:gd name="connsiteY74" fmla="*/ 441075 h 874433"/>
              <a:gd name="connsiteX75" fmla="*/ 47640 w 102404"/>
              <a:gd name="connsiteY75" fmla="*/ 424899 h 874433"/>
              <a:gd name="connsiteX76" fmla="*/ 67527 w 102404"/>
              <a:gd name="connsiteY76" fmla="*/ 459478 h 874433"/>
              <a:gd name="connsiteX77" fmla="*/ 102404 w 102404"/>
              <a:gd name="connsiteY77" fmla="*/ 424157 h 874433"/>
              <a:gd name="connsiteX78" fmla="*/ 87415 w 102404"/>
              <a:gd name="connsiteY78" fmla="*/ 393139 h 874433"/>
              <a:gd name="connsiteX79" fmla="*/ 77323 w 102404"/>
              <a:gd name="connsiteY79" fmla="*/ 406793 h 874433"/>
              <a:gd name="connsiteX80" fmla="*/ 85782 w 102404"/>
              <a:gd name="connsiteY80" fmla="*/ 424008 h 874433"/>
              <a:gd name="connsiteX81" fmla="*/ 71831 w 102404"/>
              <a:gd name="connsiteY81" fmla="*/ 441817 h 874433"/>
              <a:gd name="connsiteX82" fmla="*/ 71831 w 102404"/>
              <a:gd name="connsiteY82" fmla="*/ 391803 h 874433"/>
              <a:gd name="connsiteX83" fmla="*/ 65598 w 102404"/>
              <a:gd name="connsiteY83" fmla="*/ 391506 h 874433"/>
              <a:gd name="connsiteX84" fmla="*/ 32799 w 102404"/>
              <a:gd name="connsiteY84" fmla="*/ 424305 h 874433"/>
              <a:gd name="connsiteX85" fmla="*/ 67676 w 102404"/>
              <a:gd name="connsiteY85" fmla="*/ 459478 h 874433"/>
              <a:gd name="connsiteX86" fmla="*/ 80588 w 102404"/>
              <a:gd name="connsiteY86" fmla="*/ 469719 h 874433"/>
              <a:gd name="connsiteX87" fmla="*/ 59810 w 102404"/>
              <a:gd name="connsiteY87" fmla="*/ 489012 h 874433"/>
              <a:gd name="connsiteX88" fmla="*/ 57881 w 102404"/>
              <a:gd name="connsiteY88" fmla="*/ 495245 h 874433"/>
              <a:gd name="connsiteX89" fmla="*/ 52093 w 102404"/>
              <a:gd name="connsiteY89" fmla="*/ 501775 h 874433"/>
              <a:gd name="connsiteX90" fmla="*/ 47492 w 102404"/>
              <a:gd name="connsiteY90" fmla="*/ 495097 h 874433"/>
              <a:gd name="connsiteX91" fmla="*/ 53428 w 102404"/>
              <a:gd name="connsiteY91" fmla="*/ 483818 h 874433"/>
              <a:gd name="connsiteX92" fmla="*/ 43633 w 102404"/>
              <a:gd name="connsiteY92" fmla="*/ 471796 h 874433"/>
              <a:gd name="connsiteX93" fmla="*/ 32354 w 102404"/>
              <a:gd name="connsiteY93" fmla="*/ 494948 h 874433"/>
              <a:gd name="connsiteX94" fmla="*/ 52538 w 102404"/>
              <a:gd name="connsiteY94" fmla="*/ 520030 h 874433"/>
              <a:gd name="connsiteX95" fmla="*/ 73909 w 102404"/>
              <a:gd name="connsiteY95" fmla="*/ 501627 h 874433"/>
              <a:gd name="connsiteX96" fmla="*/ 75096 w 102404"/>
              <a:gd name="connsiteY96" fmla="*/ 496729 h 874433"/>
              <a:gd name="connsiteX97" fmla="*/ 81478 w 102404"/>
              <a:gd name="connsiteY97" fmla="*/ 487825 h 874433"/>
              <a:gd name="connsiteX98" fmla="*/ 86227 w 102404"/>
              <a:gd name="connsiteY98" fmla="*/ 495097 h 874433"/>
              <a:gd name="connsiteX99" fmla="*/ 78510 w 102404"/>
              <a:gd name="connsiteY99" fmla="*/ 510086 h 874433"/>
              <a:gd name="connsiteX100" fmla="*/ 89195 w 102404"/>
              <a:gd name="connsiteY100" fmla="*/ 522701 h 874433"/>
              <a:gd name="connsiteX101" fmla="*/ 101959 w 102404"/>
              <a:gd name="connsiteY101" fmla="*/ 495245 h 874433"/>
              <a:gd name="connsiteX102" fmla="*/ 80142 w 102404"/>
              <a:gd name="connsiteY102" fmla="*/ 469867 h 874433"/>
              <a:gd name="connsiteX103" fmla="*/ 67527 w 102404"/>
              <a:gd name="connsiteY103" fmla="*/ 553125 h 874433"/>
              <a:gd name="connsiteX104" fmla="*/ 85634 w 102404"/>
              <a:gd name="connsiteY104" fmla="*/ 569896 h 874433"/>
              <a:gd name="connsiteX105" fmla="*/ 67527 w 102404"/>
              <a:gd name="connsiteY105" fmla="*/ 586666 h 874433"/>
              <a:gd name="connsiteX106" fmla="*/ 49421 w 102404"/>
              <a:gd name="connsiteY106" fmla="*/ 569896 h 874433"/>
              <a:gd name="connsiteX107" fmla="*/ 67527 w 102404"/>
              <a:gd name="connsiteY107" fmla="*/ 553125 h 874433"/>
              <a:gd name="connsiteX108" fmla="*/ 67527 w 102404"/>
              <a:gd name="connsiteY108" fmla="*/ 605217 h 874433"/>
              <a:gd name="connsiteX109" fmla="*/ 102404 w 102404"/>
              <a:gd name="connsiteY109" fmla="*/ 573903 h 874433"/>
              <a:gd name="connsiteX110" fmla="*/ 93499 w 102404"/>
              <a:gd name="connsiteY110" fmla="*/ 554609 h 874433"/>
              <a:gd name="connsiteX111" fmla="*/ 100920 w 102404"/>
              <a:gd name="connsiteY111" fmla="*/ 554609 h 874433"/>
              <a:gd name="connsiteX112" fmla="*/ 100920 w 102404"/>
              <a:gd name="connsiteY112" fmla="*/ 536355 h 874433"/>
              <a:gd name="connsiteX113" fmla="*/ 34135 w 102404"/>
              <a:gd name="connsiteY113" fmla="*/ 536355 h 874433"/>
              <a:gd name="connsiteX114" fmla="*/ 34135 w 102404"/>
              <a:gd name="connsiteY114" fmla="*/ 554609 h 874433"/>
              <a:gd name="connsiteX115" fmla="*/ 41555 w 102404"/>
              <a:gd name="connsiteY115" fmla="*/ 554609 h 874433"/>
              <a:gd name="connsiteX116" fmla="*/ 32651 w 102404"/>
              <a:gd name="connsiteY116" fmla="*/ 573903 h 874433"/>
              <a:gd name="connsiteX117" fmla="*/ 67527 w 102404"/>
              <a:gd name="connsiteY117" fmla="*/ 605217 h 874433"/>
              <a:gd name="connsiteX118" fmla="*/ 47640 w 102404"/>
              <a:gd name="connsiteY118" fmla="*/ 649592 h 874433"/>
              <a:gd name="connsiteX119" fmla="*/ 59216 w 102404"/>
              <a:gd name="connsiteY119" fmla="*/ 634454 h 874433"/>
              <a:gd name="connsiteX120" fmla="*/ 59216 w 102404"/>
              <a:gd name="connsiteY120" fmla="*/ 665769 h 874433"/>
              <a:gd name="connsiteX121" fmla="*/ 47640 w 102404"/>
              <a:gd name="connsiteY121" fmla="*/ 649592 h 874433"/>
              <a:gd name="connsiteX122" fmla="*/ 67527 w 102404"/>
              <a:gd name="connsiteY122" fmla="*/ 684172 h 874433"/>
              <a:gd name="connsiteX123" fmla="*/ 102404 w 102404"/>
              <a:gd name="connsiteY123" fmla="*/ 648850 h 874433"/>
              <a:gd name="connsiteX124" fmla="*/ 87415 w 102404"/>
              <a:gd name="connsiteY124" fmla="*/ 617832 h 874433"/>
              <a:gd name="connsiteX125" fmla="*/ 77323 w 102404"/>
              <a:gd name="connsiteY125" fmla="*/ 631486 h 874433"/>
              <a:gd name="connsiteX126" fmla="*/ 85782 w 102404"/>
              <a:gd name="connsiteY126" fmla="*/ 648701 h 874433"/>
              <a:gd name="connsiteX127" fmla="*/ 71831 w 102404"/>
              <a:gd name="connsiteY127" fmla="*/ 666511 h 874433"/>
              <a:gd name="connsiteX128" fmla="*/ 71831 w 102404"/>
              <a:gd name="connsiteY128" fmla="*/ 616496 h 874433"/>
              <a:gd name="connsiteX129" fmla="*/ 65598 w 102404"/>
              <a:gd name="connsiteY129" fmla="*/ 616200 h 874433"/>
              <a:gd name="connsiteX130" fmla="*/ 32799 w 102404"/>
              <a:gd name="connsiteY130" fmla="*/ 648998 h 874433"/>
              <a:gd name="connsiteX131" fmla="*/ 67676 w 102404"/>
              <a:gd name="connsiteY131" fmla="*/ 684172 h 874433"/>
              <a:gd name="connsiteX132" fmla="*/ 80588 w 102404"/>
              <a:gd name="connsiteY132" fmla="*/ 694412 h 874433"/>
              <a:gd name="connsiteX133" fmla="*/ 59810 w 102404"/>
              <a:gd name="connsiteY133" fmla="*/ 713705 h 874433"/>
              <a:gd name="connsiteX134" fmla="*/ 57881 w 102404"/>
              <a:gd name="connsiteY134" fmla="*/ 719938 h 874433"/>
              <a:gd name="connsiteX135" fmla="*/ 52093 w 102404"/>
              <a:gd name="connsiteY135" fmla="*/ 726468 h 874433"/>
              <a:gd name="connsiteX136" fmla="*/ 47492 w 102404"/>
              <a:gd name="connsiteY136" fmla="*/ 719790 h 874433"/>
              <a:gd name="connsiteX137" fmla="*/ 53428 w 102404"/>
              <a:gd name="connsiteY137" fmla="*/ 708511 h 874433"/>
              <a:gd name="connsiteX138" fmla="*/ 43633 w 102404"/>
              <a:gd name="connsiteY138" fmla="*/ 696490 h 874433"/>
              <a:gd name="connsiteX139" fmla="*/ 32354 w 102404"/>
              <a:gd name="connsiteY139" fmla="*/ 719642 h 874433"/>
              <a:gd name="connsiteX140" fmla="*/ 52538 w 102404"/>
              <a:gd name="connsiteY140" fmla="*/ 744723 h 874433"/>
              <a:gd name="connsiteX141" fmla="*/ 73909 w 102404"/>
              <a:gd name="connsiteY141" fmla="*/ 726320 h 874433"/>
              <a:gd name="connsiteX142" fmla="*/ 75096 w 102404"/>
              <a:gd name="connsiteY142" fmla="*/ 721423 h 874433"/>
              <a:gd name="connsiteX143" fmla="*/ 81478 w 102404"/>
              <a:gd name="connsiteY143" fmla="*/ 712518 h 874433"/>
              <a:gd name="connsiteX144" fmla="*/ 86227 w 102404"/>
              <a:gd name="connsiteY144" fmla="*/ 719790 h 874433"/>
              <a:gd name="connsiteX145" fmla="*/ 78510 w 102404"/>
              <a:gd name="connsiteY145" fmla="*/ 734779 h 874433"/>
              <a:gd name="connsiteX146" fmla="*/ 89195 w 102404"/>
              <a:gd name="connsiteY146" fmla="*/ 747394 h 874433"/>
              <a:gd name="connsiteX147" fmla="*/ 101959 w 102404"/>
              <a:gd name="connsiteY147" fmla="*/ 719938 h 874433"/>
              <a:gd name="connsiteX148" fmla="*/ 80142 w 102404"/>
              <a:gd name="connsiteY148" fmla="*/ 694560 h 874433"/>
              <a:gd name="connsiteX149" fmla="*/ 100920 w 102404"/>
              <a:gd name="connsiteY149" fmla="*/ 760751 h 874433"/>
              <a:gd name="connsiteX150" fmla="*/ 34135 w 102404"/>
              <a:gd name="connsiteY150" fmla="*/ 760751 h 874433"/>
              <a:gd name="connsiteX151" fmla="*/ 34135 w 102404"/>
              <a:gd name="connsiteY151" fmla="*/ 779006 h 874433"/>
              <a:gd name="connsiteX152" fmla="*/ 100920 w 102404"/>
              <a:gd name="connsiteY152" fmla="*/ 779006 h 874433"/>
              <a:gd name="connsiteX153" fmla="*/ 100920 w 102404"/>
              <a:gd name="connsiteY153" fmla="*/ 760751 h 874433"/>
              <a:gd name="connsiteX154" fmla="*/ 11576 w 102404"/>
              <a:gd name="connsiteY154" fmla="*/ 758228 h 874433"/>
              <a:gd name="connsiteX155" fmla="*/ 0 w 102404"/>
              <a:gd name="connsiteY155" fmla="*/ 769953 h 874433"/>
              <a:gd name="connsiteX156" fmla="*/ 11576 w 102404"/>
              <a:gd name="connsiteY156" fmla="*/ 781529 h 874433"/>
              <a:gd name="connsiteX157" fmla="*/ 23152 w 102404"/>
              <a:gd name="connsiteY157" fmla="*/ 769953 h 874433"/>
              <a:gd name="connsiteX158" fmla="*/ 11576 w 102404"/>
              <a:gd name="connsiteY158" fmla="*/ 758228 h 874433"/>
              <a:gd name="connsiteX159" fmla="*/ 83111 w 102404"/>
              <a:gd name="connsiteY159" fmla="*/ 854992 h 874433"/>
              <a:gd name="connsiteX160" fmla="*/ 23746 w 102404"/>
              <a:gd name="connsiteY160" fmla="*/ 854992 h 874433"/>
              <a:gd name="connsiteX161" fmla="*/ 23746 w 102404"/>
              <a:gd name="connsiteY161" fmla="*/ 843119 h 874433"/>
              <a:gd name="connsiteX162" fmla="*/ 53428 w 102404"/>
              <a:gd name="connsiteY162" fmla="*/ 813882 h 874433"/>
              <a:gd name="connsiteX163" fmla="*/ 83111 w 102404"/>
              <a:gd name="connsiteY163" fmla="*/ 843119 h 874433"/>
              <a:gd name="connsiteX164" fmla="*/ 83111 w 102404"/>
              <a:gd name="connsiteY164" fmla="*/ 854992 h 874433"/>
              <a:gd name="connsiteX165" fmla="*/ 100920 w 102404"/>
              <a:gd name="connsiteY165" fmla="*/ 874434 h 874433"/>
              <a:gd name="connsiteX166" fmla="*/ 100920 w 102404"/>
              <a:gd name="connsiteY166" fmla="*/ 843267 h 874433"/>
              <a:gd name="connsiteX167" fmla="*/ 53577 w 102404"/>
              <a:gd name="connsiteY167" fmla="*/ 794440 h 874433"/>
              <a:gd name="connsiteX168" fmla="*/ 6233 w 102404"/>
              <a:gd name="connsiteY168" fmla="*/ 843267 h 874433"/>
              <a:gd name="connsiteX169" fmla="*/ 6233 w 102404"/>
              <a:gd name="connsiteY169" fmla="*/ 874434 h 874433"/>
              <a:gd name="connsiteX170" fmla="*/ 101068 w 102404"/>
              <a:gd name="connsiteY170" fmla="*/ 874434 h 874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102404" h="874433">
                <a:moveTo>
                  <a:pt x="80588" y="0"/>
                </a:moveTo>
                <a:cubicBezTo>
                  <a:pt x="69011" y="0"/>
                  <a:pt x="63075" y="7272"/>
                  <a:pt x="59810" y="19293"/>
                </a:cubicBezTo>
                <a:lnTo>
                  <a:pt x="57881" y="25527"/>
                </a:lnTo>
                <a:cubicBezTo>
                  <a:pt x="56396" y="31166"/>
                  <a:pt x="54170" y="32057"/>
                  <a:pt x="52093" y="32057"/>
                </a:cubicBezTo>
                <a:cubicBezTo>
                  <a:pt x="48976" y="32057"/>
                  <a:pt x="47492" y="28643"/>
                  <a:pt x="47492" y="25378"/>
                </a:cubicBezTo>
                <a:cubicBezTo>
                  <a:pt x="47492" y="20926"/>
                  <a:pt x="49421" y="17067"/>
                  <a:pt x="53428" y="13951"/>
                </a:cubicBezTo>
                <a:lnTo>
                  <a:pt x="43633" y="1929"/>
                </a:lnTo>
                <a:cubicBezTo>
                  <a:pt x="36361" y="6975"/>
                  <a:pt x="32354" y="14841"/>
                  <a:pt x="32354" y="25081"/>
                </a:cubicBezTo>
                <a:cubicBezTo>
                  <a:pt x="32354" y="39180"/>
                  <a:pt x="40220" y="49866"/>
                  <a:pt x="52538" y="50163"/>
                </a:cubicBezTo>
                <a:cubicBezTo>
                  <a:pt x="62778" y="50460"/>
                  <a:pt x="70792" y="44078"/>
                  <a:pt x="73909" y="31760"/>
                </a:cubicBezTo>
                <a:lnTo>
                  <a:pt x="75096" y="26862"/>
                </a:lnTo>
                <a:cubicBezTo>
                  <a:pt x="77174" y="19442"/>
                  <a:pt x="78658" y="17958"/>
                  <a:pt x="81478" y="17958"/>
                </a:cubicBezTo>
                <a:cubicBezTo>
                  <a:pt x="84743" y="17958"/>
                  <a:pt x="86227" y="21519"/>
                  <a:pt x="86227" y="25378"/>
                </a:cubicBezTo>
                <a:cubicBezTo>
                  <a:pt x="86227" y="31760"/>
                  <a:pt x="83407" y="37399"/>
                  <a:pt x="78510" y="40368"/>
                </a:cubicBezTo>
                <a:lnTo>
                  <a:pt x="89195" y="52982"/>
                </a:lnTo>
                <a:cubicBezTo>
                  <a:pt x="97803" y="47194"/>
                  <a:pt x="101959" y="37251"/>
                  <a:pt x="101959" y="25527"/>
                </a:cubicBezTo>
                <a:cubicBezTo>
                  <a:pt x="101959" y="11279"/>
                  <a:pt x="93203" y="148"/>
                  <a:pt x="80142" y="148"/>
                </a:cubicBezTo>
                <a:moveTo>
                  <a:pt x="67527" y="83555"/>
                </a:moveTo>
                <a:cubicBezTo>
                  <a:pt x="77916" y="83555"/>
                  <a:pt x="85634" y="90382"/>
                  <a:pt x="85634" y="100325"/>
                </a:cubicBezTo>
                <a:cubicBezTo>
                  <a:pt x="85634" y="110269"/>
                  <a:pt x="77916" y="117244"/>
                  <a:pt x="67527" y="117244"/>
                </a:cubicBezTo>
                <a:cubicBezTo>
                  <a:pt x="57139" y="117244"/>
                  <a:pt x="49421" y="110417"/>
                  <a:pt x="49421" y="100325"/>
                </a:cubicBezTo>
                <a:cubicBezTo>
                  <a:pt x="49421" y="90233"/>
                  <a:pt x="57139" y="83555"/>
                  <a:pt x="67527" y="83555"/>
                </a:cubicBezTo>
                <a:moveTo>
                  <a:pt x="67527" y="135647"/>
                </a:moveTo>
                <a:cubicBezTo>
                  <a:pt x="86524" y="135647"/>
                  <a:pt x="102404" y="121993"/>
                  <a:pt x="102404" y="104332"/>
                </a:cubicBezTo>
                <a:cubicBezTo>
                  <a:pt x="102404" y="95131"/>
                  <a:pt x="97655" y="88007"/>
                  <a:pt x="93499" y="85039"/>
                </a:cubicBezTo>
                <a:lnTo>
                  <a:pt x="100920" y="85039"/>
                </a:lnTo>
                <a:lnTo>
                  <a:pt x="100920" y="66785"/>
                </a:lnTo>
                <a:lnTo>
                  <a:pt x="34135" y="66785"/>
                </a:lnTo>
                <a:lnTo>
                  <a:pt x="34135" y="85039"/>
                </a:lnTo>
                <a:lnTo>
                  <a:pt x="41555" y="85039"/>
                </a:lnTo>
                <a:cubicBezTo>
                  <a:pt x="37251" y="88007"/>
                  <a:pt x="32651" y="95131"/>
                  <a:pt x="32651" y="104332"/>
                </a:cubicBezTo>
                <a:cubicBezTo>
                  <a:pt x="32651" y="122142"/>
                  <a:pt x="48531" y="135647"/>
                  <a:pt x="67527" y="135647"/>
                </a:cubicBezTo>
                <a:moveTo>
                  <a:pt x="47640" y="180022"/>
                </a:moveTo>
                <a:cubicBezTo>
                  <a:pt x="47640" y="173195"/>
                  <a:pt x="51350" y="166516"/>
                  <a:pt x="59216" y="164884"/>
                </a:cubicBezTo>
                <a:lnTo>
                  <a:pt x="59216" y="196198"/>
                </a:lnTo>
                <a:cubicBezTo>
                  <a:pt x="51054" y="194417"/>
                  <a:pt x="47640" y="186849"/>
                  <a:pt x="47640" y="180022"/>
                </a:cubicBezTo>
                <a:moveTo>
                  <a:pt x="67527" y="214601"/>
                </a:moveTo>
                <a:cubicBezTo>
                  <a:pt x="88602" y="214601"/>
                  <a:pt x="102404" y="199167"/>
                  <a:pt x="102404" y="179280"/>
                </a:cubicBezTo>
                <a:cubicBezTo>
                  <a:pt x="102404" y="165181"/>
                  <a:pt x="96319" y="154495"/>
                  <a:pt x="87415" y="148262"/>
                </a:cubicBezTo>
                <a:lnTo>
                  <a:pt x="77323" y="161916"/>
                </a:lnTo>
                <a:cubicBezTo>
                  <a:pt x="81923" y="164884"/>
                  <a:pt x="85782" y="170820"/>
                  <a:pt x="85782" y="179131"/>
                </a:cubicBezTo>
                <a:cubicBezTo>
                  <a:pt x="85782" y="187887"/>
                  <a:pt x="80884" y="195753"/>
                  <a:pt x="71831" y="196940"/>
                </a:cubicBezTo>
                <a:lnTo>
                  <a:pt x="71831" y="146926"/>
                </a:lnTo>
                <a:cubicBezTo>
                  <a:pt x="69011" y="146629"/>
                  <a:pt x="67082" y="146629"/>
                  <a:pt x="65598" y="146629"/>
                </a:cubicBezTo>
                <a:cubicBezTo>
                  <a:pt x="43930" y="146629"/>
                  <a:pt x="32799" y="162064"/>
                  <a:pt x="32799" y="179428"/>
                </a:cubicBezTo>
                <a:cubicBezTo>
                  <a:pt x="32799" y="199760"/>
                  <a:pt x="47937" y="214601"/>
                  <a:pt x="67676" y="214601"/>
                </a:cubicBezTo>
                <a:moveTo>
                  <a:pt x="100920" y="264170"/>
                </a:moveTo>
                <a:lnTo>
                  <a:pt x="100920" y="245916"/>
                </a:lnTo>
                <a:lnTo>
                  <a:pt x="69011" y="245916"/>
                </a:lnTo>
                <a:cubicBezTo>
                  <a:pt x="58029" y="245916"/>
                  <a:pt x="51202" y="240128"/>
                  <a:pt x="51202" y="231520"/>
                </a:cubicBezTo>
                <a:cubicBezTo>
                  <a:pt x="51202" y="228552"/>
                  <a:pt x="51796" y="226029"/>
                  <a:pt x="52686" y="223209"/>
                </a:cubicBezTo>
                <a:lnTo>
                  <a:pt x="34135" y="223209"/>
                </a:lnTo>
                <a:cubicBezTo>
                  <a:pt x="33393" y="225435"/>
                  <a:pt x="33393" y="227513"/>
                  <a:pt x="33393" y="229294"/>
                </a:cubicBezTo>
                <a:cubicBezTo>
                  <a:pt x="33393" y="236714"/>
                  <a:pt x="38290" y="243541"/>
                  <a:pt x="44820" y="245916"/>
                </a:cubicBezTo>
                <a:lnTo>
                  <a:pt x="34135" y="245916"/>
                </a:lnTo>
                <a:lnTo>
                  <a:pt x="34135" y="264170"/>
                </a:lnTo>
                <a:lnTo>
                  <a:pt x="100920" y="264170"/>
                </a:lnTo>
                <a:close/>
                <a:moveTo>
                  <a:pt x="67527" y="299640"/>
                </a:moveTo>
                <a:cubicBezTo>
                  <a:pt x="77916" y="299640"/>
                  <a:pt x="85634" y="306467"/>
                  <a:pt x="85634" y="316559"/>
                </a:cubicBezTo>
                <a:cubicBezTo>
                  <a:pt x="85634" y="326651"/>
                  <a:pt x="77916" y="333330"/>
                  <a:pt x="67527" y="333330"/>
                </a:cubicBezTo>
                <a:cubicBezTo>
                  <a:pt x="57139" y="333330"/>
                  <a:pt x="49421" y="326503"/>
                  <a:pt x="49421" y="316559"/>
                </a:cubicBezTo>
                <a:cubicBezTo>
                  <a:pt x="49421" y="306616"/>
                  <a:pt x="57139" y="299640"/>
                  <a:pt x="67527" y="299640"/>
                </a:cubicBezTo>
                <a:moveTo>
                  <a:pt x="67527" y="351732"/>
                </a:moveTo>
                <a:cubicBezTo>
                  <a:pt x="86524" y="351732"/>
                  <a:pt x="102404" y="338079"/>
                  <a:pt x="102404" y="320418"/>
                </a:cubicBezTo>
                <a:cubicBezTo>
                  <a:pt x="102404" y="311216"/>
                  <a:pt x="97655" y="304093"/>
                  <a:pt x="93499" y="301125"/>
                </a:cubicBezTo>
                <a:lnTo>
                  <a:pt x="100920" y="301125"/>
                </a:lnTo>
                <a:lnTo>
                  <a:pt x="100920" y="282870"/>
                </a:lnTo>
                <a:lnTo>
                  <a:pt x="34135" y="282870"/>
                </a:lnTo>
                <a:lnTo>
                  <a:pt x="34135" y="301125"/>
                </a:lnTo>
                <a:lnTo>
                  <a:pt x="41555" y="301125"/>
                </a:lnTo>
                <a:cubicBezTo>
                  <a:pt x="37251" y="304093"/>
                  <a:pt x="32651" y="311216"/>
                  <a:pt x="32651" y="320418"/>
                </a:cubicBezTo>
                <a:cubicBezTo>
                  <a:pt x="32651" y="338227"/>
                  <a:pt x="48531" y="351732"/>
                  <a:pt x="67527" y="351732"/>
                </a:cubicBezTo>
                <a:moveTo>
                  <a:pt x="47640" y="424899"/>
                </a:moveTo>
                <a:cubicBezTo>
                  <a:pt x="47640" y="418072"/>
                  <a:pt x="51350" y="411393"/>
                  <a:pt x="59216" y="409761"/>
                </a:cubicBezTo>
                <a:lnTo>
                  <a:pt x="59216" y="441075"/>
                </a:lnTo>
                <a:cubicBezTo>
                  <a:pt x="51054" y="439294"/>
                  <a:pt x="47640" y="431726"/>
                  <a:pt x="47640" y="424899"/>
                </a:cubicBezTo>
                <a:moveTo>
                  <a:pt x="67527" y="459478"/>
                </a:moveTo>
                <a:cubicBezTo>
                  <a:pt x="88602" y="459478"/>
                  <a:pt x="102404" y="444044"/>
                  <a:pt x="102404" y="424157"/>
                </a:cubicBezTo>
                <a:cubicBezTo>
                  <a:pt x="102404" y="410058"/>
                  <a:pt x="96319" y="399372"/>
                  <a:pt x="87415" y="393139"/>
                </a:cubicBezTo>
                <a:lnTo>
                  <a:pt x="77323" y="406793"/>
                </a:lnTo>
                <a:cubicBezTo>
                  <a:pt x="81923" y="409761"/>
                  <a:pt x="85782" y="415697"/>
                  <a:pt x="85782" y="424008"/>
                </a:cubicBezTo>
                <a:cubicBezTo>
                  <a:pt x="85782" y="432764"/>
                  <a:pt x="80884" y="440630"/>
                  <a:pt x="71831" y="441817"/>
                </a:cubicBezTo>
                <a:lnTo>
                  <a:pt x="71831" y="391803"/>
                </a:lnTo>
                <a:cubicBezTo>
                  <a:pt x="69011" y="391506"/>
                  <a:pt x="67082" y="391506"/>
                  <a:pt x="65598" y="391506"/>
                </a:cubicBezTo>
                <a:cubicBezTo>
                  <a:pt x="43930" y="391506"/>
                  <a:pt x="32799" y="406941"/>
                  <a:pt x="32799" y="424305"/>
                </a:cubicBezTo>
                <a:cubicBezTo>
                  <a:pt x="32799" y="444637"/>
                  <a:pt x="47937" y="459478"/>
                  <a:pt x="67676" y="459478"/>
                </a:cubicBezTo>
                <a:moveTo>
                  <a:pt x="80588" y="469719"/>
                </a:moveTo>
                <a:cubicBezTo>
                  <a:pt x="69011" y="469719"/>
                  <a:pt x="63075" y="476991"/>
                  <a:pt x="59810" y="489012"/>
                </a:cubicBezTo>
                <a:lnTo>
                  <a:pt x="57881" y="495245"/>
                </a:lnTo>
                <a:cubicBezTo>
                  <a:pt x="56396" y="500885"/>
                  <a:pt x="54170" y="501775"/>
                  <a:pt x="52093" y="501775"/>
                </a:cubicBezTo>
                <a:cubicBezTo>
                  <a:pt x="48976" y="501775"/>
                  <a:pt x="47492" y="498213"/>
                  <a:pt x="47492" y="495097"/>
                </a:cubicBezTo>
                <a:cubicBezTo>
                  <a:pt x="47492" y="490644"/>
                  <a:pt x="49421" y="486786"/>
                  <a:pt x="53428" y="483818"/>
                </a:cubicBezTo>
                <a:lnTo>
                  <a:pt x="43633" y="471796"/>
                </a:lnTo>
                <a:cubicBezTo>
                  <a:pt x="36361" y="476842"/>
                  <a:pt x="32354" y="484708"/>
                  <a:pt x="32354" y="494948"/>
                </a:cubicBezTo>
                <a:cubicBezTo>
                  <a:pt x="32354" y="509047"/>
                  <a:pt x="40220" y="519733"/>
                  <a:pt x="52538" y="520030"/>
                </a:cubicBezTo>
                <a:cubicBezTo>
                  <a:pt x="62778" y="520326"/>
                  <a:pt x="70792" y="513945"/>
                  <a:pt x="73909" y="501627"/>
                </a:cubicBezTo>
                <a:lnTo>
                  <a:pt x="75096" y="496729"/>
                </a:lnTo>
                <a:cubicBezTo>
                  <a:pt x="77174" y="489457"/>
                  <a:pt x="78658" y="487825"/>
                  <a:pt x="81478" y="487825"/>
                </a:cubicBezTo>
                <a:cubicBezTo>
                  <a:pt x="84743" y="487825"/>
                  <a:pt x="86227" y="491387"/>
                  <a:pt x="86227" y="495097"/>
                </a:cubicBezTo>
                <a:cubicBezTo>
                  <a:pt x="86227" y="501478"/>
                  <a:pt x="83407" y="507118"/>
                  <a:pt x="78510" y="510086"/>
                </a:cubicBezTo>
                <a:lnTo>
                  <a:pt x="89195" y="522701"/>
                </a:lnTo>
                <a:cubicBezTo>
                  <a:pt x="97803" y="516913"/>
                  <a:pt x="101959" y="506970"/>
                  <a:pt x="101959" y="495245"/>
                </a:cubicBezTo>
                <a:cubicBezTo>
                  <a:pt x="101959" y="480998"/>
                  <a:pt x="93203" y="469867"/>
                  <a:pt x="80142" y="469867"/>
                </a:cubicBezTo>
                <a:moveTo>
                  <a:pt x="67527" y="553125"/>
                </a:moveTo>
                <a:cubicBezTo>
                  <a:pt x="77916" y="553125"/>
                  <a:pt x="85634" y="559952"/>
                  <a:pt x="85634" y="569896"/>
                </a:cubicBezTo>
                <a:cubicBezTo>
                  <a:pt x="85634" y="579839"/>
                  <a:pt x="77916" y="586666"/>
                  <a:pt x="67527" y="586666"/>
                </a:cubicBezTo>
                <a:cubicBezTo>
                  <a:pt x="57139" y="586666"/>
                  <a:pt x="49421" y="579839"/>
                  <a:pt x="49421" y="569896"/>
                </a:cubicBezTo>
                <a:cubicBezTo>
                  <a:pt x="49421" y="559952"/>
                  <a:pt x="57139" y="553125"/>
                  <a:pt x="67527" y="553125"/>
                </a:cubicBezTo>
                <a:moveTo>
                  <a:pt x="67527" y="605217"/>
                </a:moveTo>
                <a:cubicBezTo>
                  <a:pt x="86524" y="605217"/>
                  <a:pt x="102404" y="591564"/>
                  <a:pt x="102404" y="573903"/>
                </a:cubicBezTo>
                <a:cubicBezTo>
                  <a:pt x="102404" y="564701"/>
                  <a:pt x="97655" y="557578"/>
                  <a:pt x="93499" y="554609"/>
                </a:cubicBezTo>
                <a:lnTo>
                  <a:pt x="100920" y="554609"/>
                </a:lnTo>
                <a:lnTo>
                  <a:pt x="100920" y="536355"/>
                </a:lnTo>
                <a:lnTo>
                  <a:pt x="34135" y="536355"/>
                </a:lnTo>
                <a:lnTo>
                  <a:pt x="34135" y="554609"/>
                </a:lnTo>
                <a:lnTo>
                  <a:pt x="41555" y="554609"/>
                </a:lnTo>
                <a:cubicBezTo>
                  <a:pt x="37251" y="557578"/>
                  <a:pt x="32651" y="564701"/>
                  <a:pt x="32651" y="573903"/>
                </a:cubicBezTo>
                <a:cubicBezTo>
                  <a:pt x="32651" y="591712"/>
                  <a:pt x="48531" y="605217"/>
                  <a:pt x="67527" y="605217"/>
                </a:cubicBezTo>
                <a:moveTo>
                  <a:pt x="47640" y="649592"/>
                </a:moveTo>
                <a:cubicBezTo>
                  <a:pt x="47640" y="642765"/>
                  <a:pt x="51350" y="636087"/>
                  <a:pt x="59216" y="634454"/>
                </a:cubicBezTo>
                <a:lnTo>
                  <a:pt x="59216" y="665769"/>
                </a:lnTo>
                <a:cubicBezTo>
                  <a:pt x="51054" y="663988"/>
                  <a:pt x="47640" y="656419"/>
                  <a:pt x="47640" y="649592"/>
                </a:cubicBezTo>
                <a:moveTo>
                  <a:pt x="67527" y="684172"/>
                </a:moveTo>
                <a:cubicBezTo>
                  <a:pt x="88602" y="684172"/>
                  <a:pt x="102404" y="668737"/>
                  <a:pt x="102404" y="648850"/>
                </a:cubicBezTo>
                <a:cubicBezTo>
                  <a:pt x="102404" y="634751"/>
                  <a:pt x="96319" y="624065"/>
                  <a:pt x="87415" y="617832"/>
                </a:cubicBezTo>
                <a:lnTo>
                  <a:pt x="77323" y="631486"/>
                </a:lnTo>
                <a:cubicBezTo>
                  <a:pt x="81923" y="634454"/>
                  <a:pt x="85782" y="640391"/>
                  <a:pt x="85782" y="648701"/>
                </a:cubicBezTo>
                <a:cubicBezTo>
                  <a:pt x="85782" y="657458"/>
                  <a:pt x="80884" y="665323"/>
                  <a:pt x="71831" y="666511"/>
                </a:cubicBezTo>
                <a:lnTo>
                  <a:pt x="71831" y="616496"/>
                </a:lnTo>
                <a:cubicBezTo>
                  <a:pt x="69011" y="616200"/>
                  <a:pt x="67082" y="616200"/>
                  <a:pt x="65598" y="616200"/>
                </a:cubicBezTo>
                <a:cubicBezTo>
                  <a:pt x="43930" y="616200"/>
                  <a:pt x="32799" y="631486"/>
                  <a:pt x="32799" y="648998"/>
                </a:cubicBezTo>
                <a:cubicBezTo>
                  <a:pt x="32799" y="669330"/>
                  <a:pt x="47937" y="684172"/>
                  <a:pt x="67676" y="684172"/>
                </a:cubicBezTo>
                <a:moveTo>
                  <a:pt x="80588" y="694412"/>
                </a:moveTo>
                <a:cubicBezTo>
                  <a:pt x="69011" y="694412"/>
                  <a:pt x="63075" y="701832"/>
                  <a:pt x="59810" y="713705"/>
                </a:cubicBezTo>
                <a:lnTo>
                  <a:pt x="57881" y="719938"/>
                </a:lnTo>
                <a:cubicBezTo>
                  <a:pt x="56396" y="725578"/>
                  <a:pt x="54170" y="726468"/>
                  <a:pt x="52093" y="726468"/>
                </a:cubicBezTo>
                <a:cubicBezTo>
                  <a:pt x="48976" y="726468"/>
                  <a:pt x="47492" y="723055"/>
                  <a:pt x="47492" y="719790"/>
                </a:cubicBezTo>
                <a:cubicBezTo>
                  <a:pt x="47492" y="715338"/>
                  <a:pt x="49421" y="711479"/>
                  <a:pt x="53428" y="708511"/>
                </a:cubicBezTo>
                <a:lnTo>
                  <a:pt x="43633" y="696490"/>
                </a:lnTo>
                <a:cubicBezTo>
                  <a:pt x="36361" y="701535"/>
                  <a:pt x="32354" y="709401"/>
                  <a:pt x="32354" y="719642"/>
                </a:cubicBezTo>
                <a:cubicBezTo>
                  <a:pt x="32354" y="733889"/>
                  <a:pt x="40220" y="744426"/>
                  <a:pt x="52538" y="744723"/>
                </a:cubicBezTo>
                <a:cubicBezTo>
                  <a:pt x="62778" y="745020"/>
                  <a:pt x="70792" y="738638"/>
                  <a:pt x="73909" y="726320"/>
                </a:cubicBezTo>
                <a:lnTo>
                  <a:pt x="75096" y="721423"/>
                </a:lnTo>
                <a:cubicBezTo>
                  <a:pt x="77174" y="714002"/>
                  <a:pt x="78658" y="712518"/>
                  <a:pt x="81478" y="712518"/>
                </a:cubicBezTo>
                <a:cubicBezTo>
                  <a:pt x="84743" y="712518"/>
                  <a:pt x="86227" y="716080"/>
                  <a:pt x="86227" y="719790"/>
                </a:cubicBezTo>
                <a:cubicBezTo>
                  <a:pt x="86227" y="726172"/>
                  <a:pt x="83407" y="731811"/>
                  <a:pt x="78510" y="734779"/>
                </a:cubicBezTo>
                <a:lnTo>
                  <a:pt x="89195" y="747394"/>
                </a:lnTo>
                <a:cubicBezTo>
                  <a:pt x="97803" y="741606"/>
                  <a:pt x="101959" y="731663"/>
                  <a:pt x="101959" y="719938"/>
                </a:cubicBezTo>
                <a:cubicBezTo>
                  <a:pt x="101959" y="705691"/>
                  <a:pt x="93203" y="694560"/>
                  <a:pt x="80142" y="694560"/>
                </a:cubicBezTo>
                <a:moveTo>
                  <a:pt x="100920" y="760751"/>
                </a:moveTo>
                <a:lnTo>
                  <a:pt x="34135" y="760751"/>
                </a:lnTo>
                <a:lnTo>
                  <a:pt x="34135" y="779006"/>
                </a:lnTo>
                <a:lnTo>
                  <a:pt x="100920" y="779006"/>
                </a:lnTo>
                <a:lnTo>
                  <a:pt x="100920" y="760751"/>
                </a:lnTo>
                <a:close/>
                <a:moveTo>
                  <a:pt x="11576" y="758228"/>
                </a:moveTo>
                <a:cubicBezTo>
                  <a:pt x="5194" y="758228"/>
                  <a:pt x="0" y="763423"/>
                  <a:pt x="0" y="769953"/>
                </a:cubicBezTo>
                <a:cubicBezTo>
                  <a:pt x="0" y="776483"/>
                  <a:pt x="5194" y="781529"/>
                  <a:pt x="11576" y="781529"/>
                </a:cubicBezTo>
                <a:cubicBezTo>
                  <a:pt x="17958" y="781529"/>
                  <a:pt x="23152" y="776186"/>
                  <a:pt x="23152" y="769953"/>
                </a:cubicBezTo>
                <a:cubicBezTo>
                  <a:pt x="23152" y="763719"/>
                  <a:pt x="17958" y="758228"/>
                  <a:pt x="11576" y="758228"/>
                </a:cubicBezTo>
                <a:moveTo>
                  <a:pt x="83111" y="854992"/>
                </a:moveTo>
                <a:lnTo>
                  <a:pt x="23746" y="854992"/>
                </a:lnTo>
                <a:lnTo>
                  <a:pt x="23746" y="843119"/>
                </a:lnTo>
                <a:cubicBezTo>
                  <a:pt x="23746" y="825607"/>
                  <a:pt x="36955" y="813882"/>
                  <a:pt x="53428" y="813882"/>
                </a:cubicBezTo>
                <a:cubicBezTo>
                  <a:pt x="69902" y="813882"/>
                  <a:pt x="83111" y="825607"/>
                  <a:pt x="83111" y="843119"/>
                </a:cubicBezTo>
                <a:lnTo>
                  <a:pt x="83111" y="854992"/>
                </a:lnTo>
                <a:close/>
                <a:moveTo>
                  <a:pt x="100920" y="874434"/>
                </a:moveTo>
                <a:lnTo>
                  <a:pt x="100920" y="843267"/>
                </a:lnTo>
                <a:cubicBezTo>
                  <a:pt x="100920" y="815960"/>
                  <a:pt x="79994" y="794440"/>
                  <a:pt x="53577" y="794440"/>
                </a:cubicBezTo>
                <a:cubicBezTo>
                  <a:pt x="27159" y="794440"/>
                  <a:pt x="6233" y="815960"/>
                  <a:pt x="6233" y="843267"/>
                </a:cubicBezTo>
                <a:lnTo>
                  <a:pt x="6233" y="874434"/>
                </a:lnTo>
                <a:lnTo>
                  <a:pt x="101068" y="874434"/>
                </a:lnTo>
                <a:close/>
              </a:path>
            </a:pathLst>
          </a:custGeom>
          <a:solidFill>
            <a:srgbClr val="FFFFFF"/>
          </a:solidFill>
          <a:ln w="14828" cap="flat">
            <a:noFill/>
            <a:prstDash val="solid"/>
            <a:miter/>
          </a:ln>
        </p:spPr>
        <p:txBody>
          <a:bodyPr rtlCol="0" anchor="ctr"/>
          <a:lstStyle/>
          <a:p>
            <a:endParaRPr lang="en-DK"/>
          </a:p>
        </p:txBody>
      </p:sp>
      <p:sp>
        <p:nvSpPr>
          <p:cNvPr id="269" name="Rectangle 268">
            <a:extLst>
              <a:ext uri="{FF2B5EF4-FFF2-40B4-BE49-F238E27FC236}">
                <a16:creationId xmlns:a16="http://schemas.microsoft.com/office/drawing/2014/main" id="{F7A00D5E-9C49-737C-DA56-A9EB85727A17}"/>
              </a:ext>
            </a:extLst>
          </p:cNvPr>
          <p:cNvSpPr/>
          <p:nvPr/>
        </p:nvSpPr>
        <p:spPr>
          <a:xfrm>
            <a:off x="522459" y="4811783"/>
            <a:ext cx="175169" cy="71504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70" name="Freeform 269">
            <a:extLst>
              <a:ext uri="{FF2B5EF4-FFF2-40B4-BE49-F238E27FC236}">
                <a16:creationId xmlns:a16="http://schemas.microsoft.com/office/drawing/2014/main" id="{4B03F610-4D28-53B8-B07E-75BFB24B9A68}"/>
              </a:ext>
            </a:extLst>
          </p:cNvPr>
          <p:cNvSpPr/>
          <p:nvPr/>
        </p:nvSpPr>
        <p:spPr>
          <a:xfrm>
            <a:off x="560773" y="4901425"/>
            <a:ext cx="102404" cy="535761"/>
          </a:xfrm>
          <a:custGeom>
            <a:avLst/>
            <a:gdLst>
              <a:gd name="connsiteX0" fmla="*/ 80588 w 102404"/>
              <a:gd name="connsiteY0" fmla="*/ 0 h 535761"/>
              <a:gd name="connsiteX1" fmla="*/ 59810 w 102404"/>
              <a:gd name="connsiteY1" fmla="*/ 19293 h 535761"/>
              <a:gd name="connsiteX2" fmla="*/ 57881 w 102404"/>
              <a:gd name="connsiteY2" fmla="*/ 25527 h 535761"/>
              <a:gd name="connsiteX3" fmla="*/ 52093 w 102404"/>
              <a:gd name="connsiteY3" fmla="*/ 32057 h 535761"/>
              <a:gd name="connsiteX4" fmla="*/ 47492 w 102404"/>
              <a:gd name="connsiteY4" fmla="*/ 25378 h 535761"/>
              <a:gd name="connsiteX5" fmla="*/ 53428 w 102404"/>
              <a:gd name="connsiteY5" fmla="*/ 13951 h 535761"/>
              <a:gd name="connsiteX6" fmla="*/ 43633 w 102404"/>
              <a:gd name="connsiteY6" fmla="*/ 1929 h 535761"/>
              <a:gd name="connsiteX7" fmla="*/ 32502 w 102404"/>
              <a:gd name="connsiteY7" fmla="*/ 25081 h 535761"/>
              <a:gd name="connsiteX8" fmla="*/ 52686 w 102404"/>
              <a:gd name="connsiteY8" fmla="*/ 50163 h 535761"/>
              <a:gd name="connsiteX9" fmla="*/ 74057 w 102404"/>
              <a:gd name="connsiteY9" fmla="*/ 31760 h 535761"/>
              <a:gd name="connsiteX10" fmla="*/ 75245 w 102404"/>
              <a:gd name="connsiteY10" fmla="*/ 26862 h 535761"/>
              <a:gd name="connsiteX11" fmla="*/ 81626 w 102404"/>
              <a:gd name="connsiteY11" fmla="*/ 17958 h 535761"/>
              <a:gd name="connsiteX12" fmla="*/ 86376 w 102404"/>
              <a:gd name="connsiteY12" fmla="*/ 25378 h 535761"/>
              <a:gd name="connsiteX13" fmla="*/ 78658 w 102404"/>
              <a:gd name="connsiteY13" fmla="*/ 40368 h 535761"/>
              <a:gd name="connsiteX14" fmla="*/ 89344 w 102404"/>
              <a:gd name="connsiteY14" fmla="*/ 52983 h 535761"/>
              <a:gd name="connsiteX15" fmla="*/ 102107 w 102404"/>
              <a:gd name="connsiteY15" fmla="*/ 25527 h 535761"/>
              <a:gd name="connsiteX16" fmla="*/ 80291 w 102404"/>
              <a:gd name="connsiteY16" fmla="*/ 149 h 535761"/>
              <a:gd name="connsiteX17" fmla="*/ 47789 w 102404"/>
              <a:gd name="connsiteY17" fmla="*/ 95873 h 535761"/>
              <a:gd name="connsiteX18" fmla="*/ 59365 w 102404"/>
              <a:gd name="connsiteY18" fmla="*/ 80735 h 535761"/>
              <a:gd name="connsiteX19" fmla="*/ 59365 w 102404"/>
              <a:gd name="connsiteY19" fmla="*/ 112050 h 535761"/>
              <a:gd name="connsiteX20" fmla="*/ 47789 w 102404"/>
              <a:gd name="connsiteY20" fmla="*/ 95873 h 535761"/>
              <a:gd name="connsiteX21" fmla="*/ 67527 w 102404"/>
              <a:gd name="connsiteY21" fmla="*/ 130453 h 535761"/>
              <a:gd name="connsiteX22" fmla="*/ 102404 w 102404"/>
              <a:gd name="connsiteY22" fmla="*/ 95131 h 535761"/>
              <a:gd name="connsiteX23" fmla="*/ 87415 w 102404"/>
              <a:gd name="connsiteY23" fmla="*/ 64113 h 535761"/>
              <a:gd name="connsiteX24" fmla="*/ 77323 w 102404"/>
              <a:gd name="connsiteY24" fmla="*/ 77767 h 535761"/>
              <a:gd name="connsiteX25" fmla="*/ 85782 w 102404"/>
              <a:gd name="connsiteY25" fmla="*/ 94983 h 535761"/>
              <a:gd name="connsiteX26" fmla="*/ 71831 w 102404"/>
              <a:gd name="connsiteY26" fmla="*/ 112792 h 535761"/>
              <a:gd name="connsiteX27" fmla="*/ 71831 w 102404"/>
              <a:gd name="connsiteY27" fmla="*/ 62777 h 535761"/>
              <a:gd name="connsiteX28" fmla="*/ 65598 w 102404"/>
              <a:gd name="connsiteY28" fmla="*/ 62481 h 535761"/>
              <a:gd name="connsiteX29" fmla="*/ 32799 w 102404"/>
              <a:gd name="connsiteY29" fmla="*/ 95279 h 535761"/>
              <a:gd name="connsiteX30" fmla="*/ 67676 w 102404"/>
              <a:gd name="connsiteY30" fmla="*/ 130304 h 535761"/>
              <a:gd name="connsiteX31" fmla="*/ 83111 w 102404"/>
              <a:gd name="connsiteY31" fmla="*/ 139061 h 535761"/>
              <a:gd name="connsiteX32" fmla="*/ 74503 w 102404"/>
              <a:gd name="connsiteY32" fmla="*/ 154940 h 535761"/>
              <a:gd name="connsiteX33" fmla="*/ 85188 w 102404"/>
              <a:gd name="connsiteY33" fmla="*/ 170672 h 535761"/>
              <a:gd name="connsiteX34" fmla="*/ 67379 w 102404"/>
              <a:gd name="connsiteY34" fmla="*/ 187591 h 535761"/>
              <a:gd name="connsiteX35" fmla="*/ 49570 w 102404"/>
              <a:gd name="connsiteY35" fmla="*/ 170672 h 535761"/>
              <a:gd name="connsiteX36" fmla="*/ 60255 w 102404"/>
              <a:gd name="connsiteY36" fmla="*/ 154940 h 535761"/>
              <a:gd name="connsiteX37" fmla="*/ 51647 w 102404"/>
              <a:gd name="connsiteY37" fmla="*/ 139061 h 535761"/>
              <a:gd name="connsiteX38" fmla="*/ 32502 w 102404"/>
              <a:gd name="connsiteY38" fmla="*/ 170672 h 535761"/>
              <a:gd name="connsiteX39" fmla="*/ 67379 w 102404"/>
              <a:gd name="connsiteY39" fmla="*/ 205994 h 535761"/>
              <a:gd name="connsiteX40" fmla="*/ 102256 w 102404"/>
              <a:gd name="connsiteY40" fmla="*/ 170672 h 535761"/>
              <a:gd name="connsiteX41" fmla="*/ 82962 w 102404"/>
              <a:gd name="connsiteY41" fmla="*/ 139061 h 535761"/>
              <a:gd name="connsiteX42" fmla="*/ 100920 w 102404"/>
              <a:gd name="connsiteY42" fmla="*/ 220241 h 535761"/>
              <a:gd name="connsiteX43" fmla="*/ 34135 w 102404"/>
              <a:gd name="connsiteY43" fmla="*/ 220241 h 535761"/>
              <a:gd name="connsiteX44" fmla="*/ 34135 w 102404"/>
              <a:gd name="connsiteY44" fmla="*/ 238495 h 535761"/>
              <a:gd name="connsiteX45" fmla="*/ 100920 w 102404"/>
              <a:gd name="connsiteY45" fmla="*/ 238495 h 535761"/>
              <a:gd name="connsiteX46" fmla="*/ 100920 w 102404"/>
              <a:gd name="connsiteY46" fmla="*/ 220241 h 535761"/>
              <a:gd name="connsiteX47" fmla="*/ 11576 w 102404"/>
              <a:gd name="connsiteY47" fmla="*/ 217718 h 535761"/>
              <a:gd name="connsiteX48" fmla="*/ 0 w 102404"/>
              <a:gd name="connsiteY48" fmla="*/ 229442 h 535761"/>
              <a:gd name="connsiteX49" fmla="*/ 11576 w 102404"/>
              <a:gd name="connsiteY49" fmla="*/ 241018 h 535761"/>
              <a:gd name="connsiteX50" fmla="*/ 23152 w 102404"/>
              <a:gd name="connsiteY50" fmla="*/ 229442 h 535761"/>
              <a:gd name="connsiteX51" fmla="*/ 11576 w 102404"/>
              <a:gd name="connsiteY51" fmla="*/ 217718 h 535761"/>
              <a:gd name="connsiteX52" fmla="*/ 100920 w 102404"/>
              <a:gd name="connsiteY52" fmla="*/ 295337 h 535761"/>
              <a:gd name="connsiteX53" fmla="*/ 100920 w 102404"/>
              <a:gd name="connsiteY53" fmla="*/ 278715 h 535761"/>
              <a:gd name="connsiteX54" fmla="*/ 34135 w 102404"/>
              <a:gd name="connsiteY54" fmla="*/ 249032 h 535761"/>
              <a:gd name="connsiteX55" fmla="*/ 34135 w 102404"/>
              <a:gd name="connsiteY55" fmla="*/ 269513 h 535761"/>
              <a:gd name="connsiteX56" fmla="*/ 76877 w 102404"/>
              <a:gd name="connsiteY56" fmla="*/ 287174 h 535761"/>
              <a:gd name="connsiteX57" fmla="*/ 34135 w 102404"/>
              <a:gd name="connsiteY57" fmla="*/ 304835 h 535761"/>
              <a:gd name="connsiteX58" fmla="*/ 34135 w 102404"/>
              <a:gd name="connsiteY58" fmla="*/ 325019 h 535761"/>
              <a:gd name="connsiteX59" fmla="*/ 100920 w 102404"/>
              <a:gd name="connsiteY59" fmla="*/ 295485 h 535761"/>
              <a:gd name="connsiteX60" fmla="*/ 100920 w 102404"/>
              <a:gd name="connsiteY60" fmla="*/ 373252 h 535761"/>
              <a:gd name="connsiteX61" fmla="*/ 100920 w 102404"/>
              <a:gd name="connsiteY61" fmla="*/ 354997 h 535761"/>
              <a:gd name="connsiteX62" fmla="*/ 69011 w 102404"/>
              <a:gd name="connsiteY62" fmla="*/ 354997 h 535761"/>
              <a:gd name="connsiteX63" fmla="*/ 51202 w 102404"/>
              <a:gd name="connsiteY63" fmla="*/ 340602 h 535761"/>
              <a:gd name="connsiteX64" fmla="*/ 52686 w 102404"/>
              <a:gd name="connsiteY64" fmla="*/ 332291 h 535761"/>
              <a:gd name="connsiteX65" fmla="*/ 34135 w 102404"/>
              <a:gd name="connsiteY65" fmla="*/ 332291 h 535761"/>
              <a:gd name="connsiteX66" fmla="*/ 33393 w 102404"/>
              <a:gd name="connsiteY66" fmla="*/ 338376 h 535761"/>
              <a:gd name="connsiteX67" fmla="*/ 44820 w 102404"/>
              <a:gd name="connsiteY67" fmla="*/ 354997 h 535761"/>
              <a:gd name="connsiteX68" fmla="*/ 34135 w 102404"/>
              <a:gd name="connsiteY68" fmla="*/ 354997 h 535761"/>
              <a:gd name="connsiteX69" fmla="*/ 34135 w 102404"/>
              <a:gd name="connsiteY69" fmla="*/ 373252 h 535761"/>
              <a:gd name="connsiteX70" fmla="*/ 100920 w 102404"/>
              <a:gd name="connsiteY70" fmla="*/ 373252 h 535761"/>
              <a:gd name="connsiteX71" fmla="*/ 47789 w 102404"/>
              <a:gd name="connsiteY71" fmla="*/ 421782 h 535761"/>
              <a:gd name="connsiteX72" fmla="*/ 59365 w 102404"/>
              <a:gd name="connsiteY72" fmla="*/ 406644 h 535761"/>
              <a:gd name="connsiteX73" fmla="*/ 59365 w 102404"/>
              <a:gd name="connsiteY73" fmla="*/ 437959 h 535761"/>
              <a:gd name="connsiteX74" fmla="*/ 47789 w 102404"/>
              <a:gd name="connsiteY74" fmla="*/ 421782 h 535761"/>
              <a:gd name="connsiteX75" fmla="*/ 67527 w 102404"/>
              <a:gd name="connsiteY75" fmla="*/ 456362 h 535761"/>
              <a:gd name="connsiteX76" fmla="*/ 102404 w 102404"/>
              <a:gd name="connsiteY76" fmla="*/ 421040 h 535761"/>
              <a:gd name="connsiteX77" fmla="*/ 87415 w 102404"/>
              <a:gd name="connsiteY77" fmla="*/ 390022 h 535761"/>
              <a:gd name="connsiteX78" fmla="*/ 77323 w 102404"/>
              <a:gd name="connsiteY78" fmla="*/ 403676 h 535761"/>
              <a:gd name="connsiteX79" fmla="*/ 85782 w 102404"/>
              <a:gd name="connsiteY79" fmla="*/ 420892 h 535761"/>
              <a:gd name="connsiteX80" fmla="*/ 71831 w 102404"/>
              <a:gd name="connsiteY80" fmla="*/ 438701 h 535761"/>
              <a:gd name="connsiteX81" fmla="*/ 71831 w 102404"/>
              <a:gd name="connsiteY81" fmla="*/ 388687 h 535761"/>
              <a:gd name="connsiteX82" fmla="*/ 65598 w 102404"/>
              <a:gd name="connsiteY82" fmla="*/ 388390 h 535761"/>
              <a:gd name="connsiteX83" fmla="*/ 32799 w 102404"/>
              <a:gd name="connsiteY83" fmla="*/ 421189 h 535761"/>
              <a:gd name="connsiteX84" fmla="*/ 67676 w 102404"/>
              <a:gd name="connsiteY84" fmla="*/ 456362 h 535761"/>
              <a:gd name="connsiteX85" fmla="*/ 85485 w 102404"/>
              <a:gd name="connsiteY85" fmla="*/ 535316 h 535761"/>
              <a:gd name="connsiteX86" fmla="*/ 102404 w 102404"/>
              <a:gd name="connsiteY86" fmla="*/ 500736 h 535761"/>
              <a:gd name="connsiteX87" fmla="*/ 73909 w 102404"/>
              <a:gd name="connsiteY87" fmla="*/ 467492 h 535761"/>
              <a:gd name="connsiteX88" fmla="*/ 45711 w 102404"/>
              <a:gd name="connsiteY88" fmla="*/ 490051 h 535761"/>
              <a:gd name="connsiteX89" fmla="*/ 42891 w 102404"/>
              <a:gd name="connsiteY89" fmla="*/ 497620 h 535761"/>
              <a:gd name="connsiteX90" fmla="*/ 31018 w 102404"/>
              <a:gd name="connsiteY90" fmla="*/ 512312 h 535761"/>
              <a:gd name="connsiteX91" fmla="*/ 22559 w 102404"/>
              <a:gd name="connsiteY91" fmla="*/ 499697 h 535761"/>
              <a:gd name="connsiteX92" fmla="*/ 30721 w 102404"/>
              <a:gd name="connsiteY92" fmla="*/ 482779 h 535761"/>
              <a:gd name="connsiteX93" fmla="*/ 17513 w 102404"/>
              <a:gd name="connsiteY93" fmla="*/ 470015 h 535761"/>
              <a:gd name="connsiteX94" fmla="*/ 4452 w 102404"/>
              <a:gd name="connsiteY94" fmla="*/ 499995 h 535761"/>
              <a:gd name="connsiteX95" fmla="*/ 32947 w 102404"/>
              <a:gd name="connsiteY95" fmla="*/ 532051 h 535761"/>
              <a:gd name="connsiteX96" fmla="*/ 60107 w 102404"/>
              <a:gd name="connsiteY96" fmla="*/ 508751 h 535761"/>
              <a:gd name="connsiteX97" fmla="*/ 62927 w 102404"/>
              <a:gd name="connsiteY97" fmla="*/ 500736 h 535761"/>
              <a:gd name="connsiteX98" fmla="*/ 75245 w 102404"/>
              <a:gd name="connsiteY98" fmla="*/ 487528 h 535761"/>
              <a:gd name="connsiteX99" fmla="*/ 84446 w 102404"/>
              <a:gd name="connsiteY99" fmla="*/ 500291 h 535761"/>
              <a:gd name="connsiteX100" fmla="*/ 73167 w 102404"/>
              <a:gd name="connsiteY100" fmla="*/ 520920 h 535761"/>
              <a:gd name="connsiteX101" fmla="*/ 85634 w 102404"/>
              <a:gd name="connsiteY101" fmla="*/ 535761 h 53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02404" h="535761">
                <a:moveTo>
                  <a:pt x="80588" y="0"/>
                </a:moveTo>
                <a:cubicBezTo>
                  <a:pt x="69011" y="0"/>
                  <a:pt x="63075" y="7421"/>
                  <a:pt x="59810" y="19293"/>
                </a:cubicBezTo>
                <a:lnTo>
                  <a:pt x="57881" y="25527"/>
                </a:lnTo>
                <a:cubicBezTo>
                  <a:pt x="56396" y="31166"/>
                  <a:pt x="54170" y="32057"/>
                  <a:pt x="52093" y="32057"/>
                </a:cubicBezTo>
                <a:cubicBezTo>
                  <a:pt x="48976" y="32057"/>
                  <a:pt x="47492" y="28643"/>
                  <a:pt x="47492" y="25378"/>
                </a:cubicBezTo>
                <a:cubicBezTo>
                  <a:pt x="47492" y="20926"/>
                  <a:pt x="49421" y="17067"/>
                  <a:pt x="53428" y="13951"/>
                </a:cubicBezTo>
                <a:lnTo>
                  <a:pt x="43633" y="1929"/>
                </a:lnTo>
                <a:cubicBezTo>
                  <a:pt x="36361" y="6975"/>
                  <a:pt x="32502" y="14841"/>
                  <a:pt x="32502" y="25081"/>
                </a:cubicBezTo>
                <a:cubicBezTo>
                  <a:pt x="32502" y="39180"/>
                  <a:pt x="40368" y="49866"/>
                  <a:pt x="52686" y="50163"/>
                </a:cubicBezTo>
                <a:cubicBezTo>
                  <a:pt x="62927" y="50460"/>
                  <a:pt x="70941" y="44078"/>
                  <a:pt x="74057" y="31760"/>
                </a:cubicBezTo>
                <a:lnTo>
                  <a:pt x="75245" y="26862"/>
                </a:lnTo>
                <a:cubicBezTo>
                  <a:pt x="77174" y="19442"/>
                  <a:pt x="78807" y="17958"/>
                  <a:pt x="81626" y="17958"/>
                </a:cubicBezTo>
                <a:cubicBezTo>
                  <a:pt x="84892" y="17958"/>
                  <a:pt x="86376" y="21519"/>
                  <a:pt x="86376" y="25378"/>
                </a:cubicBezTo>
                <a:cubicBezTo>
                  <a:pt x="86376" y="31760"/>
                  <a:pt x="83556" y="37399"/>
                  <a:pt x="78658" y="40368"/>
                </a:cubicBezTo>
                <a:lnTo>
                  <a:pt x="89344" y="52983"/>
                </a:lnTo>
                <a:cubicBezTo>
                  <a:pt x="97952" y="47195"/>
                  <a:pt x="102107" y="37251"/>
                  <a:pt x="102107" y="25527"/>
                </a:cubicBezTo>
                <a:cubicBezTo>
                  <a:pt x="102107" y="11279"/>
                  <a:pt x="93351" y="149"/>
                  <a:pt x="80291" y="149"/>
                </a:cubicBezTo>
                <a:moveTo>
                  <a:pt x="47789" y="95873"/>
                </a:moveTo>
                <a:cubicBezTo>
                  <a:pt x="47789" y="89046"/>
                  <a:pt x="51499" y="82368"/>
                  <a:pt x="59365" y="80735"/>
                </a:cubicBezTo>
                <a:lnTo>
                  <a:pt x="59365" y="112050"/>
                </a:lnTo>
                <a:cubicBezTo>
                  <a:pt x="51202" y="110269"/>
                  <a:pt x="47789" y="102700"/>
                  <a:pt x="47789" y="95873"/>
                </a:cubicBezTo>
                <a:moveTo>
                  <a:pt x="67527" y="130453"/>
                </a:moveTo>
                <a:cubicBezTo>
                  <a:pt x="88602" y="130453"/>
                  <a:pt x="102404" y="115018"/>
                  <a:pt x="102404" y="95131"/>
                </a:cubicBezTo>
                <a:cubicBezTo>
                  <a:pt x="102404" y="81180"/>
                  <a:pt x="96468" y="70347"/>
                  <a:pt x="87415" y="64113"/>
                </a:cubicBezTo>
                <a:lnTo>
                  <a:pt x="77323" y="77767"/>
                </a:lnTo>
                <a:cubicBezTo>
                  <a:pt x="81923" y="80735"/>
                  <a:pt x="85782" y="86672"/>
                  <a:pt x="85782" y="94983"/>
                </a:cubicBezTo>
                <a:cubicBezTo>
                  <a:pt x="85782" y="103739"/>
                  <a:pt x="80884" y="111605"/>
                  <a:pt x="71831" y="112792"/>
                </a:cubicBezTo>
                <a:lnTo>
                  <a:pt x="71831" y="62777"/>
                </a:lnTo>
                <a:cubicBezTo>
                  <a:pt x="69011" y="62481"/>
                  <a:pt x="67082" y="62481"/>
                  <a:pt x="65598" y="62481"/>
                </a:cubicBezTo>
                <a:cubicBezTo>
                  <a:pt x="43930" y="62481"/>
                  <a:pt x="32799" y="77767"/>
                  <a:pt x="32799" y="95279"/>
                </a:cubicBezTo>
                <a:cubicBezTo>
                  <a:pt x="32799" y="115612"/>
                  <a:pt x="47937" y="130304"/>
                  <a:pt x="67676" y="130304"/>
                </a:cubicBezTo>
                <a:moveTo>
                  <a:pt x="83111" y="139061"/>
                </a:moveTo>
                <a:lnTo>
                  <a:pt x="74503" y="154940"/>
                </a:lnTo>
                <a:cubicBezTo>
                  <a:pt x="80588" y="157612"/>
                  <a:pt x="85188" y="163400"/>
                  <a:pt x="85188" y="170672"/>
                </a:cubicBezTo>
                <a:cubicBezTo>
                  <a:pt x="85188" y="180319"/>
                  <a:pt x="77768" y="187591"/>
                  <a:pt x="67379" y="187591"/>
                </a:cubicBezTo>
                <a:cubicBezTo>
                  <a:pt x="56990" y="187591"/>
                  <a:pt x="49570" y="180319"/>
                  <a:pt x="49570" y="170672"/>
                </a:cubicBezTo>
                <a:cubicBezTo>
                  <a:pt x="49570" y="163251"/>
                  <a:pt x="54170" y="157612"/>
                  <a:pt x="60255" y="154940"/>
                </a:cubicBezTo>
                <a:lnTo>
                  <a:pt x="51647" y="139061"/>
                </a:lnTo>
                <a:cubicBezTo>
                  <a:pt x="40220" y="144849"/>
                  <a:pt x="32502" y="156870"/>
                  <a:pt x="32502" y="170672"/>
                </a:cubicBezTo>
                <a:cubicBezTo>
                  <a:pt x="32502" y="190410"/>
                  <a:pt x="47195" y="205994"/>
                  <a:pt x="67379" y="205994"/>
                </a:cubicBezTo>
                <a:cubicBezTo>
                  <a:pt x="87563" y="205994"/>
                  <a:pt x="102256" y="190410"/>
                  <a:pt x="102256" y="170672"/>
                </a:cubicBezTo>
                <a:cubicBezTo>
                  <a:pt x="102256" y="156721"/>
                  <a:pt x="94538" y="144700"/>
                  <a:pt x="82962" y="139061"/>
                </a:cubicBezTo>
                <a:moveTo>
                  <a:pt x="100920" y="220241"/>
                </a:moveTo>
                <a:lnTo>
                  <a:pt x="34135" y="220241"/>
                </a:lnTo>
                <a:lnTo>
                  <a:pt x="34135" y="238495"/>
                </a:lnTo>
                <a:lnTo>
                  <a:pt x="100920" y="238495"/>
                </a:lnTo>
                <a:lnTo>
                  <a:pt x="100920" y="220241"/>
                </a:lnTo>
                <a:close/>
                <a:moveTo>
                  <a:pt x="11576" y="217718"/>
                </a:moveTo>
                <a:cubicBezTo>
                  <a:pt x="5194" y="217718"/>
                  <a:pt x="0" y="222912"/>
                  <a:pt x="0" y="229442"/>
                </a:cubicBezTo>
                <a:cubicBezTo>
                  <a:pt x="0" y="235973"/>
                  <a:pt x="5194" y="241018"/>
                  <a:pt x="11576" y="241018"/>
                </a:cubicBezTo>
                <a:cubicBezTo>
                  <a:pt x="17958" y="241018"/>
                  <a:pt x="23152" y="235676"/>
                  <a:pt x="23152" y="229442"/>
                </a:cubicBezTo>
                <a:cubicBezTo>
                  <a:pt x="23152" y="223209"/>
                  <a:pt x="17958" y="217718"/>
                  <a:pt x="11576" y="217718"/>
                </a:cubicBezTo>
                <a:moveTo>
                  <a:pt x="100920" y="295337"/>
                </a:moveTo>
                <a:lnTo>
                  <a:pt x="100920" y="278715"/>
                </a:lnTo>
                <a:lnTo>
                  <a:pt x="34135" y="249032"/>
                </a:lnTo>
                <a:lnTo>
                  <a:pt x="34135" y="269513"/>
                </a:lnTo>
                <a:lnTo>
                  <a:pt x="76877" y="287174"/>
                </a:lnTo>
                <a:lnTo>
                  <a:pt x="34135" y="304835"/>
                </a:lnTo>
                <a:lnTo>
                  <a:pt x="34135" y="325019"/>
                </a:lnTo>
                <a:lnTo>
                  <a:pt x="100920" y="295485"/>
                </a:lnTo>
                <a:close/>
                <a:moveTo>
                  <a:pt x="100920" y="373252"/>
                </a:moveTo>
                <a:lnTo>
                  <a:pt x="100920" y="354997"/>
                </a:lnTo>
                <a:lnTo>
                  <a:pt x="69011" y="354997"/>
                </a:lnTo>
                <a:cubicBezTo>
                  <a:pt x="58029" y="354997"/>
                  <a:pt x="51202" y="349209"/>
                  <a:pt x="51202" y="340602"/>
                </a:cubicBezTo>
                <a:cubicBezTo>
                  <a:pt x="51202" y="337633"/>
                  <a:pt x="51796" y="335111"/>
                  <a:pt x="52686" y="332291"/>
                </a:cubicBezTo>
                <a:lnTo>
                  <a:pt x="34135" y="332291"/>
                </a:lnTo>
                <a:cubicBezTo>
                  <a:pt x="33393" y="334517"/>
                  <a:pt x="33393" y="336595"/>
                  <a:pt x="33393" y="338376"/>
                </a:cubicBezTo>
                <a:cubicBezTo>
                  <a:pt x="33393" y="345796"/>
                  <a:pt x="38290" y="352623"/>
                  <a:pt x="44820" y="354997"/>
                </a:cubicBezTo>
                <a:lnTo>
                  <a:pt x="34135" y="354997"/>
                </a:lnTo>
                <a:lnTo>
                  <a:pt x="34135" y="373252"/>
                </a:lnTo>
                <a:lnTo>
                  <a:pt x="100920" y="373252"/>
                </a:lnTo>
                <a:close/>
                <a:moveTo>
                  <a:pt x="47789" y="421782"/>
                </a:moveTo>
                <a:cubicBezTo>
                  <a:pt x="47789" y="414955"/>
                  <a:pt x="51499" y="408277"/>
                  <a:pt x="59365" y="406644"/>
                </a:cubicBezTo>
                <a:lnTo>
                  <a:pt x="59365" y="437959"/>
                </a:lnTo>
                <a:cubicBezTo>
                  <a:pt x="51202" y="436178"/>
                  <a:pt x="47789" y="428609"/>
                  <a:pt x="47789" y="421782"/>
                </a:cubicBezTo>
                <a:moveTo>
                  <a:pt x="67527" y="456362"/>
                </a:moveTo>
                <a:cubicBezTo>
                  <a:pt x="88602" y="456362"/>
                  <a:pt x="102404" y="440927"/>
                  <a:pt x="102404" y="421040"/>
                </a:cubicBezTo>
                <a:cubicBezTo>
                  <a:pt x="102404" y="407090"/>
                  <a:pt x="96468" y="396255"/>
                  <a:pt x="87415" y="390022"/>
                </a:cubicBezTo>
                <a:lnTo>
                  <a:pt x="77323" y="403676"/>
                </a:lnTo>
                <a:cubicBezTo>
                  <a:pt x="81923" y="406644"/>
                  <a:pt x="85782" y="412581"/>
                  <a:pt x="85782" y="420892"/>
                </a:cubicBezTo>
                <a:cubicBezTo>
                  <a:pt x="85782" y="429648"/>
                  <a:pt x="80884" y="437514"/>
                  <a:pt x="71831" y="438701"/>
                </a:cubicBezTo>
                <a:lnTo>
                  <a:pt x="71831" y="388687"/>
                </a:lnTo>
                <a:cubicBezTo>
                  <a:pt x="69011" y="388390"/>
                  <a:pt x="67082" y="388390"/>
                  <a:pt x="65598" y="388390"/>
                </a:cubicBezTo>
                <a:cubicBezTo>
                  <a:pt x="43930" y="388390"/>
                  <a:pt x="32799" y="403676"/>
                  <a:pt x="32799" y="421189"/>
                </a:cubicBezTo>
                <a:cubicBezTo>
                  <a:pt x="32799" y="441521"/>
                  <a:pt x="47937" y="456362"/>
                  <a:pt x="67676" y="456362"/>
                </a:cubicBezTo>
                <a:moveTo>
                  <a:pt x="85485" y="535316"/>
                </a:moveTo>
                <a:cubicBezTo>
                  <a:pt x="95874" y="528489"/>
                  <a:pt x="102404" y="515874"/>
                  <a:pt x="102404" y="500736"/>
                </a:cubicBezTo>
                <a:cubicBezTo>
                  <a:pt x="102404" y="481146"/>
                  <a:pt x="90828" y="467641"/>
                  <a:pt x="73909" y="467492"/>
                </a:cubicBezTo>
                <a:cubicBezTo>
                  <a:pt x="59662" y="467492"/>
                  <a:pt x="50757" y="476100"/>
                  <a:pt x="45711" y="490051"/>
                </a:cubicBezTo>
                <a:lnTo>
                  <a:pt x="42891" y="497620"/>
                </a:lnTo>
                <a:cubicBezTo>
                  <a:pt x="39329" y="507712"/>
                  <a:pt x="36806" y="512312"/>
                  <a:pt x="31018" y="512312"/>
                </a:cubicBezTo>
                <a:cubicBezTo>
                  <a:pt x="25230" y="512312"/>
                  <a:pt x="22559" y="506228"/>
                  <a:pt x="22559" y="499697"/>
                </a:cubicBezTo>
                <a:cubicBezTo>
                  <a:pt x="22559" y="493167"/>
                  <a:pt x="25230" y="487231"/>
                  <a:pt x="30721" y="482779"/>
                </a:cubicBezTo>
                <a:lnTo>
                  <a:pt x="17513" y="470015"/>
                </a:lnTo>
                <a:cubicBezTo>
                  <a:pt x="8459" y="478178"/>
                  <a:pt x="4452" y="488270"/>
                  <a:pt x="4452" y="499995"/>
                </a:cubicBezTo>
                <a:cubicBezTo>
                  <a:pt x="4452" y="518397"/>
                  <a:pt x="14990" y="532051"/>
                  <a:pt x="32947" y="532051"/>
                </a:cubicBezTo>
                <a:cubicBezTo>
                  <a:pt x="45859" y="532051"/>
                  <a:pt x="54764" y="523888"/>
                  <a:pt x="60107" y="508751"/>
                </a:cubicBezTo>
                <a:lnTo>
                  <a:pt x="62927" y="500736"/>
                </a:lnTo>
                <a:cubicBezTo>
                  <a:pt x="66192" y="491387"/>
                  <a:pt x="69902" y="487528"/>
                  <a:pt x="75245" y="487528"/>
                </a:cubicBezTo>
                <a:cubicBezTo>
                  <a:pt x="80588" y="487528"/>
                  <a:pt x="84446" y="492574"/>
                  <a:pt x="84446" y="500291"/>
                </a:cubicBezTo>
                <a:cubicBezTo>
                  <a:pt x="84446" y="508008"/>
                  <a:pt x="80291" y="516171"/>
                  <a:pt x="73167" y="520920"/>
                </a:cubicBezTo>
                <a:lnTo>
                  <a:pt x="85634" y="535761"/>
                </a:lnTo>
                <a:close/>
              </a:path>
            </a:pathLst>
          </a:custGeom>
          <a:solidFill>
            <a:srgbClr val="FFFFFF"/>
          </a:solidFill>
          <a:ln w="14828" cap="flat">
            <a:noFill/>
            <a:prstDash val="solid"/>
            <a:miter/>
          </a:ln>
        </p:spPr>
        <p:txBody>
          <a:bodyPr rtlCol="0" anchor="ctr"/>
          <a:lstStyle/>
          <a:p>
            <a:endParaRPr lang="en-DK"/>
          </a:p>
        </p:txBody>
      </p:sp>
      <p:sp>
        <p:nvSpPr>
          <p:cNvPr id="11" name="TextBox 10">
            <a:extLst>
              <a:ext uri="{FF2B5EF4-FFF2-40B4-BE49-F238E27FC236}">
                <a16:creationId xmlns:a16="http://schemas.microsoft.com/office/drawing/2014/main" id="{894806E4-E6A3-AF03-2A66-24AEE3597346}"/>
              </a:ext>
            </a:extLst>
          </p:cNvPr>
          <p:cNvSpPr txBox="1"/>
          <p:nvPr/>
        </p:nvSpPr>
        <p:spPr>
          <a:xfrm>
            <a:off x="1150413" y="4228954"/>
            <a:ext cx="1034235" cy="246221"/>
          </a:xfrm>
          <a:prstGeom prst="rect">
            <a:avLst/>
          </a:prstGeom>
          <a:noFill/>
        </p:spPr>
        <p:txBody>
          <a:bodyPr wrap="square" rtlCol="0">
            <a:spAutoFit/>
          </a:bodyPr>
          <a:lstStyle/>
          <a:p>
            <a:pPr algn="ctr"/>
            <a:r>
              <a:rPr lang="en-GB" sz="1000">
                <a:solidFill>
                  <a:schemeClr val="accent2"/>
                </a:solidFill>
                <a:latin typeface="Avenir Next LT Pro" panose="020B0504020202020204" pitchFamily="34" charset="77"/>
              </a:rPr>
              <a:t>New offering</a:t>
            </a:r>
          </a:p>
        </p:txBody>
      </p:sp>
      <p:sp>
        <p:nvSpPr>
          <p:cNvPr id="38" name="TextBox 37">
            <a:extLst>
              <a:ext uri="{FF2B5EF4-FFF2-40B4-BE49-F238E27FC236}">
                <a16:creationId xmlns:a16="http://schemas.microsoft.com/office/drawing/2014/main" id="{8D75FBD5-D7A8-8938-D4B2-790332932D97}"/>
              </a:ext>
            </a:extLst>
          </p:cNvPr>
          <p:cNvSpPr txBox="1"/>
          <p:nvPr/>
        </p:nvSpPr>
        <p:spPr>
          <a:xfrm>
            <a:off x="4328617" y="4228954"/>
            <a:ext cx="1034235" cy="246221"/>
          </a:xfrm>
          <a:prstGeom prst="rect">
            <a:avLst/>
          </a:prstGeom>
          <a:noFill/>
        </p:spPr>
        <p:txBody>
          <a:bodyPr wrap="square" rtlCol="0">
            <a:spAutoFit/>
          </a:bodyPr>
          <a:lstStyle/>
          <a:p>
            <a:pPr algn="ctr"/>
            <a:r>
              <a:rPr lang="en-GB" sz="1000">
                <a:solidFill>
                  <a:schemeClr val="accent2"/>
                </a:solidFill>
                <a:latin typeface="Avenir Next LT Pro" panose="020B0504020202020204" pitchFamily="34" charset="77"/>
              </a:rPr>
              <a:t>New offering</a:t>
            </a:r>
          </a:p>
        </p:txBody>
      </p:sp>
      <p:sp>
        <p:nvSpPr>
          <p:cNvPr id="39" name="TextBox 38">
            <a:extLst>
              <a:ext uri="{FF2B5EF4-FFF2-40B4-BE49-F238E27FC236}">
                <a16:creationId xmlns:a16="http://schemas.microsoft.com/office/drawing/2014/main" id="{19F00C81-FDDF-20B0-A17F-FABA084AA269}"/>
              </a:ext>
            </a:extLst>
          </p:cNvPr>
          <p:cNvSpPr txBox="1"/>
          <p:nvPr/>
        </p:nvSpPr>
        <p:spPr>
          <a:xfrm>
            <a:off x="2355685" y="5987350"/>
            <a:ext cx="1886615" cy="246221"/>
          </a:xfrm>
          <a:prstGeom prst="rect">
            <a:avLst/>
          </a:prstGeom>
          <a:noFill/>
        </p:spPr>
        <p:txBody>
          <a:bodyPr wrap="square" rtlCol="0">
            <a:spAutoFit/>
          </a:bodyPr>
          <a:lstStyle/>
          <a:p>
            <a:pPr algn="ctr"/>
            <a:r>
              <a:rPr lang="en-GB" sz="1000">
                <a:solidFill>
                  <a:schemeClr val="accent1"/>
                </a:solidFill>
                <a:latin typeface="Avenir Next LT Pro" panose="020B0504020202020204" pitchFamily="34" charset="77"/>
              </a:rPr>
              <a:t>Key technology focus</a:t>
            </a:r>
          </a:p>
        </p:txBody>
      </p:sp>
      <p:sp>
        <p:nvSpPr>
          <p:cNvPr id="40" name="Footer Placeholder 438">
            <a:extLst>
              <a:ext uri="{FF2B5EF4-FFF2-40B4-BE49-F238E27FC236}">
                <a16:creationId xmlns:a16="http://schemas.microsoft.com/office/drawing/2014/main" id="{F9B60C54-DD36-A4DD-FD4F-94A669B0B241}"/>
              </a:ext>
            </a:extLst>
          </p:cNvPr>
          <p:cNvSpPr txBox="1">
            <a:spLocks/>
          </p:cNvSpPr>
          <p:nvPr/>
        </p:nvSpPr>
        <p:spPr>
          <a:xfrm>
            <a:off x="516732" y="6409194"/>
            <a:ext cx="10933112" cy="307777"/>
          </a:xfrm>
          <a:prstGeom prst="rect">
            <a:avLst/>
          </a:prstGeom>
        </p:spPr>
        <p:txBody>
          <a:bodyPr vert="horz" lIns="0" tIns="0" rIns="0" bIns="0" rtlCol="0" anchor="t">
            <a:spAutoFit/>
          </a:bodyPr>
          <a:lstStyle>
            <a:defPPr>
              <a:defRPr lang="sv-SE"/>
            </a:defPPr>
            <a:lvl1pPr marL="0" algn="l" defTabSz="914400" rtl="0" eaLnBrk="1" latinLnBrk="0" hangingPunct="1">
              <a:defRPr sz="1000" kern="1200">
                <a:solidFill>
                  <a:schemeClr val="tx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2878FF">
                    <a:lumMod val="60000"/>
                    <a:lumOff val="40000"/>
                  </a:srgbClr>
                </a:solidFill>
                <a:latin typeface="Avenir Next LT Pro"/>
              </a:rPr>
              <a:t>Note</a:t>
            </a:r>
            <a:r>
              <a:rPr lang="en-DK">
                <a:solidFill>
                  <a:srgbClr val="2878FF">
                    <a:lumMod val="60000"/>
                    <a:lumOff val="40000"/>
                  </a:srgbClr>
                </a:solidFill>
                <a:latin typeface="Avenir Next LT Pro"/>
              </a:rPr>
              <a:t>s</a:t>
            </a:r>
            <a:r>
              <a:rPr lang="en-US">
                <a:solidFill>
                  <a:srgbClr val="2878FF">
                    <a:lumMod val="60000"/>
                    <a:lumOff val="40000"/>
                  </a:srgbClr>
                </a:solidFill>
                <a:latin typeface="Avenir Next LT Pro"/>
              </a:rPr>
              <a:t>:</a:t>
            </a:r>
            <a:r>
              <a:rPr lang="en-DK">
                <a:solidFill>
                  <a:srgbClr val="2878FF">
                    <a:lumMod val="60000"/>
                    <a:lumOff val="40000"/>
                  </a:srgbClr>
                </a:solidFill>
                <a:latin typeface="Avenir Next LT Pro"/>
              </a:rPr>
              <a:t> MASH = </a:t>
            </a:r>
            <a:r>
              <a:rPr lang="en-US">
                <a:solidFill>
                  <a:srgbClr val="2878FF">
                    <a:lumMod val="60000"/>
                    <a:lumOff val="40000"/>
                  </a:srgbClr>
                </a:solidFill>
                <a:latin typeface="Avenir Next LT Pro"/>
              </a:rPr>
              <a:t>Metabolic Dysfunction-Associated Steatohepatitis</a:t>
            </a:r>
            <a:r>
              <a:rPr lang="en-DK">
                <a:solidFill>
                  <a:srgbClr val="2878FF">
                    <a:lumMod val="60000"/>
                    <a:lumOff val="40000"/>
                  </a:srgbClr>
                </a:solidFill>
                <a:latin typeface="Avenir Next LT Pro"/>
              </a:rPr>
              <a:t>; CKD = Chronic Kidney Disease; IPF = </a:t>
            </a:r>
            <a:r>
              <a:rPr lang="en-US">
                <a:solidFill>
                  <a:srgbClr val="2878FF">
                    <a:lumMod val="60000"/>
                    <a:lumOff val="40000"/>
                  </a:srgbClr>
                </a:solidFill>
                <a:latin typeface="Avenir Next LT Pro"/>
              </a:rPr>
              <a:t>Idiopathic Pulmonary Fibrosis</a:t>
            </a:r>
            <a:r>
              <a:rPr lang="en-DK">
                <a:solidFill>
                  <a:srgbClr val="2878FF">
                    <a:lumMod val="60000"/>
                    <a:lumOff val="40000"/>
                  </a:srgbClr>
                </a:solidFill>
                <a:latin typeface="Avenir Next LT Pro"/>
              </a:rPr>
              <a:t>; CNS = Central Nervous System</a:t>
            </a:r>
            <a:br>
              <a:rPr lang="en-DK">
                <a:solidFill>
                  <a:srgbClr val="2878FF">
                    <a:lumMod val="60000"/>
                    <a:lumOff val="40000"/>
                  </a:srgbClr>
                </a:solidFill>
                <a:latin typeface="Avenir Next LT Pro"/>
              </a:rPr>
            </a:br>
            <a:r>
              <a:rPr lang="en-DK">
                <a:solidFill>
                  <a:srgbClr val="2878FF">
                    <a:lumMod val="60000"/>
                    <a:lumOff val="40000"/>
                  </a:srgbClr>
                </a:solidFill>
                <a:latin typeface="Avenir Next LT Pro"/>
              </a:rPr>
              <a:t>Sources: MedWatch</a:t>
            </a:r>
            <a:endParaRPr lang="sv-SE">
              <a:solidFill>
                <a:srgbClr val="2878FF">
                  <a:lumMod val="60000"/>
                  <a:lumOff val="40000"/>
                </a:srgbClr>
              </a:solidFill>
              <a:latin typeface="Avenir Next LT Pro"/>
            </a:endParaRPr>
          </a:p>
        </p:txBody>
      </p:sp>
    </p:spTree>
    <p:extLst>
      <p:ext uri="{BB962C8B-B14F-4D97-AF65-F5344CB8AC3E}">
        <p14:creationId xmlns:p14="http://schemas.microsoft.com/office/powerpoint/2010/main" val="4021775555"/>
      </p:ext>
    </p:extLst>
  </p:cSld>
  <p:clrMapOvr>
    <a:masterClrMapping/>
  </p:clrMapOvr>
  <p:transition spd="slow">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A group of glowing objects&#10;&#10;AI-generated content may be incorrect.">
            <a:extLst>
              <a:ext uri="{FF2B5EF4-FFF2-40B4-BE49-F238E27FC236}">
                <a16:creationId xmlns:a16="http://schemas.microsoft.com/office/drawing/2014/main" id="{38525796-5F01-F9AA-BED1-9C367074DD8A}"/>
              </a:ext>
            </a:extLst>
          </p:cNvPr>
          <p:cNvPicPr>
            <a:picLocks noChangeAspect="1"/>
          </p:cNvPicPr>
          <p:nvPr/>
        </p:nvPicPr>
        <p:blipFill>
          <a:blip r:embed="rId3">
            <a:extLst>
              <a:ext uri="{28A0092B-C50C-407E-A947-70E740481C1C}">
                <a14:useLocalDpi xmlns:a14="http://schemas.microsoft.com/office/drawing/2010/main" val="0"/>
              </a:ext>
            </a:extLst>
          </a:blip>
          <a:srcRect l="1017" t="15131" b="15633"/>
          <a:stretch>
            <a:fillRect/>
          </a:stretch>
        </p:blipFill>
        <p:spPr>
          <a:xfrm>
            <a:off x="568129" y="4045671"/>
            <a:ext cx="5003512" cy="2081986"/>
          </a:xfrm>
          <a:prstGeom prst="rect">
            <a:avLst/>
          </a:prstGeom>
        </p:spPr>
      </p:pic>
      <p:graphicFrame>
        <p:nvGraphicFramePr>
          <p:cNvPr id="7" name="think-cell data - do not delete" hidden="1">
            <a:extLst>
              <a:ext uri="{FF2B5EF4-FFF2-40B4-BE49-F238E27FC236}">
                <a16:creationId xmlns:a16="http://schemas.microsoft.com/office/drawing/2014/main" id="{D5D02A2B-BAA2-5A71-CD06-2EC0C0007F3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think-cell data - do not delete" hidden="1">
                        <a:extLst>
                          <a:ext uri="{FF2B5EF4-FFF2-40B4-BE49-F238E27FC236}">
                            <a16:creationId xmlns:a16="http://schemas.microsoft.com/office/drawing/2014/main" id="{D5D02A2B-BAA2-5A71-CD06-2EC0C0007F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B307389-C5A2-5BE2-4175-2A12F9E7A032}"/>
              </a:ext>
            </a:extLst>
          </p:cNvPr>
          <p:cNvSpPr txBox="1">
            <a:spLocks/>
          </p:cNvSpPr>
          <p:nvPr/>
        </p:nvSpPr>
        <p:spPr>
          <a:xfrm>
            <a:off x="565459" y="552715"/>
            <a:ext cx="5378141" cy="720197"/>
          </a:xfrm>
          <a:prstGeom prst="rect">
            <a:avLst/>
          </a:prstGeom>
        </p:spPr>
        <p:txBody>
          <a:bodyPr vert="horz" wrap="square" lIns="0" tIns="0" rIns="0" bIns="0" rtlCol="0" anchor="t" anchorCtr="0">
            <a:spAutoFit/>
          </a:bodyPr>
          <a:lstStyle>
            <a:lvl1pPr algn="l" defTabSz="914377" rtl="0" eaLnBrk="1" latinLnBrk="0" hangingPunct="1">
              <a:lnSpc>
                <a:spcPct val="90000"/>
              </a:lnSpc>
              <a:spcBef>
                <a:spcPct val="0"/>
              </a:spcBef>
              <a:buNone/>
              <a:defRPr sz="3000" b="1" i="0" kern="1200">
                <a:solidFill>
                  <a:schemeClr val="bg1"/>
                </a:solidFill>
                <a:latin typeface="Avenir Next LT Pro" panose="020B0504020202020204" pitchFamily="34" charset="77"/>
                <a:ea typeface="Avenir Next LT Pro" panose="020B0504020202020204" pitchFamily="34" charset="77"/>
                <a:cs typeface="Avenir Next LT Pro" panose="020B0504020202020204" pitchFamily="34" charset="77"/>
              </a:defRPr>
            </a:lvl1pPr>
          </a:lstStyle>
          <a:p>
            <a:r>
              <a:rPr lang="en-DK" sz="2600">
                <a:solidFill>
                  <a:schemeClr val="tx1"/>
                </a:solidFill>
              </a:rPr>
              <a:t>Gubra is d</a:t>
            </a:r>
            <a:r>
              <a:rPr lang="en-GB" sz="2600">
                <a:solidFill>
                  <a:schemeClr val="tx1"/>
                </a:solidFill>
              </a:rPr>
              <a:t>riving innovation in  </a:t>
            </a:r>
            <a:br>
              <a:rPr lang="en-GB" sz="2600">
                <a:solidFill>
                  <a:schemeClr val="tx1"/>
                </a:solidFill>
              </a:rPr>
            </a:br>
            <a:r>
              <a:rPr lang="en-GB" sz="2600">
                <a:solidFill>
                  <a:schemeClr val="tx1"/>
                </a:solidFill>
              </a:rPr>
              <a:t>women’s health</a:t>
            </a:r>
          </a:p>
        </p:txBody>
      </p:sp>
      <p:sp>
        <p:nvSpPr>
          <p:cNvPr id="13" name="TextBox 12">
            <a:extLst>
              <a:ext uri="{FF2B5EF4-FFF2-40B4-BE49-F238E27FC236}">
                <a16:creationId xmlns:a16="http://schemas.microsoft.com/office/drawing/2014/main" id="{020AC873-8679-80F7-88D5-8F17A1C76A69}"/>
              </a:ext>
            </a:extLst>
          </p:cNvPr>
          <p:cNvSpPr txBox="1"/>
          <p:nvPr/>
        </p:nvSpPr>
        <p:spPr>
          <a:xfrm>
            <a:off x="6945128" y="414215"/>
            <a:ext cx="4356097" cy="338554"/>
          </a:xfrm>
          <a:prstGeom prst="rect">
            <a:avLst/>
          </a:prstGeom>
          <a:noFill/>
        </p:spPr>
        <p:txBody>
          <a:bodyPr wrap="square" rtlCol="0">
            <a:spAutoFit/>
          </a:bodyPr>
          <a:lstStyle/>
          <a:p>
            <a:pPr algn="ctr"/>
            <a:r>
              <a:rPr lang="en-GB" sz="1600" b="1">
                <a:solidFill>
                  <a:schemeClr val="bg1"/>
                </a:solidFill>
                <a:latin typeface="Avenir Next LT Pro Demi" panose="020B0504020202020204" pitchFamily="34" charset="77"/>
              </a:rPr>
              <a:t>Polycystic Ovary Syndrome (PCOS)​</a:t>
            </a:r>
          </a:p>
        </p:txBody>
      </p:sp>
      <p:sp>
        <p:nvSpPr>
          <p:cNvPr id="14" name="TextBox 13">
            <a:extLst>
              <a:ext uri="{FF2B5EF4-FFF2-40B4-BE49-F238E27FC236}">
                <a16:creationId xmlns:a16="http://schemas.microsoft.com/office/drawing/2014/main" id="{AB549C1D-287F-6B05-69B2-F5DA5B508D7A}"/>
              </a:ext>
            </a:extLst>
          </p:cNvPr>
          <p:cNvSpPr txBox="1"/>
          <p:nvPr/>
        </p:nvSpPr>
        <p:spPr>
          <a:xfrm>
            <a:off x="15631860" y="735308"/>
            <a:ext cx="2201095" cy="276999"/>
          </a:xfrm>
          <a:prstGeom prst="rect">
            <a:avLst/>
          </a:prstGeom>
          <a:noFill/>
        </p:spPr>
        <p:txBody>
          <a:bodyPr wrap="square" rtlCol="0">
            <a:spAutoFit/>
          </a:bodyPr>
          <a:lstStyle/>
          <a:p>
            <a:pPr algn="ctr"/>
            <a:r>
              <a:rPr lang="en-GB" sz="1200" b="1">
                <a:solidFill>
                  <a:schemeClr val="bg1"/>
                </a:solidFill>
                <a:latin typeface="Avenir Next LT Pro Demi" panose="020B0504020202020204" pitchFamily="34" charset="77"/>
              </a:rPr>
              <a:t>Whole-ovary imaging</a:t>
            </a:r>
            <a:endParaRPr lang="en-DK" sz="1200" b="1">
              <a:solidFill>
                <a:schemeClr val="bg1"/>
              </a:solidFill>
              <a:latin typeface="Avenir Next LT Pro Demi" panose="020B0504020202020204" pitchFamily="34" charset="77"/>
            </a:endParaRPr>
          </a:p>
        </p:txBody>
      </p:sp>
      <p:sp>
        <p:nvSpPr>
          <p:cNvPr id="16" name="TextBox 15">
            <a:extLst>
              <a:ext uri="{FF2B5EF4-FFF2-40B4-BE49-F238E27FC236}">
                <a16:creationId xmlns:a16="http://schemas.microsoft.com/office/drawing/2014/main" id="{1D4E6759-6871-6C37-2C82-129776972712}"/>
              </a:ext>
            </a:extLst>
          </p:cNvPr>
          <p:cNvSpPr txBox="1"/>
          <p:nvPr/>
        </p:nvSpPr>
        <p:spPr>
          <a:xfrm>
            <a:off x="15535162" y="3241729"/>
            <a:ext cx="2394489" cy="276999"/>
          </a:xfrm>
          <a:prstGeom prst="rect">
            <a:avLst/>
          </a:prstGeom>
          <a:noFill/>
        </p:spPr>
        <p:txBody>
          <a:bodyPr wrap="square" rtlCol="0">
            <a:spAutoFit/>
          </a:bodyPr>
          <a:lstStyle/>
          <a:p>
            <a:pPr algn="ctr"/>
            <a:r>
              <a:rPr lang="en-GB" sz="1200">
                <a:solidFill>
                  <a:schemeClr val="bg1"/>
                </a:solidFill>
                <a:latin typeface="Avenir Next LT Pro" panose="020B0504020202020204" pitchFamily="34" charset="77"/>
              </a:rPr>
              <a:t>Oocytes</a:t>
            </a:r>
          </a:p>
        </p:txBody>
      </p:sp>
      <p:sp>
        <p:nvSpPr>
          <p:cNvPr id="18" name="TextBox 17">
            <a:extLst>
              <a:ext uri="{FF2B5EF4-FFF2-40B4-BE49-F238E27FC236}">
                <a16:creationId xmlns:a16="http://schemas.microsoft.com/office/drawing/2014/main" id="{C0BFE18E-1873-7D70-F853-869C9DE9794F}"/>
              </a:ext>
            </a:extLst>
          </p:cNvPr>
          <p:cNvSpPr txBox="1"/>
          <p:nvPr/>
        </p:nvSpPr>
        <p:spPr>
          <a:xfrm>
            <a:off x="15535162" y="3768671"/>
            <a:ext cx="2394489" cy="276999"/>
          </a:xfrm>
          <a:prstGeom prst="rect">
            <a:avLst/>
          </a:prstGeom>
          <a:noFill/>
        </p:spPr>
        <p:txBody>
          <a:bodyPr wrap="square" rtlCol="0">
            <a:spAutoFit/>
          </a:bodyPr>
          <a:lstStyle/>
          <a:p>
            <a:pPr algn="ctr"/>
            <a:r>
              <a:rPr lang="en-GB" sz="1200">
                <a:solidFill>
                  <a:schemeClr val="bg1"/>
                </a:solidFill>
                <a:latin typeface="Avenir Next LT Pro" panose="020B0504020202020204" pitchFamily="34" charset="77"/>
              </a:rPr>
              <a:t>AI-detected oocytes</a:t>
            </a:r>
          </a:p>
        </p:txBody>
      </p:sp>
      <p:sp>
        <p:nvSpPr>
          <p:cNvPr id="19" name="Arrow: Pentagon 200">
            <a:extLst>
              <a:ext uri="{FF2B5EF4-FFF2-40B4-BE49-F238E27FC236}">
                <a16:creationId xmlns:a16="http://schemas.microsoft.com/office/drawing/2014/main" id="{1CF52C6C-9C3A-61EA-1ED9-D7C9AB9B58DE}"/>
              </a:ext>
            </a:extLst>
          </p:cNvPr>
          <p:cNvSpPr/>
          <p:nvPr/>
        </p:nvSpPr>
        <p:spPr>
          <a:xfrm>
            <a:off x="565459" y="2116627"/>
            <a:ext cx="5006182" cy="1500836"/>
          </a:xfrm>
          <a:prstGeom prst="homePlate">
            <a:avLst>
              <a:gd name="adj" fmla="val 0"/>
            </a:avLst>
          </a:prstGeom>
          <a:solidFill>
            <a:schemeClr val="accent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0" name="Rounded Rectangle 19">
            <a:extLst>
              <a:ext uri="{FF2B5EF4-FFF2-40B4-BE49-F238E27FC236}">
                <a16:creationId xmlns:a16="http://schemas.microsoft.com/office/drawing/2014/main" id="{2C9E5AB8-1E82-6367-9862-588D8A460C1E}"/>
              </a:ext>
            </a:extLst>
          </p:cNvPr>
          <p:cNvSpPr/>
          <p:nvPr/>
        </p:nvSpPr>
        <p:spPr>
          <a:xfrm>
            <a:off x="565459" y="1634489"/>
            <a:ext cx="2354609" cy="288000"/>
          </a:xfrm>
          <a:prstGeom prst="roundRect">
            <a:avLst>
              <a:gd name="adj" fmla="val 50000"/>
            </a:avLst>
          </a:prstGeom>
          <a:solidFill>
            <a:schemeClr val="tx2">
              <a:alpha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spc="40">
                <a:solidFill>
                  <a:schemeClr val="tx1"/>
                </a:solidFill>
                <a:latin typeface="Avenir Next LT Pro Demi" panose="020B0504020202020204" pitchFamily="34" charset="77"/>
              </a:rPr>
              <a:t>WHAT CAN GUBRA OFFER? </a:t>
            </a:r>
          </a:p>
        </p:txBody>
      </p:sp>
      <p:sp>
        <p:nvSpPr>
          <p:cNvPr id="22" name="Rectangle 21">
            <a:extLst>
              <a:ext uri="{FF2B5EF4-FFF2-40B4-BE49-F238E27FC236}">
                <a16:creationId xmlns:a16="http://schemas.microsoft.com/office/drawing/2014/main" id="{D1063F16-6E01-F5DA-C8D4-B3A6A5FB164B}"/>
              </a:ext>
            </a:extLst>
          </p:cNvPr>
          <p:cNvSpPr/>
          <p:nvPr/>
        </p:nvSpPr>
        <p:spPr>
          <a:xfrm>
            <a:off x="600184" y="2686647"/>
            <a:ext cx="2319884" cy="119289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GB" sz="1200" b="1">
                <a:solidFill>
                  <a:schemeClr val="tx1"/>
                </a:solidFill>
                <a:latin typeface="Avenir Next LT Pro Demi" panose="020B0504020202020204" pitchFamily="34" charset="77"/>
              </a:rPr>
              <a:t>Preclinical models</a:t>
            </a:r>
          </a:p>
          <a:p>
            <a:pPr algn="ctr"/>
            <a:r>
              <a:rPr lang="en-DK" sz="1200">
                <a:solidFill>
                  <a:schemeClr val="tx1"/>
                </a:solidFill>
                <a:latin typeface="Avenir Next LT Pro" panose="020B0504020202020204" pitchFamily="34" charset="77"/>
              </a:rPr>
              <a:t>C</a:t>
            </a:r>
            <a:r>
              <a:rPr lang="en-GB" sz="1200" err="1">
                <a:solidFill>
                  <a:schemeClr val="tx1"/>
                </a:solidFill>
                <a:latin typeface="Avenir Next LT Pro" panose="020B0504020202020204" pitchFamily="34" charset="77"/>
              </a:rPr>
              <a:t>omplex</a:t>
            </a:r>
            <a:r>
              <a:rPr lang="en-GB" sz="1200">
                <a:solidFill>
                  <a:schemeClr val="tx1"/>
                </a:solidFill>
                <a:latin typeface="Avenir Next LT Pro" panose="020B0504020202020204" pitchFamily="34" charset="77"/>
              </a:rPr>
              <a:t> animal models </a:t>
            </a:r>
            <a:r>
              <a:rPr lang="en-DK" sz="1200">
                <a:solidFill>
                  <a:schemeClr val="tx1"/>
                </a:solidFill>
                <a:latin typeface="Avenir Next LT Pro" panose="020B0504020202020204" pitchFamily="34" charset="77"/>
              </a:rPr>
              <a:t>at </a:t>
            </a:r>
            <a:r>
              <a:rPr lang="en-GB" sz="1200">
                <a:solidFill>
                  <a:schemeClr val="tx1"/>
                </a:solidFill>
                <a:latin typeface="Avenir Next LT Pro" panose="020B0504020202020204" pitchFamily="34" charset="77"/>
              </a:rPr>
              <a:t>scale </a:t>
            </a:r>
            <a:r>
              <a:rPr lang="en-DK" sz="1200">
                <a:solidFill>
                  <a:schemeClr val="tx1"/>
                </a:solidFill>
                <a:latin typeface="Avenir Next LT Pro" panose="020B0504020202020204" pitchFamily="34" charset="77"/>
              </a:rPr>
              <a:t>with est</a:t>
            </a:r>
            <a:r>
              <a:rPr lang="en-US" sz="1200">
                <a:solidFill>
                  <a:schemeClr val="tx1"/>
                </a:solidFill>
                <a:latin typeface="Avenir Next LT Pro" panose="020B0504020202020204" pitchFamily="34" charset="77"/>
              </a:rPr>
              <a:t>ab</a:t>
            </a:r>
            <a:r>
              <a:rPr lang="en-DK" sz="1200" err="1">
                <a:solidFill>
                  <a:schemeClr val="tx1"/>
                </a:solidFill>
                <a:latin typeface="Avenir Next LT Pro" panose="020B0504020202020204" pitchFamily="34" charset="77"/>
              </a:rPr>
              <a:t>lished</a:t>
            </a:r>
            <a:r>
              <a:rPr lang="en-DK" sz="1200">
                <a:solidFill>
                  <a:schemeClr val="tx1"/>
                </a:solidFill>
                <a:latin typeface="Avenir Next LT Pro" panose="020B0504020202020204" pitchFamily="34" charset="77"/>
              </a:rPr>
              <a:t> in vivo</a:t>
            </a:r>
            <a:r>
              <a:rPr lang="en-GB" sz="1200">
                <a:solidFill>
                  <a:schemeClr val="tx1"/>
                </a:solidFill>
                <a:latin typeface="Avenir Next LT Pro" panose="020B0504020202020204" pitchFamily="34" charset="77"/>
              </a:rPr>
              <a:t> for PCOS</a:t>
            </a:r>
            <a:r>
              <a:rPr lang="en-DK" sz="1200">
                <a:solidFill>
                  <a:schemeClr val="tx1"/>
                </a:solidFill>
                <a:latin typeface="Avenir Next LT Pro" panose="020B0504020202020204" pitchFamily="34" charset="77"/>
              </a:rPr>
              <a:t> </a:t>
            </a:r>
            <a:r>
              <a:rPr lang="en-GB" sz="1200">
                <a:solidFill>
                  <a:schemeClr val="tx1"/>
                </a:solidFill>
                <a:latin typeface="Avenir Next LT Pro" panose="020B0504020202020204" pitchFamily="34" charset="77"/>
              </a:rPr>
              <a:t>and POI. </a:t>
            </a:r>
          </a:p>
          <a:p>
            <a:pPr algn="ctr">
              <a:spcAft>
                <a:spcPts val="400"/>
              </a:spcAft>
            </a:pPr>
            <a:endParaRPr lang="en-GB" sz="1200">
              <a:solidFill>
                <a:schemeClr val="tx1"/>
              </a:solidFill>
              <a:latin typeface="Avenir Next LT Pro" panose="020B0504020202020204" pitchFamily="34" charset="77"/>
            </a:endParaRPr>
          </a:p>
        </p:txBody>
      </p:sp>
      <p:grpSp>
        <p:nvGrpSpPr>
          <p:cNvPr id="23" name="Group 22">
            <a:extLst>
              <a:ext uri="{FF2B5EF4-FFF2-40B4-BE49-F238E27FC236}">
                <a16:creationId xmlns:a16="http://schemas.microsoft.com/office/drawing/2014/main" id="{AAEF58B1-C5B8-5A29-D926-4F5DAB931ABC}"/>
              </a:ext>
            </a:extLst>
          </p:cNvPr>
          <p:cNvGrpSpPr/>
          <p:nvPr/>
        </p:nvGrpSpPr>
        <p:grpSpPr>
          <a:xfrm>
            <a:off x="1652503" y="2264965"/>
            <a:ext cx="372449" cy="372449"/>
            <a:chOff x="4320275" y="1895833"/>
            <a:chExt cx="360000" cy="360000"/>
          </a:xfrm>
        </p:grpSpPr>
        <p:sp>
          <p:nvSpPr>
            <p:cNvPr id="24" name="Oval 23">
              <a:extLst>
                <a:ext uri="{FF2B5EF4-FFF2-40B4-BE49-F238E27FC236}">
                  <a16:creationId xmlns:a16="http://schemas.microsoft.com/office/drawing/2014/main" id="{C998D8C8-1696-8375-604B-27BA63A51D56}"/>
                </a:ext>
              </a:extLst>
            </p:cNvPr>
            <p:cNvSpPr>
              <a:spLocks noChangeAspect="1"/>
            </p:cNvSpPr>
            <p:nvPr/>
          </p:nvSpPr>
          <p:spPr>
            <a:xfrm>
              <a:off x="4320275" y="1895833"/>
              <a:ext cx="360000" cy="360000"/>
            </a:xfrm>
            <a:prstGeom prst="ellipse">
              <a:avLst/>
            </a:prstGeom>
            <a:solidFill>
              <a:schemeClr val="accent2"/>
            </a:solidFill>
            <a:ln w="12700" cap="flat" cmpd="sng" algn="ctr">
              <a:noFill/>
              <a:prstDash val="solid"/>
              <a:miter lim="800000"/>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DK" sz="1300" b="1" u="none" strike="noStrike" kern="0" cap="none" spc="0" normalizeH="0" baseline="0" noProof="0">
                <a:ln>
                  <a:noFill/>
                </a:ln>
                <a:solidFill>
                  <a:schemeClr val="bg1"/>
                </a:solidFill>
                <a:effectLst/>
                <a:uLnTx/>
                <a:uFillTx/>
                <a:latin typeface="Avenir Next LT Pro" panose="020B0504020202020204" pitchFamily="34" charset="77"/>
              </a:endParaRPr>
            </a:p>
          </p:txBody>
        </p:sp>
        <p:pic>
          <p:nvPicPr>
            <p:cNvPr id="25" name="Graphic 24" descr="Checkmark">
              <a:extLst>
                <a:ext uri="{FF2B5EF4-FFF2-40B4-BE49-F238E27FC236}">
                  <a16:creationId xmlns:a16="http://schemas.microsoft.com/office/drawing/2014/main" id="{1BCC8383-F840-50AE-2896-9F3DA8AE2054}"/>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27793" y="1970204"/>
              <a:ext cx="141251" cy="209479"/>
            </a:xfrm>
            <a:prstGeom prst="rect">
              <a:avLst/>
            </a:prstGeom>
          </p:spPr>
        </p:pic>
      </p:grpSp>
      <p:cxnSp>
        <p:nvCxnSpPr>
          <p:cNvPr id="39" name="Straight Connector 38">
            <a:extLst>
              <a:ext uri="{FF2B5EF4-FFF2-40B4-BE49-F238E27FC236}">
                <a16:creationId xmlns:a16="http://schemas.microsoft.com/office/drawing/2014/main" id="{EA186AE3-9805-58CF-178B-1857674108A7}"/>
              </a:ext>
            </a:extLst>
          </p:cNvPr>
          <p:cNvCxnSpPr>
            <a:cxnSpLocks/>
          </p:cNvCxnSpPr>
          <p:nvPr/>
        </p:nvCxnSpPr>
        <p:spPr>
          <a:xfrm>
            <a:off x="565459" y="1408131"/>
            <a:ext cx="5006182" cy="0"/>
          </a:xfrm>
          <a:prstGeom prst="line">
            <a:avLst/>
          </a:prstGeom>
          <a:noFill/>
          <a:ln w="38100" cap="flat" cmpd="sng" algn="ctr">
            <a:gradFill>
              <a:gsLst>
                <a:gs pos="0">
                  <a:srgbClr val="F3E700"/>
                </a:gs>
                <a:gs pos="34000">
                  <a:srgbClr val="8CC3CA"/>
                </a:gs>
                <a:gs pos="67000">
                  <a:srgbClr val="2878FF"/>
                </a:gs>
                <a:gs pos="100000">
                  <a:srgbClr val="E228E2"/>
                </a:gs>
              </a:gsLst>
              <a:lin ang="2700000" scaled="0"/>
            </a:gradFill>
            <a:prstDash val="solid"/>
            <a:miter lim="800000"/>
          </a:ln>
          <a:effectLst/>
        </p:spPr>
      </p:cxnSp>
      <p:sp>
        <p:nvSpPr>
          <p:cNvPr id="2" name="TextBox 1">
            <a:extLst>
              <a:ext uri="{FF2B5EF4-FFF2-40B4-BE49-F238E27FC236}">
                <a16:creationId xmlns:a16="http://schemas.microsoft.com/office/drawing/2014/main" id="{6C34B0B6-0B69-CE29-7E50-06AA3A71C83C}"/>
              </a:ext>
            </a:extLst>
          </p:cNvPr>
          <p:cNvSpPr txBox="1"/>
          <p:nvPr/>
        </p:nvSpPr>
        <p:spPr>
          <a:xfrm>
            <a:off x="11594381" y="6399575"/>
            <a:ext cx="276027" cy="153888"/>
          </a:xfrm>
          <a:prstGeom prst="rect">
            <a:avLst/>
          </a:prstGeom>
          <a:noFill/>
        </p:spPr>
        <p:txBody>
          <a:bodyPr wrap="square" lIns="0" tIns="0" rIns="0" bIns="0" rtlCol="0">
            <a:spAutoFit/>
          </a:bodyPr>
          <a:lstStyle/>
          <a:p>
            <a:pPr algn="r"/>
            <a:fld id="{27692F5A-FC14-4E83-B4CC-18F6C2D780A4}" type="slidenum">
              <a:rPr lang="en-US" sz="1000" b="0" i="0" spc="40" baseline="0" smtClean="0">
                <a:solidFill>
                  <a:schemeClr val="tx2"/>
                </a:solidFill>
                <a:latin typeface="Avenir Next LT Pro" panose="020B0504020202020204" pitchFamily="34" charset="77"/>
              </a:rPr>
              <a:pPr algn="r"/>
              <a:t>34</a:t>
            </a:fld>
            <a:endParaRPr lang="en-US" sz="1000" b="0" i="0" spc="40" baseline="0">
              <a:solidFill>
                <a:schemeClr val="tx2"/>
              </a:solidFill>
              <a:latin typeface="Avenir Next LT Pro" panose="020B0504020202020204" pitchFamily="34" charset="77"/>
            </a:endParaRPr>
          </a:p>
        </p:txBody>
      </p:sp>
      <p:pic>
        <p:nvPicPr>
          <p:cNvPr id="5" name="Picture 4" descr="A diagram of various diseases&#10;&#10;AI-generated content may be incorrect.">
            <a:extLst>
              <a:ext uri="{FF2B5EF4-FFF2-40B4-BE49-F238E27FC236}">
                <a16:creationId xmlns:a16="http://schemas.microsoft.com/office/drawing/2014/main" id="{53B31109-E7D0-FC2A-D922-7C95312BC67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01982" y="3518728"/>
            <a:ext cx="4708120" cy="2951154"/>
          </a:xfrm>
          <a:prstGeom prst="rect">
            <a:avLst/>
          </a:prstGeom>
        </p:spPr>
      </p:pic>
      <p:pic>
        <p:nvPicPr>
          <p:cNvPr id="9" name="Picture 8" descr="A group of people standing in different poses&#10;&#10;AI-generated content may be incorrect.">
            <a:extLst>
              <a:ext uri="{FF2B5EF4-FFF2-40B4-BE49-F238E27FC236}">
                <a16:creationId xmlns:a16="http://schemas.microsoft.com/office/drawing/2014/main" id="{7B4EE347-6111-3FCE-34E2-988A516EA42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80195" y="911334"/>
            <a:ext cx="3001775" cy="723155"/>
          </a:xfrm>
          <a:prstGeom prst="rect">
            <a:avLst/>
          </a:prstGeom>
        </p:spPr>
      </p:pic>
      <p:sp>
        <p:nvSpPr>
          <p:cNvPr id="21" name="Rectangle 20">
            <a:extLst>
              <a:ext uri="{FF2B5EF4-FFF2-40B4-BE49-F238E27FC236}">
                <a16:creationId xmlns:a16="http://schemas.microsoft.com/office/drawing/2014/main" id="{1B43FF0E-A821-6FF9-6515-023DC0A14233}"/>
              </a:ext>
            </a:extLst>
          </p:cNvPr>
          <p:cNvSpPr/>
          <p:nvPr/>
        </p:nvSpPr>
        <p:spPr>
          <a:xfrm>
            <a:off x="3067318" y="2686647"/>
            <a:ext cx="2413181" cy="119289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GB" sz="1200" b="1">
                <a:solidFill>
                  <a:schemeClr val="tx1"/>
                </a:solidFill>
                <a:latin typeface="Avenir Next LT Pro Demi" panose="020B0504020202020204" pitchFamily="34" charset="77"/>
              </a:rPr>
              <a:t>Advanced imaging &amp; analytics </a:t>
            </a:r>
            <a:br>
              <a:rPr lang="en-GB" sz="1200" b="1">
                <a:solidFill>
                  <a:schemeClr val="tx1"/>
                </a:solidFill>
                <a:latin typeface="Avenir Next LT Pro Demi" panose="020B0504020202020204" pitchFamily="34" charset="77"/>
              </a:rPr>
            </a:br>
            <a:r>
              <a:rPr lang="en-DK" sz="1200">
                <a:solidFill>
                  <a:schemeClr val="tx1"/>
                </a:solidFill>
                <a:latin typeface="Avenir Next LT Pro" panose="020B0504020202020204" pitchFamily="34" charset="77"/>
              </a:rPr>
              <a:t>I</a:t>
            </a:r>
            <a:r>
              <a:rPr lang="en-GB" sz="1200" err="1">
                <a:solidFill>
                  <a:schemeClr val="tx1"/>
                </a:solidFill>
                <a:latin typeface="Avenir Next LT Pro" panose="020B0504020202020204" pitchFamily="34" charset="77"/>
              </a:rPr>
              <a:t>ncluding</a:t>
            </a:r>
            <a:r>
              <a:rPr lang="en-GB" sz="1200">
                <a:solidFill>
                  <a:schemeClr val="tx1"/>
                </a:solidFill>
                <a:latin typeface="Avenir Next LT Pro" panose="020B0504020202020204" pitchFamily="34" charset="77"/>
              </a:rPr>
              <a:t> 3D ovary imaging, </a:t>
            </a:r>
            <a:r>
              <a:rPr lang="en-GB" sz="1200" err="1">
                <a:solidFill>
                  <a:schemeClr val="tx1"/>
                </a:solidFill>
                <a:latin typeface="Avenir Next LT Pro" panose="020B0504020202020204" pitchFamily="34" charset="77"/>
              </a:rPr>
              <a:t>estrous</a:t>
            </a:r>
            <a:r>
              <a:rPr lang="en-GB" sz="1200">
                <a:solidFill>
                  <a:schemeClr val="tx1"/>
                </a:solidFill>
                <a:latin typeface="Avenir Next LT Pro" panose="020B0504020202020204" pitchFamily="34" charset="77"/>
              </a:rPr>
              <a:t> cycle evaluation, and detailed </a:t>
            </a:r>
            <a:r>
              <a:rPr lang="en-DK" sz="1200">
                <a:solidFill>
                  <a:schemeClr val="tx1"/>
                </a:solidFill>
                <a:latin typeface="Avenir Next LT Pro" panose="020B0504020202020204" pitchFamily="34" charset="77"/>
              </a:rPr>
              <a:t> </a:t>
            </a:r>
            <a:r>
              <a:rPr lang="en-GB" sz="1200">
                <a:solidFill>
                  <a:schemeClr val="tx1"/>
                </a:solidFill>
                <a:latin typeface="Avenir Next LT Pro" panose="020B0504020202020204" pitchFamily="34" charset="77"/>
              </a:rPr>
              <a:t>follicle staging.</a:t>
            </a:r>
          </a:p>
        </p:txBody>
      </p:sp>
      <p:grpSp>
        <p:nvGrpSpPr>
          <p:cNvPr id="29" name="Group 28">
            <a:extLst>
              <a:ext uri="{FF2B5EF4-FFF2-40B4-BE49-F238E27FC236}">
                <a16:creationId xmlns:a16="http://schemas.microsoft.com/office/drawing/2014/main" id="{784790DA-BF1E-EF08-B138-EADB485F66AA}"/>
              </a:ext>
            </a:extLst>
          </p:cNvPr>
          <p:cNvGrpSpPr/>
          <p:nvPr/>
        </p:nvGrpSpPr>
        <p:grpSpPr>
          <a:xfrm>
            <a:off x="4082256" y="2264965"/>
            <a:ext cx="372449" cy="372449"/>
            <a:chOff x="4320275" y="1895833"/>
            <a:chExt cx="360000" cy="360000"/>
          </a:xfrm>
        </p:grpSpPr>
        <p:sp>
          <p:nvSpPr>
            <p:cNvPr id="30" name="Oval 29">
              <a:extLst>
                <a:ext uri="{FF2B5EF4-FFF2-40B4-BE49-F238E27FC236}">
                  <a16:creationId xmlns:a16="http://schemas.microsoft.com/office/drawing/2014/main" id="{3834CB2A-180A-699F-7184-9071B850B706}"/>
                </a:ext>
              </a:extLst>
            </p:cNvPr>
            <p:cNvSpPr>
              <a:spLocks noChangeAspect="1"/>
            </p:cNvSpPr>
            <p:nvPr/>
          </p:nvSpPr>
          <p:spPr>
            <a:xfrm>
              <a:off x="4320275" y="1895833"/>
              <a:ext cx="360000" cy="360000"/>
            </a:xfrm>
            <a:prstGeom prst="ellipse">
              <a:avLst/>
            </a:prstGeom>
            <a:solidFill>
              <a:schemeClr val="accent2"/>
            </a:solidFill>
            <a:ln w="12700" cap="flat" cmpd="sng" algn="ctr">
              <a:noFill/>
              <a:prstDash val="solid"/>
              <a:miter lim="800000"/>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DK" sz="1300" b="1" u="none" strike="noStrike" kern="0" cap="none" spc="0" normalizeH="0" baseline="0" noProof="0">
                <a:ln>
                  <a:noFill/>
                </a:ln>
                <a:solidFill>
                  <a:schemeClr val="bg1"/>
                </a:solidFill>
                <a:effectLst/>
                <a:uLnTx/>
                <a:uFillTx/>
                <a:latin typeface="Avenir Next LT Pro" panose="020B0504020202020204" pitchFamily="34" charset="77"/>
              </a:endParaRPr>
            </a:p>
          </p:txBody>
        </p:sp>
        <p:pic>
          <p:nvPicPr>
            <p:cNvPr id="31" name="Graphic 30" descr="Checkmark">
              <a:extLst>
                <a:ext uri="{FF2B5EF4-FFF2-40B4-BE49-F238E27FC236}">
                  <a16:creationId xmlns:a16="http://schemas.microsoft.com/office/drawing/2014/main" id="{BCEE7519-9907-6F49-C956-58F8E608ADE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27793" y="1970204"/>
              <a:ext cx="141251" cy="209479"/>
            </a:xfrm>
            <a:prstGeom prst="rect">
              <a:avLst/>
            </a:prstGeom>
          </p:spPr>
        </p:pic>
      </p:grpSp>
      <p:sp>
        <p:nvSpPr>
          <p:cNvPr id="32" name="TextBox 31">
            <a:extLst>
              <a:ext uri="{FF2B5EF4-FFF2-40B4-BE49-F238E27FC236}">
                <a16:creationId xmlns:a16="http://schemas.microsoft.com/office/drawing/2014/main" id="{01EC63FC-5F8A-9620-E844-AAF6B49B6529}"/>
              </a:ext>
            </a:extLst>
          </p:cNvPr>
          <p:cNvSpPr txBox="1"/>
          <p:nvPr/>
        </p:nvSpPr>
        <p:spPr>
          <a:xfrm>
            <a:off x="6974335" y="1683877"/>
            <a:ext cx="4356097" cy="307777"/>
          </a:xfrm>
          <a:prstGeom prst="rect">
            <a:avLst/>
          </a:prstGeom>
          <a:noFill/>
        </p:spPr>
        <p:txBody>
          <a:bodyPr wrap="square" rtlCol="0">
            <a:spAutoFit/>
          </a:bodyPr>
          <a:lstStyle/>
          <a:p>
            <a:pPr algn="ctr"/>
            <a:r>
              <a:rPr lang="en-GB" sz="1400" b="1">
                <a:solidFill>
                  <a:schemeClr val="bg1"/>
                </a:solidFill>
                <a:latin typeface="Avenir Next LT Pro Demi" panose="020B0504020202020204" pitchFamily="34" charset="77"/>
              </a:rPr>
              <a:t>PCOS affects ~10% of women in reproductive age</a:t>
            </a:r>
          </a:p>
        </p:txBody>
      </p:sp>
      <p:sp>
        <p:nvSpPr>
          <p:cNvPr id="33" name="TextBox 32">
            <a:extLst>
              <a:ext uri="{FF2B5EF4-FFF2-40B4-BE49-F238E27FC236}">
                <a16:creationId xmlns:a16="http://schemas.microsoft.com/office/drawing/2014/main" id="{C06D25CE-A415-44BE-B62C-A78F100EE315}"/>
              </a:ext>
            </a:extLst>
          </p:cNvPr>
          <p:cNvSpPr txBox="1"/>
          <p:nvPr/>
        </p:nvSpPr>
        <p:spPr>
          <a:xfrm>
            <a:off x="6434359" y="2027186"/>
            <a:ext cx="4896073" cy="907941"/>
          </a:xfrm>
          <a:prstGeom prst="rect">
            <a:avLst/>
          </a:prstGeom>
          <a:noFill/>
        </p:spPr>
        <p:txBody>
          <a:bodyPr wrap="square" rtlCol="0">
            <a:spAutoFit/>
          </a:bodyPr>
          <a:lstStyle/>
          <a:p>
            <a:pPr>
              <a:spcAft>
                <a:spcPts val="600"/>
              </a:spcAft>
            </a:pPr>
            <a:r>
              <a:rPr lang="en-GB" sz="1200" b="1">
                <a:solidFill>
                  <a:schemeClr val="bg1"/>
                </a:solidFill>
                <a:latin typeface="Avenir Next LT Pro Demi" panose="020B0504020202020204" pitchFamily="34" charset="77"/>
              </a:rPr>
              <a:t>PCOS has no cure and is managed by symptom relief including:​</a:t>
            </a:r>
          </a:p>
          <a:p>
            <a:pPr marL="171450" indent="-171450">
              <a:buClr>
                <a:schemeClr val="bg1"/>
              </a:buClr>
              <a:buFont typeface="System Font Regular"/>
              <a:buChar char="+"/>
            </a:pPr>
            <a:r>
              <a:rPr lang="en-GB" sz="1200">
                <a:solidFill>
                  <a:schemeClr val="bg1"/>
                </a:solidFill>
                <a:latin typeface="Avenir Next LT Pro" panose="020B0504020202020204" pitchFamily="34" charset="77"/>
              </a:rPr>
              <a:t>Lifestyle changes​</a:t>
            </a:r>
          </a:p>
          <a:p>
            <a:pPr marL="171450" indent="-171450">
              <a:buClr>
                <a:schemeClr val="bg1"/>
              </a:buClr>
              <a:buFont typeface="System Font Regular"/>
              <a:buChar char="+"/>
            </a:pPr>
            <a:r>
              <a:rPr lang="en-GB" sz="1200">
                <a:solidFill>
                  <a:schemeClr val="bg1"/>
                </a:solidFill>
                <a:latin typeface="Avenir Next LT Pro" panose="020B0504020202020204" pitchFamily="34" charset="77"/>
              </a:rPr>
              <a:t>Type 2 Diabetes medication​</a:t>
            </a:r>
          </a:p>
          <a:p>
            <a:endParaRPr lang="en-DK" sz="1200">
              <a:solidFill>
                <a:schemeClr val="bg1"/>
              </a:solidFill>
              <a:latin typeface="Avenir Next LT Pro" panose="020B0504020202020204" pitchFamily="34" charset="77"/>
            </a:endParaRPr>
          </a:p>
        </p:txBody>
      </p:sp>
      <p:sp>
        <p:nvSpPr>
          <p:cNvPr id="34" name="TextBox 33">
            <a:extLst>
              <a:ext uri="{FF2B5EF4-FFF2-40B4-BE49-F238E27FC236}">
                <a16:creationId xmlns:a16="http://schemas.microsoft.com/office/drawing/2014/main" id="{7B4E103A-B99B-4497-D24B-B2E71F0925EE}"/>
              </a:ext>
            </a:extLst>
          </p:cNvPr>
          <p:cNvSpPr txBox="1"/>
          <p:nvPr/>
        </p:nvSpPr>
        <p:spPr>
          <a:xfrm>
            <a:off x="8720350" y="2276431"/>
            <a:ext cx="3222630" cy="646331"/>
          </a:xfrm>
          <a:prstGeom prst="rect">
            <a:avLst/>
          </a:prstGeom>
          <a:noFill/>
        </p:spPr>
        <p:txBody>
          <a:bodyPr wrap="square" rtlCol="0">
            <a:spAutoFit/>
          </a:bodyPr>
          <a:lstStyle/>
          <a:p>
            <a:pPr marL="171450" indent="-171450">
              <a:buClr>
                <a:schemeClr val="bg1"/>
              </a:buClr>
              <a:buFont typeface="System Font Regular"/>
              <a:buChar char="+"/>
            </a:pPr>
            <a:r>
              <a:rPr lang="en-GB" sz="1200">
                <a:solidFill>
                  <a:schemeClr val="bg1"/>
                </a:solidFill>
                <a:latin typeface="Avenir Next LT Pro" panose="020B0504020202020204" pitchFamily="34" charset="77"/>
              </a:rPr>
              <a:t>Anti-androgens​</a:t>
            </a:r>
          </a:p>
          <a:p>
            <a:pPr marL="171450" indent="-171450">
              <a:buClr>
                <a:schemeClr val="bg1"/>
              </a:buClr>
              <a:buFont typeface="System Font Regular"/>
              <a:buChar char="+"/>
            </a:pPr>
            <a:r>
              <a:rPr lang="en-GB" sz="1200">
                <a:solidFill>
                  <a:schemeClr val="bg1"/>
                </a:solidFill>
                <a:latin typeface="Avenir Next LT Pro" panose="020B0504020202020204" pitchFamily="34" charset="77"/>
              </a:rPr>
              <a:t>Gonadotropins/egg releasing hormones</a:t>
            </a:r>
          </a:p>
          <a:p>
            <a:endParaRPr lang="en-DK" sz="1200">
              <a:solidFill>
                <a:schemeClr val="bg1"/>
              </a:solidFill>
            </a:endParaRPr>
          </a:p>
        </p:txBody>
      </p:sp>
      <p:sp>
        <p:nvSpPr>
          <p:cNvPr id="35" name="TextBox 34">
            <a:extLst>
              <a:ext uri="{FF2B5EF4-FFF2-40B4-BE49-F238E27FC236}">
                <a16:creationId xmlns:a16="http://schemas.microsoft.com/office/drawing/2014/main" id="{334225EB-DBF1-1318-DBA1-09C6412F5FB0}"/>
              </a:ext>
            </a:extLst>
          </p:cNvPr>
          <p:cNvSpPr txBox="1"/>
          <p:nvPr/>
        </p:nvSpPr>
        <p:spPr>
          <a:xfrm>
            <a:off x="6945128" y="3038799"/>
            <a:ext cx="4356097" cy="338554"/>
          </a:xfrm>
          <a:prstGeom prst="rect">
            <a:avLst/>
          </a:prstGeom>
          <a:noFill/>
        </p:spPr>
        <p:txBody>
          <a:bodyPr wrap="square" rtlCol="0">
            <a:spAutoFit/>
          </a:bodyPr>
          <a:lstStyle/>
          <a:p>
            <a:pPr algn="ctr"/>
            <a:r>
              <a:rPr lang="en-GB" sz="1600" b="1">
                <a:solidFill>
                  <a:schemeClr val="bg1"/>
                </a:solidFill>
                <a:latin typeface="Avenir Next LT Pro Demi" panose="020B0504020202020204" pitchFamily="34" charset="77"/>
              </a:rPr>
              <a:t>PCOS &amp; associated comorbidities: </a:t>
            </a:r>
          </a:p>
        </p:txBody>
      </p:sp>
      <p:sp>
        <p:nvSpPr>
          <p:cNvPr id="3" name="Footer Placeholder 438">
            <a:extLst>
              <a:ext uri="{FF2B5EF4-FFF2-40B4-BE49-F238E27FC236}">
                <a16:creationId xmlns:a16="http://schemas.microsoft.com/office/drawing/2014/main" id="{3B6F2E86-74B0-04BB-ED31-EB1C86917A8D}"/>
              </a:ext>
            </a:extLst>
          </p:cNvPr>
          <p:cNvSpPr txBox="1">
            <a:spLocks/>
          </p:cNvSpPr>
          <p:nvPr/>
        </p:nvSpPr>
        <p:spPr>
          <a:xfrm>
            <a:off x="516732" y="6389739"/>
            <a:ext cx="5400000" cy="153888"/>
          </a:xfrm>
          <a:prstGeom prst="rect">
            <a:avLst/>
          </a:prstGeom>
        </p:spPr>
        <p:txBody>
          <a:bodyPr vert="horz" lIns="0" tIns="0" rIns="0" bIns="0" rtlCol="0" anchor="t">
            <a:spAutoFit/>
          </a:bodyPr>
          <a:lstStyle>
            <a:defPPr>
              <a:defRPr lang="sv-SE"/>
            </a:defPPr>
            <a:lvl1pPr marL="0" algn="l" defTabSz="914400" rtl="0" eaLnBrk="1" latinLnBrk="0" hangingPunct="1">
              <a:defRPr sz="1000" kern="1200">
                <a:solidFill>
                  <a:schemeClr val="tx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DK">
                <a:solidFill>
                  <a:srgbClr val="2878FF">
                    <a:lumMod val="60000"/>
                    <a:lumOff val="40000"/>
                  </a:srgbClr>
                </a:solidFill>
                <a:latin typeface="Avenir Next LT Pro"/>
              </a:rPr>
              <a:t>Notes: PCOS = </a:t>
            </a:r>
            <a:r>
              <a:rPr lang="en-US">
                <a:solidFill>
                  <a:srgbClr val="2878FF">
                    <a:lumMod val="60000"/>
                    <a:lumOff val="40000"/>
                  </a:srgbClr>
                </a:solidFill>
                <a:latin typeface="Avenir Next LT Pro"/>
              </a:rPr>
              <a:t>Polycystic Ovary Syndrome</a:t>
            </a:r>
            <a:r>
              <a:rPr lang="en-DK">
                <a:solidFill>
                  <a:srgbClr val="2878FF">
                    <a:lumMod val="60000"/>
                    <a:lumOff val="40000"/>
                  </a:srgbClr>
                </a:solidFill>
                <a:latin typeface="Avenir Next LT Pro"/>
              </a:rPr>
              <a:t>; POI = Primary Ovarian Insufficiency</a:t>
            </a:r>
            <a:endParaRPr lang="sv-SE">
              <a:solidFill>
                <a:srgbClr val="2878FF">
                  <a:lumMod val="60000"/>
                  <a:lumOff val="40000"/>
                </a:srgbClr>
              </a:solidFill>
              <a:latin typeface="Avenir Next LT Pro"/>
            </a:endParaRPr>
          </a:p>
        </p:txBody>
      </p:sp>
      <p:sp>
        <p:nvSpPr>
          <p:cNvPr id="8" name="Triangle 7">
            <a:extLst>
              <a:ext uri="{FF2B5EF4-FFF2-40B4-BE49-F238E27FC236}">
                <a16:creationId xmlns:a16="http://schemas.microsoft.com/office/drawing/2014/main" id="{FD06D350-99E0-537E-2CE3-EF2FED75542C}"/>
              </a:ext>
            </a:extLst>
          </p:cNvPr>
          <p:cNvSpPr/>
          <p:nvPr/>
        </p:nvSpPr>
        <p:spPr>
          <a:xfrm rot="10800000">
            <a:off x="3737811" y="3519120"/>
            <a:ext cx="1189885" cy="458769"/>
          </a:xfrm>
          <a:prstGeom prst="triangle">
            <a:avLst>
              <a:gd name="adj" fmla="val 47522"/>
            </a:avLst>
          </a:prstGeom>
          <a:solidFill>
            <a:schemeClr val="accent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8712359"/>
      </p:ext>
    </p:extLst>
  </p:cSld>
  <p:clrMapOvr>
    <a:masterClrMapping/>
  </p:clrMapOvr>
  <p:transition spd="slow">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CF6EF5-D23E-1C7A-6631-41F64E9FEDD8}"/>
            </a:ext>
          </a:extLst>
        </p:cNvPr>
        <p:cNvGrpSpPr/>
        <p:nvPr/>
      </p:nvGrpSpPr>
      <p:grpSpPr>
        <a:xfrm>
          <a:off x="0" y="0"/>
          <a:ext cx="0" cy="0"/>
          <a:chOff x="0" y="0"/>
          <a:chExt cx="0" cy="0"/>
        </a:xfrm>
      </p:grpSpPr>
      <p:pic>
        <p:nvPicPr>
          <p:cNvPr id="6" name="Picture 5" descr="A group of women sitting at a table&#10;&#10;AI-generated content may be incorrect.">
            <a:extLst>
              <a:ext uri="{FF2B5EF4-FFF2-40B4-BE49-F238E27FC236}">
                <a16:creationId xmlns:a16="http://schemas.microsoft.com/office/drawing/2014/main" id="{3F76EF28-D67B-E33C-FA87-74C18FCC5006}"/>
              </a:ext>
            </a:extLst>
          </p:cNvPr>
          <p:cNvPicPr>
            <a:picLocks noChangeAspect="1"/>
          </p:cNvPicPr>
          <p:nvPr/>
        </p:nvPicPr>
        <p:blipFill>
          <a:blip r:embed="rId3" cstate="print">
            <a:extLst>
              <a:ext uri="{28A0092B-C50C-407E-A947-70E740481C1C}">
                <a14:useLocalDpi xmlns:a14="http://schemas.microsoft.com/office/drawing/2010/main" val="0"/>
              </a:ext>
            </a:extLst>
          </a:blip>
          <a:srcRect t="14685" b="951"/>
          <a:stretch>
            <a:fillRect/>
          </a:stretch>
        </p:blipFill>
        <p:spPr>
          <a:xfrm>
            <a:off x="0" y="0"/>
            <a:ext cx="12193588" cy="6858000"/>
          </a:xfrm>
          <a:prstGeom prst="rect">
            <a:avLst/>
          </a:prstGeom>
        </p:spPr>
      </p:pic>
      <p:sp>
        <p:nvSpPr>
          <p:cNvPr id="19" name="Rectangle 18">
            <a:extLst>
              <a:ext uri="{FF2B5EF4-FFF2-40B4-BE49-F238E27FC236}">
                <a16:creationId xmlns:a16="http://schemas.microsoft.com/office/drawing/2014/main" id="{DAF3613F-212D-6D09-BF41-6178B213D243}"/>
              </a:ext>
            </a:extLst>
          </p:cNvPr>
          <p:cNvSpPr/>
          <p:nvPr/>
        </p:nvSpPr>
        <p:spPr>
          <a:xfrm>
            <a:off x="-1" y="1"/>
            <a:ext cx="12205245" cy="6858000"/>
          </a:xfrm>
          <a:prstGeom prst="rect">
            <a:avLst/>
          </a:prstGeom>
          <a:solidFill>
            <a:schemeClr val="tx1">
              <a:alpha val="237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0" name="Rectangle 9">
            <a:extLst>
              <a:ext uri="{FF2B5EF4-FFF2-40B4-BE49-F238E27FC236}">
                <a16:creationId xmlns:a16="http://schemas.microsoft.com/office/drawing/2014/main" id="{3B81D803-5F59-B688-A772-8412E13605EC}"/>
              </a:ext>
            </a:extLst>
          </p:cNvPr>
          <p:cNvSpPr/>
          <p:nvPr/>
        </p:nvSpPr>
        <p:spPr>
          <a:xfrm>
            <a:off x="-14326" y="0"/>
            <a:ext cx="12219570" cy="6858000"/>
          </a:xfrm>
          <a:prstGeom prst="rect">
            <a:avLst/>
          </a:prstGeom>
          <a:gradFill flip="none" rotWithShape="1">
            <a:gsLst>
              <a:gs pos="2000">
                <a:schemeClr val="tx1">
                  <a:alpha val="70409"/>
                </a:schemeClr>
              </a:gs>
              <a:gs pos="78000">
                <a:schemeClr val="accent4">
                  <a:alpha val="0"/>
                  <a:lumMod val="0"/>
                  <a:lumOff val="100000"/>
                </a:scheme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4" name="Object 3" hidden="1">
            <a:extLst>
              <a:ext uri="{FF2B5EF4-FFF2-40B4-BE49-F238E27FC236}">
                <a16:creationId xmlns:a16="http://schemas.microsoft.com/office/drawing/2014/main" id="{375E844B-B9AF-10DE-99DA-8FF87A728BA1}"/>
              </a:ext>
            </a:extLst>
          </p:cNvPr>
          <p:cNvGraphicFramePr>
            <a:graphicFrameLocks/>
          </p:cNvGraphicFramePr>
          <p:nvPr>
            <p:custDataLst>
              <p:tags r:id="rId1"/>
            </p:custDataLst>
            <p:extLst>
              <p:ext uri="{D42A27DB-BD31-4B8C-83A1-F6EECF244321}">
                <p14:modId xmlns:p14="http://schemas.microsoft.com/office/powerpoint/2010/main" val="142476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375E844B-B9AF-10DE-99DA-8FF87A728B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F72126C3-49F9-182F-7387-B177DAAABF8F}"/>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
        <p:nvSpPr>
          <p:cNvPr id="7" name="Title 1">
            <a:extLst>
              <a:ext uri="{FF2B5EF4-FFF2-40B4-BE49-F238E27FC236}">
                <a16:creationId xmlns:a16="http://schemas.microsoft.com/office/drawing/2014/main" id="{8E3A1B43-B2BD-14C1-6EB4-9C9E09B40F3C}"/>
              </a:ext>
            </a:extLst>
          </p:cNvPr>
          <p:cNvSpPr txBox="1">
            <a:spLocks/>
          </p:cNvSpPr>
          <p:nvPr/>
        </p:nvSpPr>
        <p:spPr>
          <a:xfrm>
            <a:off x="2462285" y="2546193"/>
            <a:ext cx="9479605" cy="1002023"/>
          </a:xfrm>
          <a:prstGeom prst="rect">
            <a:avLst/>
          </a:prstGeom>
        </p:spPr>
        <p:txBody>
          <a:bodyPr vert="horz" lIns="0" tIns="0" rIns="0" bIns="0"/>
          <a:lstStyle>
            <a:lvl1pPr algn="l" defTabSz="914400" rtl="0" eaLnBrk="1" latinLnBrk="0" hangingPunct="1">
              <a:lnSpc>
                <a:spcPct val="90000"/>
              </a:lnSpc>
              <a:spcBef>
                <a:spcPct val="0"/>
              </a:spcBef>
              <a:buNone/>
              <a:defRPr sz="4000" b="1" i="0" kern="1200">
                <a:solidFill>
                  <a:schemeClr val="bg1"/>
                </a:solidFill>
                <a:latin typeface="Avenir Next LT Pro" panose="020B0504020202020204" pitchFamily="34" charset="77"/>
                <a:ea typeface="+mj-ea"/>
                <a:cs typeface="+mj-cs"/>
              </a:defRPr>
            </a:lvl1pPr>
          </a:lstStyle>
          <a:p>
            <a:pPr lvl="0">
              <a:spcAft>
                <a:spcPts val="600"/>
              </a:spcAft>
              <a:defRPr/>
            </a:pPr>
            <a:r>
              <a:rPr lang="en-US" sz="7600" spc="80"/>
              <a:t>Financial results</a:t>
            </a:r>
            <a:br>
              <a:rPr lang="en-US" sz="7600" spc="80"/>
            </a:br>
            <a:r>
              <a:rPr lang="en-US" sz="7600" spc="80"/>
              <a:t>and outlook</a:t>
            </a:r>
          </a:p>
        </p:txBody>
      </p:sp>
    </p:spTree>
    <p:extLst>
      <p:ext uri="{BB962C8B-B14F-4D97-AF65-F5344CB8AC3E}">
        <p14:creationId xmlns:p14="http://schemas.microsoft.com/office/powerpoint/2010/main" val="928989583"/>
      </p:ext>
    </p:extLst>
  </p:cSld>
  <p:clrMapOvr>
    <a:masterClrMapping/>
  </p:clrMapOvr>
  <p:transition spd="slow">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B1B397-0D1C-B4F1-8AB5-33FF5D0F0178}"/>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9677B80-83CB-34D1-83D1-56BC1A9B61F1}"/>
              </a:ext>
            </a:extLst>
          </p:cNvPr>
          <p:cNvGraphicFramePr>
            <a:graphicFrameLocks/>
          </p:cNvGraphicFramePr>
          <p:nvPr>
            <p:custDataLst>
              <p:tags r:id="rId1"/>
            </p:custDataLst>
            <p:extLst>
              <p:ext uri="{D42A27DB-BD31-4B8C-83A1-F6EECF244321}">
                <p14:modId xmlns:p14="http://schemas.microsoft.com/office/powerpoint/2010/main" val="3126231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60" imgH="360" progId="TCLayout.ActiveDocument.1">
                  <p:embed/>
                </p:oleObj>
              </mc:Choice>
              <mc:Fallback>
                <p:oleObj name="think-cell Slide" r:id="rId12" imgW="360" imgH="360" progId="TCLayout.ActiveDocument.1">
                  <p:embed/>
                  <p:pic>
                    <p:nvPicPr>
                      <p:cNvPr id="6" name="Object 5" hidden="1">
                        <a:extLst>
                          <a:ext uri="{FF2B5EF4-FFF2-40B4-BE49-F238E27FC236}">
                            <a16:creationId xmlns:a16="http://schemas.microsoft.com/office/drawing/2014/main" id="{39677B80-83CB-34D1-83D1-56BC1A9B61F1}"/>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29095EDB-D4D5-9855-8705-80DB151F9B20}"/>
              </a:ext>
            </a:extLst>
          </p:cNvPr>
          <p:cNvSpPr/>
          <p:nvPr/>
        </p:nvSpPr>
        <p:spPr>
          <a:xfrm>
            <a:off x="540485" y="1730387"/>
            <a:ext cx="5045004" cy="4658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8890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venir Next LT Pro Demi" panose="020B0704020202020204" pitchFamily="34" charset="0"/>
                <a:ea typeface="+mn-ea"/>
                <a:cs typeface="Assistant SemiBold" pitchFamily="2" charset="-79"/>
              </a:rPr>
              <a:t>Revenue</a:t>
            </a:r>
          </a:p>
          <a:p>
            <a:pPr marL="282575" indent="-282575" defTabSz="889000">
              <a:spcAft>
                <a:spcPts val="1200"/>
              </a:spcAft>
              <a:buClr>
                <a:schemeClr val="bg1"/>
              </a:buClr>
              <a:buFont typeface="System Font Regular"/>
              <a:buChar char="+"/>
              <a:defRPr/>
            </a:pPr>
            <a:r>
              <a:rPr lang="en-US" sz="1600">
                <a:solidFill>
                  <a:srgbClr val="FFFFFF"/>
                </a:solidFill>
                <a:latin typeface="Avenir Next LT Pro" panose="020B0504020202020204" pitchFamily="34" charset="0"/>
              </a:rPr>
              <a:t>Revenue </a:t>
            </a:r>
            <a:r>
              <a:rPr lang="en-DK" sz="1600">
                <a:solidFill>
                  <a:srgbClr val="FFFFFF"/>
                </a:solidFill>
                <a:latin typeface="Avenir Next LT Pro" panose="020B0504020202020204" pitchFamily="34" charset="0"/>
              </a:rPr>
              <a:t>of</a:t>
            </a:r>
            <a:r>
              <a:rPr lang="en-US" sz="1600">
                <a:solidFill>
                  <a:srgbClr val="FFFFFF"/>
                </a:solidFill>
                <a:latin typeface="Avenir Next LT Pro" panose="020B0504020202020204" pitchFamily="34" charset="0"/>
              </a:rPr>
              <a:t> DKK </a:t>
            </a:r>
            <a:r>
              <a:rPr lang="en-GB" sz="1600">
                <a:solidFill>
                  <a:srgbClr val="FFFFFF"/>
                </a:solidFill>
                <a:latin typeface="Avenir Next LT Pro" panose="020B0504020202020204" pitchFamily="34" charset="0"/>
              </a:rPr>
              <a:t>28</a:t>
            </a:r>
            <a:r>
              <a:rPr lang="en-US" sz="1600">
                <a:solidFill>
                  <a:srgbClr val="FFFFFF"/>
                </a:solidFill>
                <a:latin typeface="Avenir Next LT Pro" panose="020B0504020202020204" pitchFamily="34" charset="0"/>
              </a:rPr>
              <a:t>m compared to DKK 7m in </a:t>
            </a:r>
            <a:br>
              <a:rPr lang="en-US" sz="1600">
                <a:solidFill>
                  <a:srgbClr val="FFFFFF"/>
                </a:solidFill>
                <a:latin typeface="Avenir Next LT Pro" panose="020B0504020202020204" pitchFamily="34" charset="0"/>
              </a:rPr>
            </a:br>
            <a:r>
              <a:rPr lang="en-US" sz="1600">
                <a:solidFill>
                  <a:srgbClr val="FFFFFF"/>
                </a:solidFill>
                <a:latin typeface="Avenir Next LT Pro" panose="020B0504020202020204" pitchFamily="34" charset="0"/>
              </a:rPr>
              <a:t>Q1 2025. </a:t>
            </a:r>
          </a:p>
          <a:p>
            <a:pPr marL="282575" indent="-282575" defTabSz="889000">
              <a:spcAft>
                <a:spcPts val="1200"/>
              </a:spcAft>
              <a:buClr>
                <a:schemeClr val="bg1"/>
              </a:buClr>
              <a:buFont typeface="System Font Regular"/>
              <a:buChar char="+"/>
              <a:defRPr/>
            </a:pPr>
            <a:r>
              <a:rPr lang="en-GB" sz="1600">
                <a:solidFill>
                  <a:srgbClr val="FFFFFF"/>
                </a:solidFill>
                <a:latin typeface="Avenir Next LT Pro" panose="020B0504020202020204" pitchFamily="34" charset="0"/>
              </a:rPr>
              <a:t>The increase was primarily due to milestone from </a:t>
            </a:r>
            <a:r>
              <a:rPr lang="en-GB" sz="1600" err="1">
                <a:solidFill>
                  <a:srgbClr val="FFFFFF"/>
                </a:solidFill>
                <a:latin typeface="Avenir Next LT Pro" panose="020B0504020202020204" pitchFamily="34" charset="0"/>
              </a:rPr>
              <a:t>Amylyx</a:t>
            </a:r>
            <a:r>
              <a:rPr lang="en-GB" sz="1600">
                <a:solidFill>
                  <a:srgbClr val="FFFFFF"/>
                </a:solidFill>
                <a:latin typeface="Avenir Next LT Pro" panose="020B0504020202020204" pitchFamily="34" charset="0"/>
              </a:rPr>
              <a:t> collaboration</a:t>
            </a:r>
            <a:endParaRPr lang="en-US" sz="1600">
              <a:solidFill>
                <a:srgbClr val="FFFFFF"/>
              </a:solidFill>
              <a:latin typeface="Avenir Next LT Pro" panose="020B0504020202020204" pitchFamily="34" charset="0"/>
            </a:endParaRPr>
          </a:p>
          <a:p>
            <a:pPr marL="0" marR="0" lvl="0" indent="0" algn="l" defTabSz="889000" rtl="0" eaLnBrk="1" fontAlgn="auto" latinLnBrk="0" hangingPunct="1">
              <a:lnSpc>
                <a:spcPct val="100000"/>
              </a:lnSpc>
              <a:spcBef>
                <a:spcPts val="0"/>
              </a:spcBef>
              <a:spcAft>
                <a:spcPts val="600"/>
              </a:spcAft>
              <a:buClr>
                <a:schemeClr val="bg1"/>
              </a:buClr>
              <a:buSzTx/>
              <a:buFontTx/>
              <a:buNone/>
              <a:tabLst/>
              <a:defRPr/>
            </a:pPr>
            <a:endParaRPr kumimoji="0" lang="en-GB" sz="1600" b="0" i="0" u="none" strike="noStrike" kern="1200" cap="none" spc="0" normalizeH="0" baseline="0" noProof="0">
              <a:ln>
                <a:noFill/>
              </a:ln>
              <a:solidFill>
                <a:srgbClr val="FFFFFF"/>
              </a:solidFill>
              <a:effectLst/>
              <a:uLnTx/>
              <a:uFillTx/>
              <a:latin typeface="Avenir Next LT Pro Demi" panose="020B0704020202020204" pitchFamily="34" charset="0"/>
              <a:ea typeface="+mn-ea"/>
              <a:cs typeface="Assistant SemiBold" pitchFamily="2" charset="-79"/>
            </a:endParaRPr>
          </a:p>
          <a:p>
            <a:pPr marL="0" marR="0" lvl="0" indent="0" algn="l" defTabSz="889000" rtl="0" eaLnBrk="1" fontAlgn="auto" latinLnBrk="0" hangingPunct="1">
              <a:lnSpc>
                <a:spcPct val="100000"/>
              </a:lnSpc>
              <a:spcBef>
                <a:spcPts val="0"/>
              </a:spcBef>
              <a:spcAft>
                <a:spcPts val="600"/>
              </a:spcAft>
              <a:buClr>
                <a:schemeClr val="bg1"/>
              </a:buClr>
              <a:buSzTx/>
              <a:buFontTx/>
              <a:buNone/>
              <a:tabLst/>
              <a:defRPr/>
            </a:pPr>
            <a:r>
              <a:rPr kumimoji="0" lang="en-GB" sz="1600" b="0" i="0" u="none" strike="noStrike" kern="1200" cap="none" spc="0" normalizeH="0" baseline="0" noProof="0">
                <a:ln>
                  <a:noFill/>
                </a:ln>
                <a:solidFill>
                  <a:srgbClr val="FFFFFF"/>
                </a:solidFill>
                <a:effectLst/>
                <a:uLnTx/>
                <a:uFillTx/>
                <a:latin typeface="Avenir Next LT Pro Demi" panose="020B0704020202020204" pitchFamily="34" charset="0"/>
                <a:ea typeface="+mn-ea"/>
                <a:cs typeface="Assistant SemiBold" pitchFamily="2" charset="-79"/>
              </a:rPr>
              <a:t>Earnings</a:t>
            </a:r>
          </a:p>
          <a:p>
            <a:pPr marL="234000" marR="0" lvl="0" indent="-234000" algn="l" defTabSz="889000" rtl="0" eaLnBrk="1" fontAlgn="auto" latinLnBrk="0" hangingPunct="1">
              <a:lnSpc>
                <a:spcPct val="100000"/>
              </a:lnSpc>
              <a:spcBef>
                <a:spcPts val="0"/>
              </a:spcBef>
              <a:spcAft>
                <a:spcPts val="1200"/>
              </a:spcAft>
              <a:buClr>
                <a:schemeClr val="bg1"/>
              </a:buClr>
              <a:buSzTx/>
              <a:buFont typeface="System Font Regular"/>
              <a:buChar char="+"/>
              <a:tabLst/>
              <a:defRPr/>
            </a:pPr>
            <a:r>
              <a:rPr kumimoji="0" lang="en-US" sz="16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EBIT of DKK -39m </a:t>
            </a:r>
            <a:r>
              <a:rPr kumimoji="0" lang="en-GB" sz="16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compared to DKK -54m in </a:t>
            </a:r>
            <a:br>
              <a:rPr kumimoji="0" lang="en-GB" sz="16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br>
            <a:r>
              <a:rPr kumimoji="0" lang="en-GB" sz="16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Q1 2025</a:t>
            </a:r>
          </a:p>
          <a:p>
            <a:pPr marL="234000" marR="0" lvl="0" indent="-234000" algn="l" defTabSz="889000" rtl="0" eaLnBrk="1" fontAlgn="auto" latinLnBrk="0" hangingPunct="1">
              <a:lnSpc>
                <a:spcPct val="100000"/>
              </a:lnSpc>
              <a:spcBef>
                <a:spcPts val="0"/>
              </a:spcBef>
              <a:spcAft>
                <a:spcPts val="1200"/>
              </a:spcAft>
              <a:buClr>
                <a:schemeClr val="bg1"/>
              </a:buClr>
              <a:buSzTx/>
              <a:buFont typeface="System Font Regular"/>
              <a:buChar char="+"/>
              <a:tabLst/>
              <a:defRPr/>
            </a:pPr>
            <a:r>
              <a:rPr kumimoji="0" lang="en-GB" sz="16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The improvement was driven by higher revenue</a:t>
            </a:r>
            <a:endParaRPr kumimoji="0" lang="en-US" sz="16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sp>
        <p:nvSpPr>
          <p:cNvPr id="113" name="Rectangle 112">
            <a:extLst>
              <a:ext uri="{FF2B5EF4-FFF2-40B4-BE49-F238E27FC236}">
                <a16:creationId xmlns:a16="http://schemas.microsoft.com/office/drawing/2014/main" id="{C653BA74-88BD-3E81-AC53-2FA291E043AA}"/>
              </a:ext>
            </a:extLst>
          </p:cNvPr>
          <p:cNvSpPr/>
          <p:nvPr/>
        </p:nvSpPr>
        <p:spPr>
          <a:xfrm>
            <a:off x="6595320" y="854325"/>
            <a:ext cx="3384000" cy="354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889000" rtl="0" eaLnBrk="1" fontAlgn="auto" latinLnBrk="0" hangingPunct="1">
              <a:lnSpc>
                <a:spcPct val="100000"/>
              </a:lnSpc>
              <a:spcBef>
                <a:spcPts val="0"/>
              </a:spcBef>
              <a:spcAft>
                <a:spcPts val="0"/>
              </a:spcAft>
              <a:buClrTx/>
              <a:buSzTx/>
              <a:buFont typeface="LucidaGrande" charset="0"/>
              <a:buNone/>
              <a:tabLst/>
              <a:defRPr/>
            </a:pPr>
            <a:r>
              <a:rPr kumimoji="0" lang="en-GB" sz="1200" b="0" i="0" u="none" strike="noStrike" kern="1200" cap="none" spc="0" normalizeH="0" baseline="0" noProof="0">
                <a:ln>
                  <a:noFill/>
                </a:ln>
                <a:solidFill>
                  <a:schemeClr val="bg1"/>
                </a:solidFill>
                <a:effectLst/>
                <a:uLnTx/>
                <a:uFillTx/>
                <a:latin typeface="Avenir Next LT Pro Demi" panose="020B0704020202020204" pitchFamily="34" charset="0"/>
              </a:rPr>
              <a:t>Biotech revenue </a:t>
            </a:r>
            <a:r>
              <a:rPr kumimoji="0" lang="en-DK" sz="1200" b="0" i="0" u="none" strike="noStrike" kern="1200" cap="none" spc="0" normalizeH="0" baseline="0" noProof="0">
                <a:ln>
                  <a:noFill/>
                </a:ln>
                <a:solidFill>
                  <a:schemeClr val="bg1"/>
                </a:solidFill>
                <a:effectLst/>
                <a:uLnTx/>
                <a:uFillTx/>
                <a:latin typeface="Avenir Next LT Pro Demi" panose="020B0704020202020204" pitchFamily="34" charset="0"/>
              </a:rPr>
              <a:t>m</a:t>
            </a:r>
            <a:r>
              <a:rPr kumimoji="0" lang="en-GB" sz="1200" b="0" i="0" u="none" strike="noStrike" kern="1200" cap="none" spc="0" normalizeH="0" baseline="0" noProof="0">
                <a:ln>
                  <a:noFill/>
                </a:ln>
                <a:solidFill>
                  <a:schemeClr val="bg1"/>
                </a:solidFill>
                <a:effectLst/>
                <a:uLnTx/>
                <a:uFillTx/>
                <a:latin typeface="Avenir Next LT Pro Demi" panose="020B0704020202020204" pitchFamily="34" charset="0"/>
              </a:rPr>
              <a:t>DKK</a:t>
            </a:r>
          </a:p>
        </p:txBody>
      </p:sp>
      <p:cxnSp>
        <p:nvCxnSpPr>
          <p:cNvPr id="32" name="Straight Connector 31">
            <a:extLst>
              <a:ext uri="{FF2B5EF4-FFF2-40B4-BE49-F238E27FC236}">
                <a16:creationId xmlns:a16="http://schemas.microsoft.com/office/drawing/2014/main" id="{6E32BC96-7BE6-BC1E-F86A-690C884AE2B8}"/>
              </a:ext>
            </a:extLst>
          </p:cNvPr>
          <p:cNvCxnSpPr>
            <a:cxnSpLocks/>
          </p:cNvCxnSpPr>
          <p:nvPr/>
        </p:nvCxnSpPr>
        <p:spPr>
          <a:xfrm>
            <a:off x="565459" y="1413024"/>
            <a:ext cx="5258292" cy="0"/>
          </a:xfrm>
          <a:prstGeom prst="line">
            <a:avLst/>
          </a:prstGeom>
          <a:noFill/>
          <a:ln w="38100" cap="flat" cmpd="sng" algn="ctr">
            <a:gradFill>
              <a:gsLst>
                <a:gs pos="0">
                  <a:srgbClr val="F3E700"/>
                </a:gs>
                <a:gs pos="34000">
                  <a:srgbClr val="8CC3CA"/>
                </a:gs>
                <a:gs pos="67000">
                  <a:srgbClr val="2878FF"/>
                </a:gs>
                <a:gs pos="100000">
                  <a:srgbClr val="E228E2"/>
                </a:gs>
              </a:gsLst>
              <a:lin ang="2700000" scaled="0"/>
            </a:gradFill>
            <a:prstDash val="solid"/>
            <a:miter lim="800000"/>
          </a:ln>
          <a:effectLst/>
        </p:spPr>
      </p:cxnSp>
      <p:sp>
        <p:nvSpPr>
          <p:cNvPr id="33" name="Title 23">
            <a:extLst>
              <a:ext uri="{FF2B5EF4-FFF2-40B4-BE49-F238E27FC236}">
                <a16:creationId xmlns:a16="http://schemas.microsoft.com/office/drawing/2014/main" id="{2B0FF6F6-5962-72F8-E93C-C60E3B8E0245}"/>
              </a:ext>
            </a:extLst>
          </p:cNvPr>
          <p:cNvSpPr txBox="1">
            <a:spLocks/>
          </p:cNvSpPr>
          <p:nvPr/>
        </p:nvSpPr>
        <p:spPr>
          <a:xfrm>
            <a:off x="565460" y="887216"/>
            <a:ext cx="5405336" cy="333425"/>
          </a:xfrm>
          <a:prstGeom prst="rect">
            <a:avLst/>
          </a:prstGeom>
        </p:spPr>
        <p:txBody>
          <a:bodyPr vert="horz" wrap="square" lIns="0" tIns="0" rIns="0" bIns="0" rtlCol="0" anchor="t" anchorCtr="0">
            <a:spAutoFit/>
          </a:bodyPr>
          <a:lstStyle>
            <a:lvl1pPr algn="l" defTabSz="914377" rtl="0" eaLnBrk="1" latinLnBrk="0" hangingPunct="1">
              <a:lnSpc>
                <a:spcPct val="90000"/>
              </a:lnSpc>
              <a:spcBef>
                <a:spcPct val="0"/>
              </a:spcBef>
              <a:buNone/>
              <a:defRPr sz="3000" b="1" i="0" kern="1200">
                <a:solidFill>
                  <a:schemeClr val="tx2"/>
                </a:solidFill>
                <a:latin typeface="Avenir Next LT Pro" panose="020B0504020202020204" pitchFamily="34" charset="77"/>
                <a:ea typeface="Avenir Next LT Pro" panose="020B0504020202020204" pitchFamily="34" charset="77"/>
                <a:cs typeface="Avenir Next LT Pro" panose="020B0504020202020204" pitchFamily="34" charset="77"/>
              </a:defRPr>
            </a:lvl1pPr>
          </a:lstStyle>
          <a:p>
            <a:pPr>
              <a:lnSpc>
                <a:spcPts val="2550"/>
              </a:lnSpc>
            </a:pPr>
            <a:r>
              <a:rPr lang="en-GB" sz="2600">
                <a:solidFill>
                  <a:schemeClr val="bg1"/>
                </a:solidFill>
              </a:rPr>
              <a:t>Q1 2026 financial </a:t>
            </a:r>
            <a:r>
              <a:rPr lang="en-DK" sz="2600">
                <a:solidFill>
                  <a:schemeClr val="bg1"/>
                </a:solidFill>
              </a:rPr>
              <a:t>results</a:t>
            </a:r>
            <a:endParaRPr lang="en-US" sz="2600">
              <a:solidFill>
                <a:schemeClr val="bg1"/>
              </a:solidFill>
            </a:endParaRPr>
          </a:p>
        </p:txBody>
      </p:sp>
      <p:sp>
        <p:nvSpPr>
          <p:cNvPr id="3" name="Rounded Rectangle 35">
            <a:extLst>
              <a:ext uri="{FF2B5EF4-FFF2-40B4-BE49-F238E27FC236}">
                <a16:creationId xmlns:a16="http://schemas.microsoft.com/office/drawing/2014/main" id="{8F8208C6-CC8E-0B0A-B949-1B5F7C8D8C8F}"/>
              </a:ext>
            </a:extLst>
          </p:cNvPr>
          <p:cNvSpPr/>
          <p:nvPr/>
        </p:nvSpPr>
        <p:spPr>
          <a:xfrm>
            <a:off x="540485" y="359025"/>
            <a:ext cx="1755039" cy="288000"/>
          </a:xfrm>
          <a:prstGeom prst="roundRect">
            <a:avLst>
              <a:gd name="adj" fmla="val 50000"/>
            </a:avLst>
          </a:prstGeom>
          <a:solidFill>
            <a:schemeClr val="tx2">
              <a:alpha val="49757"/>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BIOTECH BUSINESS</a:t>
            </a:r>
          </a:p>
        </p:txBody>
      </p:sp>
      <p:sp>
        <p:nvSpPr>
          <p:cNvPr id="5" name="Rectangle 4">
            <a:extLst>
              <a:ext uri="{FF2B5EF4-FFF2-40B4-BE49-F238E27FC236}">
                <a16:creationId xmlns:a16="http://schemas.microsoft.com/office/drawing/2014/main" id="{1394017C-430B-9A8C-98F0-4AC713EFEAAB}"/>
              </a:ext>
            </a:extLst>
          </p:cNvPr>
          <p:cNvSpPr/>
          <p:nvPr/>
        </p:nvSpPr>
        <p:spPr>
          <a:xfrm>
            <a:off x="6595216" y="3744815"/>
            <a:ext cx="2588066" cy="347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lvl="0" defTabSz="889000">
              <a:defRPr/>
            </a:pPr>
            <a:r>
              <a:rPr lang="en-GB" sz="1200">
                <a:solidFill>
                  <a:schemeClr val="bg1"/>
                </a:solidFill>
                <a:latin typeface="Avenir Next LT Pro Demi" panose="020B0704020202020204" pitchFamily="34" charset="0"/>
              </a:rPr>
              <a:t>Biotech adjusted EBIT* </a:t>
            </a:r>
            <a:r>
              <a:rPr lang="en-DK" sz="1200">
                <a:solidFill>
                  <a:schemeClr val="bg1"/>
                </a:solidFill>
                <a:latin typeface="Avenir Next LT Pro Demi" panose="020B0704020202020204" pitchFamily="34" charset="0"/>
              </a:rPr>
              <a:t>m</a:t>
            </a:r>
            <a:r>
              <a:rPr lang="en-GB" sz="1200">
                <a:solidFill>
                  <a:schemeClr val="bg1"/>
                </a:solidFill>
                <a:latin typeface="Avenir Next LT Pro Demi" panose="020B0704020202020204" pitchFamily="34" charset="0"/>
              </a:rPr>
              <a:t>DKK</a:t>
            </a:r>
          </a:p>
        </p:txBody>
      </p:sp>
      <p:graphicFrame>
        <p:nvGraphicFramePr>
          <p:cNvPr id="26" name="Chart 25">
            <a:extLst>
              <a:ext uri="{FF2B5EF4-FFF2-40B4-BE49-F238E27FC236}">
                <a16:creationId xmlns:a16="http://schemas.microsoft.com/office/drawing/2014/main" id="{3760C982-C7FE-AE78-6EBB-AE0B6D9BB194}"/>
              </a:ext>
            </a:extLst>
          </p:cNvPr>
          <p:cNvGraphicFramePr/>
          <p:nvPr>
            <p:custDataLst>
              <p:tags r:id="rId2"/>
            </p:custDataLst>
            <p:extLst>
              <p:ext uri="{D42A27DB-BD31-4B8C-83A1-F6EECF244321}">
                <p14:modId xmlns:p14="http://schemas.microsoft.com/office/powerpoint/2010/main" val="1289365846"/>
              </p:ext>
            </p:extLst>
          </p:nvPr>
        </p:nvGraphicFramePr>
        <p:xfrm>
          <a:off x="6446838" y="852488"/>
          <a:ext cx="3579812" cy="2468562"/>
        </p:xfrm>
        <a:graphic>
          <a:graphicData uri="http://schemas.openxmlformats.org/drawingml/2006/chart">
            <c:chart xmlns:c="http://schemas.openxmlformats.org/drawingml/2006/chart" xmlns:r="http://schemas.openxmlformats.org/officeDocument/2006/relationships" r:id="rId14"/>
          </a:graphicData>
        </a:graphic>
      </p:graphicFrame>
      <p:sp>
        <p:nvSpPr>
          <p:cNvPr id="80" name="Text Placeholder 2">
            <a:extLst>
              <a:ext uri="{FF2B5EF4-FFF2-40B4-BE49-F238E27FC236}">
                <a16:creationId xmlns:a16="http://schemas.microsoft.com/office/drawing/2014/main" id="{7A53166E-8443-D792-7A9B-DD42528D40FB}"/>
              </a:ext>
            </a:extLst>
          </p:cNvPr>
          <p:cNvSpPr>
            <a:spLocks/>
          </p:cNvSpPr>
          <p:nvPr>
            <p:custDataLst>
              <p:tags r:id="rId3"/>
            </p:custDataLst>
          </p:nvPr>
        </p:nvSpPr>
        <p:spPr bwMode="auto">
          <a:xfrm>
            <a:off x="6737350" y="3094666"/>
            <a:ext cx="7223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383990" indent="-383990" algn="l" defTabSz="914377" rtl="0" eaLnBrk="1" latinLnBrk="0" hangingPunct="1">
              <a:lnSpc>
                <a:spcPct val="90000"/>
              </a:lnSpc>
              <a:spcBef>
                <a:spcPts val="1000"/>
              </a:spcBef>
              <a:buClr>
                <a:schemeClr val="accent2"/>
              </a:buClr>
              <a:buFont typeface="LucidaGrande" charset="0"/>
              <a:buChar char="+"/>
              <a:defRPr sz="1800" b="0" i="0" kern="1200">
                <a:solidFill>
                  <a:schemeClr val="tx1"/>
                </a:solidFill>
                <a:latin typeface="Avenir Next LT Pro" panose="020B0504020202020204" pitchFamily="34" charset="77"/>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Avenir Next LT Pro" panose="020B0504020202020204" pitchFamily="34" charset="77"/>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Avenir Next LT Pro" panose="020B0504020202020204" pitchFamily="34"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2971B23-C98A-4D0E-B50A-FFED2FE5FC25}" type="datetime'''''''''''''''''''''''''''''Q1 ''''''''''''2''0''''''''''2''5'">
              <a:rPr lang="en-US" altLang="en-US" sz="1400" smtClean="0">
                <a:solidFill>
                  <a:schemeClr val="bg1"/>
                </a:solidFill>
              </a:rPr>
              <a:pPr marL="0" lvl="0" indent="0" algn="ctr">
                <a:spcBef>
                  <a:spcPct val="0"/>
                </a:spcBef>
                <a:spcAft>
                  <a:spcPct val="0"/>
                </a:spcAft>
                <a:buNone/>
              </a:pPr>
              <a:t>Q1 2025</a:t>
            </a:fld>
            <a:endParaRPr lang="en-US" sz="1400">
              <a:solidFill>
                <a:schemeClr val="bg1"/>
              </a:solidFill>
            </a:endParaRPr>
          </a:p>
        </p:txBody>
      </p:sp>
      <p:sp>
        <p:nvSpPr>
          <p:cNvPr id="69" name="Text Placeholder 2">
            <a:extLst>
              <a:ext uri="{FF2B5EF4-FFF2-40B4-BE49-F238E27FC236}">
                <a16:creationId xmlns:a16="http://schemas.microsoft.com/office/drawing/2014/main" id="{D584FDD3-7FD9-F842-B3E0-D699893DCE15}"/>
              </a:ext>
            </a:extLst>
          </p:cNvPr>
          <p:cNvSpPr>
            <a:spLocks/>
          </p:cNvSpPr>
          <p:nvPr>
            <p:custDataLst>
              <p:tags r:id="rId4"/>
            </p:custDataLst>
          </p:nvPr>
        </p:nvSpPr>
        <p:spPr bwMode="auto">
          <a:xfrm>
            <a:off x="7875588" y="3094666"/>
            <a:ext cx="7223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383990" indent="-383990" algn="l" defTabSz="914377" rtl="0" eaLnBrk="1" latinLnBrk="0" hangingPunct="1">
              <a:lnSpc>
                <a:spcPct val="90000"/>
              </a:lnSpc>
              <a:spcBef>
                <a:spcPts val="1000"/>
              </a:spcBef>
              <a:buClr>
                <a:schemeClr val="accent2"/>
              </a:buClr>
              <a:buFont typeface="LucidaGrande" charset="0"/>
              <a:buChar char="+"/>
              <a:defRPr sz="1800" b="0" i="0" kern="1200">
                <a:solidFill>
                  <a:schemeClr val="tx1"/>
                </a:solidFill>
                <a:latin typeface="Avenir Next LT Pro" panose="020B0504020202020204" pitchFamily="34" charset="77"/>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Avenir Next LT Pro" panose="020B0504020202020204" pitchFamily="34" charset="77"/>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Avenir Next LT Pro" panose="020B0504020202020204" pitchFamily="34"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058BCDE-56D6-4F41-9793-DDDB6A19353B}" type="datetime'''''''Q''4'' 2''''0''''''''''''''''''''''2''''''5'''''''''">
              <a:rPr lang="en-US" altLang="en-US" sz="1400" smtClean="0">
                <a:solidFill>
                  <a:schemeClr val="bg1"/>
                </a:solidFill>
              </a:rPr>
              <a:pPr marL="0" lvl="0" indent="0" algn="ctr">
                <a:spcBef>
                  <a:spcPct val="0"/>
                </a:spcBef>
                <a:spcAft>
                  <a:spcPct val="0"/>
                </a:spcAft>
                <a:buNone/>
              </a:pPr>
              <a:t>Q4 2025</a:t>
            </a:fld>
            <a:endParaRPr lang="en-US" sz="1400">
              <a:solidFill>
                <a:schemeClr val="bg1"/>
              </a:solidFill>
            </a:endParaRPr>
          </a:p>
        </p:txBody>
      </p:sp>
      <p:sp>
        <p:nvSpPr>
          <p:cNvPr id="71" name="Text Placeholder 2">
            <a:extLst>
              <a:ext uri="{FF2B5EF4-FFF2-40B4-BE49-F238E27FC236}">
                <a16:creationId xmlns:a16="http://schemas.microsoft.com/office/drawing/2014/main" id="{6DCAC414-1E84-C679-FB60-03E9AF903AFA}"/>
              </a:ext>
            </a:extLst>
          </p:cNvPr>
          <p:cNvSpPr>
            <a:spLocks/>
          </p:cNvSpPr>
          <p:nvPr>
            <p:custDataLst>
              <p:tags r:id="rId5"/>
            </p:custDataLst>
          </p:nvPr>
        </p:nvSpPr>
        <p:spPr bwMode="auto">
          <a:xfrm>
            <a:off x="9013825" y="3094666"/>
            <a:ext cx="7223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383990" indent="-383990" algn="l" defTabSz="914377" rtl="0" eaLnBrk="1" latinLnBrk="0" hangingPunct="1">
              <a:lnSpc>
                <a:spcPct val="90000"/>
              </a:lnSpc>
              <a:spcBef>
                <a:spcPts val="1000"/>
              </a:spcBef>
              <a:buClr>
                <a:schemeClr val="accent2"/>
              </a:buClr>
              <a:buFont typeface="LucidaGrande" charset="0"/>
              <a:buChar char="+"/>
              <a:defRPr sz="1800" b="0" i="0" kern="1200">
                <a:solidFill>
                  <a:schemeClr val="tx1"/>
                </a:solidFill>
                <a:latin typeface="Avenir Next LT Pro" panose="020B0504020202020204" pitchFamily="34" charset="77"/>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Avenir Next LT Pro" panose="020B0504020202020204" pitchFamily="34" charset="77"/>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Avenir Next LT Pro" panose="020B0504020202020204" pitchFamily="34"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B823553-7CFF-4D3F-B625-57EDE040A801}" type="datetime'''''''Q''''''''''''''''1'''''''''''' ''''2''''''''0''''26'''">
              <a:rPr lang="en-US" altLang="en-US" sz="1400" smtClean="0">
                <a:solidFill>
                  <a:schemeClr val="bg1"/>
                </a:solidFill>
              </a:rPr>
              <a:pPr marL="0" lvl="0" indent="0" algn="ctr">
                <a:spcBef>
                  <a:spcPct val="0"/>
                </a:spcBef>
                <a:spcAft>
                  <a:spcPct val="0"/>
                </a:spcAft>
                <a:buNone/>
              </a:pPr>
              <a:t>Q1 2026</a:t>
            </a:fld>
            <a:endParaRPr lang="en-US" sz="1400">
              <a:solidFill>
                <a:schemeClr val="bg1"/>
              </a:solidFill>
            </a:endParaRPr>
          </a:p>
        </p:txBody>
      </p:sp>
      <p:graphicFrame>
        <p:nvGraphicFramePr>
          <p:cNvPr id="25" name="Chart 24">
            <a:extLst>
              <a:ext uri="{FF2B5EF4-FFF2-40B4-BE49-F238E27FC236}">
                <a16:creationId xmlns:a16="http://schemas.microsoft.com/office/drawing/2014/main" id="{5FC83D53-BF45-CC57-637C-73F930163F92}"/>
              </a:ext>
            </a:extLst>
          </p:cNvPr>
          <p:cNvGraphicFramePr/>
          <p:nvPr>
            <p:custDataLst>
              <p:tags r:id="rId6"/>
            </p:custDataLst>
            <p:extLst>
              <p:ext uri="{D42A27DB-BD31-4B8C-83A1-F6EECF244321}">
                <p14:modId xmlns:p14="http://schemas.microsoft.com/office/powerpoint/2010/main" val="2790727571"/>
              </p:ext>
            </p:extLst>
          </p:nvPr>
        </p:nvGraphicFramePr>
        <p:xfrm>
          <a:off x="6446838" y="3816350"/>
          <a:ext cx="3579812" cy="2276475"/>
        </p:xfrm>
        <a:graphic>
          <a:graphicData uri="http://schemas.openxmlformats.org/drawingml/2006/chart">
            <c:chart xmlns:c="http://schemas.openxmlformats.org/drawingml/2006/chart" xmlns:r="http://schemas.openxmlformats.org/officeDocument/2006/relationships" r:id="rId15"/>
          </a:graphicData>
        </a:graphic>
      </p:graphicFrame>
      <p:sp>
        <p:nvSpPr>
          <p:cNvPr id="100" name="Text Placeholder 2">
            <a:extLst>
              <a:ext uri="{FF2B5EF4-FFF2-40B4-BE49-F238E27FC236}">
                <a16:creationId xmlns:a16="http://schemas.microsoft.com/office/drawing/2014/main" id="{B356AD94-BFA6-A41C-DE16-38E63C79E847}"/>
              </a:ext>
            </a:extLst>
          </p:cNvPr>
          <p:cNvSpPr>
            <a:spLocks/>
          </p:cNvSpPr>
          <p:nvPr>
            <p:custDataLst>
              <p:tags r:id="rId7"/>
            </p:custDataLst>
          </p:nvPr>
        </p:nvSpPr>
        <p:spPr bwMode="auto">
          <a:xfrm>
            <a:off x="6737350" y="5946775"/>
            <a:ext cx="7223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383990" indent="-383990" algn="l" defTabSz="914377" rtl="0" eaLnBrk="1" latinLnBrk="0" hangingPunct="1">
              <a:lnSpc>
                <a:spcPct val="90000"/>
              </a:lnSpc>
              <a:spcBef>
                <a:spcPts val="1000"/>
              </a:spcBef>
              <a:buClr>
                <a:schemeClr val="accent2"/>
              </a:buClr>
              <a:buFont typeface="LucidaGrande" charset="0"/>
              <a:buChar char="+"/>
              <a:defRPr sz="1800" b="0" i="0" kern="1200">
                <a:solidFill>
                  <a:schemeClr val="tx1"/>
                </a:solidFill>
                <a:latin typeface="Avenir Next LT Pro" panose="020B0504020202020204" pitchFamily="34" charset="77"/>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Avenir Next LT Pro" panose="020B0504020202020204" pitchFamily="34" charset="77"/>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Avenir Next LT Pro" panose="020B0504020202020204" pitchFamily="34"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C41A0D1-FAE7-47E4-8539-728054E75B99}" type="datetime'''''''Q''''''''''''1 ''''''2''''0''''''''''2''''''5'''''''''''">
              <a:rPr lang="en-US" altLang="en-US" sz="1400" smtClean="0">
                <a:solidFill>
                  <a:schemeClr val="bg1"/>
                </a:solidFill>
              </a:rPr>
              <a:pPr marL="0" lvl="0" indent="0" algn="ctr">
                <a:spcBef>
                  <a:spcPct val="0"/>
                </a:spcBef>
                <a:spcAft>
                  <a:spcPct val="0"/>
                </a:spcAft>
                <a:buNone/>
              </a:pPr>
              <a:t>Q1 2025</a:t>
            </a:fld>
            <a:endParaRPr lang="en-US" sz="1400">
              <a:solidFill>
                <a:schemeClr val="bg1"/>
              </a:solidFill>
            </a:endParaRPr>
          </a:p>
        </p:txBody>
      </p:sp>
      <p:sp>
        <p:nvSpPr>
          <p:cNvPr id="101" name="Text Placeholder 2">
            <a:extLst>
              <a:ext uri="{FF2B5EF4-FFF2-40B4-BE49-F238E27FC236}">
                <a16:creationId xmlns:a16="http://schemas.microsoft.com/office/drawing/2014/main" id="{152BAE0A-8C47-1F82-E7C7-805BE08F2530}"/>
              </a:ext>
            </a:extLst>
          </p:cNvPr>
          <p:cNvSpPr>
            <a:spLocks/>
          </p:cNvSpPr>
          <p:nvPr>
            <p:custDataLst>
              <p:tags r:id="rId8"/>
            </p:custDataLst>
          </p:nvPr>
        </p:nvSpPr>
        <p:spPr bwMode="auto">
          <a:xfrm>
            <a:off x="7875588" y="5946775"/>
            <a:ext cx="7223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383990" indent="-383990" algn="l" defTabSz="914377" rtl="0" eaLnBrk="1" latinLnBrk="0" hangingPunct="1">
              <a:lnSpc>
                <a:spcPct val="90000"/>
              </a:lnSpc>
              <a:spcBef>
                <a:spcPts val="1000"/>
              </a:spcBef>
              <a:buClr>
                <a:schemeClr val="accent2"/>
              </a:buClr>
              <a:buFont typeface="LucidaGrande" charset="0"/>
              <a:buChar char="+"/>
              <a:defRPr sz="1800" b="0" i="0" kern="1200">
                <a:solidFill>
                  <a:schemeClr val="tx1"/>
                </a:solidFill>
                <a:latin typeface="Avenir Next LT Pro" panose="020B0504020202020204" pitchFamily="34" charset="77"/>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Avenir Next LT Pro" panose="020B0504020202020204" pitchFamily="34" charset="77"/>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Avenir Next LT Pro" panose="020B0504020202020204" pitchFamily="34"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A61E82C-CA85-4667-96FF-66E198C85E50}" type="datetime'''''''Q''''4'''''''''''' ''2''''''''''02''''''''5'''">
              <a:rPr lang="en-US" altLang="en-US" sz="1400" smtClean="0">
                <a:solidFill>
                  <a:schemeClr val="bg1"/>
                </a:solidFill>
              </a:rPr>
              <a:pPr marL="0" lvl="0" indent="0" algn="ctr">
                <a:spcBef>
                  <a:spcPct val="0"/>
                </a:spcBef>
                <a:spcAft>
                  <a:spcPct val="0"/>
                </a:spcAft>
                <a:buNone/>
              </a:pPr>
              <a:t>Q4 2025</a:t>
            </a:fld>
            <a:endParaRPr lang="en-US" sz="1400">
              <a:solidFill>
                <a:schemeClr val="bg1"/>
              </a:solidFill>
            </a:endParaRPr>
          </a:p>
        </p:txBody>
      </p:sp>
      <p:sp>
        <p:nvSpPr>
          <p:cNvPr id="102" name="Text Placeholder 2">
            <a:extLst>
              <a:ext uri="{FF2B5EF4-FFF2-40B4-BE49-F238E27FC236}">
                <a16:creationId xmlns:a16="http://schemas.microsoft.com/office/drawing/2014/main" id="{31EBB166-38C4-57E1-EDD7-42B6082BCC5A}"/>
              </a:ext>
            </a:extLst>
          </p:cNvPr>
          <p:cNvSpPr>
            <a:spLocks/>
          </p:cNvSpPr>
          <p:nvPr>
            <p:custDataLst>
              <p:tags r:id="rId9"/>
            </p:custDataLst>
          </p:nvPr>
        </p:nvSpPr>
        <p:spPr bwMode="auto">
          <a:xfrm>
            <a:off x="9013825" y="5946775"/>
            <a:ext cx="7223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383990" indent="-383990" algn="l" defTabSz="914377" rtl="0" eaLnBrk="1" latinLnBrk="0" hangingPunct="1">
              <a:lnSpc>
                <a:spcPct val="90000"/>
              </a:lnSpc>
              <a:spcBef>
                <a:spcPts val="1000"/>
              </a:spcBef>
              <a:buClr>
                <a:schemeClr val="accent2"/>
              </a:buClr>
              <a:buFont typeface="LucidaGrande" charset="0"/>
              <a:buChar char="+"/>
              <a:defRPr sz="1800" b="0" i="0" kern="1200">
                <a:solidFill>
                  <a:schemeClr val="tx1"/>
                </a:solidFill>
                <a:latin typeface="Avenir Next LT Pro" panose="020B0504020202020204" pitchFamily="34" charset="77"/>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Avenir Next LT Pro" panose="020B0504020202020204" pitchFamily="34" charset="77"/>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Avenir Next LT Pro" panose="020B0504020202020204" pitchFamily="34"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C6C151E-1A7D-4C49-BD17-4E7261BCA247}" type="datetime'''''''''''''''''Q''''''''''''1'''' 20''''''''''''''26'">
              <a:rPr lang="en-US" altLang="en-US" sz="1400" smtClean="0">
                <a:solidFill>
                  <a:schemeClr val="bg1"/>
                </a:solidFill>
              </a:rPr>
              <a:pPr marL="0" lvl="0" indent="0" algn="ctr">
                <a:spcBef>
                  <a:spcPct val="0"/>
                </a:spcBef>
                <a:spcAft>
                  <a:spcPct val="0"/>
                </a:spcAft>
                <a:buNone/>
              </a:pPr>
              <a:t>Q1 2026</a:t>
            </a:fld>
            <a:endParaRPr lang="en-US" sz="1400">
              <a:solidFill>
                <a:schemeClr val="bg1"/>
              </a:solidFill>
            </a:endParaRPr>
          </a:p>
        </p:txBody>
      </p:sp>
      <p:sp>
        <p:nvSpPr>
          <p:cNvPr id="24" name="Title 2">
            <a:extLst>
              <a:ext uri="{FF2B5EF4-FFF2-40B4-BE49-F238E27FC236}">
                <a16:creationId xmlns:a16="http://schemas.microsoft.com/office/drawing/2014/main" id="{91393A6E-6343-C272-B55D-1BEA5E6F7AE1}"/>
              </a:ext>
            </a:extLst>
          </p:cNvPr>
          <p:cNvSpPr txBox="1">
            <a:spLocks/>
          </p:cNvSpPr>
          <p:nvPr/>
        </p:nvSpPr>
        <p:spPr>
          <a:xfrm>
            <a:off x="6496663" y="6625886"/>
            <a:ext cx="3384000" cy="124650"/>
          </a:xfrm>
          <a:prstGeom prst="rect">
            <a:avLst/>
          </a:prstGeom>
        </p:spPr>
        <p:txBody>
          <a:bodyPr vert="horz" wrap="square" lIns="0" tIns="0" rIns="0" bIns="0" rtlCol="0" anchor="t" anchorCtr="0">
            <a:spAutoFit/>
          </a:bodyPr>
          <a:lstStyle>
            <a:lvl1pPr algn="l" defTabSz="914377" rtl="0" eaLnBrk="1" latinLnBrk="0" hangingPunct="1">
              <a:lnSpc>
                <a:spcPct val="90000"/>
              </a:lnSpc>
              <a:spcBef>
                <a:spcPct val="0"/>
              </a:spcBef>
              <a:buNone/>
              <a:defRPr sz="3000" kern="1200">
                <a:solidFill>
                  <a:schemeClr val="accent1"/>
                </a:solidFill>
                <a:latin typeface="Georgia" charset="0"/>
                <a:ea typeface="Georgia" charset="0"/>
                <a:cs typeface="Georgia"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GB" sz="900" b="0" i="0" u="none" strike="noStrike" kern="1200" cap="none" spc="0" normalizeH="0" baseline="0" noProof="0">
                <a:ln>
                  <a:noFill/>
                </a:ln>
                <a:solidFill>
                  <a:schemeClr val="bg1"/>
                </a:solidFill>
                <a:effectLst/>
                <a:uLnTx/>
                <a:uFillTx/>
                <a:latin typeface="Avenir Next LT Pro"/>
              </a:rPr>
              <a:t>* Adjusted for special items – No adjustments in 2026</a:t>
            </a:r>
            <a:endParaRPr kumimoji="0" lang="en-DK" sz="900" b="0" i="0" u="none" strike="noStrike" kern="1200" cap="none" spc="0" normalizeH="0" baseline="0" noProof="0">
              <a:ln>
                <a:noFill/>
              </a:ln>
              <a:solidFill>
                <a:schemeClr val="bg1"/>
              </a:solidFill>
              <a:effectLst/>
              <a:uLnTx/>
              <a:uFillTx/>
              <a:latin typeface="Avenir Next LT Pro"/>
            </a:endParaRPr>
          </a:p>
        </p:txBody>
      </p:sp>
    </p:spTree>
    <p:extLst>
      <p:ext uri="{BB962C8B-B14F-4D97-AF65-F5344CB8AC3E}">
        <p14:creationId xmlns:p14="http://schemas.microsoft.com/office/powerpoint/2010/main" val="897948195"/>
      </p:ext>
    </p:extLst>
  </p:cSld>
  <p:clrMapOvr>
    <a:masterClrMapping/>
  </p:clrMapOvr>
  <p:transition spd="slow">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F6AA500-4EBC-79E6-918E-71E250BB32CD}"/>
              </a:ext>
            </a:extLst>
          </p:cNvPr>
          <p:cNvGraphicFramePr>
            <a:graphicFrameLocks/>
          </p:cNvGraphicFramePr>
          <p:nvPr>
            <p:custDataLst>
              <p:tags r:id="rId1"/>
            </p:custDataLst>
            <p:extLst>
              <p:ext uri="{D42A27DB-BD31-4B8C-83A1-F6EECF244321}">
                <p14:modId xmlns:p14="http://schemas.microsoft.com/office/powerpoint/2010/main" val="939543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60" imgH="360" progId="TCLayout.ActiveDocument.1">
                  <p:embed/>
                </p:oleObj>
              </mc:Choice>
              <mc:Fallback>
                <p:oleObj name="think-cell Slide" r:id="rId19" imgW="360" imgH="360" progId="TCLayout.ActiveDocument.1">
                  <p:embed/>
                  <p:pic>
                    <p:nvPicPr>
                      <p:cNvPr id="6" name="Object 5" hidden="1">
                        <a:extLst>
                          <a:ext uri="{FF2B5EF4-FFF2-40B4-BE49-F238E27FC236}">
                            <a16:creationId xmlns:a16="http://schemas.microsoft.com/office/drawing/2014/main" id="{DF6AA500-4EBC-79E6-918E-71E250BB32CD}"/>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28CD0050-DD6E-7095-6479-DC14491FEB02}"/>
              </a:ext>
            </a:extLst>
          </p:cNvPr>
          <p:cNvSpPr/>
          <p:nvPr/>
        </p:nvSpPr>
        <p:spPr>
          <a:xfrm>
            <a:off x="540485" y="1730387"/>
            <a:ext cx="5045004" cy="4658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8890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venir Next LT Pro Demi" panose="020B0704020202020204" pitchFamily="34" charset="0"/>
                <a:ea typeface="+mn-ea"/>
                <a:cs typeface="Assistant SemiBold" pitchFamily="2" charset="-79"/>
              </a:rPr>
              <a:t>Revenue</a:t>
            </a:r>
          </a:p>
          <a:p>
            <a:pPr marL="282575" indent="-282575" defTabSz="889000">
              <a:spcAft>
                <a:spcPts val="1200"/>
              </a:spcAft>
              <a:buClr>
                <a:schemeClr val="bg1"/>
              </a:buClr>
              <a:buFont typeface="System Font Regular"/>
              <a:buChar char="+"/>
              <a:defRPr/>
            </a:pPr>
            <a:r>
              <a:rPr lang="en-US" sz="1600">
                <a:solidFill>
                  <a:srgbClr val="FFFFFF"/>
                </a:solidFill>
                <a:latin typeface="Avenir Next LT Pro" panose="020B0504020202020204" pitchFamily="34" charset="0"/>
              </a:rPr>
              <a:t>26% increase vs. Q4 2025, but slight decline vs. Q1 2025 (-6%)</a:t>
            </a:r>
          </a:p>
          <a:p>
            <a:pPr marL="282575" indent="-282575" defTabSz="889000">
              <a:spcAft>
                <a:spcPts val="1200"/>
              </a:spcAft>
              <a:buClr>
                <a:schemeClr val="bg1"/>
              </a:buClr>
              <a:buFont typeface="System Font Regular"/>
              <a:buChar char="+"/>
              <a:defRPr/>
            </a:pPr>
            <a:r>
              <a:rPr lang="en-US" sz="1600">
                <a:solidFill>
                  <a:srgbClr val="FFFFFF"/>
                </a:solidFill>
                <a:latin typeface="Avenir Next LT Pro" panose="020B0504020202020204" pitchFamily="34" charset="0"/>
              </a:rPr>
              <a:t>Obesity continues to be the main growth driver</a:t>
            </a:r>
          </a:p>
          <a:p>
            <a:pPr marL="282575" indent="-282575" defTabSz="889000">
              <a:spcAft>
                <a:spcPts val="1200"/>
              </a:spcAft>
              <a:buClr>
                <a:schemeClr val="bg1"/>
              </a:buClr>
              <a:buFont typeface="System Font Regular"/>
              <a:buChar char="+"/>
              <a:defRPr/>
            </a:pPr>
            <a:r>
              <a:rPr lang="en-GB" sz="1600">
                <a:solidFill>
                  <a:srgbClr val="FFFFFF"/>
                </a:solidFill>
                <a:latin typeface="Avenir Next LT Pro" panose="020B0504020202020204" pitchFamily="34" charset="0"/>
              </a:rPr>
              <a:t>Macroeconomic uncertainty continues to affect smaller biotech clients</a:t>
            </a:r>
          </a:p>
          <a:p>
            <a:pPr marL="0" marR="0" lvl="0" indent="0" algn="l" defTabSz="889000" rtl="0" eaLnBrk="1" fontAlgn="auto" latinLnBrk="0" hangingPunct="1">
              <a:lnSpc>
                <a:spcPct val="100000"/>
              </a:lnSpc>
              <a:spcBef>
                <a:spcPts val="0"/>
              </a:spcBef>
              <a:spcAft>
                <a:spcPts val="600"/>
              </a:spcAft>
              <a:buClr>
                <a:schemeClr val="bg1"/>
              </a:buClr>
              <a:buSzTx/>
              <a:buFontTx/>
              <a:buNone/>
              <a:tabLst/>
              <a:defRPr/>
            </a:pPr>
            <a:endParaRPr kumimoji="0" lang="en-DK" sz="1600" b="0" i="0" u="none" strike="noStrike" kern="1200" cap="none" spc="0" normalizeH="0" baseline="0" noProof="0">
              <a:ln>
                <a:noFill/>
              </a:ln>
              <a:solidFill>
                <a:srgbClr val="FFFFFF"/>
              </a:solidFill>
              <a:effectLst/>
              <a:uLnTx/>
              <a:uFillTx/>
              <a:latin typeface="Avenir Next LT Pro Demi" panose="020B0704020202020204" pitchFamily="34" charset="0"/>
              <a:ea typeface="+mn-ea"/>
              <a:cs typeface="Assistant SemiBold" pitchFamily="2" charset="-79"/>
            </a:endParaRPr>
          </a:p>
          <a:p>
            <a:pPr marL="0" marR="0" lvl="0" indent="0" algn="l" defTabSz="889000" rtl="0" eaLnBrk="1" fontAlgn="auto" latinLnBrk="0" hangingPunct="1">
              <a:lnSpc>
                <a:spcPct val="100000"/>
              </a:lnSpc>
              <a:spcBef>
                <a:spcPts val="0"/>
              </a:spcBef>
              <a:spcAft>
                <a:spcPts val="600"/>
              </a:spcAft>
              <a:buClr>
                <a:schemeClr val="bg1"/>
              </a:buClr>
              <a:buSzTx/>
              <a:buFontTx/>
              <a:buNone/>
              <a:tabLst/>
              <a:defRPr/>
            </a:pPr>
            <a:r>
              <a:rPr kumimoji="0" lang="en-GB" sz="1600" b="0" i="0" u="none" strike="noStrike" kern="1200" cap="none" spc="0" normalizeH="0" baseline="0" noProof="0">
                <a:ln>
                  <a:noFill/>
                </a:ln>
                <a:solidFill>
                  <a:srgbClr val="FFFFFF"/>
                </a:solidFill>
                <a:effectLst/>
                <a:uLnTx/>
                <a:uFillTx/>
                <a:latin typeface="Avenir Next LT Pro Demi" panose="020B0704020202020204" pitchFamily="34" charset="0"/>
                <a:ea typeface="+mn-ea"/>
                <a:cs typeface="Assistant SemiBold" pitchFamily="2" charset="-79"/>
              </a:rPr>
              <a:t>Earnings</a:t>
            </a:r>
          </a:p>
          <a:p>
            <a:pPr marL="234000" marR="0" lvl="0" indent="-234000" algn="l" defTabSz="889000" rtl="0" eaLnBrk="1" fontAlgn="auto" latinLnBrk="0" hangingPunct="1">
              <a:lnSpc>
                <a:spcPct val="100000"/>
              </a:lnSpc>
              <a:spcBef>
                <a:spcPts val="0"/>
              </a:spcBef>
              <a:spcAft>
                <a:spcPts val="1200"/>
              </a:spcAft>
              <a:buClr>
                <a:schemeClr val="bg1"/>
              </a:buClr>
              <a:buSzTx/>
              <a:buFont typeface="System Font Regular"/>
              <a:buChar char="+"/>
              <a:tabLst/>
              <a:defRPr/>
            </a:pPr>
            <a:r>
              <a:rPr kumimoji="0" lang="en-US" sz="16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EBIT improved from a loss in Q4 2025 to a small profit in Q1 2026 </a:t>
            </a:r>
          </a:p>
          <a:p>
            <a:pPr marL="234000" marR="0" lvl="0" indent="-234000" algn="l" defTabSz="889000" rtl="0" eaLnBrk="1" fontAlgn="auto" latinLnBrk="0" hangingPunct="1">
              <a:lnSpc>
                <a:spcPct val="100000"/>
              </a:lnSpc>
              <a:spcBef>
                <a:spcPts val="0"/>
              </a:spcBef>
              <a:spcAft>
                <a:spcPts val="1200"/>
              </a:spcAft>
              <a:buClr>
                <a:schemeClr val="bg1"/>
              </a:buClr>
              <a:buSzTx/>
              <a:buFont typeface="System Font Regular"/>
              <a:buChar char="+"/>
              <a:tabLst/>
              <a:defRPr/>
            </a:pPr>
            <a:r>
              <a:rPr lang="en-US" sz="1600">
                <a:solidFill>
                  <a:srgbClr val="FFFFFF"/>
                </a:solidFill>
                <a:latin typeface="Avenir Next LT Pro" panose="020B0504020202020204" pitchFamily="34" charset="0"/>
              </a:rPr>
              <a:t>EBIT down vs. Q1 2025 due to lower revenue and large share of fixed costs</a:t>
            </a:r>
            <a:endParaRPr kumimoji="0" lang="en-US" sz="16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sp>
        <p:nvSpPr>
          <p:cNvPr id="113" name="Rectangle 112">
            <a:extLst>
              <a:ext uri="{FF2B5EF4-FFF2-40B4-BE49-F238E27FC236}">
                <a16:creationId xmlns:a16="http://schemas.microsoft.com/office/drawing/2014/main" id="{C53B6E4B-89D2-EE0B-7630-9764467C8B5E}"/>
              </a:ext>
            </a:extLst>
          </p:cNvPr>
          <p:cNvSpPr/>
          <p:nvPr/>
        </p:nvSpPr>
        <p:spPr>
          <a:xfrm>
            <a:off x="6595320" y="793964"/>
            <a:ext cx="3384000" cy="354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889000" rtl="0" eaLnBrk="1" fontAlgn="auto" latinLnBrk="0" hangingPunct="1">
              <a:lnSpc>
                <a:spcPct val="100000"/>
              </a:lnSpc>
              <a:spcBef>
                <a:spcPts val="0"/>
              </a:spcBef>
              <a:spcAft>
                <a:spcPts val="0"/>
              </a:spcAft>
              <a:buClrTx/>
              <a:buSzTx/>
              <a:buFont typeface="LucidaGrande" charset="0"/>
              <a:buNone/>
              <a:tabLst/>
              <a:defRPr/>
            </a:pPr>
            <a:r>
              <a:rPr kumimoji="0" lang="en-GB" sz="1200" b="0" i="0" u="none" strike="noStrike" kern="1200" cap="none" spc="0" normalizeH="0" baseline="0" noProof="0">
                <a:ln>
                  <a:noFill/>
                </a:ln>
                <a:solidFill>
                  <a:schemeClr val="bg1"/>
                </a:solidFill>
                <a:effectLst/>
                <a:uLnTx/>
                <a:uFillTx/>
                <a:latin typeface="Avenir Next LT Pro Demi" panose="020B0704020202020204" pitchFamily="34" charset="0"/>
              </a:rPr>
              <a:t>CRO revenue (organic). DKKm</a:t>
            </a:r>
          </a:p>
        </p:txBody>
      </p:sp>
      <p:sp>
        <p:nvSpPr>
          <p:cNvPr id="131" name="Rectangle 130">
            <a:extLst>
              <a:ext uri="{FF2B5EF4-FFF2-40B4-BE49-F238E27FC236}">
                <a16:creationId xmlns:a16="http://schemas.microsoft.com/office/drawing/2014/main" id="{7BCBA4E9-B0B2-4A73-103B-32580FBF1102}"/>
              </a:ext>
            </a:extLst>
          </p:cNvPr>
          <p:cNvSpPr/>
          <p:nvPr/>
        </p:nvSpPr>
        <p:spPr>
          <a:xfrm>
            <a:off x="6595216" y="3759200"/>
            <a:ext cx="2588066" cy="347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889000" rtl="0" eaLnBrk="1" fontAlgn="auto" latinLnBrk="0" hangingPunct="1">
              <a:lnSpc>
                <a:spcPct val="100000"/>
              </a:lnSpc>
              <a:spcBef>
                <a:spcPts val="0"/>
              </a:spcBef>
              <a:spcAft>
                <a:spcPts val="0"/>
              </a:spcAft>
              <a:buClrTx/>
              <a:buSzTx/>
              <a:buFont typeface="LucidaGrande" charset="0"/>
              <a:buNone/>
              <a:tabLst/>
              <a:defRPr/>
            </a:pPr>
            <a:r>
              <a:rPr kumimoji="0" lang="en-GB" sz="1200" b="0" i="0" u="none" strike="noStrike" kern="1200" cap="none" spc="0" normalizeH="0" baseline="0" noProof="0">
                <a:ln>
                  <a:noFill/>
                </a:ln>
                <a:solidFill>
                  <a:schemeClr val="bg1"/>
                </a:solidFill>
                <a:effectLst/>
                <a:uLnTx/>
                <a:uFillTx/>
                <a:latin typeface="Avenir Next LT Pro Demi" panose="020B0704020202020204" pitchFamily="34" charset="0"/>
              </a:rPr>
              <a:t>CRO adjusted EBIT*. DKKm</a:t>
            </a:r>
          </a:p>
        </p:txBody>
      </p:sp>
      <p:sp>
        <p:nvSpPr>
          <p:cNvPr id="22" name="Rectangle 21">
            <a:extLst>
              <a:ext uri="{FF2B5EF4-FFF2-40B4-BE49-F238E27FC236}">
                <a16:creationId xmlns:a16="http://schemas.microsoft.com/office/drawing/2014/main" id="{0E2BEF77-B25A-CCC0-9653-227F9C19D3B3}"/>
              </a:ext>
            </a:extLst>
          </p:cNvPr>
          <p:cNvSpPr/>
          <p:nvPr/>
        </p:nvSpPr>
        <p:spPr>
          <a:xfrm>
            <a:off x="9234082" y="3759200"/>
            <a:ext cx="2607172" cy="347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889000" rtl="0" eaLnBrk="1" fontAlgn="auto" latinLnBrk="0" hangingPunct="1">
              <a:lnSpc>
                <a:spcPct val="100000"/>
              </a:lnSpc>
              <a:spcBef>
                <a:spcPts val="0"/>
              </a:spcBef>
              <a:spcAft>
                <a:spcPts val="0"/>
              </a:spcAft>
              <a:buClrTx/>
              <a:buSzTx/>
              <a:buFont typeface="LucidaGrande" charset="0"/>
              <a:buNone/>
              <a:tabLst/>
              <a:defRPr/>
            </a:pPr>
            <a:r>
              <a:rPr kumimoji="0" lang="en-GB" sz="1200" b="0" i="0" u="none" strike="noStrike" kern="1200" cap="none" spc="0" normalizeH="0" baseline="0" noProof="0">
                <a:ln>
                  <a:noFill/>
                </a:ln>
                <a:solidFill>
                  <a:schemeClr val="bg1"/>
                </a:solidFill>
                <a:effectLst/>
                <a:uLnTx/>
                <a:uFillTx/>
                <a:latin typeface="Avenir Next LT Pro Demi" panose="020B0704020202020204" pitchFamily="34" charset="0"/>
              </a:rPr>
              <a:t>CRO adjusted EBIT-margin*</a:t>
            </a:r>
          </a:p>
        </p:txBody>
      </p:sp>
      <p:sp>
        <p:nvSpPr>
          <p:cNvPr id="2" name="Title 2">
            <a:extLst>
              <a:ext uri="{FF2B5EF4-FFF2-40B4-BE49-F238E27FC236}">
                <a16:creationId xmlns:a16="http://schemas.microsoft.com/office/drawing/2014/main" id="{6275D87A-AA13-EC49-86D4-D3A5F40381C7}"/>
              </a:ext>
            </a:extLst>
          </p:cNvPr>
          <p:cNvSpPr txBox="1">
            <a:spLocks/>
          </p:cNvSpPr>
          <p:nvPr/>
        </p:nvSpPr>
        <p:spPr>
          <a:xfrm>
            <a:off x="6429988" y="6473486"/>
            <a:ext cx="3384000" cy="124650"/>
          </a:xfrm>
          <a:prstGeom prst="rect">
            <a:avLst/>
          </a:prstGeom>
        </p:spPr>
        <p:txBody>
          <a:bodyPr vert="horz" wrap="square" lIns="0" tIns="0" rIns="0" bIns="0" rtlCol="0" anchor="t" anchorCtr="0">
            <a:spAutoFit/>
          </a:bodyPr>
          <a:lstStyle>
            <a:lvl1pPr algn="l" defTabSz="914377" rtl="0" eaLnBrk="1" latinLnBrk="0" hangingPunct="1">
              <a:lnSpc>
                <a:spcPct val="90000"/>
              </a:lnSpc>
              <a:spcBef>
                <a:spcPct val="0"/>
              </a:spcBef>
              <a:buNone/>
              <a:defRPr sz="3000" kern="1200">
                <a:solidFill>
                  <a:schemeClr val="accent1"/>
                </a:solidFill>
                <a:latin typeface="Georgia" charset="0"/>
                <a:ea typeface="Georgia" charset="0"/>
                <a:cs typeface="Georgia"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GB" sz="900" b="0" i="0" u="none" strike="noStrike" kern="1200" cap="none" spc="0" normalizeH="0" baseline="0" noProof="0">
                <a:ln>
                  <a:noFill/>
                </a:ln>
                <a:solidFill>
                  <a:schemeClr val="bg1"/>
                </a:solidFill>
                <a:effectLst/>
                <a:uLnTx/>
                <a:uFillTx/>
                <a:latin typeface="Avenir Next LT Pro"/>
              </a:rPr>
              <a:t>* Adjusted for special items – No adjustments in 2026</a:t>
            </a:r>
            <a:endParaRPr kumimoji="0" lang="en-DK" sz="900" b="0" i="0" u="none" strike="noStrike" kern="1200" cap="none" spc="0" normalizeH="0" baseline="0" noProof="0">
              <a:ln>
                <a:noFill/>
              </a:ln>
              <a:solidFill>
                <a:schemeClr val="bg1"/>
              </a:solidFill>
              <a:effectLst/>
              <a:uLnTx/>
              <a:uFillTx/>
              <a:latin typeface="Avenir Next LT Pro"/>
            </a:endParaRPr>
          </a:p>
        </p:txBody>
      </p:sp>
      <p:cxnSp>
        <p:nvCxnSpPr>
          <p:cNvPr id="32" name="Straight Connector 31">
            <a:extLst>
              <a:ext uri="{FF2B5EF4-FFF2-40B4-BE49-F238E27FC236}">
                <a16:creationId xmlns:a16="http://schemas.microsoft.com/office/drawing/2014/main" id="{0A15E45D-12EE-2F5C-AB84-A9CB8ADE2896}"/>
              </a:ext>
            </a:extLst>
          </p:cNvPr>
          <p:cNvCxnSpPr>
            <a:cxnSpLocks/>
          </p:cNvCxnSpPr>
          <p:nvPr/>
        </p:nvCxnSpPr>
        <p:spPr>
          <a:xfrm>
            <a:off x="565459" y="1413024"/>
            <a:ext cx="5258292" cy="0"/>
          </a:xfrm>
          <a:prstGeom prst="line">
            <a:avLst/>
          </a:prstGeom>
          <a:noFill/>
          <a:ln w="38100" cap="flat" cmpd="sng" algn="ctr">
            <a:gradFill>
              <a:gsLst>
                <a:gs pos="0">
                  <a:srgbClr val="F3E700"/>
                </a:gs>
                <a:gs pos="34000">
                  <a:srgbClr val="8CC3CA"/>
                </a:gs>
                <a:gs pos="67000">
                  <a:srgbClr val="2878FF"/>
                </a:gs>
                <a:gs pos="100000">
                  <a:srgbClr val="E228E2"/>
                </a:gs>
              </a:gsLst>
              <a:lin ang="2700000" scaled="0"/>
            </a:gradFill>
            <a:prstDash val="solid"/>
            <a:miter lim="800000"/>
          </a:ln>
          <a:effectLst/>
        </p:spPr>
      </p:cxnSp>
      <p:sp>
        <p:nvSpPr>
          <p:cNvPr id="33" name="Title 23">
            <a:extLst>
              <a:ext uri="{FF2B5EF4-FFF2-40B4-BE49-F238E27FC236}">
                <a16:creationId xmlns:a16="http://schemas.microsoft.com/office/drawing/2014/main" id="{6F3EC2FF-6062-214B-CB3F-3985DE26EF04}"/>
              </a:ext>
            </a:extLst>
          </p:cNvPr>
          <p:cNvSpPr txBox="1">
            <a:spLocks/>
          </p:cNvSpPr>
          <p:nvPr/>
        </p:nvSpPr>
        <p:spPr>
          <a:xfrm>
            <a:off x="565460" y="887216"/>
            <a:ext cx="5405336" cy="333425"/>
          </a:xfrm>
          <a:prstGeom prst="rect">
            <a:avLst/>
          </a:prstGeom>
        </p:spPr>
        <p:txBody>
          <a:bodyPr vert="horz" wrap="square" lIns="0" tIns="0" rIns="0" bIns="0" rtlCol="0" anchor="t" anchorCtr="0">
            <a:spAutoFit/>
          </a:bodyPr>
          <a:lstStyle>
            <a:lvl1pPr algn="l" defTabSz="914377" rtl="0" eaLnBrk="1" latinLnBrk="0" hangingPunct="1">
              <a:lnSpc>
                <a:spcPct val="90000"/>
              </a:lnSpc>
              <a:spcBef>
                <a:spcPct val="0"/>
              </a:spcBef>
              <a:buNone/>
              <a:defRPr sz="3000" b="1" i="0" kern="1200">
                <a:solidFill>
                  <a:schemeClr val="tx2"/>
                </a:solidFill>
                <a:latin typeface="Avenir Next LT Pro" panose="020B0504020202020204" pitchFamily="34" charset="77"/>
                <a:ea typeface="Avenir Next LT Pro" panose="020B0504020202020204" pitchFamily="34" charset="77"/>
                <a:cs typeface="Avenir Next LT Pro" panose="020B0504020202020204" pitchFamily="34" charset="77"/>
              </a:defRPr>
            </a:lvl1pPr>
          </a:lstStyle>
          <a:p>
            <a:pPr>
              <a:lnSpc>
                <a:spcPts val="2550"/>
              </a:lnSpc>
            </a:pPr>
            <a:r>
              <a:rPr lang="en-GB" sz="2600">
                <a:solidFill>
                  <a:schemeClr val="bg1"/>
                </a:solidFill>
              </a:rPr>
              <a:t>Q1 2026 financial </a:t>
            </a:r>
            <a:r>
              <a:rPr lang="en-DK" sz="2600">
                <a:solidFill>
                  <a:schemeClr val="bg1"/>
                </a:solidFill>
              </a:rPr>
              <a:t>results</a:t>
            </a:r>
            <a:endParaRPr lang="en-US" sz="2600">
              <a:solidFill>
                <a:schemeClr val="bg1"/>
              </a:solidFill>
            </a:endParaRPr>
          </a:p>
        </p:txBody>
      </p:sp>
      <p:sp>
        <p:nvSpPr>
          <p:cNvPr id="36" name="Rounded Rectangle 35">
            <a:extLst>
              <a:ext uri="{FF2B5EF4-FFF2-40B4-BE49-F238E27FC236}">
                <a16:creationId xmlns:a16="http://schemas.microsoft.com/office/drawing/2014/main" id="{724FF736-F10F-44CA-1214-CDB2A926741C}"/>
              </a:ext>
            </a:extLst>
          </p:cNvPr>
          <p:cNvSpPr/>
          <p:nvPr/>
        </p:nvSpPr>
        <p:spPr>
          <a:xfrm>
            <a:off x="540486" y="359025"/>
            <a:ext cx="1541860" cy="288000"/>
          </a:xfrm>
          <a:prstGeom prst="roundRect">
            <a:avLst>
              <a:gd name="adj" fmla="val 50000"/>
            </a:avLst>
          </a:prstGeom>
          <a:solidFill>
            <a:schemeClr val="tx2">
              <a:alpha val="49757"/>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a:solidFill>
                  <a:schemeClr val="bg1"/>
                </a:solidFill>
                <a:latin typeface="Avenir Next LT Pro Demi" panose="020B0504020202020204" pitchFamily="34" charset="77"/>
              </a:rPr>
              <a:t>CRO BUSINESS</a:t>
            </a:r>
          </a:p>
        </p:txBody>
      </p:sp>
      <p:graphicFrame>
        <p:nvGraphicFramePr>
          <p:cNvPr id="11" name="Chart 10">
            <a:extLst>
              <a:ext uri="{FF2B5EF4-FFF2-40B4-BE49-F238E27FC236}">
                <a16:creationId xmlns:a16="http://schemas.microsoft.com/office/drawing/2014/main" id="{AE0A6BB2-6084-3430-AB81-5A48F7F338E6}"/>
              </a:ext>
            </a:extLst>
          </p:cNvPr>
          <p:cNvGraphicFramePr/>
          <p:nvPr>
            <p:custDataLst>
              <p:tags r:id="rId2"/>
            </p:custDataLst>
            <p:extLst>
              <p:ext uri="{D42A27DB-BD31-4B8C-83A1-F6EECF244321}">
                <p14:modId xmlns:p14="http://schemas.microsoft.com/office/powerpoint/2010/main" val="2362200907"/>
              </p:ext>
            </p:extLst>
          </p:nvPr>
        </p:nvGraphicFramePr>
        <p:xfrm>
          <a:off x="6381750" y="4033838"/>
          <a:ext cx="2017713" cy="1816100"/>
        </p:xfrm>
        <a:graphic>
          <a:graphicData uri="http://schemas.openxmlformats.org/drawingml/2006/chart">
            <c:chart xmlns:c="http://schemas.openxmlformats.org/drawingml/2006/chart" xmlns:r="http://schemas.openxmlformats.org/officeDocument/2006/relationships" r:id="rId21"/>
          </a:graphicData>
        </a:graphic>
      </p:graphicFrame>
      <p:sp>
        <p:nvSpPr>
          <p:cNvPr id="40" name="Text Placeholder 2">
            <a:extLst>
              <a:ext uri="{FF2B5EF4-FFF2-40B4-BE49-F238E27FC236}">
                <a16:creationId xmlns:a16="http://schemas.microsoft.com/office/drawing/2014/main" id="{E0D83910-A99B-21FC-1FB0-67E4E98BFA7E}"/>
              </a:ext>
            </a:extLst>
          </p:cNvPr>
          <p:cNvSpPr>
            <a:spLocks/>
          </p:cNvSpPr>
          <p:nvPr>
            <p:custDataLst>
              <p:tags r:id="rId3"/>
            </p:custDataLst>
          </p:nvPr>
        </p:nvSpPr>
        <p:spPr bwMode="auto">
          <a:xfrm>
            <a:off x="6588125" y="5721350"/>
            <a:ext cx="3683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lvl1pPr marL="383990" indent="-383990" algn="l" defTabSz="914377" rtl="0" eaLnBrk="1" latinLnBrk="0" hangingPunct="1">
              <a:lnSpc>
                <a:spcPct val="90000"/>
              </a:lnSpc>
              <a:spcBef>
                <a:spcPts val="1000"/>
              </a:spcBef>
              <a:buClr>
                <a:schemeClr val="accent2"/>
              </a:buClr>
              <a:buFont typeface="LucidaGrande" charset="0"/>
              <a:buChar char="+"/>
              <a:defRPr sz="1800" b="0" i="0" kern="1200">
                <a:solidFill>
                  <a:schemeClr val="tx1"/>
                </a:solidFill>
                <a:latin typeface="Avenir Next LT Pro" panose="020B0504020202020204" pitchFamily="34" charset="77"/>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Avenir Next LT Pro" panose="020B0504020202020204" pitchFamily="34" charset="77"/>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Avenir Next LT Pro" panose="020B0504020202020204" pitchFamily="34"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59B608A-D4C5-44AA-A1E7-DC2B1D1EB8A2}" type="datetime'''''''''''''''Q1''''-''''''''2''''02''''''5'''''''''''">
              <a:rPr lang="en-US" altLang="en-US" sz="1200" smtClean="0">
                <a:solidFill>
                  <a:schemeClr val="bg1"/>
                </a:solidFill>
              </a:rPr>
              <a:pPr marL="0" lvl="0" indent="0" algn="ctr">
                <a:spcBef>
                  <a:spcPct val="0"/>
                </a:spcBef>
                <a:spcAft>
                  <a:spcPct val="0"/>
                </a:spcAft>
                <a:buNone/>
              </a:pPr>
              <a:t>Q1-2025</a:t>
            </a:fld>
            <a:endParaRPr lang="en-US" sz="1200">
              <a:solidFill>
                <a:schemeClr val="bg1"/>
              </a:solidFill>
            </a:endParaRPr>
          </a:p>
        </p:txBody>
      </p:sp>
      <p:sp>
        <p:nvSpPr>
          <p:cNvPr id="42" name="Text Placeholder 2">
            <a:extLst>
              <a:ext uri="{FF2B5EF4-FFF2-40B4-BE49-F238E27FC236}">
                <a16:creationId xmlns:a16="http://schemas.microsoft.com/office/drawing/2014/main" id="{F9EF8F43-A6E9-4ACE-9061-BB51EA828F63}"/>
              </a:ext>
            </a:extLst>
          </p:cNvPr>
          <p:cNvSpPr>
            <a:spLocks/>
          </p:cNvSpPr>
          <p:nvPr>
            <p:custDataLst>
              <p:tags r:id="rId4"/>
            </p:custDataLst>
          </p:nvPr>
        </p:nvSpPr>
        <p:spPr bwMode="auto">
          <a:xfrm>
            <a:off x="7205663" y="5721350"/>
            <a:ext cx="3683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lvl1pPr marL="383990" indent="-383990" algn="l" defTabSz="914377" rtl="0" eaLnBrk="1" latinLnBrk="0" hangingPunct="1">
              <a:lnSpc>
                <a:spcPct val="90000"/>
              </a:lnSpc>
              <a:spcBef>
                <a:spcPts val="1000"/>
              </a:spcBef>
              <a:buClr>
                <a:schemeClr val="accent2"/>
              </a:buClr>
              <a:buFont typeface="LucidaGrande" charset="0"/>
              <a:buChar char="+"/>
              <a:defRPr sz="1800" b="0" i="0" kern="1200">
                <a:solidFill>
                  <a:schemeClr val="tx1"/>
                </a:solidFill>
                <a:latin typeface="Avenir Next LT Pro" panose="020B0504020202020204" pitchFamily="34" charset="77"/>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Avenir Next LT Pro" panose="020B0504020202020204" pitchFamily="34" charset="77"/>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Avenir Next LT Pro" panose="020B0504020202020204" pitchFamily="34"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74F1EC9-C0CC-4B37-BA7B-5BD1F0C972BE}" type="datetime'''''''''''''''''''''''Q''4-''''''2''0''''''''''2''''''5'''">
              <a:rPr lang="en-US" altLang="en-US" sz="1200" smtClean="0">
                <a:solidFill>
                  <a:schemeClr val="bg1"/>
                </a:solidFill>
              </a:rPr>
              <a:pPr marL="0" lvl="0" indent="0" algn="ctr">
                <a:spcBef>
                  <a:spcPct val="0"/>
                </a:spcBef>
                <a:spcAft>
                  <a:spcPct val="0"/>
                </a:spcAft>
                <a:buNone/>
              </a:pPr>
              <a:t>Q4-2025</a:t>
            </a:fld>
            <a:endParaRPr lang="en-US" sz="1200">
              <a:solidFill>
                <a:schemeClr val="bg1"/>
              </a:solidFill>
            </a:endParaRPr>
          </a:p>
        </p:txBody>
      </p:sp>
      <p:sp>
        <p:nvSpPr>
          <p:cNvPr id="43" name="Text Placeholder 2">
            <a:extLst>
              <a:ext uri="{FF2B5EF4-FFF2-40B4-BE49-F238E27FC236}">
                <a16:creationId xmlns:a16="http://schemas.microsoft.com/office/drawing/2014/main" id="{9CF9108B-B639-1DFE-A33A-8D4732384B9B}"/>
              </a:ext>
            </a:extLst>
          </p:cNvPr>
          <p:cNvSpPr>
            <a:spLocks/>
          </p:cNvSpPr>
          <p:nvPr>
            <p:custDataLst>
              <p:tags r:id="rId5"/>
            </p:custDataLst>
          </p:nvPr>
        </p:nvSpPr>
        <p:spPr bwMode="auto">
          <a:xfrm>
            <a:off x="7823200" y="5721350"/>
            <a:ext cx="3683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lvl1pPr marL="383990" indent="-383990" algn="l" defTabSz="914377" rtl="0" eaLnBrk="1" latinLnBrk="0" hangingPunct="1">
              <a:lnSpc>
                <a:spcPct val="90000"/>
              </a:lnSpc>
              <a:spcBef>
                <a:spcPts val="1000"/>
              </a:spcBef>
              <a:buClr>
                <a:schemeClr val="accent2"/>
              </a:buClr>
              <a:buFont typeface="LucidaGrande" charset="0"/>
              <a:buChar char="+"/>
              <a:defRPr sz="1800" b="0" i="0" kern="1200">
                <a:solidFill>
                  <a:schemeClr val="tx1"/>
                </a:solidFill>
                <a:latin typeface="Avenir Next LT Pro" panose="020B0504020202020204" pitchFamily="34" charset="77"/>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Avenir Next LT Pro" panose="020B0504020202020204" pitchFamily="34" charset="77"/>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Avenir Next LT Pro" panose="020B0504020202020204" pitchFamily="34"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149E750-BD54-4624-99CB-D88BAF7D1A85}" type="datetime'''''Q''''''''''''''''''''''''''''''1''''''''''''''-2''''02''6'">
              <a:rPr lang="en-US" altLang="en-US" sz="1200" smtClean="0">
                <a:solidFill>
                  <a:schemeClr val="bg1"/>
                </a:solidFill>
              </a:rPr>
              <a:pPr marL="0" lvl="0" indent="0" algn="ctr">
                <a:spcBef>
                  <a:spcPct val="0"/>
                </a:spcBef>
                <a:spcAft>
                  <a:spcPct val="0"/>
                </a:spcAft>
                <a:buNone/>
              </a:pPr>
              <a:t>Q1-2026</a:t>
            </a:fld>
            <a:endParaRPr lang="en-US" sz="1200">
              <a:solidFill>
                <a:schemeClr val="bg1"/>
              </a:solidFill>
            </a:endParaRPr>
          </a:p>
        </p:txBody>
      </p:sp>
      <p:graphicFrame>
        <p:nvGraphicFramePr>
          <p:cNvPr id="12" name="Chart 11">
            <a:extLst>
              <a:ext uri="{FF2B5EF4-FFF2-40B4-BE49-F238E27FC236}">
                <a16:creationId xmlns:a16="http://schemas.microsoft.com/office/drawing/2014/main" id="{EFE20F8D-1EC9-5F89-A2E5-E1EA405977E1}"/>
              </a:ext>
            </a:extLst>
          </p:cNvPr>
          <p:cNvGraphicFramePr/>
          <p:nvPr>
            <p:custDataLst>
              <p:tags r:id="rId6"/>
            </p:custDataLst>
            <p:extLst>
              <p:ext uri="{D42A27DB-BD31-4B8C-83A1-F6EECF244321}">
                <p14:modId xmlns:p14="http://schemas.microsoft.com/office/powerpoint/2010/main" val="1856387192"/>
              </p:ext>
            </p:extLst>
          </p:nvPr>
        </p:nvGraphicFramePr>
        <p:xfrm>
          <a:off x="9413875" y="4329113"/>
          <a:ext cx="2239963" cy="1398587"/>
        </p:xfrm>
        <a:graphic>
          <a:graphicData uri="http://schemas.openxmlformats.org/drawingml/2006/chart">
            <c:chart xmlns:c="http://schemas.openxmlformats.org/drawingml/2006/chart" xmlns:r="http://schemas.openxmlformats.org/officeDocument/2006/relationships" r:id="rId22"/>
          </a:graphicData>
        </a:graphic>
      </p:graphicFrame>
      <p:sp>
        <p:nvSpPr>
          <p:cNvPr id="81" name="Text Placeholder 2">
            <a:extLst>
              <a:ext uri="{FF2B5EF4-FFF2-40B4-BE49-F238E27FC236}">
                <a16:creationId xmlns:a16="http://schemas.microsoft.com/office/drawing/2014/main" id="{6B73E345-7B0A-B542-9596-CB67CDB8AD4E}"/>
              </a:ext>
            </a:extLst>
          </p:cNvPr>
          <p:cNvSpPr>
            <a:spLocks/>
          </p:cNvSpPr>
          <p:nvPr>
            <p:custDataLst>
              <p:tags r:id="rId7"/>
            </p:custDataLst>
          </p:nvPr>
        </p:nvSpPr>
        <p:spPr bwMode="auto">
          <a:xfrm>
            <a:off x="9523413" y="5886450"/>
            <a:ext cx="635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383990" indent="-383990" algn="l" defTabSz="914377" rtl="0" eaLnBrk="1" latinLnBrk="0" hangingPunct="1">
              <a:lnSpc>
                <a:spcPct val="90000"/>
              </a:lnSpc>
              <a:spcBef>
                <a:spcPts val="1000"/>
              </a:spcBef>
              <a:buClr>
                <a:schemeClr val="accent2"/>
              </a:buClr>
              <a:buFont typeface="LucidaGrande" charset="0"/>
              <a:buChar char="+"/>
              <a:defRPr sz="1800" b="0" i="0" kern="1200">
                <a:solidFill>
                  <a:schemeClr val="tx1"/>
                </a:solidFill>
                <a:latin typeface="Avenir Next LT Pro" panose="020B0504020202020204" pitchFamily="34" charset="77"/>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Avenir Next LT Pro" panose="020B0504020202020204" pitchFamily="34" charset="77"/>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Avenir Next LT Pro" panose="020B0504020202020204" pitchFamily="34"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1B0C9F4-35DB-425D-B670-0885AC5B2056}" type="datetime'''''''''''''Q''''''''1''''''''''''-''''20''''''''''2''''''5'''">
              <a:rPr lang="en-US" altLang="en-US" sz="1200" smtClean="0">
                <a:solidFill>
                  <a:schemeClr val="bg1"/>
                </a:solidFill>
              </a:rPr>
              <a:pPr marL="0" lvl="0" indent="0" algn="ctr">
                <a:spcBef>
                  <a:spcPct val="0"/>
                </a:spcBef>
                <a:spcAft>
                  <a:spcPct val="0"/>
                </a:spcAft>
                <a:buNone/>
              </a:pPr>
              <a:t>Q1-2025</a:t>
            </a:fld>
            <a:endParaRPr lang="en-US" sz="1200">
              <a:solidFill>
                <a:schemeClr val="bg1"/>
              </a:solidFill>
            </a:endParaRPr>
          </a:p>
        </p:txBody>
      </p:sp>
      <p:sp>
        <p:nvSpPr>
          <p:cNvPr id="83" name="Text Placeholder 2">
            <a:extLst>
              <a:ext uri="{FF2B5EF4-FFF2-40B4-BE49-F238E27FC236}">
                <a16:creationId xmlns:a16="http://schemas.microsoft.com/office/drawing/2014/main" id="{EA75E77E-105E-F26A-3C43-54B42FFCC2C9}"/>
              </a:ext>
            </a:extLst>
          </p:cNvPr>
          <p:cNvSpPr>
            <a:spLocks/>
          </p:cNvSpPr>
          <p:nvPr>
            <p:custDataLst>
              <p:tags r:id="rId8"/>
            </p:custDataLst>
          </p:nvPr>
        </p:nvSpPr>
        <p:spPr bwMode="auto">
          <a:xfrm>
            <a:off x="10215563" y="5886450"/>
            <a:ext cx="635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383990" indent="-383990" algn="l" defTabSz="914377" rtl="0" eaLnBrk="1" latinLnBrk="0" hangingPunct="1">
              <a:lnSpc>
                <a:spcPct val="90000"/>
              </a:lnSpc>
              <a:spcBef>
                <a:spcPts val="1000"/>
              </a:spcBef>
              <a:buClr>
                <a:schemeClr val="accent2"/>
              </a:buClr>
              <a:buFont typeface="LucidaGrande" charset="0"/>
              <a:buChar char="+"/>
              <a:defRPr sz="1800" b="0" i="0" kern="1200">
                <a:solidFill>
                  <a:schemeClr val="tx1"/>
                </a:solidFill>
                <a:latin typeface="Avenir Next LT Pro" panose="020B0504020202020204" pitchFamily="34" charset="77"/>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Avenir Next LT Pro" panose="020B0504020202020204" pitchFamily="34" charset="77"/>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Avenir Next LT Pro" panose="020B0504020202020204" pitchFamily="34"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228D40D-B78E-40AE-84EC-CCD237107D1C}" type="datetime'''Q''''4-''''''''''''2''''''''''''''0''''2''5'''''''''''''''''">
              <a:rPr lang="en-US" altLang="en-US" sz="1200" smtClean="0">
                <a:solidFill>
                  <a:schemeClr val="bg1"/>
                </a:solidFill>
              </a:rPr>
              <a:pPr marL="0" lvl="0" indent="0" algn="ctr">
                <a:spcBef>
                  <a:spcPct val="0"/>
                </a:spcBef>
                <a:spcAft>
                  <a:spcPct val="0"/>
                </a:spcAft>
                <a:buNone/>
              </a:pPr>
              <a:t>Q4-2025</a:t>
            </a:fld>
            <a:endParaRPr lang="en-US" sz="1200">
              <a:solidFill>
                <a:schemeClr val="bg1"/>
              </a:solidFill>
            </a:endParaRPr>
          </a:p>
        </p:txBody>
      </p:sp>
      <p:sp>
        <p:nvSpPr>
          <p:cNvPr id="84" name="Text Placeholder 2">
            <a:extLst>
              <a:ext uri="{FF2B5EF4-FFF2-40B4-BE49-F238E27FC236}">
                <a16:creationId xmlns:a16="http://schemas.microsoft.com/office/drawing/2014/main" id="{1FAC780E-49B0-356D-8CAE-5631E5FFC85B}"/>
              </a:ext>
            </a:extLst>
          </p:cNvPr>
          <p:cNvSpPr>
            <a:spLocks/>
          </p:cNvSpPr>
          <p:nvPr>
            <p:custDataLst>
              <p:tags r:id="rId9"/>
            </p:custDataLst>
          </p:nvPr>
        </p:nvSpPr>
        <p:spPr bwMode="auto">
          <a:xfrm>
            <a:off x="10906125" y="5886450"/>
            <a:ext cx="635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383990" indent="-383990" algn="l" defTabSz="914377" rtl="0" eaLnBrk="1" latinLnBrk="0" hangingPunct="1">
              <a:lnSpc>
                <a:spcPct val="90000"/>
              </a:lnSpc>
              <a:spcBef>
                <a:spcPts val="1000"/>
              </a:spcBef>
              <a:buClr>
                <a:schemeClr val="accent2"/>
              </a:buClr>
              <a:buFont typeface="LucidaGrande" charset="0"/>
              <a:buChar char="+"/>
              <a:defRPr sz="1800" b="0" i="0" kern="1200">
                <a:solidFill>
                  <a:schemeClr val="tx1"/>
                </a:solidFill>
                <a:latin typeface="Avenir Next LT Pro" panose="020B0504020202020204" pitchFamily="34" charset="77"/>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Avenir Next LT Pro" panose="020B0504020202020204" pitchFamily="34" charset="77"/>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Avenir Next LT Pro" panose="020B0504020202020204" pitchFamily="34"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694B86F-F9CD-4084-8C17-281B25D08D0E}" type="datetime'''''''''Q''''''''1''''''''''''''''''''''-2''''026'''''''''">
              <a:rPr lang="en-US" altLang="en-US" sz="1200" smtClean="0">
                <a:solidFill>
                  <a:schemeClr val="bg1"/>
                </a:solidFill>
              </a:rPr>
              <a:pPr marL="0" lvl="0" indent="0" algn="ctr">
                <a:spcBef>
                  <a:spcPct val="0"/>
                </a:spcBef>
                <a:spcAft>
                  <a:spcPct val="0"/>
                </a:spcAft>
                <a:buNone/>
              </a:pPr>
              <a:t>Q1-2026</a:t>
            </a:fld>
            <a:endParaRPr lang="en-US" sz="1200">
              <a:solidFill>
                <a:schemeClr val="bg1"/>
              </a:solidFill>
            </a:endParaRPr>
          </a:p>
        </p:txBody>
      </p:sp>
      <p:sp>
        <p:nvSpPr>
          <p:cNvPr id="122" name="Text Placeholder 2">
            <a:extLst>
              <a:ext uri="{FF2B5EF4-FFF2-40B4-BE49-F238E27FC236}">
                <a16:creationId xmlns:a16="http://schemas.microsoft.com/office/drawing/2014/main" id="{26125044-6D04-91CB-CCF1-35A428E7768B}"/>
              </a:ext>
            </a:extLst>
          </p:cNvPr>
          <p:cNvSpPr>
            <a:spLocks/>
          </p:cNvSpPr>
          <p:nvPr>
            <p:custDataLst>
              <p:tags r:id="rId10"/>
            </p:custDataLst>
          </p:nvPr>
        </p:nvSpPr>
        <p:spPr bwMode="gray">
          <a:xfrm>
            <a:off x="9666288" y="42211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383990" indent="-383990" algn="l" defTabSz="914377" rtl="0" eaLnBrk="1" latinLnBrk="0" hangingPunct="1">
              <a:lnSpc>
                <a:spcPct val="90000"/>
              </a:lnSpc>
              <a:spcBef>
                <a:spcPts val="1000"/>
              </a:spcBef>
              <a:buClr>
                <a:schemeClr val="accent2"/>
              </a:buClr>
              <a:buFont typeface="LucidaGrande" charset="0"/>
              <a:buChar char="+"/>
              <a:defRPr sz="1800" b="0" i="0" kern="1200">
                <a:solidFill>
                  <a:schemeClr val="tx1"/>
                </a:solidFill>
                <a:latin typeface="Avenir Next LT Pro" panose="020B0504020202020204" pitchFamily="34" charset="77"/>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Avenir Next LT Pro" panose="020B0504020202020204" pitchFamily="34" charset="77"/>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Avenir Next LT Pro" panose="020B0504020202020204" pitchFamily="34"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B8FDDBA-CABD-42E3-BEA2-8408CB124611}" type="datetime'''''''''2''''''1''''''''''''''''''''%'''''">
              <a:rPr lang="en-US" altLang="en-US" sz="1200" smtClean="0">
                <a:solidFill>
                  <a:schemeClr val="bg1"/>
                </a:solidFill>
              </a:rPr>
              <a:pPr marL="0" lvl="0" indent="0" algn="ctr">
                <a:spcBef>
                  <a:spcPct val="0"/>
                </a:spcBef>
                <a:spcAft>
                  <a:spcPct val="0"/>
                </a:spcAft>
                <a:buNone/>
              </a:pPr>
              <a:t>21%</a:t>
            </a:fld>
            <a:endParaRPr lang="en-US" sz="1200">
              <a:solidFill>
                <a:schemeClr val="bg1"/>
              </a:solidFill>
            </a:endParaRPr>
          </a:p>
        </p:txBody>
      </p:sp>
      <p:sp>
        <p:nvSpPr>
          <p:cNvPr id="123" name="Text Placeholder 2">
            <a:extLst>
              <a:ext uri="{FF2B5EF4-FFF2-40B4-BE49-F238E27FC236}">
                <a16:creationId xmlns:a16="http://schemas.microsoft.com/office/drawing/2014/main" id="{9C1D0601-AD3F-04CE-E80F-A6EA2184F576}"/>
              </a:ext>
            </a:extLst>
          </p:cNvPr>
          <p:cNvSpPr>
            <a:spLocks/>
          </p:cNvSpPr>
          <p:nvPr>
            <p:custDataLst>
              <p:tags r:id="rId11"/>
            </p:custDataLst>
          </p:nvPr>
        </p:nvSpPr>
        <p:spPr bwMode="gray">
          <a:xfrm>
            <a:off x="10334625" y="5670550"/>
            <a:ext cx="3984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oAutofit/>
          </a:bodyPr>
          <a:lstStyle>
            <a:lvl1pPr marL="383990" indent="-383990" algn="l" defTabSz="914377" rtl="0" eaLnBrk="1" latinLnBrk="0" hangingPunct="1">
              <a:lnSpc>
                <a:spcPct val="90000"/>
              </a:lnSpc>
              <a:spcBef>
                <a:spcPts val="1000"/>
              </a:spcBef>
              <a:buClr>
                <a:schemeClr val="accent2"/>
              </a:buClr>
              <a:buFont typeface="LucidaGrande" charset="0"/>
              <a:buChar char="+"/>
              <a:defRPr sz="1800" b="0" i="0" kern="1200">
                <a:solidFill>
                  <a:schemeClr val="tx1"/>
                </a:solidFill>
                <a:latin typeface="Avenir Next LT Pro" panose="020B0504020202020204" pitchFamily="34" charset="77"/>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Avenir Next LT Pro" panose="020B0504020202020204" pitchFamily="34" charset="77"/>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Avenir Next LT Pro" panose="020B0504020202020204" pitchFamily="34"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EC51630-4FE4-4C22-92AF-91FE18D29E73}" type="datetime'''-''1''''''''''''''''''''''''''''''''4''''''''''''''''''%'">
              <a:rPr lang="en-US" altLang="en-US" sz="1200" smtClean="0">
                <a:solidFill>
                  <a:schemeClr val="bg1"/>
                </a:solidFill>
              </a:rPr>
              <a:pPr marL="0" lvl="0" indent="0" algn="ctr">
                <a:spcBef>
                  <a:spcPct val="0"/>
                </a:spcBef>
                <a:spcAft>
                  <a:spcPct val="0"/>
                </a:spcAft>
                <a:buNone/>
              </a:pPr>
              <a:t>-14%</a:t>
            </a:fld>
            <a:endParaRPr lang="en-US" sz="1200">
              <a:solidFill>
                <a:schemeClr val="bg1"/>
              </a:solidFill>
            </a:endParaRPr>
          </a:p>
        </p:txBody>
      </p:sp>
      <p:sp>
        <p:nvSpPr>
          <p:cNvPr id="124" name="Text Placeholder 2">
            <a:extLst>
              <a:ext uri="{FF2B5EF4-FFF2-40B4-BE49-F238E27FC236}">
                <a16:creationId xmlns:a16="http://schemas.microsoft.com/office/drawing/2014/main" id="{1BE3C585-6898-2EE5-8B0F-739BDA24EFDE}"/>
              </a:ext>
            </a:extLst>
          </p:cNvPr>
          <p:cNvSpPr>
            <a:spLocks/>
          </p:cNvSpPr>
          <p:nvPr>
            <p:custDataLst>
              <p:tags r:id="rId12"/>
            </p:custDataLst>
          </p:nvPr>
        </p:nvSpPr>
        <p:spPr bwMode="gray">
          <a:xfrm>
            <a:off x="11093450" y="4948238"/>
            <a:ext cx="2603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383990" indent="-383990" algn="l" defTabSz="914377" rtl="0" eaLnBrk="1" latinLnBrk="0" hangingPunct="1">
              <a:lnSpc>
                <a:spcPct val="90000"/>
              </a:lnSpc>
              <a:spcBef>
                <a:spcPts val="1000"/>
              </a:spcBef>
              <a:buClr>
                <a:schemeClr val="accent2"/>
              </a:buClr>
              <a:buFont typeface="LucidaGrande" charset="0"/>
              <a:buChar char="+"/>
              <a:defRPr sz="1800" b="0" i="0" kern="1200">
                <a:solidFill>
                  <a:schemeClr val="tx1"/>
                </a:solidFill>
                <a:latin typeface="Avenir Next LT Pro" panose="020B0504020202020204" pitchFamily="34" charset="77"/>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Avenir Next LT Pro" panose="020B0504020202020204" pitchFamily="34" charset="77"/>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Avenir Next LT Pro" panose="020B0504020202020204" pitchFamily="34"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1B0E4F8-0886-46C2-A02E-8D2D03188644}" type="datetime'''''''''''''''''''''''''''''''''0''''''''%'''''''''''''''''">
              <a:rPr lang="en-US" altLang="en-US" sz="1200" smtClean="0">
                <a:solidFill>
                  <a:schemeClr val="bg1"/>
                </a:solidFill>
              </a:rPr>
              <a:pPr marL="0" lvl="0" indent="0" algn="ctr">
                <a:spcBef>
                  <a:spcPct val="0"/>
                </a:spcBef>
                <a:spcAft>
                  <a:spcPct val="0"/>
                </a:spcAft>
                <a:buNone/>
              </a:pPr>
              <a:t>0%</a:t>
            </a:fld>
            <a:endParaRPr lang="en-US" sz="1200">
              <a:solidFill>
                <a:schemeClr val="bg1"/>
              </a:solidFill>
            </a:endParaRPr>
          </a:p>
        </p:txBody>
      </p:sp>
      <p:graphicFrame>
        <p:nvGraphicFramePr>
          <p:cNvPr id="5" name="Chart 4">
            <a:extLst>
              <a:ext uri="{FF2B5EF4-FFF2-40B4-BE49-F238E27FC236}">
                <a16:creationId xmlns:a16="http://schemas.microsoft.com/office/drawing/2014/main" id="{AC382909-94E5-D4FC-48E0-E17E26BCC1FE}"/>
              </a:ext>
            </a:extLst>
          </p:cNvPr>
          <p:cNvGraphicFramePr/>
          <p:nvPr>
            <p:custDataLst>
              <p:tags r:id="rId13"/>
            </p:custDataLst>
            <p:extLst>
              <p:ext uri="{D42A27DB-BD31-4B8C-83A1-F6EECF244321}">
                <p14:modId xmlns:p14="http://schemas.microsoft.com/office/powerpoint/2010/main" val="2078607063"/>
              </p:ext>
            </p:extLst>
          </p:nvPr>
        </p:nvGraphicFramePr>
        <p:xfrm>
          <a:off x="6381750" y="1033463"/>
          <a:ext cx="2741613" cy="2095500"/>
        </p:xfrm>
        <a:graphic>
          <a:graphicData uri="http://schemas.openxmlformats.org/drawingml/2006/chart">
            <c:chart xmlns:c="http://schemas.openxmlformats.org/drawingml/2006/chart" xmlns:r="http://schemas.openxmlformats.org/officeDocument/2006/relationships" r:id="rId23"/>
          </a:graphicData>
        </a:graphic>
      </p:graphicFrame>
      <p:sp>
        <p:nvSpPr>
          <p:cNvPr id="143" name="Text Placeholder 2">
            <a:extLst>
              <a:ext uri="{FF2B5EF4-FFF2-40B4-BE49-F238E27FC236}">
                <a16:creationId xmlns:a16="http://schemas.microsoft.com/office/drawing/2014/main" id="{2956E057-C3B4-2774-884B-80DAA815B0E4}"/>
              </a:ext>
            </a:extLst>
          </p:cNvPr>
          <p:cNvSpPr>
            <a:spLocks/>
          </p:cNvSpPr>
          <p:nvPr>
            <p:custDataLst>
              <p:tags r:id="rId14"/>
            </p:custDataLst>
          </p:nvPr>
        </p:nvSpPr>
        <p:spPr bwMode="auto">
          <a:xfrm>
            <a:off x="6581775" y="2913063"/>
            <a:ext cx="6238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383990" indent="-383990" algn="l" defTabSz="914377" rtl="0" eaLnBrk="1" latinLnBrk="0" hangingPunct="1">
              <a:lnSpc>
                <a:spcPct val="90000"/>
              </a:lnSpc>
              <a:spcBef>
                <a:spcPts val="1000"/>
              </a:spcBef>
              <a:buClr>
                <a:schemeClr val="accent2"/>
              </a:buClr>
              <a:buFont typeface="LucidaGrande" charset="0"/>
              <a:buChar char="+"/>
              <a:defRPr sz="1800" b="0" i="0" kern="1200">
                <a:solidFill>
                  <a:schemeClr val="tx1"/>
                </a:solidFill>
                <a:latin typeface="Avenir Next LT Pro" panose="020B0504020202020204" pitchFamily="34" charset="77"/>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Avenir Next LT Pro" panose="020B0504020202020204" pitchFamily="34" charset="77"/>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Avenir Next LT Pro" panose="020B0504020202020204" pitchFamily="34"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96C7701-50AF-491C-BCCB-AEF4B5181627}" type="datetime'''''''''Q''1'''''' ''2''''''''''''0''''2''''''5'''''">
              <a:rPr lang="en-US" altLang="en-US" sz="1200" smtClean="0">
                <a:solidFill>
                  <a:schemeClr val="bg1"/>
                </a:solidFill>
              </a:rPr>
              <a:pPr marL="0" lvl="0" indent="0" algn="ctr">
                <a:spcBef>
                  <a:spcPct val="0"/>
                </a:spcBef>
                <a:spcAft>
                  <a:spcPct val="0"/>
                </a:spcAft>
                <a:buNone/>
              </a:pPr>
              <a:t>Q1 2025</a:t>
            </a:fld>
            <a:endParaRPr lang="en-US" sz="1200">
              <a:solidFill>
                <a:schemeClr val="bg1"/>
              </a:solidFill>
            </a:endParaRPr>
          </a:p>
        </p:txBody>
      </p:sp>
      <p:sp>
        <p:nvSpPr>
          <p:cNvPr id="134" name="Text Placeholder 2">
            <a:extLst>
              <a:ext uri="{FF2B5EF4-FFF2-40B4-BE49-F238E27FC236}">
                <a16:creationId xmlns:a16="http://schemas.microsoft.com/office/drawing/2014/main" id="{69BB2267-7E7B-613A-2C15-DA0ADF24FA44}"/>
              </a:ext>
            </a:extLst>
          </p:cNvPr>
          <p:cNvSpPr>
            <a:spLocks/>
          </p:cNvSpPr>
          <p:nvPr>
            <p:custDataLst>
              <p:tags r:id="rId15"/>
            </p:custDataLst>
          </p:nvPr>
        </p:nvSpPr>
        <p:spPr bwMode="auto">
          <a:xfrm>
            <a:off x="7440613" y="2913063"/>
            <a:ext cx="6238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383990" indent="-383990" algn="l" defTabSz="914377" rtl="0" eaLnBrk="1" latinLnBrk="0" hangingPunct="1">
              <a:lnSpc>
                <a:spcPct val="90000"/>
              </a:lnSpc>
              <a:spcBef>
                <a:spcPts val="1000"/>
              </a:spcBef>
              <a:buClr>
                <a:schemeClr val="accent2"/>
              </a:buClr>
              <a:buFont typeface="LucidaGrande" charset="0"/>
              <a:buChar char="+"/>
              <a:defRPr sz="1800" b="0" i="0" kern="1200">
                <a:solidFill>
                  <a:schemeClr val="tx1"/>
                </a:solidFill>
                <a:latin typeface="Avenir Next LT Pro" panose="020B0504020202020204" pitchFamily="34" charset="77"/>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Avenir Next LT Pro" panose="020B0504020202020204" pitchFamily="34" charset="77"/>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Avenir Next LT Pro" panose="020B0504020202020204" pitchFamily="34"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11C7FD3-E80F-4DCB-A48D-0730F7D79773}" type="datetime'''''''''Q''''''''''''''4 2''''''''''0''''''''''2''''''''5'">
              <a:rPr lang="en-US" altLang="en-US" sz="1200" smtClean="0">
                <a:solidFill>
                  <a:schemeClr val="bg1"/>
                </a:solidFill>
              </a:rPr>
              <a:pPr marL="0" lvl="0" indent="0" algn="ctr">
                <a:spcBef>
                  <a:spcPct val="0"/>
                </a:spcBef>
                <a:spcAft>
                  <a:spcPct val="0"/>
                </a:spcAft>
                <a:buNone/>
              </a:pPr>
              <a:t>Q4 2025</a:t>
            </a:fld>
            <a:endParaRPr lang="en-US" sz="1200">
              <a:solidFill>
                <a:schemeClr val="bg1"/>
              </a:solidFill>
            </a:endParaRPr>
          </a:p>
        </p:txBody>
      </p:sp>
      <p:sp>
        <p:nvSpPr>
          <p:cNvPr id="135" name="Text Placeholder 2">
            <a:extLst>
              <a:ext uri="{FF2B5EF4-FFF2-40B4-BE49-F238E27FC236}">
                <a16:creationId xmlns:a16="http://schemas.microsoft.com/office/drawing/2014/main" id="{4E12ADD1-D6B3-5174-A55B-22E0703A18FE}"/>
              </a:ext>
            </a:extLst>
          </p:cNvPr>
          <p:cNvSpPr>
            <a:spLocks/>
          </p:cNvSpPr>
          <p:nvPr>
            <p:custDataLst>
              <p:tags r:id="rId16"/>
            </p:custDataLst>
          </p:nvPr>
        </p:nvSpPr>
        <p:spPr bwMode="auto">
          <a:xfrm>
            <a:off x="8299450" y="2913063"/>
            <a:ext cx="6238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383990" indent="-383990" algn="l" defTabSz="914377" rtl="0" eaLnBrk="1" latinLnBrk="0" hangingPunct="1">
              <a:lnSpc>
                <a:spcPct val="90000"/>
              </a:lnSpc>
              <a:spcBef>
                <a:spcPts val="1000"/>
              </a:spcBef>
              <a:buClr>
                <a:schemeClr val="accent2"/>
              </a:buClr>
              <a:buFont typeface="LucidaGrande" charset="0"/>
              <a:buChar char="+"/>
              <a:defRPr sz="1800" b="0" i="0" kern="1200">
                <a:solidFill>
                  <a:schemeClr val="tx1"/>
                </a:solidFill>
                <a:latin typeface="Avenir Next LT Pro" panose="020B0504020202020204" pitchFamily="34" charset="77"/>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Avenir Next LT Pro" panose="020B0504020202020204" pitchFamily="34" charset="77"/>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Avenir Next LT Pro" panose="020B0504020202020204" pitchFamily="34"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1E10EED-B64D-4D49-86E8-0B2B8A05A1A9}" type="datetime'''''''''''''''''''''Q1'''''''''''' 20''''2''6'''''''''">
              <a:rPr lang="en-US" altLang="en-US" sz="1200" smtClean="0">
                <a:solidFill>
                  <a:schemeClr val="bg1"/>
                </a:solidFill>
              </a:rPr>
              <a:pPr marL="0" lvl="0" indent="0" algn="ctr">
                <a:spcBef>
                  <a:spcPct val="0"/>
                </a:spcBef>
                <a:spcAft>
                  <a:spcPct val="0"/>
                </a:spcAft>
                <a:buNone/>
              </a:pPr>
              <a:t>Q1 2026</a:t>
            </a:fld>
            <a:endParaRPr lang="en-US" sz="1200">
              <a:solidFill>
                <a:schemeClr val="bg1"/>
              </a:solidFill>
            </a:endParaRPr>
          </a:p>
        </p:txBody>
      </p:sp>
    </p:spTree>
    <p:extLst>
      <p:ext uri="{BB962C8B-B14F-4D97-AF65-F5344CB8AC3E}">
        <p14:creationId xmlns:p14="http://schemas.microsoft.com/office/powerpoint/2010/main" val="1638789848"/>
      </p:ext>
    </p:extLst>
  </p:cSld>
  <p:clrMapOvr>
    <a:masterClrMapping/>
  </p:clrMapOvr>
  <p:transition spd="slow">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190934B-BD57-B2E8-2439-8B33C2BA958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7190934B-BD57-B2E8-2439-8B33C2BA95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A253BB-5C01-FDE5-84E5-B734DC433AFB}"/>
              </a:ext>
            </a:extLst>
          </p:cNvPr>
          <p:cNvSpPr>
            <a:spLocks noGrp="1"/>
          </p:cNvSpPr>
          <p:nvPr>
            <p:ph type="title"/>
          </p:nvPr>
        </p:nvSpPr>
        <p:spPr/>
        <p:txBody>
          <a:bodyPr vert="horz"/>
          <a:lstStyle/>
          <a:p>
            <a:r>
              <a:rPr lang="en-GB" sz="2600">
                <a:solidFill>
                  <a:schemeClr val="tx1"/>
                </a:solidFill>
              </a:rPr>
              <a:t>Financial outlook and guidance</a:t>
            </a:r>
            <a:endParaRPr lang="en-DK" sz="2600">
              <a:solidFill>
                <a:schemeClr val="tx1"/>
              </a:solidFill>
            </a:endParaRPr>
          </a:p>
        </p:txBody>
      </p:sp>
      <p:sp>
        <p:nvSpPr>
          <p:cNvPr id="5" name="Rectangle 4">
            <a:extLst>
              <a:ext uri="{FF2B5EF4-FFF2-40B4-BE49-F238E27FC236}">
                <a16:creationId xmlns:a16="http://schemas.microsoft.com/office/drawing/2014/main" id="{C2B83105-9201-DD86-A527-E4EB0D87CF5F}"/>
              </a:ext>
            </a:extLst>
          </p:cNvPr>
          <p:cNvSpPr/>
          <p:nvPr/>
        </p:nvSpPr>
        <p:spPr>
          <a:xfrm>
            <a:off x="544936" y="4928467"/>
            <a:ext cx="9932564" cy="41758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R="0" lvl="0" algn="l" defTabSz="914446" rtl="0" eaLnBrk="1" fontAlgn="auto" latinLnBrk="0" hangingPunct="1">
              <a:lnSpc>
                <a:spcPct val="100000"/>
              </a:lnSpc>
              <a:spcBef>
                <a:spcPts val="0"/>
              </a:spcBef>
              <a:spcAft>
                <a:spcPts val="600"/>
              </a:spcAft>
              <a:buClrTx/>
              <a:buSzTx/>
              <a:tabLst/>
              <a:defRPr/>
            </a:pPr>
            <a:r>
              <a:rPr kumimoji="0" lang="en-GB" sz="1000" b="0" i="0" u="none" strike="noStrike" kern="1200" cap="none" spc="0" normalizeH="0" baseline="30000" noProof="0">
                <a:ln>
                  <a:noFill/>
                </a:ln>
                <a:solidFill>
                  <a:srgbClr val="001965"/>
                </a:solidFill>
                <a:effectLst/>
                <a:uLnTx/>
                <a:uFillTx/>
                <a:latin typeface="Avenir Next LT Pro"/>
                <a:ea typeface="+mn-ea"/>
                <a:cs typeface="+mn-cs"/>
              </a:rPr>
              <a:t>1</a:t>
            </a:r>
            <a:r>
              <a:rPr kumimoji="0" lang="en-GB" sz="1000" b="0" i="0" u="none" strike="noStrike" kern="1200" cap="none" spc="0" normalizeH="0" baseline="0" noProof="0">
                <a:ln>
                  <a:noFill/>
                </a:ln>
                <a:solidFill>
                  <a:srgbClr val="001965"/>
                </a:solidFill>
                <a:effectLst/>
                <a:uLnTx/>
                <a:uFillTx/>
                <a:latin typeface="Avenir Next LT Pro"/>
                <a:ea typeface="+mn-ea"/>
                <a:cs typeface="+mn-cs"/>
              </a:rPr>
              <a:t>Total costs are cost of sales and operating costs</a:t>
            </a:r>
          </a:p>
        </p:txBody>
      </p:sp>
      <p:graphicFrame>
        <p:nvGraphicFramePr>
          <p:cNvPr id="6" name="Table 6">
            <a:extLst>
              <a:ext uri="{FF2B5EF4-FFF2-40B4-BE49-F238E27FC236}">
                <a16:creationId xmlns:a16="http://schemas.microsoft.com/office/drawing/2014/main" id="{1C284BE7-FF0F-B65F-4AC1-621CEFA93371}"/>
              </a:ext>
            </a:extLst>
          </p:cNvPr>
          <p:cNvGraphicFramePr>
            <a:graphicFrameLocks noGrp="1"/>
          </p:cNvGraphicFramePr>
          <p:nvPr>
            <p:extLst>
              <p:ext uri="{D42A27DB-BD31-4B8C-83A1-F6EECF244321}">
                <p14:modId xmlns:p14="http://schemas.microsoft.com/office/powerpoint/2010/main" val="3557793441"/>
              </p:ext>
            </p:extLst>
          </p:nvPr>
        </p:nvGraphicFramePr>
        <p:xfrm>
          <a:off x="565460" y="1396950"/>
          <a:ext cx="10626414" cy="3487348"/>
        </p:xfrm>
        <a:graphic>
          <a:graphicData uri="http://schemas.openxmlformats.org/drawingml/2006/table">
            <a:tbl>
              <a:tblPr firstRow="1" bandRow="1">
                <a:tableStyleId>{616DA210-FB5B-4158-B5E0-FEB733F419BA}</a:tableStyleId>
              </a:tblPr>
              <a:tblGrid>
                <a:gridCol w="3475602">
                  <a:extLst>
                    <a:ext uri="{9D8B030D-6E8A-4147-A177-3AD203B41FA5}">
                      <a16:colId xmlns:a16="http://schemas.microsoft.com/office/drawing/2014/main" val="4006545121"/>
                    </a:ext>
                  </a:extLst>
                </a:gridCol>
                <a:gridCol w="1787703">
                  <a:extLst>
                    <a:ext uri="{9D8B030D-6E8A-4147-A177-3AD203B41FA5}">
                      <a16:colId xmlns:a16="http://schemas.microsoft.com/office/drawing/2014/main" val="1161485815"/>
                    </a:ext>
                  </a:extLst>
                </a:gridCol>
                <a:gridCol w="1787703">
                  <a:extLst>
                    <a:ext uri="{9D8B030D-6E8A-4147-A177-3AD203B41FA5}">
                      <a16:colId xmlns:a16="http://schemas.microsoft.com/office/drawing/2014/main" val="3253498971"/>
                    </a:ext>
                  </a:extLst>
                </a:gridCol>
                <a:gridCol w="1787703">
                  <a:extLst>
                    <a:ext uri="{9D8B030D-6E8A-4147-A177-3AD203B41FA5}">
                      <a16:colId xmlns:a16="http://schemas.microsoft.com/office/drawing/2014/main" val="497795554"/>
                    </a:ext>
                  </a:extLst>
                </a:gridCol>
                <a:gridCol w="1787703">
                  <a:extLst>
                    <a:ext uri="{9D8B030D-6E8A-4147-A177-3AD203B41FA5}">
                      <a16:colId xmlns:a16="http://schemas.microsoft.com/office/drawing/2014/main" val="1670930578"/>
                    </a:ext>
                  </a:extLst>
                </a:gridCol>
              </a:tblGrid>
              <a:tr h="528302">
                <a:tc>
                  <a:txBody>
                    <a:bodyPr/>
                    <a:lstStyle/>
                    <a:p>
                      <a:pPr algn="l" fontAlgn="ctr">
                        <a:buNone/>
                      </a:pPr>
                      <a:r>
                        <a:rPr lang="en-GB" sz="1600" b="1" i="0" u="none" strike="noStrike">
                          <a:solidFill>
                            <a:schemeClr val="tx1"/>
                          </a:solidFill>
                          <a:effectLst/>
                          <a:latin typeface="Avenir Next LT Pro Demi" panose="020B0504020202020204" pitchFamily="34" charset="77"/>
                        </a:rPr>
                        <a:t>Key guidance items</a:t>
                      </a:r>
                    </a:p>
                  </a:txBody>
                  <a:tcPr marR="0" marT="0" marB="0">
                    <a:lnL w="12700" cmpd="sng">
                      <a:noFill/>
                    </a:lnL>
                    <a:lnR w="12700" cmpd="sng">
                      <a:noFill/>
                    </a:lnR>
                    <a:lnT w="12700" cmpd="sng">
                      <a:noFill/>
                    </a:lnT>
                    <a:lnB w="25400" cmpd="sng">
                      <a:noFill/>
                    </a:lnB>
                    <a:lnTlToBr w="12700" cmpd="sng">
                      <a:noFill/>
                      <a:prstDash val="solid"/>
                    </a:lnTlToBr>
                    <a:lnBlToTr w="12700" cmpd="sng">
                      <a:noFill/>
                      <a:prstDash val="solid"/>
                    </a:lnBlToTr>
                  </a:tcPr>
                </a:tc>
                <a:tc>
                  <a:txBody>
                    <a:bodyPr/>
                    <a:lstStyle/>
                    <a:p>
                      <a:pPr marL="0" marR="0" lvl="0" indent="0" algn="ctr" defTabSz="914377" rtl="0" eaLnBrk="1" fontAlgn="ctr" latinLnBrk="0" hangingPunct="1">
                        <a:lnSpc>
                          <a:spcPct val="100000"/>
                        </a:lnSpc>
                        <a:spcBef>
                          <a:spcPts val="0"/>
                        </a:spcBef>
                        <a:spcAft>
                          <a:spcPts val="0"/>
                        </a:spcAft>
                        <a:buClrTx/>
                        <a:buSzTx/>
                        <a:buFontTx/>
                        <a:buNone/>
                        <a:tabLst/>
                        <a:defRPr/>
                      </a:pPr>
                      <a:r>
                        <a:rPr lang="en-GB" sz="1600" b="1" i="0" u="none" strike="noStrike">
                          <a:solidFill>
                            <a:schemeClr val="tx1"/>
                          </a:solidFill>
                          <a:effectLst/>
                          <a:latin typeface="Avenir Next LT Pro Demi" panose="020B0504020202020204" pitchFamily="34" charset="77"/>
                        </a:rPr>
                        <a:t>2026 outlook</a:t>
                      </a:r>
                    </a:p>
                  </a:txBody>
                  <a:tcPr marL="0" marR="0" marT="0" marB="0">
                    <a:lnL w="12700" cmpd="sng">
                      <a:noFill/>
                    </a:lnL>
                    <a:lnR w="12700" cmpd="sng">
                      <a:noFill/>
                    </a:lnR>
                    <a:lnT w="12700" cmpd="sng">
                      <a:noFill/>
                    </a:lnT>
                    <a:lnB w="25400" cmpd="sng">
                      <a:noFill/>
                    </a:lnB>
                    <a:lnTlToBr w="12700" cmpd="sng">
                      <a:noFill/>
                      <a:prstDash val="solid"/>
                    </a:lnTlToBr>
                    <a:lnBlToTr w="12700" cmpd="sng">
                      <a:noFill/>
                      <a:prstDash val="solid"/>
                    </a:lnBlToTr>
                  </a:tcPr>
                </a:tc>
                <a:tc>
                  <a:txBody>
                    <a:bodyPr/>
                    <a:lstStyle/>
                    <a:p>
                      <a:pPr algn="ctr" fontAlgn="ctr">
                        <a:buNone/>
                      </a:pPr>
                      <a:r>
                        <a:rPr lang="en-GB" sz="1600" b="1" i="0" u="none" strike="noStrike">
                          <a:solidFill>
                            <a:schemeClr val="tx1"/>
                          </a:solidFill>
                          <a:effectLst/>
                          <a:latin typeface="Avenir Next LT Pro Demi" panose="020B0504020202020204" pitchFamily="34" charset="77"/>
                        </a:rPr>
                        <a:t>Previous 2026 outlook</a:t>
                      </a:r>
                    </a:p>
                  </a:txBody>
                  <a:tcPr marL="0" marR="0" marT="0" marB="0">
                    <a:lnL w="12700" cmpd="sng">
                      <a:noFill/>
                    </a:lnL>
                    <a:lnR w="12700" cmpd="sng">
                      <a:noFill/>
                    </a:lnR>
                    <a:lnT w="12700" cmpd="sng">
                      <a:noFill/>
                    </a:lnT>
                    <a:lnB w="25400" cmpd="sng">
                      <a:noFill/>
                    </a:lnB>
                    <a:lnTlToBr w="12700" cmpd="sng">
                      <a:noFill/>
                      <a:prstDash val="solid"/>
                    </a:lnTlToBr>
                    <a:lnBlToTr w="12700" cmpd="sng">
                      <a:noFill/>
                      <a:prstDash val="solid"/>
                    </a:lnBlToTr>
                  </a:tcPr>
                </a:tc>
                <a:tc>
                  <a:txBody>
                    <a:bodyPr/>
                    <a:lstStyle/>
                    <a:p>
                      <a:pPr algn="ctr" fontAlgn="ctr">
                        <a:buNone/>
                      </a:pPr>
                      <a:r>
                        <a:rPr lang="en-GB" sz="1600" b="1" i="0" u="none" strike="noStrike">
                          <a:solidFill>
                            <a:schemeClr val="tx1"/>
                          </a:solidFill>
                          <a:effectLst/>
                          <a:latin typeface="Avenir Next LT Pro Demi" panose="020B0504020202020204" pitchFamily="34" charset="77"/>
                        </a:rPr>
                        <a:t>Mid-term guidance</a:t>
                      </a:r>
                    </a:p>
                  </a:txBody>
                  <a:tcPr marL="0" marR="0" marT="0" marB="0">
                    <a:lnL w="12700" cmpd="sng">
                      <a:noFill/>
                    </a:lnL>
                    <a:lnR w="12700" cmpd="sng">
                      <a:noFill/>
                    </a:lnR>
                    <a:lnT w="12700" cmpd="sng">
                      <a:noFill/>
                    </a:lnT>
                    <a:lnB w="25400" cmpd="sng">
                      <a:noFill/>
                    </a:lnB>
                    <a:lnTlToBr w="12700" cmpd="sng">
                      <a:noFill/>
                      <a:prstDash val="solid"/>
                    </a:lnTlToBr>
                    <a:lnBlToTr w="12700" cmpd="sng">
                      <a:noFill/>
                      <a:prstDash val="solid"/>
                    </a:lnBlToTr>
                  </a:tcPr>
                </a:tc>
                <a:tc>
                  <a:txBody>
                    <a:bodyPr/>
                    <a:lstStyle/>
                    <a:p>
                      <a:pPr algn="ctr" fontAlgn="ctr">
                        <a:buNone/>
                      </a:pPr>
                      <a:r>
                        <a:rPr lang="en-GB" sz="1600" b="1" i="0" u="none" strike="noStrike">
                          <a:solidFill>
                            <a:schemeClr val="tx1"/>
                          </a:solidFill>
                          <a:effectLst/>
                          <a:latin typeface="Avenir Next LT Pro Demi" panose="020B0504020202020204" pitchFamily="34" charset="77"/>
                        </a:rPr>
                        <a:t>Results 2025</a:t>
                      </a:r>
                    </a:p>
                  </a:txBody>
                  <a:tcPr marL="0" marR="0" marT="0" marB="0">
                    <a:lnL w="12700" cmpd="sng">
                      <a:noFill/>
                    </a:lnL>
                    <a:lnR w="12700" cmpd="sng">
                      <a:noFill/>
                    </a:lnR>
                    <a:lnT w="12700" cmpd="sng">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3432337328"/>
                  </a:ext>
                </a:extLst>
              </a:tr>
              <a:tr h="354680">
                <a:tc>
                  <a:txBody>
                    <a:bodyPr/>
                    <a:lstStyle/>
                    <a:p>
                      <a:pPr algn="l" fontAlgn="ctr">
                        <a:buNone/>
                      </a:pPr>
                      <a:r>
                        <a:rPr lang="en-GB" sz="1400" b="1" i="0" u="none" strike="noStrike">
                          <a:solidFill>
                            <a:srgbClr val="001965"/>
                          </a:solidFill>
                          <a:effectLst/>
                          <a:latin typeface="Avenir Next LT Pro Demi" panose="020B0504020202020204" pitchFamily="34" charset="77"/>
                        </a:rPr>
                        <a:t>Biotech Segment</a:t>
                      </a:r>
                    </a:p>
                  </a:txBody>
                  <a:tcPr marR="0" marT="0" marB="0" anchor="ctr">
                    <a:lnL w="12700" cmpd="sng">
                      <a:noFill/>
                    </a:lnL>
                    <a:lnR w="12700" cmpd="sng">
                      <a:noFill/>
                    </a:lnR>
                    <a:lnT w="25400" cmpd="sng">
                      <a:noFill/>
                    </a:lnT>
                    <a:lnB w="12700" cmpd="sng">
                      <a:noFill/>
                    </a:lnB>
                    <a:lnTlToBr w="12700" cmpd="sng">
                      <a:noFill/>
                      <a:prstDash val="solid"/>
                    </a:lnTlToBr>
                    <a:lnBlToTr w="12700" cmpd="sng">
                      <a:noFill/>
                      <a:prstDash val="solid"/>
                    </a:lnBlToTr>
                    <a:noFill/>
                  </a:tcPr>
                </a:tc>
                <a:tc>
                  <a:txBody>
                    <a:bodyPr/>
                    <a:lstStyle/>
                    <a:p>
                      <a:pPr algn="l" fontAlgn="b">
                        <a:buNone/>
                      </a:pPr>
                      <a:endParaRPr lang="en-DK" sz="1400" b="0" i="0" u="none" strike="noStrike">
                        <a:solidFill>
                          <a:srgbClr val="001965"/>
                        </a:solidFill>
                        <a:effectLst/>
                        <a:latin typeface="Avenir Next LT Pro" panose="020B0504020202020204" pitchFamily="34" charset="0"/>
                      </a:endParaRPr>
                    </a:p>
                  </a:txBody>
                  <a:tcPr marL="0" marR="0" marT="0" marB="0" anchor="ctr">
                    <a:lnL w="12700" cmpd="sng">
                      <a:noFill/>
                    </a:lnL>
                    <a:lnR w="12700" cmpd="sng">
                      <a:noFill/>
                    </a:lnR>
                    <a:lnT w="25400" cmpd="sng">
                      <a:noFill/>
                    </a:lnT>
                    <a:lnB w="12700" cmpd="sng">
                      <a:noFill/>
                    </a:lnB>
                    <a:lnTlToBr w="12700" cmpd="sng">
                      <a:noFill/>
                      <a:prstDash val="solid"/>
                    </a:lnTlToBr>
                    <a:lnBlToTr w="12700" cmpd="sng">
                      <a:noFill/>
                      <a:prstDash val="solid"/>
                    </a:lnBlToTr>
                    <a:noFill/>
                  </a:tcPr>
                </a:tc>
                <a:tc>
                  <a:txBody>
                    <a:bodyPr/>
                    <a:lstStyle/>
                    <a:p>
                      <a:pPr algn="l" fontAlgn="b">
                        <a:buNone/>
                      </a:pPr>
                      <a:r>
                        <a:rPr lang="en-DK" sz="1400" b="0" u="none" strike="noStrike">
                          <a:solidFill>
                            <a:srgbClr val="001965"/>
                          </a:solidFill>
                          <a:effectLst/>
                          <a:latin typeface="Avenir Next LT Pro" panose="020B0504020202020204" pitchFamily="34" charset="0"/>
                        </a:rPr>
                        <a:t> </a:t>
                      </a:r>
                      <a:endParaRPr lang="en-DK" sz="1400" b="0" i="0" u="none" strike="noStrike">
                        <a:solidFill>
                          <a:srgbClr val="001965"/>
                        </a:solidFill>
                        <a:effectLst/>
                        <a:latin typeface="Avenir Next LT Pro" panose="020B0504020202020204" pitchFamily="34" charset="0"/>
                      </a:endParaRPr>
                    </a:p>
                  </a:txBody>
                  <a:tcPr marL="0" marR="0" marT="0" marB="0" anchor="ctr">
                    <a:lnL w="12700" cmpd="sng">
                      <a:noFill/>
                    </a:lnL>
                    <a:lnR w="12700" cmpd="sng">
                      <a:noFill/>
                    </a:lnR>
                    <a:lnT w="25400" cmpd="sng">
                      <a:noFill/>
                    </a:lnT>
                    <a:lnB w="12700" cmpd="sng">
                      <a:noFill/>
                    </a:lnB>
                    <a:lnTlToBr w="12700" cmpd="sng">
                      <a:noFill/>
                      <a:prstDash val="solid"/>
                    </a:lnTlToBr>
                    <a:lnBlToTr w="12700" cmpd="sng">
                      <a:noFill/>
                      <a:prstDash val="solid"/>
                    </a:lnBlToTr>
                    <a:noFill/>
                  </a:tcPr>
                </a:tc>
                <a:tc>
                  <a:txBody>
                    <a:bodyPr/>
                    <a:lstStyle/>
                    <a:p>
                      <a:pPr algn="l" fontAlgn="b">
                        <a:buNone/>
                      </a:pPr>
                      <a:r>
                        <a:rPr lang="en-DK" sz="1400" b="0" u="none" strike="noStrike">
                          <a:solidFill>
                            <a:srgbClr val="001965"/>
                          </a:solidFill>
                          <a:effectLst/>
                          <a:latin typeface="Avenir Next LT Pro" panose="020B0504020202020204" pitchFamily="34" charset="0"/>
                        </a:rPr>
                        <a:t> </a:t>
                      </a:r>
                      <a:endParaRPr lang="en-DK" sz="1400" b="0" i="0" u="none" strike="noStrike">
                        <a:solidFill>
                          <a:srgbClr val="001965"/>
                        </a:solidFill>
                        <a:effectLst/>
                        <a:latin typeface="Avenir Next LT Pro" panose="020B0504020202020204" pitchFamily="34" charset="0"/>
                      </a:endParaRPr>
                    </a:p>
                  </a:txBody>
                  <a:tcPr marL="0" marR="0" marT="0" marB="0" anchor="ctr">
                    <a:lnL w="12700" cmpd="sng">
                      <a:noFill/>
                    </a:lnL>
                    <a:lnR w="12700" cmpd="sng">
                      <a:noFill/>
                    </a:lnR>
                    <a:lnT w="25400" cmpd="sng">
                      <a:noFill/>
                    </a:lnT>
                    <a:lnB w="12700" cmpd="sng">
                      <a:noFill/>
                    </a:lnB>
                    <a:lnTlToBr w="12700" cmpd="sng">
                      <a:noFill/>
                      <a:prstDash val="solid"/>
                    </a:lnTlToBr>
                    <a:lnBlToTr w="12700" cmpd="sng">
                      <a:noFill/>
                      <a:prstDash val="solid"/>
                    </a:lnBlToTr>
                    <a:noFill/>
                  </a:tcPr>
                </a:tc>
                <a:tc>
                  <a:txBody>
                    <a:bodyPr/>
                    <a:lstStyle/>
                    <a:p>
                      <a:pPr algn="l" fontAlgn="b">
                        <a:buNone/>
                      </a:pPr>
                      <a:r>
                        <a:rPr lang="en-DK" sz="1400" b="0" u="none" strike="noStrike">
                          <a:solidFill>
                            <a:srgbClr val="001965"/>
                          </a:solidFill>
                          <a:effectLst/>
                          <a:latin typeface="Avenir Next LT Pro" panose="020B0504020202020204" pitchFamily="34" charset="0"/>
                        </a:rPr>
                        <a:t> </a:t>
                      </a:r>
                      <a:endParaRPr lang="en-DK" sz="1400" b="0" i="0" u="none" strike="noStrike">
                        <a:solidFill>
                          <a:srgbClr val="001965"/>
                        </a:solidFill>
                        <a:effectLst/>
                        <a:latin typeface="Avenir Next LT Pro" panose="020B0504020202020204" pitchFamily="34" charset="0"/>
                      </a:endParaRPr>
                    </a:p>
                  </a:txBody>
                  <a:tcPr marL="0" marR="0" marT="0" marB="0" anchor="ctr">
                    <a:lnL w="12700" cmpd="sng">
                      <a:noFill/>
                    </a:lnL>
                    <a:lnR w="12700" cmpd="sng">
                      <a:noFill/>
                    </a:lnR>
                    <a:lnT w="254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08706711"/>
                  </a:ext>
                </a:extLst>
              </a:tr>
              <a:tr h="325128">
                <a:tc>
                  <a:txBody>
                    <a:bodyPr/>
                    <a:lstStyle/>
                    <a:p>
                      <a:pPr algn="l" fontAlgn="ctr">
                        <a:buNone/>
                      </a:pPr>
                      <a:r>
                        <a:rPr lang="en-GB" sz="1400" b="0" u="none" strike="noStrike">
                          <a:solidFill>
                            <a:srgbClr val="001965"/>
                          </a:solidFill>
                          <a:effectLst/>
                          <a:latin typeface="Avenir Next LT Pro" panose="020B0504020202020204" pitchFamily="34" charset="0"/>
                        </a:rPr>
                        <a:t>Revenue</a:t>
                      </a:r>
                      <a:endParaRPr lang="en-GB" sz="1400" b="0" i="0" u="none" strike="noStrike">
                        <a:solidFill>
                          <a:srgbClr val="001965"/>
                        </a:solidFill>
                        <a:effectLst/>
                        <a:latin typeface="Avenir Next LT Pro" panose="020B0504020202020204" pitchFamily="34" charset="0"/>
                      </a:endParaRPr>
                    </a:p>
                  </a:txBody>
                  <a:tcPr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buNone/>
                      </a:pPr>
                      <a:r>
                        <a:rPr lang="en-GB" sz="1400" b="0" u="none" strike="noStrike">
                          <a:solidFill>
                            <a:srgbClr val="001965"/>
                          </a:solidFill>
                          <a:effectLst/>
                          <a:latin typeface="Avenir Next LT Pro" panose="020B0504020202020204" pitchFamily="34" charset="0"/>
                        </a:rPr>
                        <a:t>No guidance</a:t>
                      </a:r>
                      <a:endParaRPr lang="en-GB" sz="1400" b="0" i="0" u="none" strike="noStrike">
                        <a:solidFill>
                          <a:srgbClr val="001965"/>
                        </a:solidFill>
                        <a:effectLst/>
                        <a:latin typeface="Avenir Next LT Pro" panose="020B05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buNone/>
                      </a:pPr>
                      <a:r>
                        <a:rPr lang="en-GB" sz="1400" b="0" u="none" strike="noStrike">
                          <a:solidFill>
                            <a:srgbClr val="001965"/>
                          </a:solidFill>
                          <a:effectLst/>
                          <a:latin typeface="Avenir Next LT Pro" panose="020B0504020202020204" pitchFamily="34" charset="0"/>
                        </a:rPr>
                        <a:t>No guidance</a:t>
                      </a:r>
                      <a:endParaRPr lang="en-GB" sz="1400" b="0" i="0" u="none" strike="noStrike">
                        <a:solidFill>
                          <a:srgbClr val="001965"/>
                        </a:solidFill>
                        <a:effectLst/>
                        <a:latin typeface="Avenir Next LT Pro" panose="020B05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buNone/>
                      </a:pPr>
                      <a:r>
                        <a:rPr lang="en-DK" sz="1400" b="0" u="none" strike="noStrike">
                          <a:solidFill>
                            <a:srgbClr val="001965"/>
                          </a:solidFill>
                          <a:effectLst/>
                          <a:latin typeface="Avenir Next LT Pro" panose="020B0504020202020204" pitchFamily="34" charset="0"/>
                        </a:rPr>
                        <a:t> </a:t>
                      </a:r>
                      <a:endParaRPr lang="en-DK" sz="1400" b="0" i="0" u="none" strike="noStrike">
                        <a:solidFill>
                          <a:srgbClr val="001965"/>
                        </a:solidFill>
                        <a:effectLst/>
                        <a:latin typeface="Avenir Next LT Pro" panose="020B05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buNone/>
                      </a:pPr>
                      <a:r>
                        <a:rPr lang="en-GB" sz="1400" b="0" u="none" strike="noStrike">
                          <a:solidFill>
                            <a:srgbClr val="001965"/>
                          </a:solidFill>
                          <a:effectLst/>
                          <a:latin typeface="Avenir Next LT Pro" panose="020B0504020202020204" pitchFamily="34" charset="0"/>
                        </a:rPr>
                        <a:t> DKK </a:t>
                      </a:r>
                      <a:r>
                        <a:rPr lang="en-DK" sz="1400" b="0" u="none" strike="noStrike">
                          <a:solidFill>
                            <a:srgbClr val="001965"/>
                          </a:solidFill>
                          <a:effectLst/>
                          <a:latin typeface="Avenir Next LT Pro" panose="020B0504020202020204" pitchFamily="34" charset="0"/>
                        </a:rPr>
                        <a:t>2</a:t>
                      </a:r>
                      <a:r>
                        <a:rPr lang="en-GB" sz="1400" b="0" u="none" strike="noStrike">
                          <a:solidFill>
                            <a:srgbClr val="001965"/>
                          </a:solidFill>
                          <a:effectLst/>
                          <a:latin typeface="Avenir Next LT Pro" panose="020B0504020202020204" pitchFamily="34" charset="0"/>
                        </a:rPr>
                        <a:t>,</a:t>
                      </a:r>
                      <a:r>
                        <a:rPr lang="en-DK" sz="1400" b="0" u="none" strike="noStrike">
                          <a:solidFill>
                            <a:srgbClr val="001965"/>
                          </a:solidFill>
                          <a:effectLst/>
                          <a:latin typeface="Avenir Next LT Pro" panose="020B0504020202020204" pitchFamily="34" charset="0"/>
                        </a:rPr>
                        <a:t>444</a:t>
                      </a:r>
                      <a:r>
                        <a:rPr lang="en-GB" sz="1400" b="0" u="none" strike="noStrike">
                          <a:solidFill>
                            <a:srgbClr val="001965"/>
                          </a:solidFill>
                          <a:effectLst/>
                          <a:latin typeface="Avenir Next LT Pro" panose="020B0504020202020204" pitchFamily="34" charset="0"/>
                        </a:rPr>
                        <a:t>m</a:t>
                      </a:r>
                      <a:endParaRPr lang="en-DK" sz="1400" b="0" i="0" u="none" strike="noStrike">
                        <a:solidFill>
                          <a:srgbClr val="001965"/>
                        </a:solidFill>
                        <a:effectLst/>
                        <a:latin typeface="Avenir Next LT Pro" panose="020B05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125837776"/>
                  </a:ext>
                </a:extLst>
              </a:tr>
              <a:tr h="325128">
                <a:tc>
                  <a:txBody>
                    <a:bodyPr/>
                    <a:lstStyle/>
                    <a:p>
                      <a:pPr algn="l" fontAlgn="ctr">
                        <a:buNone/>
                      </a:pPr>
                      <a:r>
                        <a:rPr lang="en-GB" sz="1400" b="0" u="none" strike="noStrike">
                          <a:solidFill>
                            <a:srgbClr val="001965"/>
                          </a:solidFill>
                          <a:effectLst/>
                          <a:latin typeface="Avenir Next LT Pro" panose="020B0504020202020204" pitchFamily="34" charset="0"/>
                        </a:rPr>
                        <a:t>Total costs</a:t>
                      </a:r>
                      <a:r>
                        <a:rPr lang="en-GB" sz="1400" b="0" u="none" strike="noStrike" baseline="30000">
                          <a:solidFill>
                            <a:srgbClr val="001965"/>
                          </a:solidFill>
                          <a:effectLst/>
                          <a:latin typeface="Avenir Next LT Pro" panose="020B0504020202020204" pitchFamily="34" charset="0"/>
                        </a:rPr>
                        <a:t>1</a:t>
                      </a:r>
                      <a:endParaRPr lang="en-GB" sz="1400" b="0" i="0" u="none" strike="noStrike">
                        <a:solidFill>
                          <a:srgbClr val="001965"/>
                        </a:solidFill>
                        <a:effectLst/>
                        <a:latin typeface="Avenir Next LT Pro" panose="020B0504020202020204" pitchFamily="34" charset="0"/>
                      </a:endParaRPr>
                    </a:p>
                  </a:txBody>
                  <a:tcPr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buNone/>
                      </a:pPr>
                      <a:r>
                        <a:rPr lang="en-GB" sz="1400" b="0" u="none" strike="noStrike">
                          <a:solidFill>
                            <a:srgbClr val="001965"/>
                          </a:solidFill>
                          <a:effectLst/>
                          <a:latin typeface="Avenir Next LT Pro" panose="020B0504020202020204" pitchFamily="34" charset="0"/>
                        </a:rPr>
                        <a:t>DKK 330</a:t>
                      </a:r>
                      <a:r>
                        <a:rPr lang="en-DK" sz="1400" b="0" u="none" strike="noStrike">
                          <a:solidFill>
                            <a:srgbClr val="001965"/>
                          </a:solidFill>
                          <a:effectLst/>
                          <a:latin typeface="Avenir Next LT Pro" panose="020B0504020202020204" pitchFamily="34" charset="0"/>
                        </a:rPr>
                        <a:t>-</a:t>
                      </a:r>
                      <a:r>
                        <a:rPr lang="en-GB" sz="1400" b="0" u="none" strike="noStrike">
                          <a:solidFill>
                            <a:srgbClr val="001965"/>
                          </a:solidFill>
                          <a:effectLst/>
                          <a:latin typeface="Avenir Next LT Pro" panose="020B0504020202020204" pitchFamily="34" charset="0"/>
                        </a:rPr>
                        <a:t>360m</a:t>
                      </a:r>
                      <a:endParaRPr lang="en-DK" sz="1400" b="0" i="0" u="none" strike="noStrike">
                        <a:solidFill>
                          <a:srgbClr val="001965"/>
                        </a:solidFill>
                        <a:effectLst/>
                        <a:latin typeface="Avenir Next LT Pro" panose="020B05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buNone/>
                      </a:pPr>
                      <a:r>
                        <a:rPr lang="en-GB" sz="1400" b="0" u="none" strike="noStrike">
                          <a:solidFill>
                            <a:srgbClr val="001965"/>
                          </a:solidFill>
                          <a:effectLst/>
                          <a:latin typeface="Avenir Next LT Pro" panose="020B0504020202020204" pitchFamily="34" charset="0"/>
                        </a:rPr>
                        <a:t>DKK 330</a:t>
                      </a:r>
                      <a:r>
                        <a:rPr lang="en-DK" sz="1400" b="0" u="none" strike="noStrike">
                          <a:solidFill>
                            <a:srgbClr val="001965"/>
                          </a:solidFill>
                          <a:effectLst/>
                          <a:latin typeface="Avenir Next LT Pro" panose="020B0504020202020204" pitchFamily="34" charset="0"/>
                        </a:rPr>
                        <a:t>-</a:t>
                      </a:r>
                      <a:r>
                        <a:rPr lang="en-GB" sz="1400" b="0" u="none" strike="noStrike">
                          <a:solidFill>
                            <a:srgbClr val="001965"/>
                          </a:solidFill>
                          <a:effectLst/>
                          <a:latin typeface="Avenir Next LT Pro" panose="020B0504020202020204" pitchFamily="34" charset="0"/>
                        </a:rPr>
                        <a:t>360m</a:t>
                      </a:r>
                      <a:endParaRPr lang="en-DK" sz="1400" b="0" i="0" u="none" strike="noStrike">
                        <a:solidFill>
                          <a:srgbClr val="001965"/>
                        </a:solidFill>
                        <a:effectLst/>
                        <a:latin typeface="Avenir Next LT Pro" panose="020B05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buNone/>
                      </a:pPr>
                      <a:r>
                        <a:rPr lang="en-DK" sz="1400" b="0" u="none" strike="noStrike">
                          <a:solidFill>
                            <a:srgbClr val="001965"/>
                          </a:solidFill>
                          <a:effectLst/>
                          <a:latin typeface="Avenir Next LT Pro" panose="020B0504020202020204" pitchFamily="34" charset="0"/>
                        </a:rPr>
                        <a:t> </a:t>
                      </a:r>
                      <a:endParaRPr lang="en-DK" sz="1400" b="0" i="0" u="none" strike="noStrike">
                        <a:solidFill>
                          <a:srgbClr val="001965"/>
                        </a:solidFill>
                        <a:effectLst/>
                        <a:latin typeface="Avenir Next LT Pro" panose="020B05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buNone/>
                      </a:pPr>
                      <a:r>
                        <a:rPr lang="en-GB" sz="1400" b="0" i="0" u="none" strike="noStrike">
                          <a:solidFill>
                            <a:srgbClr val="001965"/>
                          </a:solidFill>
                          <a:effectLst/>
                          <a:latin typeface="Avenir Next LT Pro" panose="020B0504020202020204" pitchFamily="34" charset="0"/>
                        </a:rPr>
                        <a:t>DKK 251m</a:t>
                      </a:r>
                      <a:endParaRPr lang="en-DK" sz="1400" b="0" i="0" u="none" strike="noStrike">
                        <a:solidFill>
                          <a:srgbClr val="001965"/>
                        </a:solidFill>
                        <a:effectLst/>
                        <a:latin typeface="Avenir Next LT Pro" panose="020B05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72947809"/>
                  </a:ext>
                </a:extLst>
              </a:tr>
              <a:tr h="436302">
                <a:tc>
                  <a:txBody>
                    <a:bodyPr/>
                    <a:lstStyle/>
                    <a:p>
                      <a:pPr algn="l" fontAlgn="ctr">
                        <a:buNone/>
                      </a:pPr>
                      <a:r>
                        <a:rPr lang="en-GB" sz="1400" b="1" i="0" u="none" strike="noStrike">
                          <a:solidFill>
                            <a:srgbClr val="001965"/>
                          </a:solidFill>
                          <a:effectLst/>
                          <a:latin typeface="Avenir Next LT Pro Demi" panose="020B0504020202020204" pitchFamily="34" charset="77"/>
                        </a:rPr>
                        <a:t>CRO Segment</a:t>
                      </a:r>
                    </a:p>
                  </a:txBody>
                  <a:tcPr marR="0" marT="0" marB="0" anchor="b">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buNone/>
                      </a:pPr>
                      <a:r>
                        <a:rPr lang="en-DK" sz="1400" b="0" u="none" strike="noStrike">
                          <a:solidFill>
                            <a:srgbClr val="001965"/>
                          </a:solidFill>
                          <a:effectLst/>
                          <a:latin typeface="Avenir Next LT Pro" panose="020B0504020202020204" pitchFamily="34" charset="0"/>
                        </a:rPr>
                        <a:t> </a:t>
                      </a:r>
                      <a:endParaRPr lang="en-DK" sz="1400" b="0" i="0" u="none" strike="noStrike">
                        <a:solidFill>
                          <a:srgbClr val="001965"/>
                        </a:solidFill>
                        <a:effectLst/>
                        <a:latin typeface="Avenir Next LT Pro" panose="020B0504020202020204" pitchFamily="34" charset="0"/>
                      </a:endParaRPr>
                    </a:p>
                  </a:txBody>
                  <a:tcPr marL="0" marR="0" marT="0" marB="0" anchor="b">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buNone/>
                      </a:pPr>
                      <a:r>
                        <a:rPr lang="en-DK" sz="1400" b="0" u="none" strike="noStrike">
                          <a:solidFill>
                            <a:srgbClr val="001965"/>
                          </a:solidFill>
                          <a:effectLst/>
                          <a:latin typeface="Avenir Next LT Pro" panose="020B0504020202020204" pitchFamily="34" charset="0"/>
                        </a:rPr>
                        <a:t> </a:t>
                      </a:r>
                      <a:endParaRPr lang="en-DK" sz="1400" b="0" i="0" u="none" strike="noStrike">
                        <a:solidFill>
                          <a:srgbClr val="001965"/>
                        </a:solidFill>
                        <a:effectLst/>
                        <a:latin typeface="Avenir Next LT Pro" panose="020B0504020202020204" pitchFamily="34" charset="0"/>
                      </a:endParaRPr>
                    </a:p>
                  </a:txBody>
                  <a:tcPr marL="0" marR="0" marT="0" marB="0" anchor="b">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buNone/>
                      </a:pPr>
                      <a:r>
                        <a:rPr lang="en-DK" sz="1400" b="0" u="none" strike="noStrike">
                          <a:solidFill>
                            <a:srgbClr val="001965"/>
                          </a:solidFill>
                          <a:effectLst/>
                          <a:latin typeface="Avenir Next LT Pro" panose="020B0504020202020204" pitchFamily="34" charset="0"/>
                        </a:rPr>
                        <a:t> </a:t>
                      </a:r>
                      <a:endParaRPr lang="en-DK" sz="1400" b="0" i="0" u="none" strike="noStrike">
                        <a:solidFill>
                          <a:srgbClr val="001965"/>
                        </a:solidFill>
                        <a:effectLst/>
                        <a:latin typeface="Avenir Next LT Pro" panose="020B0504020202020204" pitchFamily="34" charset="0"/>
                      </a:endParaRPr>
                    </a:p>
                  </a:txBody>
                  <a:tcPr marL="0" marR="0" marT="0" marB="0" anchor="b">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buNone/>
                      </a:pPr>
                      <a:r>
                        <a:rPr lang="en-DK" sz="1400" b="0" u="none" strike="noStrike">
                          <a:solidFill>
                            <a:srgbClr val="001965"/>
                          </a:solidFill>
                          <a:effectLst/>
                          <a:latin typeface="Avenir Next LT Pro" panose="020B0504020202020204" pitchFamily="34" charset="0"/>
                        </a:rPr>
                        <a:t> </a:t>
                      </a:r>
                      <a:endParaRPr lang="en-DK" sz="1400" b="0" i="0" u="none" strike="noStrike">
                        <a:solidFill>
                          <a:srgbClr val="001965"/>
                        </a:solidFill>
                        <a:effectLst/>
                        <a:latin typeface="Avenir Next LT Pro" panose="020B0504020202020204" pitchFamily="34" charset="0"/>
                      </a:endParaRPr>
                    </a:p>
                  </a:txBody>
                  <a:tcPr marL="0" marR="0" marT="0" marB="0" anchor="b">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8501660"/>
                  </a:ext>
                </a:extLst>
              </a:tr>
              <a:tr h="323304">
                <a:tc>
                  <a:txBody>
                    <a:bodyPr/>
                    <a:lstStyle/>
                    <a:p>
                      <a:pPr algn="l" fontAlgn="ctr">
                        <a:buNone/>
                      </a:pPr>
                      <a:r>
                        <a:rPr lang="en-GB" sz="1400" b="0" u="none" strike="noStrike">
                          <a:solidFill>
                            <a:srgbClr val="001965"/>
                          </a:solidFill>
                          <a:effectLst/>
                          <a:latin typeface="Avenir Next LT Pro" panose="020B0504020202020204" pitchFamily="34" charset="0"/>
                        </a:rPr>
                        <a:t>External revenue</a:t>
                      </a:r>
                      <a:endParaRPr lang="en-GB" sz="1400" b="0" i="0" u="none" strike="noStrike" baseline="30000">
                        <a:solidFill>
                          <a:srgbClr val="001965"/>
                        </a:solidFill>
                        <a:effectLst/>
                        <a:latin typeface="Avenir Next LT Pro" panose="020B0504020202020204" pitchFamily="34" charset="0"/>
                      </a:endParaRPr>
                    </a:p>
                  </a:txBody>
                  <a:tcPr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buNone/>
                      </a:pPr>
                      <a:r>
                        <a:rPr lang="en-GB" sz="1400" b="0" u="none" strike="noStrike">
                          <a:solidFill>
                            <a:srgbClr val="001965"/>
                          </a:solidFill>
                          <a:effectLst/>
                          <a:latin typeface="Avenir Next LT Pro" panose="020B0504020202020204" pitchFamily="34" charset="0"/>
                        </a:rPr>
                        <a:t>0-10% growth</a:t>
                      </a:r>
                      <a:endParaRPr lang="en-GB" sz="1400" b="0" i="0" u="none" strike="noStrike">
                        <a:solidFill>
                          <a:srgbClr val="001965"/>
                        </a:solidFill>
                        <a:effectLst/>
                        <a:latin typeface="Avenir Next LT Pro" panose="020B0504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buNone/>
                      </a:pPr>
                      <a:r>
                        <a:rPr lang="en-GB" sz="1400" b="0" u="none" strike="noStrike">
                          <a:solidFill>
                            <a:srgbClr val="001965"/>
                          </a:solidFill>
                          <a:effectLst/>
                          <a:latin typeface="Avenir Next LT Pro" panose="020B0504020202020204" pitchFamily="34" charset="0"/>
                        </a:rPr>
                        <a:t>5-15% growth</a:t>
                      </a:r>
                      <a:endParaRPr lang="en-GB" sz="1400" b="0" i="0" u="none" strike="noStrike">
                        <a:solidFill>
                          <a:srgbClr val="001965"/>
                        </a:solidFill>
                        <a:effectLst/>
                        <a:latin typeface="Avenir Next LT Pro" panose="020B0504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buNone/>
                      </a:pPr>
                      <a:r>
                        <a:rPr lang="en-DK" sz="1400" b="0" u="none" strike="noStrike">
                          <a:solidFill>
                            <a:srgbClr val="001965"/>
                          </a:solidFill>
                          <a:effectLst/>
                          <a:latin typeface="Avenir Next LT Pro" panose="020B0504020202020204" pitchFamily="34" charset="0"/>
                        </a:rPr>
                        <a:t>10%</a:t>
                      </a:r>
                      <a:r>
                        <a:rPr lang="en-GB" sz="1400" b="0" u="none" strike="noStrike">
                          <a:solidFill>
                            <a:srgbClr val="001965"/>
                          </a:solidFill>
                          <a:effectLst/>
                          <a:latin typeface="Avenir Next LT Pro" panose="020B0504020202020204" pitchFamily="34" charset="0"/>
                        </a:rPr>
                        <a:t> annual growth</a:t>
                      </a:r>
                      <a:endParaRPr lang="en-DK" sz="1400" b="0" i="0" u="none" strike="noStrike">
                        <a:solidFill>
                          <a:srgbClr val="001965"/>
                        </a:solidFill>
                        <a:effectLst/>
                        <a:latin typeface="Avenir Next LT Pro" panose="020B0504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buNone/>
                      </a:pPr>
                      <a:r>
                        <a:rPr lang="en-GB" sz="1400" b="0" u="none" strike="noStrike">
                          <a:solidFill>
                            <a:srgbClr val="001965"/>
                          </a:solidFill>
                          <a:effectLst/>
                          <a:latin typeface="Avenir Next LT Pro" panose="020B0504020202020204" pitchFamily="34" charset="0"/>
                        </a:rPr>
                        <a:t>DKK </a:t>
                      </a:r>
                      <a:r>
                        <a:rPr lang="en-DK" sz="1400" b="0" u="none" strike="noStrike">
                          <a:solidFill>
                            <a:srgbClr val="001965"/>
                          </a:solidFill>
                          <a:effectLst/>
                          <a:latin typeface="Avenir Next LT Pro" panose="020B0504020202020204" pitchFamily="34" charset="0"/>
                        </a:rPr>
                        <a:t>193</a:t>
                      </a:r>
                      <a:r>
                        <a:rPr lang="en-GB" sz="1400" b="0" u="none" strike="noStrike">
                          <a:solidFill>
                            <a:srgbClr val="001965"/>
                          </a:solidFill>
                          <a:effectLst/>
                          <a:latin typeface="Avenir Next LT Pro" panose="020B0504020202020204" pitchFamily="34" charset="0"/>
                        </a:rPr>
                        <a:t>m</a:t>
                      </a:r>
                      <a:endParaRPr lang="en-DK" sz="1400" b="0" i="0" u="none" strike="noStrike">
                        <a:solidFill>
                          <a:srgbClr val="001965"/>
                        </a:solidFill>
                        <a:effectLst/>
                        <a:latin typeface="Avenir Next LT Pro" panose="020B0504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76830997"/>
                  </a:ext>
                </a:extLst>
              </a:tr>
              <a:tr h="323304">
                <a:tc>
                  <a:txBody>
                    <a:bodyPr/>
                    <a:lstStyle/>
                    <a:p>
                      <a:pPr algn="l" fontAlgn="ctr">
                        <a:buNone/>
                      </a:pPr>
                      <a:r>
                        <a:rPr lang="en-GB" sz="1400" b="0" u="none" strike="noStrike">
                          <a:solidFill>
                            <a:srgbClr val="001965"/>
                          </a:solidFill>
                          <a:effectLst/>
                          <a:latin typeface="Avenir Next LT Pro" panose="020B0504020202020204" pitchFamily="34" charset="0"/>
                        </a:rPr>
                        <a:t>EBIT-margin</a:t>
                      </a:r>
                      <a:endParaRPr lang="en-GB" sz="1400" b="0" i="0" u="none" strike="noStrike">
                        <a:solidFill>
                          <a:srgbClr val="001965"/>
                        </a:solidFill>
                        <a:effectLst/>
                        <a:latin typeface="Avenir Next LT Pro" panose="020B0504020202020204" pitchFamily="34" charset="0"/>
                      </a:endParaRPr>
                    </a:p>
                  </a:txBody>
                  <a:tcPr marR="0" marT="0" marB="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buNone/>
                      </a:pPr>
                      <a:r>
                        <a:rPr lang="en-GB" sz="1400" b="0" u="none" strike="noStrike">
                          <a:solidFill>
                            <a:srgbClr val="001965"/>
                          </a:solidFill>
                          <a:effectLst/>
                          <a:latin typeface="Avenir Next LT Pro" panose="020B0504020202020204" pitchFamily="34" charset="0"/>
                        </a:rPr>
                        <a:t>10</a:t>
                      </a:r>
                      <a:r>
                        <a:rPr lang="en-DK" sz="1400" b="0" u="none" strike="noStrike">
                          <a:solidFill>
                            <a:srgbClr val="001965"/>
                          </a:solidFill>
                          <a:effectLst/>
                          <a:latin typeface="Avenir Next LT Pro" panose="020B0504020202020204" pitchFamily="34" charset="0"/>
                        </a:rPr>
                        <a:t>-</a:t>
                      </a:r>
                      <a:r>
                        <a:rPr lang="en-GB" sz="1400" b="0" u="none" strike="noStrike">
                          <a:solidFill>
                            <a:srgbClr val="001965"/>
                          </a:solidFill>
                          <a:effectLst/>
                          <a:latin typeface="Avenir Next LT Pro" panose="020B0504020202020204" pitchFamily="34" charset="0"/>
                        </a:rPr>
                        <a:t>15</a:t>
                      </a:r>
                      <a:r>
                        <a:rPr lang="en-DK" sz="1400" b="0" u="none" strike="noStrike">
                          <a:solidFill>
                            <a:srgbClr val="001965"/>
                          </a:solidFill>
                          <a:effectLst/>
                          <a:latin typeface="Avenir Next LT Pro" panose="020B0504020202020204" pitchFamily="34" charset="0"/>
                        </a:rPr>
                        <a:t>%</a:t>
                      </a:r>
                      <a:endParaRPr lang="en-DK" sz="1400" b="0" i="0" u="none" strike="noStrike">
                        <a:solidFill>
                          <a:srgbClr val="001965"/>
                        </a:solidFill>
                        <a:effectLst/>
                        <a:latin typeface="Avenir Next LT Pro" panose="020B0504020202020204" pitchFamily="34" charset="0"/>
                      </a:endParaRPr>
                    </a:p>
                  </a:txBody>
                  <a:tcPr marL="0" marR="0" marT="0" marB="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buNone/>
                      </a:pPr>
                      <a:r>
                        <a:rPr lang="en-DK" sz="1400" b="0" u="none" strike="noStrike">
                          <a:solidFill>
                            <a:srgbClr val="001965"/>
                          </a:solidFill>
                          <a:effectLst/>
                          <a:latin typeface="Avenir Next LT Pro" panose="020B0504020202020204" pitchFamily="34" charset="0"/>
                        </a:rPr>
                        <a:t>20-25%</a:t>
                      </a:r>
                      <a:endParaRPr lang="en-DK" sz="1400" b="0" i="0" u="none" strike="noStrike">
                        <a:solidFill>
                          <a:srgbClr val="001965"/>
                        </a:solidFill>
                        <a:effectLst/>
                        <a:latin typeface="Avenir Next LT Pro" panose="020B0504020202020204" pitchFamily="34" charset="0"/>
                      </a:endParaRPr>
                    </a:p>
                  </a:txBody>
                  <a:tcPr marL="0" marR="0" marT="0" marB="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buNone/>
                        <a:tabLst>
                          <a:tab pos="533400" algn="l"/>
                        </a:tabLst>
                      </a:pPr>
                      <a:r>
                        <a:rPr lang="en-DK" sz="1400" b="0" u="none" strike="noStrike">
                          <a:solidFill>
                            <a:srgbClr val="001965"/>
                          </a:solidFill>
                          <a:effectLst/>
                          <a:latin typeface="Avenir Next LT Pro" panose="020B0504020202020204" pitchFamily="34" charset="0"/>
                        </a:rPr>
                        <a:t> </a:t>
                      </a:r>
                      <a:endParaRPr lang="en-DK" sz="1400" b="0" i="0" u="none" strike="noStrike">
                        <a:solidFill>
                          <a:srgbClr val="001965"/>
                        </a:solidFill>
                        <a:effectLst/>
                        <a:latin typeface="Avenir Next LT Pro" panose="020B0504020202020204" pitchFamily="34" charset="0"/>
                      </a:endParaRPr>
                    </a:p>
                  </a:txBody>
                  <a:tcPr marL="0" marR="0" marT="0" marB="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buNone/>
                      </a:pPr>
                      <a:r>
                        <a:rPr lang="en-DK" sz="1400" b="0" u="none" strike="noStrike">
                          <a:solidFill>
                            <a:srgbClr val="001965"/>
                          </a:solidFill>
                          <a:effectLst/>
                          <a:latin typeface="Avenir Next LT Pro" panose="020B0504020202020204" pitchFamily="34" charset="0"/>
                        </a:rPr>
                        <a:t>15%</a:t>
                      </a:r>
                      <a:endParaRPr lang="en-DK" sz="1400" b="0" i="0" u="none" strike="noStrike">
                        <a:solidFill>
                          <a:srgbClr val="001965"/>
                        </a:solidFill>
                        <a:effectLst/>
                        <a:latin typeface="Avenir Next LT Pro" panose="020B0504020202020204" pitchFamily="34" charset="0"/>
                      </a:endParaRPr>
                    </a:p>
                  </a:txBody>
                  <a:tcPr marL="0" marR="0" marT="0" marB="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8016199"/>
                  </a:ext>
                </a:extLst>
              </a:tr>
              <a:tr h="435600">
                <a:tc>
                  <a:txBody>
                    <a:bodyPr/>
                    <a:lstStyle/>
                    <a:p>
                      <a:pPr algn="l" fontAlgn="ctr">
                        <a:buNone/>
                      </a:pPr>
                      <a:r>
                        <a:rPr lang="en-GB" sz="1400" b="0" i="0" u="none" strike="noStrike">
                          <a:solidFill>
                            <a:srgbClr val="001965"/>
                          </a:solidFill>
                          <a:effectLst/>
                          <a:latin typeface="Avenir Next LT Pro Demi" panose="020B0704020202020204" pitchFamily="34" charset="0"/>
                        </a:rPr>
                        <a:t>Gubra Ventures EBIT</a:t>
                      </a:r>
                    </a:p>
                  </a:txBody>
                  <a:tcPr marR="0" marT="0" marB="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buNone/>
                      </a:pPr>
                      <a:r>
                        <a:rPr lang="en-GB" sz="1400" b="0" i="0" u="none" strike="noStrike">
                          <a:solidFill>
                            <a:srgbClr val="001965"/>
                          </a:solidFill>
                          <a:effectLst/>
                          <a:latin typeface="Avenir Next LT Pro" panose="020B0504020202020204" pitchFamily="34" charset="0"/>
                        </a:rPr>
                        <a:t>DKK -5 to -10m</a:t>
                      </a:r>
                      <a:endParaRPr lang="en-DK" sz="1400" b="0" i="0" u="none" strike="noStrike">
                        <a:solidFill>
                          <a:srgbClr val="001965"/>
                        </a:solidFill>
                        <a:effectLst/>
                        <a:latin typeface="Avenir Next LT Pro" panose="020B0504020202020204" pitchFamily="34" charset="0"/>
                      </a:endParaRPr>
                    </a:p>
                  </a:txBody>
                  <a:tcPr marL="0" marR="0" marT="0" marB="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buNone/>
                      </a:pPr>
                      <a:r>
                        <a:rPr lang="en-GB" sz="1400" b="0" i="0" u="none" strike="noStrike">
                          <a:solidFill>
                            <a:srgbClr val="001965"/>
                          </a:solidFill>
                          <a:effectLst/>
                          <a:latin typeface="Avenir Next LT Pro" panose="020B0504020202020204" pitchFamily="34" charset="0"/>
                        </a:rPr>
                        <a:t>DKK -5 to -10m</a:t>
                      </a:r>
                      <a:endParaRPr lang="en-DK" sz="1400" b="0" i="0" u="none" strike="noStrike">
                        <a:solidFill>
                          <a:srgbClr val="001965"/>
                        </a:solidFill>
                        <a:effectLst/>
                        <a:latin typeface="Avenir Next LT Pro" panose="020B0504020202020204" pitchFamily="34" charset="0"/>
                      </a:endParaRPr>
                    </a:p>
                  </a:txBody>
                  <a:tcPr marL="0" marR="0" marT="0" marB="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buNone/>
                      </a:pPr>
                      <a:endParaRPr lang="en-DK" sz="1400" b="0" i="0" u="none" strike="noStrike">
                        <a:solidFill>
                          <a:srgbClr val="001965"/>
                        </a:solidFill>
                        <a:effectLst/>
                        <a:latin typeface="Avenir Next LT Pro" panose="020B0504020202020204" pitchFamily="34" charset="0"/>
                      </a:endParaRPr>
                    </a:p>
                  </a:txBody>
                  <a:tcPr marL="0" marR="0" marT="0" marB="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buNone/>
                      </a:pPr>
                      <a:r>
                        <a:rPr lang="en-GB" sz="1400" b="0" i="0" u="none" strike="noStrike">
                          <a:solidFill>
                            <a:srgbClr val="001965"/>
                          </a:solidFill>
                          <a:effectLst/>
                          <a:latin typeface="Avenir Next LT Pro" panose="020B0504020202020204" pitchFamily="34" charset="0"/>
                        </a:rPr>
                        <a:t>n/a</a:t>
                      </a:r>
                      <a:endParaRPr lang="en-DK" sz="1400" b="0" i="0" u="none" strike="noStrike">
                        <a:solidFill>
                          <a:srgbClr val="001965"/>
                        </a:solidFill>
                        <a:effectLst/>
                        <a:latin typeface="Avenir Next LT Pro" panose="020B0504020202020204" pitchFamily="34" charset="0"/>
                      </a:endParaRPr>
                    </a:p>
                  </a:txBody>
                  <a:tcPr marL="0" marR="0" marT="0" marB="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7844713"/>
                  </a:ext>
                </a:extLst>
              </a:tr>
              <a:tr h="435600">
                <a:tc>
                  <a:txBody>
                    <a:bodyPr/>
                    <a:lstStyle/>
                    <a:p>
                      <a:pPr algn="l" fontAlgn="ctr">
                        <a:buNone/>
                      </a:pPr>
                      <a:r>
                        <a:rPr lang="en-GB" sz="1400" b="0" i="0" u="none" strike="noStrike">
                          <a:solidFill>
                            <a:srgbClr val="001965"/>
                          </a:solidFill>
                          <a:effectLst/>
                          <a:latin typeface="Avenir Next LT Pro Demi" panose="020B0704020202020204" pitchFamily="34" charset="0"/>
                        </a:rPr>
                        <a:t>Gubra Green EBIT</a:t>
                      </a:r>
                    </a:p>
                  </a:txBody>
                  <a:tcPr marR="0" marT="0" marB="0" anchor="b">
                    <a:lnL w="12700" cmpd="sng">
                      <a:noFill/>
                    </a:lnL>
                    <a:lnR w="12700" cmpd="sng">
                      <a:noFill/>
                    </a:lnR>
                    <a:lnT w="12700" cmpd="sng">
                      <a:noFill/>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ctr" latinLnBrk="0" hangingPunct="1">
                        <a:lnSpc>
                          <a:spcPct val="100000"/>
                        </a:lnSpc>
                        <a:spcBef>
                          <a:spcPts val="0"/>
                        </a:spcBef>
                        <a:spcAft>
                          <a:spcPts val="0"/>
                        </a:spcAft>
                        <a:buClrTx/>
                        <a:buSzTx/>
                        <a:buFontTx/>
                        <a:buNone/>
                        <a:tabLst/>
                        <a:defRPr/>
                      </a:pPr>
                      <a:r>
                        <a:rPr lang="en-GB" sz="1400" b="0" i="0" u="none" strike="noStrike">
                          <a:solidFill>
                            <a:srgbClr val="001965"/>
                          </a:solidFill>
                          <a:effectLst/>
                          <a:latin typeface="Avenir Next LT Pro" panose="020B0504020202020204" pitchFamily="34" charset="0"/>
                        </a:rPr>
                        <a:t>DKK -5 to -10m</a:t>
                      </a:r>
                      <a:endParaRPr lang="en-DK" sz="1400" b="0" i="0" u="none" strike="noStrike">
                        <a:solidFill>
                          <a:srgbClr val="001965"/>
                        </a:solidFill>
                        <a:effectLst/>
                        <a:latin typeface="Avenir Next LT Pro" panose="020B0504020202020204" pitchFamily="34" charset="0"/>
                      </a:endParaRPr>
                    </a:p>
                  </a:txBody>
                  <a:tcPr marL="0" marR="0" marT="0" marB="0" anchor="b">
                    <a:lnL w="12700" cmpd="sng">
                      <a:noFill/>
                    </a:lnL>
                    <a:lnR w="12700" cmpd="sng">
                      <a:noFill/>
                    </a:lnR>
                    <a:lnT w="12700" cmpd="sng">
                      <a:noFill/>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ctr" latinLnBrk="0" hangingPunct="1">
                        <a:lnSpc>
                          <a:spcPct val="100000"/>
                        </a:lnSpc>
                        <a:spcBef>
                          <a:spcPts val="0"/>
                        </a:spcBef>
                        <a:spcAft>
                          <a:spcPts val="0"/>
                        </a:spcAft>
                        <a:buClrTx/>
                        <a:buSzTx/>
                        <a:buFontTx/>
                        <a:buNone/>
                        <a:tabLst/>
                        <a:defRPr/>
                      </a:pPr>
                      <a:r>
                        <a:rPr lang="en-GB" sz="1400" b="0" i="0" u="none" strike="noStrike">
                          <a:solidFill>
                            <a:srgbClr val="001965"/>
                          </a:solidFill>
                          <a:effectLst/>
                          <a:latin typeface="Avenir Next LT Pro" panose="020B0504020202020204" pitchFamily="34" charset="0"/>
                        </a:rPr>
                        <a:t>DKK -5 to -10m</a:t>
                      </a:r>
                      <a:endParaRPr lang="en-DK" sz="1400" b="0" i="0" u="none" strike="noStrike">
                        <a:solidFill>
                          <a:srgbClr val="001965"/>
                        </a:solidFill>
                        <a:effectLst/>
                        <a:latin typeface="Avenir Next LT Pro" panose="020B0504020202020204" pitchFamily="34" charset="0"/>
                      </a:endParaRPr>
                    </a:p>
                  </a:txBody>
                  <a:tcPr marL="0" marR="0" marT="0" marB="0" anchor="b">
                    <a:lnL w="12700" cmpd="sng">
                      <a:noFill/>
                    </a:lnL>
                    <a:lnR w="12700" cmpd="sng">
                      <a:noFill/>
                    </a:lnR>
                    <a:lnT w="12700" cmpd="sng">
                      <a:noFill/>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buNone/>
                      </a:pPr>
                      <a:endParaRPr lang="en-DK" sz="1400" b="0" i="0" u="none" strike="noStrike">
                        <a:solidFill>
                          <a:srgbClr val="001965"/>
                        </a:solidFill>
                        <a:effectLst/>
                        <a:latin typeface="Avenir Next LT Pro" panose="020B0504020202020204" pitchFamily="34" charset="0"/>
                      </a:endParaRPr>
                    </a:p>
                  </a:txBody>
                  <a:tcPr marL="0" marR="0" marT="0" marB="0" anchor="b">
                    <a:lnL w="12700" cmpd="sng">
                      <a:noFill/>
                    </a:lnL>
                    <a:lnR w="12700" cmpd="sng">
                      <a:noFill/>
                    </a:lnR>
                    <a:lnT w="12700" cmpd="sng">
                      <a:noFill/>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buNone/>
                      </a:pPr>
                      <a:r>
                        <a:rPr lang="en-GB" sz="1400" b="0" i="0" u="none" strike="noStrike">
                          <a:solidFill>
                            <a:srgbClr val="001965"/>
                          </a:solidFill>
                          <a:effectLst/>
                          <a:latin typeface="Avenir Next LT Pro" panose="020B0504020202020204" pitchFamily="34" charset="0"/>
                        </a:rPr>
                        <a:t>DKK -1m</a:t>
                      </a:r>
                      <a:endParaRPr lang="en-DK" sz="1400" b="0" i="0" u="none" strike="noStrike">
                        <a:solidFill>
                          <a:srgbClr val="001965"/>
                        </a:solidFill>
                        <a:effectLst/>
                        <a:latin typeface="Avenir Next LT Pro" panose="020B0504020202020204" pitchFamily="34" charset="0"/>
                      </a:endParaRPr>
                    </a:p>
                  </a:txBody>
                  <a:tcPr marL="0" marR="0" marT="0" marB="0" anchor="b">
                    <a:lnL w="12700" cmpd="sng">
                      <a:noFill/>
                    </a:lnL>
                    <a:lnR w="12700" cmpd="sng">
                      <a:noFill/>
                    </a:lnR>
                    <a:lnT w="12700" cmpd="sng">
                      <a:noFill/>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6699419"/>
                  </a:ext>
                </a:extLst>
              </a:tr>
            </a:tbl>
          </a:graphicData>
        </a:graphic>
      </p:graphicFrame>
      <p:cxnSp>
        <p:nvCxnSpPr>
          <p:cNvPr id="8" name="Straight Connector 7">
            <a:extLst>
              <a:ext uri="{FF2B5EF4-FFF2-40B4-BE49-F238E27FC236}">
                <a16:creationId xmlns:a16="http://schemas.microsoft.com/office/drawing/2014/main" id="{10DA58B1-A69E-8901-7754-2DC75AACE68A}"/>
              </a:ext>
            </a:extLst>
          </p:cNvPr>
          <p:cNvCxnSpPr>
            <a:cxnSpLocks/>
          </p:cNvCxnSpPr>
          <p:nvPr/>
        </p:nvCxnSpPr>
        <p:spPr>
          <a:xfrm>
            <a:off x="565459" y="1078523"/>
            <a:ext cx="5508000" cy="0"/>
          </a:xfrm>
          <a:prstGeom prst="line">
            <a:avLst/>
          </a:prstGeom>
          <a:noFill/>
          <a:ln w="38100" cap="flat" cmpd="sng" algn="ctr">
            <a:gradFill>
              <a:gsLst>
                <a:gs pos="0">
                  <a:srgbClr val="F3E700"/>
                </a:gs>
                <a:gs pos="34000">
                  <a:srgbClr val="8CC3CA"/>
                </a:gs>
                <a:gs pos="67000">
                  <a:srgbClr val="2878FF"/>
                </a:gs>
                <a:gs pos="100000">
                  <a:srgbClr val="E228E2"/>
                </a:gs>
              </a:gsLst>
              <a:lin ang="2700000" scaled="0"/>
            </a:gradFill>
            <a:prstDash val="solid"/>
            <a:miter lim="800000"/>
          </a:ln>
          <a:effectLst/>
        </p:spPr>
      </p:cxnSp>
      <p:cxnSp>
        <p:nvCxnSpPr>
          <p:cNvPr id="7" name="Straight Connector 6">
            <a:extLst>
              <a:ext uri="{FF2B5EF4-FFF2-40B4-BE49-F238E27FC236}">
                <a16:creationId xmlns:a16="http://schemas.microsoft.com/office/drawing/2014/main" id="{3810A9AC-EB92-71C0-4441-A568B3082430}"/>
              </a:ext>
            </a:extLst>
          </p:cNvPr>
          <p:cNvCxnSpPr>
            <a:cxnSpLocks/>
          </p:cNvCxnSpPr>
          <p:nvPr/>
        </p:nvCxnSpPr>
        <p:spPr>
          <a:xfrm>
            <a:off x="565459" y="1914732"/>
            <a:ext cx="10861103" cy="0"/>
          </a:xfrm>
          <a:prstGeom prst="line">
            <a:avLst/>
          </a:prstGeom>
          <a:noFill/>
          <a:ln w="38100" cap="flat" cmpd="sng" algn="ctr">
            <a:gradFill>
              <a:gsLst>
                <a:gs pos="0">
                  <a:srgbClr val="F3E700"/>
                </a:gs>
                <a:gs pos="34000">
                  <a:srgbClr val="8CC3CA"/>
                </a:gs>
                <a:gs pos="67000">
                  <a:srgbClr val="2878FF"/>
                </a:gs>
                <a:gs pos="100000">
                  <a:srgbClr val="E228E2"/>
                </a:gs>
              </a:gsLst>
              <a:lin ang="2700000" scaled="0"/>
            </a:gradFill>
            <a:prstDash val="solid"/>
            <a:miter lim="800000"/>
          </a:ln>
          <a:effectLst/>
        </p:spPr>
      </p:cxnSp>
      <p:sp>
        <p:nvSpPr>
          <p:cNvPr id="3" name="Rectangle 2">
            <a:extLst>
              <a:ext uri="{FF2B5EF4-FFF2-40B4-BE49-F238E27FC236}">
                <a16:creationId xmlns:a16="http://schemas.microsoft.com/office/drawing/2014/main" id="{4E5012F3-DD57-C08C-6482-C2036A9A6471}"/>
              </a:ext>
            </a:extLst>
          </p:cNvPr>
          <p:cNvSpPr/>
          <p:nvPr/>
        </p:nvSpPr>
        <p:spPr>
          <a:xfrm>
            <a:off x="647700" y="5327650"/>
            <a:ext cx="10591800" cy="127635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216000" tIns="108000" rtlCol="0" anchor="t"/>
          <a:lstStyle/>
          <a:p>
            <a:pPr>
              <a:spcAft>
                <a:spcPts val="600"/>
              </a:spcAft>
            </a:pPr>
            <a:r>
              <a:rPr lang="en-GB" sz="1400" b="1">
                <a:solidFill>
                  <a:schemeClr val="tx1"/>
                </a:solidFill>
                <a:latin typeface="Avenir Next LT Pro" panose="020B0504020202020204" pitchFamily="34" charset="0"/>
              </a:rPr>
              <a:t>Comments to guidance:</a:t>
            </a:r>
          </a:p>
          <a:p>
            <a:pPr marL="177750" indent="-177750">
              <a:spcAft>
                <a:spcPts val="600"/>
              </a:spcAft>
              <a:buFont typeface="System Font Regular"/>
              <a:buChar char="+"/>
            </a:pPr>
            <a:r>
              <a:rPr lang="en-GB" sz="1400">
                <a:solidFill>
                  <a:schemeClr val="tx1"/>
                </a:solidFill>
                <a:latin typeface="Avenir Next LT Pro" panose="020B0504020202020204" pitchFamily="34" charset="0"/>
              </a:rPr>
              <a:t>In addition to performing CRO studies for external customers, the CRO business also performs studies for the Biotech business. This is not included in the outlook above</a:t>
            </a:r>
          </a:p>
          <a:p>
            <a:pPr marL="177750" indent="-177750">
              <a:spcAft>
                <a:spcPts val="600"/>
              </a:spcAft>
              <a:buFont typeface="System Font Regular"/>
              <a:buChar char="+"/>
            </a:pPr>
            <a:r>
              <a:rPr lang="en-GB" sz="1400">
                <a:solidFill>
                  <a:schemeClr val="tx1"/>
                </a:solidFill>
                <a:latin typeface="Avenir Next LT Pro" panose="020B0504020202020204" pitchFamily="34" charset="0"/>
              </a:rPr>
              <a:t>Studies for a total value of around DKK 50 million is expected to be performed for the Biotech unit</a:t>
            </a:r>
          </a:p>
        </p:txBody>
      </p:sp>
    </p:spTree>
    <p:extLst>
      <p:ext uri="{BB962C8B-B14F-4D97-AF65-F5344CB8AC3E}">
        <p14:creationId xmlns:p14="http://schemas.microsoft.com/office/powerpoint/2010/main" val="3464729411"/>
      </p:ext>
    </p:extLst>
  </p:cSld>
  <p:clrMapOvr>
    <a:masterClrMapping/>
  </p:clrMapOvr>
  <p:transition spd="slow">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pipette&#10;&#10;AI-generated content may be incorrect.">
            <a:extLst>
              <a:ext uri="{FF2B5EF4-FFF2-40B4-BE49-F238E27FC236}">
                <a16:creationId xmlns:a16="http://schemas.microsoft.com/office/drawing/2014/main" id="{67B23139-692A-F710-1602-270F355D9382}"/>
              </a:ext>
            </a:extLst>
          </p:cNvPr>
          <p:cNvPicPr>
            <a:picLocks noChangeAspect="1"/>
          </p:cNvPicPr>
          <p:nvPr/>
        </p:nvPicPr>
        <p:blipFill>
          <a:blip r:embed="rId2">
            <a:extLst>
              <a:ext uri="{28A0092B-C50C-407E-A947-70E740481C1C}">
                <a14:useLocalDpi xmlns:a14="http://schemas.microsoft.com/office/drawing/2010/main" val="0"/>
              </a:ext>
            </a:extLst>
          </a:blip>
          <a:srcRect l="21291" t="28775" b="4823"/>
          <a:stretch>
            <a:fillRect/>
          </a:stretch>
        </p:blipFill>
        <p:spPr>
          <a:xfrm>
            <a:off x="0" y="0"/>
            <a:ext cx="12193588" cy="6858000"/>
          </a:xfrm>
          <a:prstGeom prst="rect">
            <a:avLst/>
          </a:prstGeom>
        </p:spPr>
      </p:pic>
      <p:sp>
        <p:nvSpPr>
          <p:cNvPr id="4" name="Rectangle 3">
            <a:extLst>
              <a:ext uri="{FF2B5EF4-FFF2-40B4-BE49-F238E27FC236}">
                <a16:creationId xmlns:a16="http://schemas.microsoft.com/office/drawing/2014/main" id="{5FAFF646-F853-2C4D-36E1-EA49F7900AC1}"/>
              </a:ext>
            </a:extLst>
          </p:cNvPr>
          <p:cNvSpPr/>
          <p:nvPr/>
        </p:nvSpPr>
        <p:spPr>
          <a:xfrm>
            <a:off x="-14327" y="0"/>
            <a:ext cx="12193589" cy="6858000"/>
          </a:xfrm>
          <a:prstGeom prst="rect">
            <a:avLst/>
          </a:prstGeom>
          <a:gradFill flip="none" rotWithShape="1">
            <a:gsLst>
              <a:gs pos="2000">
                <a:schemeClr val="tx1">
                  <a:alpha val="70409"/>
                </a:schemeClr>
              </a:gs>
              <a:gs pos="78000">
                <a:schemeClr val="accent4">
                  <a:alpha val="0"/>
                  <a:lumMod val="0"/>
                  <a:lumOff val="100000"/>
                </a:scheme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5" name="Graphic 4">
            <a:extLst>
              <a:ext uri="{FF2B5EF4-FFF2-40B4-BE49-F238E27FC236}">
                <a16:creationId xmlns:a16="http://schemas.microsoft.com/office/drawing/2014/main" id="{7725967E-311D-8DAD-EA25-9415CA9B4F37}"/>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275619" y="4920119"/>
            <a:ext cx="1642350" cy="781970"/>
          </a:xfrm>
          <a:prstGeom prst="rect">
            <a:avLst/>
          </a:prstGeom>
        </p:spPr>
      </p:pic>
      <p:sp>
        <p:nvSpPr>
          <p:cNvPr id="8" name="TextBox 7">
            <a:extLst>
              <a:ext uri="{FF2B5EF4-FFF2-40B4-BE49-F238E27FC236}">
                <a16:creationId xmlns:a16="http://schemas.microsoft.com/office/drawing/2014/main" id="{16B9F021-92E2-2681-3523-3C992D74712C}"/>
              </a:ext>
            </a:extLst>
          </p:cNvPr>
          <p:cNvSpPr txBox="1"/>
          <p:nvPr/>
        </p:nvSpPr>
        <p:spPr>
          <a:xfrm>
            <a:off x="-28652" y="5884497"/>
            <a:ext cx="12207914" cy="400110"/>
          </a:xfrm>
          <a:prstGeom prst="rect">
            <a:avLst/>
          </a:prstGeom>
          <a:noFill/>
        </p:spPr>
        <p:txBody>
          <a:bodyPr wrap="square" rtlCol="0">
            <a:spAutoFit/>
          </a:bodyPr>
          <a:lstStyle/>
          <a:p>
            <a:pPr algn="ctr"/>
            <a:r>
              <a:rPr lang="en-DK" sz="2000" b="1" spc="40">
                <a:solidFill>
                  <a:schemeClr val="accent2"/>
                </a:solidFill>
                <a:latin typeface="Avenir Next LT Pro Demi" panose="020B0504020202020204" pitchFamily="34" charset="77"/>
              </a:rPr>
              <a:t>www.gubra.dk</a:t>
            </a:r>
          </a:p>
        </p:txBody>
      </p:sp>
    </p:spTree>
    <p:extLst>
      <p:ext uri="{BB962C8B-B14F-4D97-AF65-F5344CB8AC3E}">
        <p14:creationId xmlns:p14="http://schemas.microsoft.com/office/powerpoint/2010/main" val="888903886"/>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F61B68-6B06-1792-77A0-EA43CA732BD9}"/>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DBCA04-B481-3E2D-605F-17CE21DD7EC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43DBCA04-B481-3E2D-605F-17CE21DD7E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7" name="Title 1">
            <a:extLst>
              <a:ext uri="{FF2B5EF4-FFF2-40B4-BE49-F238E27FC236}">
                <a16:creationId xmlns:a16="http://schemas.microsoft.com/office/drawing/2014/main" id="{FD9D7875-650B-5C3A-EEB4-9552F2F4CC91}"/>
              </a:ext>
            </a:extLst>
          </p:cNvPr>
          <p:cNvSpPr txBox="1">
            <a:spLocks/>
          </p:cNvSpPr>
          <p:nvPr/>
        </p:nvSpPr>
        <p:spPr>
          <a:xfrm>
            <a:off x="565459" y="552715"/>
            <a:ext cx="10098869" cy="430112"/>
          </a:xfrm>
          <a:prstGeom prst="rect">
            <a:avLst/>
          </a:prstGeom>
        </p:spPr>
        <p:txBody>
          <a:bodyPr lIns="0" tIns="0" rIns="0" bIns="0"/>
          <a:lstStyle>
            <a:lvl1pPr algn="l" defTabSz="914377" rtl="0" eaLnBrk="1" latinLnBrk="0" hangingPunct="1">
              <a:lnSpc>
                <a:spcPct val="90000"/>
              </a:lnSpc>
              <a:spcBef>
                <a:spcPct val="0"/>
              </a:spcBef>
              <a:buNone/>
              <a:defRPr sz="3000" b="1" i="0" kern="1200">
                <a:solidFill>
                  <a:schemeClr val="tx2"/>
                </a:solidFill>
                <a:latin typeface="Avenir Next LT Pro" panose="020B0504020202020204" pitchFamily="34" charset="77"/>
                <a:ea typeface="Avenir Next LT Pro" panose="020B0504020202020204" pitchFamily="34" charset="77"/>
                <a:cs typeface="Avenir Next LT Pro" panose="020B0504020202020204" pitchFamily="34" charset="77"/>
              </a:defRPr>
            </a:lvl1pPr>
          </a:lstStyle>
          <a:p>
            <a:pPr marL="0" marR="0" lvl="0" indent="0" algn="l" defTabSz="914377" rtl="0" eaLnBrk="1" fontAlgn="base" latinLnBrk="0" hangingPunct="1">
              <a:lnSpc>
                <a:spcPct val="90000"/>
              </a:lnSpc>
              <a:spcBef>
                <a:spcPct val="0"/>
              </a:spcBef>
              <a:spcAft>
                <a:spcPts val="0"/>
              </a:spcAft>
              <a:buClrTx/>
              <a:buSzTx/>
              <a:buFontTx/>
              <a:buNone/>
              <a:tabLst/>
              <a:defRPr/>
            </a:pPr>
            <a:r>
              <a:rPr kumimoji="0" lang="en-GB" sz="2600" b="1" i="0" u="none" strike="noStrike" kern="1200" cap="none" spc="0" normalizeH="0" baseline="0" noProof="0">
                <a:ln>
                  <a:noFill/>
                </a:ln>
                <a:solidFill>
                  <a:srgbClr val="001965"/>
                </a:solidFill>
                <a:effectLst/>
                <a:uLnTx/>
                <a:uFillTx/>
                <a:latin typeface="Avenir Next LT Pro" panose="020B0504020202020204" pitchFamily="34" charset="0"/>
              </a:rPr>
              <a:t>2025</a:t>
            </a:r>
            <a:r>
              <a:rPr kumimoji="0" lang="en-DK" sz="2600" b="1" i="0" u="none" strike="noStrike" kern="1200" cap="none" spc="0" normalizeH="0" baseline="0" noProof="0">
                <a:ln>
                  <a:noFill/>
                </a:ln>
                <a:solidFill>
                  <a:srgbClr val="001965"/>
                </a:solidFill>
                <a:effectLst/>
                <a:uLnTx/>
                <a:uFillTx/>
                <a:latin typeface="Avenir Next LT Pro" panose="020B0504020202020204" pitchFamily="34" charset="0"/>
              </a:rPr>
              <a:t> has been a record year for Gubra</a:t>
            </a:r>
            <a:endParaRPr kumimoji="0" lang="en-GB" sz="2600" b="1" i="0" u="none" strike="noStrike" kern="1200" cap="none" spc="0" normalizeH="0" baseline="0" noProof="0">
              <a:ln>
                <a:noFill/>
              </a:ln>
              <a:solidFill>
                <a:srgbClr val="001965"/>
              </a:solidFill>
              <a:effectLst/>
              <a:uLnTx/>
              <a:uFillTx/>
              <a:latin typeface="Avenir Next LT Pro" panose="020B0504020202020204" pitchFamily="34" charset="0"/>
            </a:endParaRPr>
          </a:p>
        </p:txBody>
      </p:sp>
      <p:cxnSp>
        <p:nvCxnSpPr>
          <p:cNvPr id="9" name="Straight Connector 8">
            <a:extLst>
              <a:ext uri="{FF2B5EF4-FFF2-40B4-BE49-F238E27FC236}">
                <a16:creationId xmlns:a16="http://schemas.microsoft.com/office/drawing/2014/main" id="{11DD781A-8FCC-A3CD-56A0-F18E218ABA07}"/>
              </a:ext>
            </a:extLst>
          </p:cNvPr>
          <p:cNvCxnSpPr>
            <a:cxnSpLocks/>
          </p:cNvCxnSpPr>
          <p:nvPr/>
        </p:nvCxnSpPr>
        <p:spPr>
          <a:xfrm>
            <a:off x="565459" y="1078523"/>
            <a:ext cx="5508000" cy="0"/>
          </a:xfrm>
          <a:prstGeom prst="line">
            <a:avLst/>
          </a:prstGeom>
          <a:ln w="38100">
            <a:gradFill>
              <a:gsLst>
                <a:gs pos="0">
                  <a:schemeClr val="accent5"/>
                </a:gs>
                <a:gs pos="34000">
                  <a:schemeClr val="bg2"/>
                </a:gs>
                <a:gs pos="67000">
                  <a:schemeClr val="tx2"/>
                </a:gs>
                <a:gs pos="100000">
                  <a:schemeClr val="accent1"/>
                </a:gs>
              </a:gsLst>
              <a:lin ang="2700000" scaled="0"/>
            </a:gradFill>
          </a:ln>
        </p:spPr>
        <p:style>
          <a:lnRef idx="1">
            <a:schemeClr val="accent1"/>
          </a:lnRef>
          <a:fillRef idx="0">
            <a:schemeClr val="accent1"/>
          </a:fillRef>
          <a:effectRef idx="0">
            <a:schemeClr val="accent1"/>
          </a:effectRef>
          <a:fontRef idx="minor">
            <a:schemeClr val="tx1"/>
          </a:fontRef>
        </p:style>
      </p:cxnSp>
      <p:sp>
        <p:nvSpPr>
          <p:cNvPr id="296" name="TextBox 295">
            <a:extLst>
              <a:ext uri="{FF2B5EF4-FFF2-40B4-BE49-F238E27FC236}">
                <a16:creationId xmlns:a16="http://schemas.microsoft.com/office/drawing/2014/main" id="{A1CA4B62-1485-9C5D-AABA-1150618728BC}"/>
              </a:ext>
            </a:extLst>
          </p:cNvPr>
          <p:cNvSpPr txBox="1"/>
          <p:nvPr/>
        </p:nvSpPr>
        <p:spPr>
          <a:xfrm>
            <a:off x="565459" y="1194530"/>
            <a:ext cx="1830608" cy="461665"/>
          </a:xfrm>
          <a:prstGeom prst="rect">
            <a:avLst/>
          </a:prstGeom>
          <a:noFill/>
        </p:spPr>
        <p:txBody>
          <a:bodyPr wrap="square" lIns="0"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Revenue</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USD million)</a:t>
            </a:r>
          </a:p>
        </p:txBody>
      </p:sp>
      <p:pic>
        <p:nvPicPr>
          <p:cNvPr id="298" name="Graphic 297">
            <a:extLst>
              <a:ext uri="{FF2B5EF4-FFF2-40B4-BE49-F238E27FC236}">
                <a16:creationId xmlns:a16="http://schemas.microsoft.com/office/drawing/2014/main" id="{41935558-B126-D71C-0634-2E3AC3E8B07E}"/>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484301" y="668721"/>
            <a:ext cx="10138998" cy="5773022"/>
          </a:xfrm>
          <a:prstGeom prst="rect">
            <a:avLst/>
          </a:prstGeom>
        </p:spPr>
      </p:pic>
      <p:sp>
        <p:nvSpPr>
          <p:cNvPr id="3" name="Title 2">
            <a:extLst>
              <a:ext uri="{FF2B5EF4-FFF2-40B4-BE49-F238E27FC236}">
                <a16:creationId xmlns:a16="http://schemas.microsoft.com/office/drawing/2014/main" id="{D501C32E-82E2-0762-8395-D82BFEE58FC4}"/>
              </a:ext>
            </a:extLst>
          </p:cNvPr>
          <p:cNvSpPr>
            <a:spLocks noGrp="1"/>
          </p:cNvSpPr>
          <p:nvPr>
            <p:ph type="title"/>
          </p:nvPr>
        </p:nvSpPr>
        <p:spPr>
          <a:xfrm>
            <a:off x="565459" y="552715"/>
            <a:ext cx="10017711" cy="360099"/>
          </a:xfrm>
        </p:spPr>
        <p:txBody>
          <a:bodyPr vert="horz"/>
          <a:lstStyle/>
          <a:p>
            <a:r>
              <a:rPr lang="en-GB" sz="2600"/>
              <a:t>History and growth journey</a:t>
            </a:r>
            <a:endParaRPr lang="en-US" sz="2600"/>
          </a:p>
        </p:txBody>
      </p:sp>
    </p:spTree>
    <p:extLst>
      <p:ext uri="{BB962C8B-B14F-4D97-AF65-F5344CB8AC3E}">
        <p14:creationId xmlns:p14="http://schemas.microsoft.com/office/powerpoint/2010/main" val="324392086"/>
      </p:ext>
    </p:ext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71264F9-69D1-C5D6-F2BC-9E3C7B2BCA83}"/>
            </a:ext>
          </a:extLst>
        </p:cNvPr>
        <p:cNvGrpSpPr/>
        <p:nvPr/>
      </p:nvGrpSpPr>
      <p:grpSpPr>
        <a:xfrm>
          <a:off x="0" y="0"/>
          <a:ext cx="0" cy="0"/>
          <a:chOff x="0" y="0"/>
          <a:chExt cx="0" cy="0"/>
        </a:xfrm>
      </p:grpSpPr>
      <p:sp>
        <p:nvSpPr>
          <p:cNvPr id="48" name="Rectangle 47">
            <a:extLst>
              <a:ext uri="{FF2B5EF4-FFF2-40B4-BE49-F238E27FC236}">
                <a16:creationId xmlns:a16="http://schemas.microsoft.com/office/drawing/2014/main" id="{3AE73F5C-2F2F-97BB-EC80-C1C2913392D5}"/>
              </a:ext>
            </a:extLst>
          </p:cNvPr>
          <p:cNvSpPr/>
          <p:nvPr/>
        </p:nvSpPr>
        <p:spPr>
          <a:xfrm>
            <a:off x="8043134" y="2362907"/>
            <a:ext cx="3636000" cy="349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8EF2B560-74A7-E272-F8CE-77236440B83D}"/>
              </a:ext>
            </a:extLst>
          </p:cNvPr>
          <p:cNvSpPr/>
          <p:nvPr/>
        </p:nvSpPr>
        <p:spPr>
          <a:xfrm>
            <a:off x="8043134" y="2362904"/>
            <a:ext cx="3636000" cy="540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0" name="TextBox 49">
            <a:extLst>
              <a:ext uri="{FF2B5EF4-FFF2-40B4-BE49-F238E27FC236}">
                <a16:creationId xmlns:a16="http://schemas.microsoft.com/office/drawing/2014/main" id="{733E07A6-1633-3FBB-DF39-C7647EF7EF04}"/>
              </a:ext>
            </a:extLst>
          </p:cNvPr>
          <p:cNvSpPr txBox="1">
            <a:spLocks/>
          </p:cNvSpPr>
          <p:nvPr/>
        </p:nvSpPr>
        <p:spPr>
          <a:xfrm>
            <a:off x="8202526" y="2407757"/>
            <a:ext cx="3274400" cy="442035"/>
          </a:xfrm>
          <a:prstGeom prst="rect">
            <a:avLst/>
          </a:prstGeom>
          <a:noFill/>
        </p:spPr>
        <p:txBody>
          <a:bodyPr wrap="square" lIns="0" tIns="36000" rIns="0" bIns="3600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GUB-UCN2 </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reduces fat mass, alone and in combination with semaglutide</a:t>
            </a:r>
            <a:endPar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sp>
        <p:nvSpPr>
          <p:cNvPr id="52" name="Rectangle 51">
            <a:extLst>
              <a:ext uri="{FF2B5EF4-FFF2-40B4-BE49-F238E27FC236}">
                <a16:creationId xmlns:a16="http://schemas.microsoft.com/office/drawing/2014/main" id="{2F62A0E0-B594-70FC-06A2-79B55C2A0985}"/>
              </a:ext>
            </a:extLst>
          </p:cNvPr>
          <p:cNvSpPr/>
          <p:nvPr/>
        </p:nvSpPr>
        <p:spPr>
          <a:xfrm>
            <a:off x="4314794" y="2362907"/>
            <a:ext cx="3636000" cy="349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3" name="Rectangle 52">
            <a:extLst>
              <a:ext uri="{FF2B5EF4-FFF2-40B4-BE49-F238E27FC236}">
                <a16:creationId xmlns:a16="http://schemas.microsoft.com/office/drawing/2014/main" id="{C66EDF62-A546-B2CB-58CB-62140C1D7FC7}"/>
              </a:ext>
            </a:extLst>
          </p:cNvPr>
          <p:cNvSpPr/>
          <p:nvPr/>
        </p:nvSpPr>
        <p:spPr>
          <a:xfrm>
            <a:off x="4314794" y="2362904"/>
            <a:ext cx="3636000" cy="540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4" name="TextBox 53">
            <a:extLst>
              <a:ext uri="{FF2B5EF4-FFF2-40B4-BE49-F238E27FC236}">
                <a16:creationId xmlns:a16="http://schemas.microsoft.com/office/drawing/2014/main" id="{C8E0F20E-6BD7-2E16-9326-FE81D07EABA3}"/>
              </a:ext>
            </a:extLst>
          </p:cNvPr>
          <p:cNvSpPr txBox="1">
            <a:spLocks/>
          </p:cNvSpPr>
          <p:nvPr/>
        </p:nvSpPr>
        <p:spPr>
          <a:xfrm>
            <a:off x="4474186" y="2407757"/>
            <a:ext cx="3274399" cy="442035"/>
          </a:xfrm>
          <a:prstGeom prst="rect">
            <a:avLst/>
          </a:prstGeom>
          <a:noFill/>
        </p:spPr>
        <p:txBody>
          <a:bodyPr wrap="square" lIns="0" tIns="36000" rIns="0" bIns="36000">
            <a:spAutoFit/>
          </a:bodyPr>
          <a:lstStyle/>
          <a:p>
            <a:pPr marL="0" marR="0" lvl="0" indent="0" algn="ctr" defTabSz="8890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GUB-UCN2 </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prevents</a:t>
            </a:r>
            <a:r>
              <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lean mass</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loss and restores lean mass loss caused by</a:t>
            </a:r>
            <a:r>
              <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semaglutide</a:t>
            </a:r>
            <a:endPar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sp>
        <p:nvSpPr>
          <p:cNvPr id="10" name="Rectangle 9">
            <a:extLst>
              <a:ext uri="{FF2B5EF4-FFF2-40B4-BE49-F238E27FC236}">
                <a16:creationId xmlns:a16="http://schemas.microsoft.com/office/drawing/2014/main" id="{E356FFAC-5C65-20B3-8ABC-B1E6AE58237D}"/>
              </a:ext>
            </a:extLst>
          </p:cNvPr>
          <p:cNvSpPr/>
          <p:nvPr/>
        </p:nvSpPr>
        <p:spPr>
          <a:xfrm>
            <a:off x="563178" y="2362907"/>
            <a:ext cx="3636000" cy="34971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6D95256B-9505-B4D0-65F5-388724FA0A2E}"/>
              </a:ext>
            </a:extLst>
          </p:cNvPr>
          <p:cNvSpPr/>
          <p:nvPr/>
        </p:nvSpPr>
        <p:spPr>
          <a:xfrm>
            <a:off x="563178" y="2362904"/>
            <a:ext cx="3636000" cy="540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B257569F-65DF-9CD6-35A0-8C0590722D76}"/>
              </a:ext>
            </a:extLst>
          </p:cNvPr>
          <p:cNvSpPr txBox="1">
            <a:spLocks/>
          </p:cNvSpPr>
          <p:nvPr/>
        </p:nvSpPr>
        <p:spPr>
          <a:xfrm>
            <a:off x="722570" y="2407757"/>
            <a:ext cx="3274400" cy="442035"/>
          </a:xfrm>
          <a:prstGeom prst="rect">
            <a:avLst/>
          </a:prstGeom>
          <a:noFill/>
        </p:spPr>
        <p:txBody>
          <a:bodyPr wrap="square" lIns="0" tIns="36000" rIns="0" bIns="3600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GUB-UCN2 has a neutral effect on body weight but improves body composition </a:t>
            </a:r>
          </a:p>
        </p:txBody>
      </p:sp>
      <p:graphicFrame>
        <p:nvGraphicFramePr>
          <p:cNvPr id="6" name="Object 5" hidden="1">
            <a:extLst>
              <a:ext uri="{FF2B5EF4-FFF2-40B4-BE49-F238E27FC236}">
                <a16:creationId xmlns:a16="http://schemas.microsoft.com/office/drawing/2014/main" id="{DC2CF26B-FA6E-A4EF-DDD1-B768B07C433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DC2CF26B-FA6E-A4EF-DDD1-B768B07C43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060" name="rc817">
            <a:extLst>
              <a:ext uri="{FF2B5EF4-FFF2-40B4-BE49-F238E27FC236}">
                <a16:creationId xmlns:a16="http://schemas.microsoft.com/office/drawing/2014/main" id="{A5DD0D33-D2BB-BC34-1480-29CE2C1C0EFB}"/>
              </a:ext>
            </a:extLst>
          </p:cNvPr>
          <p:cNvSpPr/>
          <p:nvPr/>
        </p:nvSpPr>
        <p:spPr>
          <a:xfrm>
            <a:off x="710313" y="4358274"/>
            <a:ext cx="1634865" cy="1423131"/>
          </a:xfrm>
          <a:prstGeom prst="rect">
            <a:avLst/>
          </a:prstGeom>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grpSp>
        <p:nvGrpSpPr>
          <p:cNvPr id="20" name="Group 19">
            <a:extLst>
              <a:ext uri="{FF2B5EF4-FFF2-40B4-BE49-F238E27FC236}">
                <a16:creationId xmlns:a16="http://schemas.microsoft.com/office/drawing/2014/main" id="{7D99D6D4-464F-60DD-0610-64EF7ECB6F35}"/>
              </a:ext>
            </a:extLst>
          </p:cNvPr>
          <p:cNvGrpSpPr/>
          <p:nvPr/>
        </p:nvGrpSpPr>
        <p:grpSpPr>
          <a:xfrm>
            <a:off x="565459" y="6013609"/>
            <a:ext cx="1927656" cy="665862"/>
            <a:chOff x="565459" y="5922683"/>
            <a:chExt cx="1927656" cy="665862"/>
          </a:xfrm>
        </p:grpSpPr>
        <p:grpSp>
          <p:nvGrpSpPr>
            <p:cNvPr id="19" name="Group 18">
              <a:extLst>
                <a:ext uri="{FF2B5EF4-FFF2-40B4-BE49-F238E27FC236}">
                  <a16:creationId xmlns:a16="http://schemas.microsoft.com/office/drawing/2014/main" id="{F3595C8A-9612-FE59-E198-0269F3F514E2}"/>
                </a:ext>
              </a:extLst>
            </p:cNvPr>
            <p:cNvGrpSpPr/>
            <p:nvPr/>
          </p:nvGrpSpPr>
          <p:grpSpPr>
            <a:xfrm>
              <a:off x="565459" y="5922683"/>
              <a:ext cx="1624226" cy="665862"/>
              <a:chOff x="565459" y="5922683"/>
              <a:chExt cx="1624226" cy="665862"/>
            </a:xfrm>
          </p:grpSpPr>
          <p:sp>
            <p:nvSpPr>
              <p:cNvPr id="6067" name="rc824">
                <a:extLst>
                  <a:ext uri="{FF2B5EF4-FFF2-40B4-BE49-F238E27FC236}">
                    <a16:creationId xmlns:a16="http://schemas.microsoft.com/office/drawing/2014/main" id="{D3D7DC55-D8D8-0FC1-E39E-808074D2ADC1}"/>
                  </a:ext>
                </a:extLst>
              </p:cNvPr>
              <p:cNvSpPr/>
              <p:nvPr/>
            </p:nvSpPr>
            <p:spPr>
              <a:xfrm>
                <a:off x="565459" y="6369090"/>
                <a:ext cx="219455" cy="219455"/>
              </a:xfrm>
              <a:prstGeom prst="rect">
                <a:avLst/>
              </a:prstGeom>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grpSp>
            <p:nvGrpSpPr>
              <p:cNvPr id="15" name="Group 14">
                <a:extLst>
                  <a:ext uri="{FF2B5EF4-FFF2-40B4-BE49-F238E27FC236}">
                    <a16:creationId xmlns:a16="http://schemas.microsoft.com/office/drawing/2014/main" id="{828CDEAA-9A05-C8B8-0CA9-A2E9D6AB599A}"/>
                  </a:ext>
                </a:extLst>
              </p:cNvPr>
              <p:cNvGrpSpPr/>
              <p:nvPr/>
            </p:nvGrpSpPr>
            <p:grpSpPr>
              <a:xfrm>
                <a:off x="565459" y="5922683"/>
                <a:ext cx="1355194" cy="219456"/>
                <a:chOff x="565459" y="5390942"/>
                <a:chExt cx="1355194" cy="219456"/>
              </a:xfrm>
            </p:grpSpPr>
            <p:sp>
              <p:nvSpPr>
                <p:cNvPr id="6061" name="rc818">
                  <a:extLst>
                    <a:ext uri="{FF2B5EF4-FFF2-40B4-BE49-F238E27FC236}">
                      <a16:creationId xmlns:a16="http://schemas.microsoft.com/office/drawing/2014/main" id="{573429EF-3FF2-7AEC-037D-AACD0E0589C0}"/>
                    </a:ext>
                  </a:extLst>
                </p:cNvPr>
                <p:cNvSpPr/>
                <p:nvPr/>
              </p:nvSpPr>
              <p:spPr>
                <a:xfrm>
                  <a:off x="565459" y="5390942"/>
                  <a:ext cx="219455" cy="219456"/>
                </a:xfrm>
                <a:prstGeom prst="rect">
                  <a:avLst/>
                </a:prstGeom>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62" name="pt819">
                  <a:extLst>
                    <a:ext uri="{FF2B5EF4-FFF2-40B4-BE49-F238E27FC236}">
                      <a16:creationId xmlns:a16="http://schemas.microsoft.com/office/drawing/2014/main" id="{EB560B3E-03C6-1A9E-ACF2-EB6283D2CFE4}"/>
                    </a:ext>
                  </a:extLst>
                </p:cNvPr>
                <p:cNvSpPr/>
                <p:nvPr/>
              </p:nvSpPr>
              <p:spPr>
                <a:xfrm>
                  <a:off x="657136" y="5482619"/>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63" name="pl820">
                  <a:extLst>
                    <a:ext uri="{FF2B5EF4-FFF2-40B4-BE49-F238E27FC236}">
                      <a16:creationId xmlns:a16="http://schemas.microsoft.com/office/drawing/2014/main" id="{E34C252A-A93E-D313-C3BC-F2C73882AECC}"/>
                    </a:ext>
                  </a:extLst>
                </p:cNvPr>
                <p:cNvSpPr/>
                <p:nvPr/>
              </p:nvSpPr>
              <p:spPr>
                <a:xfrm>
                  <a:off x="587404" y="5500670"/>
                  <a:ext cx="175564" cy="0"/>
                </a:xfrm>
                <a:custGeom>
                  <a:avLst/>
                  <a:gdLst/>
                  <a:ahLst/>
                  <a:cxnLst/>
                  <a:rect l="0" t="0" r="0" b="0"/>
                  <a:pathLst>
                    <a:path w="175564">
                      <a:moveTo>
                        <a:pt x="0" y="0"/>
                      </a:moveTo>
                      <a:lnTo>
                        <a:pt x="175564"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76" name="tx833">
                  <a:extLst>
                    <a:ext uri="{FF2B5EF4-FFF2-40B4-BE49-F238E27FC236}">
                      <a16:creationId xmlns:a16="http://schemas.microsoft.com/office/drawing/2014/main" id="{BD5334EB-6362-BFB7-39FB-B67D0B4D37A8}"/>
                    </a:ext>
                  </a:extLst>
                </p:cNvPr>
                <p:cNvSpPr/>
                <p:nvPr/>
              </p:nvSpPr>
              <p:spPr>
                <a:xfrm>
                  <a:off x="856841" y="5458398"/>
                  <a:ext cx="1063812" cy="142096"/>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10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Vehicle + Vehicle</a:t>
                  </a:r>
                </a:p>
              </p:txBody>
            </p:sp>
          </p:grpSp>
          <p:grpSp>
            <p:nvGrpSpPr>
              <p:cNvPr id="14" name="Group 13">
                <a:extLst>
                  <a:ext uri="{FF2B5EF4-FFF2-40B4-BE49-F238E27FC236}">
                    <a16:creationId xmlns:a16="http://schemas.microsoft.com/office/drawing/2014/main" id="{7EEFCF92-DA9D-D692-E90A-F973BF94BA09}"/>
                  </a:ext>
                </a:extLst>
              </p:cNvPr>
              <p:cNvGrpSpPr/>
              <p:nvPr/>
            </p:nvGrpSpPr>
            <p:grpSpPr>
              <a:xfrm>
                <a:off x="565459" y="6149634"/>
                <a:ext cx="1624226" cy="219455"/>
                <a:chOff x="565459" y="5617893"/>
                <a:chExt cx="1624226" cy="219455"/>
              </a:xfrm>
            </p:grpSpPr>
            <p:sp>
              <p:nvSpPr>
                <p:cNvPr id="6064" name="rc821">
                  <a:extLst>
                    <a:ext uri="{FF2B5EF4-FFF2-40B4-BE49-F238E27FC236}">
                      <a16:creationId xmlns:a16="http://schemas.microsoft.com/office/drawing/2014/main" id="{8115F948-973A-7986-51D4-CCF2907D2896}"/>
                    </a:ext>
                  </a:extLst>
                </p:cNvPr>
                <p:cNvSpPr/>
                <p:nvPr/>
              </p:nvSpPr>
              <p:spPr>
                <a:xfrm>
                  <a:off x="565459" y="5617893"/>
                  <a:ext cx="219455" cy="219455"/>
                </a:xfrm>
                <a:prstGeom prst="rect">
                  <a:avLst/>
                </a:prstGeom>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65" name="pt822">
                  <a:extLst>
                    <a:ext uri="{FF2B5EF4-FFF2-40B4-BE49-F238E27FC236}">
                      <a16:creationId xmlns:a16="http://schemas.microsoft.com/office/drawing/2014/main" id="{1C4B9AD9-EB3B-0B7E-33BD-E19573D49A3D}"/>
                    </a:ext>
                  </a:extLst>
                </p:cNvPr>
                <p:cNvSpPr/>
                <p:nvPr/>
              </p:nvSpPr>
              <p:spPr>
                <a:xfrm>
                  <a:off x="657136" y="5702075"/>
                  <a:ext cx="36101" cy="36101"/>
                </a:xfrm>
                <a:prstGeom prst="ellipse">
                  <a:avLst/>
                </a:prstGeom>
                <a:solidFill>
                  <a:schemeClr val="accent2"/>
                </a:solidFill>
                <a:ln w="9000" cap="rnd">
                  <a:solidFill>
                    <a:schemeClr val="accent2"/>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66" name="pl823">
                  <a:extLst>
                    <a:ext uri="{FF2B5EF4-FFF2-40B4-BE49-F238E27FC236}">
                      <a16:creationId xmlns:a16="http://schemas.microsoft.com/office/drawing/2014/main" id="{3DD4F6A4-1F23-6B6D-FAA8-FCEE2388D87B}"/>
                    </a:ext>
                  </a:extLst>
                </p:cNvPr>
                <p:cNvSpPr/>
                <p:nvPr/>
              </p:nvSpPr>
              <p:spPr>
                <a:xfrm>
                  <a:off x="587404" y="5720126"/>
                  <a:ext cx="175564" cy="0"/>
                </a:xfrm>
                <a:custGeom>
                  <a:avLst/>
                  <a:gdLst/>
                  <a:ahLst/>
                  <a:cxnLst/>
                  <a:rect l="0" t="0" r="0" b="0"/>
                  <a:pathLst>
                    <a:path w="175564">
                      <a:moveTo>
                        <a:pt x="0" y="0"/>
                      </a:moveTo>
                      <a:lnTo>
                        <a:pt x="175564" y="0"/>
                      </a:lnTo>
                    </a:path>
                  </a:pathLst>
                </a:custGeom>
                <a:ln w="5420" cap="flat">
                  <a:solidFill>
                    <a:schemeClr val="accent2"/>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77" name="tx834">
                  <a:extLst>
                    <a:ext uri="{FF2B5EF4-FFF2-40B4-BE49-F238E27FC236}">
                      <a16:creationId xmlns:a16="http://schemas.microsoft.com/office/drawing/2014/main" id="{294C1765-AA90-20B3-3896-1EB13C8B5589}"/>
                    </a:ext>
                  </a:extLst>
                </p:cNvPr>
                <p:cNvSpPr/>
                <p:nvPr/>
              </p:nvSpPr>
              <p:spPr>
                <a:xfrm>
                  <a:off x="819366" y="5691401"/>
                  <a:ext cx="1370319" cy="91074"/>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10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GUB-UCN2 + Vehicle</a:t>
                  </a:r>
                </a:p>
              </p:txBody>
            </p:sp>
          </p:grpSp>
        </p:grpSp>
        <p:grpSp>
          <p:nvGrpSpPr>
            <p:cNvPr id="6433" name="Group 6432">
              <a:extLst>
                <a:ext uri="{FF2B5EF4-FFF2-40B4-BE49-F238E27FC236}">
                  <a16:creationId xmlns:a16="http://schemas.microsoft.com/office/drawing/2014/main" id="{06D85EA6-F917-DE48-1660-07028AA0213D}"/>
                </a:ext>
              </a:extLst>
            </p:cNvPr>
            <p:cNvGrpSpPr/>
            <p:nvPr/>
          </p:nvGrpSpPr>
          <p:grpSpPr>
            <a:xfrm>
              <a:off x="587404" y="6407628"/>
              <a:ext cx="1905711" cy="155773"/>
              <a:chOff x="879135" y="5226065"/>
              <a:chExt cx="1905711" cy="155773"/>
            </a:xfrm>
          </p:grpSpPr>
          <p:sp>
            <p:nvSpPr>
              <p:cNvPr id="6068" name="pt825">
                <a:extLst>
                  <a:ext uri="{FF2B5EF4-FFF2-40B4-BE49-F238E27FC236}">
                    <a16:creationId xmlns:a16="http://schemas.microsoft.com/office/drawing/2014/main" id="{05B2A1AA-FD02-C284-E9F0-9B7A8F2025C2}"/>
                  </a:ext>
                </a:extLst>
              </p:cNvPr>
              <p:cNvSpPr/>
              <p:nvPr/>
            </p:nvSpPr>
            <p:spPr>
              <a:xfrm>
                <a:off x="948867" y="5279204"/>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69" name="pl826">
                <a:extLst>
                  <a:ext uri="{FF2B5EF4-FFF2-40B4-BE49-F238E27FC236}">
                    <a16:creationId xmlns:a16="http://schemas.microsoft.com/office/drawing/2014/main" id="{1DA84EF8-7426-C695-FC25-C18047283A4A}"/>
                  </a:ext>
                </a:extLst>
              </p:cNvPr>
              <p:cNvSpPr/>
              <p:nvPr/>
            </p:nvSpPr>
            <p:spPr>
              <a:xfrm>
                <a:off x="879135" y="5297255"/>
                <a:ext cx="175564" cy="0"/>
              </a:xfrm>
              <a:custGeom>
                <a:avLst/>
                <a:gdLst/>
                <a:ahLst/>
                <a:cxnLst/>
                <a:rect l="0" t="0" r="0" b="0"/>
                <a:pathLst>
                  <a:path w="175564">
                    <a:moveTo>
                      <a:pt x="0" y="0"/>
                    </a:moveTo>
                    <a:lnTo>
                      <a:pt x="175564"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78" name="tx835">
                <a:extLst>
                  <a:ext uri="{FF2B5EF4-FFF2-40B4-BE49-F238E27FC236}">
                    <a16:creationId xmlns:a16="http://schemas.microsoft.com/office/drawing/2014/main" id="{C767EC47-6503-65BB-A4EB-ACD5F51C9827}"/>
                  </a:ext>
                </a:extLst>
              </p:cNvPr>
              <p:cNvSpPr/>
              <p:nvPr/>
            </p:nvSpPr>
            <p:spPr>
              <a:xfrm>
                <a:off x="905405" y="5226065"/>
                <a:ext cx="1879441" cy="155773"/>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001965">
                        <a:alpha val="100000"/>
                      </a:srgbClr>
                    </a:solidFill>
                    <a:effectLst/>
                    <a:uLnTx/>
                    <a:uFillTx/>
                    <a:latin typeface="Avenir Next LT Pro"/>
                    <a:ea typeface="+mn-ea"/>
                    <a:cs typeface="Avenir Next LT Pro"/>
                  </a:rPr>
                  <a:t>Semaglutide</a:t>
                </a:r>
                <a:r>
                  <a:rPr kumimoji="0" lang="en-US" sz="10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 +</a:t>
                </a:r>
                <a:r>
                  <a:rPr kumimoji="0" lang="en-DK" sz="10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 </a:t>
                </a:r>
                <a:r>
                  <a:rPr kumimoji="0" lang="en-US" sz="10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Vehicle </a:t>
                </a:r>
              </a:p>
            </p:txBody>
          </p:sp>
        </p:grpSp>
      </p:grpSp>
      <p:grpSp>
        <p:nvGrpSpPr>
          <p:cNvPr id="18" name="Group 17">
            <a:extLst>
              <a:ext uri="{FF2B5EF4-FFF2-40B4-BE49-F238E27FC236}">
                <a16:creationId xmlns:a16="http://schemas.microsoft.com/office/drawing/2014/main" id="{FE7D09FF-8893-3EBF-F1FC-95020D259F15}"/>
              </a:ext>
            </a:extLst>
          </p:cNvPr>
          <p:cNvGrpSpPr/>
          <p:nvPr/>
        </p:nvGrpSpPr>
        <p:grpSpPr>
          <a:xfrm>
            <a:off x="2345178" y="6018346"/>
            <a:ext cx="2178322" cy="395090"/>
            <a:chOff x="2345178" y="5900115"/>
            <a:chExt cx="2178322" cy="395090"/>
          </a:xfrm>
        </p:grpSpPr>
        <p:sp>
          <p:nvSpPr>
            <p:cNvPr id="6073" name="rc830">
              <a:extLst>
                <a:ext uri="{FF2B5EF4-FFF2-40B4-BE49-F238E27FC236}">
                  <a16:creationId xmlns:a16="http://schemas.microsoft.com/office/drawing/2014/main" id="{7C433624-2BC2-E1DC-6876-66F846D84514}"/>
                </a:ext>
              </a:extLst>
            </p:cNvPr>
            <p:cNvSpPr/>
            <p:nvPr/>
          </p:nvSpPr>
          <p:spPr>
            <a:xfrm>
              <a:off x="2345178" y="5900115"/>
              <a:ext cx="219455" cy="374497"/>
            </a:xfrm>
            <a:prstGeom prst="rect">
              <a:avLst/>
            </a:prstGeom>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D3285AEC-8F26-1B38-D577-79E8B8EFABB9}"/>
                </a:ext>
              </a:extLst>
            </p:cNvPr>
            <p:cNvGrpSpPr/>
            <p:nvPr/>
          </p:nvGrpSpPr>
          <p:grpSpPr>
            <a:xfrm>
              <a:off x="2345178" y="5905509"/>
              <a:ext cx="2178322" cy="219456"/>
              <a:chOff x="565459" y="6056805"/>
              <a:chExt cx="2178322" cy="219456"/>
            </a:xfrm>
          </p:grpSpPr>
          <p:sp>
            <p:nvSpPr>
              <p:cNvPr id="6070" name="rc827">
                <a:extLst>
                  <a:ext uri="{FF2B5EF4-FFF2-40B4-BE49-F238E27FC236}">
                    <a16:creationId xmlns:a16="http://schemas.microsoft.com/office/drawing/2014/main" id="{A57883C7-FBD3-788D-2450-0255FCA8B001}"/>
                  </a:ext>
                </a:extLst>
              </p:cNvPr>
              <p:cNvSpPr/>
              <p:nvPr/>
            </p:nvSpPr>
            <p:spPr>
              <a:xfrm>
                <a:off x="565459" y="6056805"/>
                <a:ext cx="219455" cy="219456"/>
              </a:xfrm>
              <a:prstGeom prst="rect">
                <a:avLst/>
              </a:prstGeom>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71" name="pt828">
                <a:extLst>
                  <a:ext uri="{FF2B5EF4-FFF2-40B4-BE49-F238E27FC236}">
                    <a16:creationId xmlns:a16="http://schemas.microsoft.com/office/drawing/2014/main" id="{D53DD3D1-64B2-7B8B-46C7-9E4798EE86D7}"/>
                  </a:ext>
                </a:extLst>
              </p:cNvPr>
              <p:cNvSpPr/>
              <p:nvPr/>
            </p:nvSpPr>
            <p:spPr>
              <a:xfrm>
                <a:off x="657136" y="6148482"/>
                <a:ext cx="36101" cy="36101"/>
              </a:xfrm>
              <a:prstGeom prst="ellipse">
                <a:avLst/>
              </a:prstGeom>
              <a:solidFill>
                <a:srgbClr val="0C89C7">
                  <a:alpha val="100000"/>
                </a:srgbClr>
              </a:solidFill>
              <a:ln w="9000" cap="rnd">
                <a:solidFill>
                  <a:srgbClr val="0C89C7">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72" name="pl829">
                <a:extLst>
                  <a:ext uri="{FF2B5EF4-FFF2-40B4-BE49-F238E27FC236}">
                    <a16:creationId xmlns:a16="http://schemas.microsoft.com/office/drawing/2014/main" id="{4837066D-5FF7-A0D4-8FF0-DA2B1D48F0B5}"/>
                  </a:ext>
                </a:extLst>
              </p:cNvPr>
              <p:cNvSpPr/>
              <p:nvPr/>
            </p:nvSpPr>
            <p:spPr>
              <a:xfrm>
                <a:off x="587404" y="6166533"/>
                <a:ext cx="175564" cy="0"/>
              </a:xfrm>
              <a:custGeom>
                <a:avLst/>
                <a:gdLst/>
                <a:ahLst/>
                <a:cxnLst/>
                <a:rect l="0" t="0" r="0" b="0"/>
                <a:pathLst>
                  <a:path w="175564">
                    <a:moveTo>
                      <a:pt x="0" y="0"/>
                    </a:moveTo>
                    <a:lnTo>
                      <a:pt x="175564" y="0"/>
                    </a:lnTo>
                  </a:path>
                </a:pathLst>
              </a:custGeom>
              <a:ln w="5420" cap="flat">
                <a:solidFill>
                  <a:srgbClr val="0C89C7">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80" name="tx837">
                <a:extLst>
                  <a:ext uri="{FF2B5EF4-FFF2-40B4-BE49-F238E27FC236}">
                    <a16:creationId xmlns:a16="http://schemas.microsoft.com/office/drawing/2014/main" id="{283942B4-E086-72F7-92C7-611026F97FC7}"/>
                  </a:ext>
                </a:extLst>
              </p:cNvPr>
              <p:cNvSpPr/>
              <p:nvPr/>
            </p:nvSpPr>
            <p:spPr>
              <a:xfrm>
                <a:off x="579888" y="6080936"/>
                <a:ext cx="2141771" cy="193728"/>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10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GUB-UCN2 + </a:t>
                </a:r>
                <a:r>
                  <a:rPr kumimoji="0" lang="en-US" sz="1000" b="0" i="0" u="none" strike="noStrike" kern="1200" cap="none" spc="0" normalizeH="0" baseline="0" noProof="0" err="1">
                    <a:ln>
                      <a:noFill/>
                    </a:ln>
                    <a:solidFill>
                      <a:srgbClr val="001965">
                        <a:alpha val="100000"/>
                      </a:srgbClr>
                    </a:solidFill>
                    <a:effectLst/>
                    <a:uLnTx/>
                    <a:uFillTx/>
                    <a:latin typeface="Avenir Next LT Pro"/>
                    <a:ea typeface="+mn-ea"/>
                    <a:cs typeface="Avenir Next LT Pro"/>
                  </a:rPr>
                  <a:t>Semaglutide</a:t>
                </a:r>
                <a:endParaRPr kumimoji="0" lang="en-US" sz="1000" b="0" i="0" u="none" strike="noStrike" kern="1200" cap="none" spc="0" normalizeH="0" baseline="0" noProof="0">
                  <a:ln>
                    <a:noFill/>
                  </a:ln>
                  <a:solidFill>
                    <a:srgbClr val="001965">
                      <a:alpha val="100000"/>
                    </a:srgbClr>
                  </a:solidFill>
                  <a:effectLst/>
                  <a:uLnTx/>
                  <a:uFillTx/>
                  <a:latin typeface="Avenir Next LT Pro"/>
                  <a:ea typeface="+mn-ea"/>
                  <a:cs typeface="Avenir Next LT Pro"/>
                </a:endParaRPr>
              </a:p>
            </p:txBody>
          </p:sp>
          <p:sp>
            <p:nvSpPr>
              <p:cNvPr id="10853" name="tx837">
                <a:extLst>
                  <a:ext uri="{FF2B5EF4-FFF2-40B4-BE49-F238E27FC236}">
                    <a16:creationId xmlns:a16="http://schemas.microsoft.com/office/drawing/2014/main" id="{4BCC319C-DB5E-88B5-FCA5-0172C468A257}"/>
                  </a:ext>
                </a:extLst>
              </p:cNvPr>
              <p:cNvSpPr/>
              <p:nvPr/>
            </p:nvSpPr>
            <p:spPr>
              <a:xfrm>
                <a:off x="602010" y="6076684"/>
                <a:ext cx="2141771" cy="193728"/>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1965">
                      <a:alpha val="100000"/>
                    </a:srgbClr>
                  </a:solidFill>
                  <a:effectLst/>
                  <a:uLnTx/>
                  <a:uFillTx/>
                  <a:latin typeface="Avenir Next LT Pro"/>
                  <a:ea typeface="+mn-ea"/>
                  <a:cs typeface="Avenir Next LT Pro"/>
                </a:endParaRPr>
              </a:p>
            </p:txBody>
          </p:sp>
        </p:grpSp>
        <p:grpSp>
          <p:nvGrpSpPr>
            <p:cNvPr id="12" name="Group 11">
              <a:extLst>
                <a:ext uri="{FF2B5EF4-FFF2-40B4-BE49-F238E27FC236}">
                  <a16:creationId xmlns:a16="http://schemas.microsoft.com/office/drawing/2014/main" id="{D116C56B-5B2D-2188-90B4-D33842917797}"/>
                </a:ext>
              </a:extLst>
            </p:cNvPr>
            <p:cNvGrpSpPr/>
            <p:nvPr/>
          </p:nvGrpSpPr>
          <p:grpSpPr>
            <a:xfrm>
              <a:off x="2367123" y="6199879"/>
              <a:ext cx="1902906" cy="95326"/>
              <a:chOff x="587404" y="6351175"/>
              <a:chExt cx="1902906" cy="95326"/>
            </a:xfrm>
          </p:grpSpPr>
          <p:sp>
            <p:nvSpPr>
              <p:cNvPr id="6083" name="tx840">
                <a:extLst>
                  <a:ext uri="{FF2B5EF4-FFF2-40B4-BE49-F238E27FC236}">
                    <a16:creationId xmlns:a16="http://schemas.microsoft.com/office/drawing/2014/main" id="{36BA1C13-44E1-BE0C-8DA1-6B8CF08ABD83}"/>
                  </a:ext>
                </a:extLst>
              </p:cNvPr>
              <p:cNvSpPr/>
              <p:nvPr/>
            </p:nvSpPr>
            <p:spPr>
              <a:xfrm>
                <a:off x="1336521" y="6355427"/>
                <a:ext cx="1153789" cy="91074"/>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1965">
                      <a:alpha val="100000"/>
                    </a:srgbClr>
                  </a:solidFill>
                  <a:effectLst/>
                  <a:uLnTx/>
                  <a:uFillTx/>
                  <a:latin typeface="Avenir Next LT Pro"/>
                  <a:ea typeface="+mn-ea"/>
                  <a:cs typeface="Avenir Next LT Pro"/>
                </a:endParaRPr>
              </a:p>
            </p:txBody>
          </p:sp>
          <p:sp>
            <p:nvSpPr>
              <p:cNvPr id="10851" name="pt831">
                <a:extLst>
                  <a:ext uri="{FF2B5EF4-FFF2-40B4-BE49-F238E27FC236}">
                    <a16:creationId xmlns:a16="http://schemas.microsoft.com/office/drawing/2014/main" id="{1E8FFDD5-54E2-8375-8271-39751C149703}"/>
                  </a:ext>
                </a:extLst>
              </p:cNvPr>
              <p:cNvSpPr/>
              <p:nvPr/>
            </p:nvSpPr>
            <p:spPr>
              <a:xfrm>
                <a:off x="657136" y="6351267"/>
                <a:ext cx="36101" cy="36101"/>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52" name="pl832">
                <a:extLst>
                  <a:ext uri="{FF2B5EF4-FFF2-40B4-BE49-F238E27FC236}">
                    <a16:creationId xmlns:a16="http://schemas.microsoft.com/office/drawing/2014/main" id="{78250E82-7364-D628-2B24-4C429C2DC74B}"/>
                  </a:ext>
                </a:extLst>
              </p:cNvPr>
              <p:cNvSpPr/>
              <p:nvPr/>
            </p:nvSpPr>
            <p:spPr>
              <a:xfrm>
                <a:off x="587404" y="6369317"/>
                <a:ext cx="175564" cy="0"/>
              </a:xfrm>
              <a:custGeom>
                <a:avLst/>
                <a:gdLst/>
                <a:ahLst/>
                <a:cxnLst/>
                <a:rect l="0" t="0" r="0" b="0"/>
                <a:pathLst>
                  <a:path w="175564">
                    <a:moveTo>
                      <a:pt x="0" y="0"/>
                    </a:moveTo>
                    <a:lnTo>
                      <a:pt x="175564"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54" name="tx840">
                <a:extLst>
                  <a:ext uri="{FF2B5EF4-FFF2-40B4-BE49-F238E27FC236}">
                    <a16:creationId xmlns:a16="http://schemas.microsoft.com/office/drawing/2014/main" id="{045A55EE-BFD3-0522-701B-95182BDCB8F4}"/>
                  </a:ext>
                </a:extLst>
              </p:cNvPr>
              <p:cNvSpPr/>
              <p:nvPr/>
            </p:nvSpPr>
            <p:spPr>
              <a:xfrm>
                <a:off x="1336521" y="6351175"/>
                <a:ext cx="1153789" cy="91074"/>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001965">
                        <a:alpha val="100000"/>
                      </a:srgbClr>
                    </a:solidFill>
                    <a:effectLst/>
                    <a:uLnTx/>
                    <a:uFillTx/>
                    <a:latin typeface="Avenir Next LT Pro"/>
                    <a:ea typeface="+mn-ea"/>
                    <a:cs typeface="Avenir Next LT Pro"/>
                  </a:rPr>
                  <a:t>Semaglutide</a:t>
                </a:r>
                <a:r>
                  <a:rPr kumimoji="0" lang="en-US" sz="100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 + GUB-UCN2 (week 3)</a:t>
                </a:r>
              </a:p>
            </p:txBody>
          </p:sp>
        </p:grpSp>
      </p:grpSp>
      <p:sp>
        <p:nvSpPr>
          <p:cNvPr id="11" name="Title 2">
            <a:extLst>
              <a:ext uri="{FF2B5EF4-FFF2-40B4-BE49-F238E27FC236}">
                <a16:creationId xmlns:a16="http://schemas.microsoft.com/office/drawing/2014/main" id="{B225581F-2E1F-299A-E481-58BECA819823}"/>
              </a:ext>
            </a:extLst>
          </p:cNvPr>
          <p:cNvSpPr txBox="1">
            <a:spLocks/>
          </p:cNvSpPr>
          <p:nvPr/>
        </p:nvSpPr>
        <p:spPr>
          <a:xfrm>
            <a:off x="565459" y="552715"/>
            <a:ext cx="10098869" cy="720197"/>
          </a:xfrm>
          <a:prstGeom prst="rect">
            <a:avLst/>
          </a:prstGeom>
        </p:spPr>
        <p:txBody>
          <a:bodyPr vert="horz" lIns="0" tIns="0" rIns="0" bIns="0" rtlCol="0" anchor="t" anchorCtr="0">
            <a:spAutoFit/>
          </a:bodyPr>
          <a:lstStyle>
            <a:lvl1pPr algn="l" defTabSz="914377" rtl="0" eaLnBrk="1" latinLnBrk="0" hangingPunct="1">
              <a:lnSpc>
                <a:spcPct val="90000"/>
              </a:lnSpc>
              <a:spcBef>
                <a:spcPct val="0"/>
              </a:spcBef>
              <a:buNone/>
              <a:defRPr sz="3000" b="1" i="0" kern="1200">
                <a:solidFill>
                  <a:schemeClr val="tx2"/>
                </a:solidFill>
                <a:latin typeface="Avenir Next LT Pro" panose="020B0504020202020204" pitchFamily="34" charset="77"/>
                <a:ea typeface="Avenir Next LT Pro" panose="020B0504020202020204" pitchFamily="34" charset="77"/>
                <a:cs typeface="Avenir Next LT Pro" panose="020B0504020202020204" pitchFamily="34" charset="77"/>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DK" sz="2600" b="1" i="0" u="none" strike="noStrike" kern="1200" cap="none" spc="0" normalizeH="0" baseline="0" noProof="0">
                <a:ln>
                  <a:noFill/>
                </a:ln>
                <a:solidFill>
                  <a:srgbClr val="001965"/>
                </a:solidFill>
                <a:effectLst/>
                <a:uLnTx/>
                <a:uFillTx/>
                <a:latin typeface="Avenir Next LT Pro" panose="020B0504020202020204" pitchFamily="34" charset="77"/>
              </a:rPr>
              <a:t>Preclinically, </a:t>
            </a:r>
            <a:r>
              <a:rPr kumimoji="0" lang="en-US" sz="2600" b="1" i="0" u="none" strike="noStrike" kern="1200" cap="none" spc="0" normalizeH="0" baseline="0" noProof="0">
                <a:ln>
                  <a:noFill/>
                </a:ln>
                <a:solidFill>
                  <a:srgbClr val="001965"/>
                </a:solidFill>
                <a:effectLst/>
                <a:uLnTx/>
                <a:uFillTx/>
                <a:latin typeface="Avenir Next LT Pro" panose="020B0504020202020204" pitchFamily="34" charset="77"/>
              </a:rPr>
              <a:t>GUB-UCN2</a:t>
            </a:r>
            <a:r>
              <a:rPr kumimoji="0" lang="en-DK" sz="2600" b="1" i="0" u="none" strike="noStrike" kern="1200" cap="none" spc="0" normalizeH="0" baseline="0" noProof="0">
                <a:ln>
                  <a:noFill/>
                </a:ln>
                <a:solidFill>
                  <a:srgbClr val="001965"/>
                </a:solidFill>
                <a:effectLst/>
                <a:uLnTx/>
                <a:uFillTx/>
                <a:latin typeface="Avenir Next LT Pro" panose="020B0504020202020204" pitchFamily="34" charset="77"/>
              </a:rPr>
              <a:t> selectively decreases fat mass </a:t>
            </a:r>
            <a:br>
              <a:rPr kumimoji="0" lang="en-DK" sz="2600" b="1" i="0" u="none" strike="noStrike" kern="1200" cap="none" spc="0" normalizeH="0" baseline="0" noProof="0">
                <a:ln>
                  <a:noFill/>
                </a:ln>
                <a:solidFill>
                  <a:srgbClr val="001965"/>
                </a:solidFill>
                <a:effectLst/>
                <a:uLnTx/>
                <a:uFillTx/>
                <a:latin typeface="Avenir Next LT Pro" panose="020B0504020202020204" pitchFamily="34" charset="77"/>
              </a:rPr>
            </a:br>
            <a:r>
              <a:rPr kumimoji="0" lang="en-DK" sz="2600" b="1" i="0" u="none" strike="noStrike" kern="1200" cap="none" spc="0" normalizeH="0" baseline="0" noProof="0">
                <a:ln>
                  <a:noFill/>
                </a:ln>
                <a:solidFill>
                  <a:srgbClr val="001965"/>
                </a:solidFill>
                <a:effectLst/>
                <a:uLnTx/>
                <a:uFillTx/>
                <a:latin typeface="Avenir Next LT Pro" panose="020B0504020202020204" pitchFamily="34" charset="77"/>
              </a:rPr>
              <a:t>while simultaneously protecting loss of lean mass</a:t>
            </a:r>
            <a:endParaRPr kumimoji="0" lang="en-US" sz="2600" b="1" i="0" u="none" strike="noStrike" kern="1200" cap="none" spc="0" normalizeH="0" baseline="0" noProof="0">
              <a:ln>
                <a:noFill/>
              </a:ln>
              <a:solidFill>
                <a:srgbClr val="2878FF"/>
              </a:solidFill>
              <a:effectLst/>
              <a:uLnTx/>
              <a:uFillTx/>
              <a:latin typeface="Avenir Next LT Pro" panose="020B0504020202020204" pitchFamily="34" charset="77"/>
            </a:endParaRPr>
          </a:p>
        </p:txBody>
      </p:sp>
      <p:sp>
        <p:nvSpPr>
          <p:cNvPr id="56" name="Rounded Rectangle 55">
            <a:extLst>
              <a:ext uri="{FF2B5EF4-FFF2-40B4-BE49-F238E27FC236}">
                <a16:creationId xmlns:a16="http://schemas.microsoft.com/office/drawing/2014/main" id="{78D78505-D7E6-39F1-FC20-79773C5A671F}"/>
              </a:ext>
            </a:extLst>
          </p:cNvPr>
          <p:cNvSpPr/>
          <p:nvPr/>
        </p:nvSpPr>
        <p:spPr>
          <a:xfrm>
            <a:off x="565458" y="1714904"/>
            <a:ext cx="11064567" cy="468000"/>
          </a:xfrm>
          <a:prstGeom prst="roundRect">
            <a:avLst>
              <a:gd name="adj" fmla="val 5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432000"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GUB-UCN2 increases fat mass loss while rescuing loss in lean mass in diet-induced obese rats co-treated with </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semaglutide</a:t>
            </a:r>
            <a:endPar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pic>
        <p:nvPicPr>
          <p:cNvPr id="8" name="Graphic 7" descr="Lights On with solid fill">
            <a:extLst>
              <a:ext uri="{FF2B5EF4-FFF2-40B4-BE49-F238E27FC236}">
                <a16:creationId xmlns:a16="http://schemas.microsoft.com/office/drawing/2014/main" id="{57FDDD72-EC50-1B96-EA63-2589EEAF9E95}"/>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34863" y="1759198"/>
            <a:ext cx="365124" cy="365124"/>
          </a:xfrm>
          <a:prstGeom prst="rect">
            <a:avLst/>
          </a:prstGeom>
          <a:extLst>
            <a:ext uri="{91240B29-F687-4F45-9708-019B960494DF}">
              <a14:hiddenLine xmlns:a14="http://schemas.microsoft.com/office/drawing/2010/main" w="13758" cap="flat">
                <a:solidFill>
                  <a:srgbClr val="FFFFFF"/>
                </a:solidFill>
                <a:prstDash val="solid"/>
                <a:miter/>
              </a14:hiddenLine>
            </a:ext>
          </a:extLst>
        </p:spPr>
      </p:pic>
      <p:grpSp>
        <p:nvGrpSpPr>
          <p:cNvPr id="2" name="Group 1">
            <a:extLst>
              <a:ext uri="{FF2B5EF4-FFF2-40B4-BE49-F238E27FC236}">
                <a16:creationId xmlns:a16="http://schemas.microsoft.com/office/drawing/2014/main" id="{D701364A-5A5E-283E-DDEF-D4E0F6EE36FD}"/>
              </a:ext>
            </a:extLst>
          </p:cNvPr>
          <p:cNvGrpSpPr/>
          <p:nvPr/>
        </p:nvGrpSpPr>
        <p:grpSpPr>
          <a:xfrm>
            <a:off x="619278" y="3044278"/>
            <a:ext cx="3489900" cy="2658484"/>
            <a:chOff x="1167544" y="3400554"/>
            <a:chExt cx="3489900" cy="2464682"/>
          </a:xfrm>
        </p:grpSpPr>
        <p:sp>
          <p:nvSpPr>
            <p:cNvPr id="3" name="rc5">
              <a:extLst>
                <a:ext uri="{FF2B5EF4-FFF2-40B4-BE49-F238E27FC236}">
                  <a16:creationId xmlns:a16="http://schemas.microsoft.com/office/drawing/2014/main" id="{3CA5CC3C-B69A-AD87-C4EC-7CBC1194AC66}"/>
                </a:ext>
              </a:extLst>
            </p:cNvPr>
            <p:cNvSpPr/>
            <p:nvPr/>
          </p:nvSpPr>
          <p:spPr>
            <a:xfrm>
              <a:off x="1666034" y="3450608"/>
              <a:ext cx="2991409" cy="2021192"/>
            </a:xfrm>
            <a:prstGeom prst="rect">
              <a:avLst/>
            </a:prstGeom>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4" name="pt6">
              <a:extLst>
                <a:ext uri="{FF2B5EF4-FFF2-40B4-BE49-F238E27FC236}">
                  <a16:creationId xmlns:a16="http://schemas.microsoft.com/office/drawing/2014/main" id="{E3AEFEEB-2051-D3DD-596F-54E135DDEF1E}"/>
                </a:ext>
              </a:extLst>
            </p:cNvPr>
            <p:cNvSpPr/>
            <p:nvPr/>
          </p:nvSpPr>
          <p:spPr>
            <a:xfrm>
              <a:off x="1777008" y="4435870"/>
              <a:ext cx="49997" cy="50672"/>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 name="pt7">
              <a:extLst>
                <a:ext uri="{FF2B5EF4-FFF2-40B4-BE49-F238E27FC236}">
                  <a16:creationId xmlns:a16="http://schemas.microsoft.com/office/drawing/2014/main" id="{541222A2-36A4-8BC8-7DD6-7095ED7DA377}"/>
                </a:ext>
              </a:extLst>
            </p:cNvPr>
            <p:cNvSpPr/>
            <p:nvPr/>
          </p:nvSpPr>
          <p:spPr>
            <a:xfrm>
              <a:off x="2003631" y="4401509"/>
              <a:ext cx="49997" cy="50672"/>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7" name="pt8">
              <a:extLst>
                <a:ext uri="{FF2B5EF4-FFF2-40B4-BE49-F238E27FC236}">
                  <a16:creationId xmlns:a16="http://schemas.microsoft.com/office/drawing/2014/main" id="{9FE018D9-BE67-2102-B980-3B9F6CFF1CA3}"/>
                </a:ext>
              </a:extLst>
            </p:cNvPr>
            <p:cNvSpPr/>
            <p:nvPr/>
          </p:nvSpPr>
          <p:spPr>
            <a:xfrm>
              <a:off x="2230253" y="4411110"/>
              <a:ext cx="49997" cy="50672"/>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 name="pt9">
              <a:extLst>
                <a:ext uri="{FF2B5EF4-FFF2-40B4-BE49-F238E27FC236}">
                  <a16:creationId xmlns:a16="http://schemas.microsoft.com/office/drawing/2014/main" id="{C34DD263-E4BE-EF8F-14BC-28010DA52BD6}"/>
                </a:ext>
              </a:extLst>
            </p:cNvPr>
            <p:cNvSpPr/>
            <p:nvPr/>
          </p:nvSpPr>
          <p:spPr>
            <a:xfrm>
              <a:off x="2456874" y="4371697"/>
              <a:ext cx="49997" cy="50672"/>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6" name="pt10">
              <a:extLst>
                <a:ext uri="{FF2B5EF4-FFF2-40B4-BE49-F238E27FC236}">
                  <a16:creationId xmlns:a16="http://schemas.microsoft.com/office/drawing/2014/main" id="{22DCC95F-F799-9505-BFA6-773D1C50FDE1}"/>
                </a:ext>
              </a:extLst>
            </p:cNvPr>
            <p:cNvSpPr/>
            <p:nvPr/>
          </p:nvSpPr>
          <p:spPr>
            <a:xfrm>
              <a:off x="2683497" y="4319146"/>
              <a:ext cx="49997" cy="50672"/>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22" name="pt11">
              <a:extLst>
                <a:ext uri="{FF2B5EF4-FFF2-40B4-BE49-F238E27FC236}">
                  <a16:creationId xmlns:a16="http://schemas.microsoft.com/office/drawing/2014/main" id="{A9D8F249-A831-9F2C-7267-616FABA81084}"/>
                </a:ext>
              </a:extLst>
            </p:cNvPr>
            <p:cNvSpPr/>
            <p:nvPr/>
          </p:nvSpPr>
          <p:spPr>
            <a:xfrm>
              <a:off x="2910118" y="4273164"/>
              <a:ext cx="49997" cy="50672"/>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23" name="pt12">
              <a:extLst>
                <a:ext uri="{FF2B5EF4-FFF2-40B4-BE49-F238E27FC236}">
                  <a16:creationId xmlns:a16="http://schemas.microsoft.com/office/drawing/2014/main" id="{D42ABA84-F8F0-1ABA-6DEE-7CB70BD4F19F}"/>
                </a:ext>
              </a:extLst>
            </p:cNvPr>
            <p:cNvSpPr/>
            <p:nvPr/>
          </p:nvSpPr>
          <p:spPr>
            <a:xfrm>
              <a:off x="3136740" y="4262047"/>
              <a:ext cx="49997" cy="50672"/>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24" name="pt13">
              <a:extLst>
                <a:ext uri="{FF2B5EF4-FFF2-40B4-BE49-F238E27FC236}">
                  <a16:creationId xmlns:a16="http://schemas.microsoft.com/office/drawing/2014/main" id="{F7913322-E9DD-3765-2991-99626659246B}"/>
                </a:ext>
              </a:extLst>
            </p:cNvPr>
            <p:cNvSpPr/>
            <p:nvPr/>
          </p:nvSpPr>
          <p:spPr>
            <a:xfrm>
              <a:off x="3363363" y="4214549"/>
              <a:ext cx="49997" cy="50672"/>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25" name="pt14">
              <a:extLst>
                <a:ext uri="{FF2B5EF4-FFF2-40B4-BE49-F238E27FC236}">
                  <a16:creationId xmlns:a16="http://schemas.microsoft.com/office/drawing/2014/main" id="{E2926482-2813-016B-F008-E5A6D647AF76}"/>
                </a:ext>
              </a:extLst>
            </p:cNvPr>
            <p:cNvSpPr/>
            <p:nvPr/>
          </p:nvSpPr>
          <p:spPr>
            <a:xfrm>
              <a:off x="3589984" y="4208485"/>
              <a:ext cx="49997" cy="50672"/>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26" name="pt15">
              <a:extLst>
                <a:ext uri="{FF2B5EF4-FFF2-40B4-BE49-F238E27FC236}">
                  <a16:creationId xmlns:a16="http://schemas.microsoft.com/office/drawing/2014/main" id="{ADB6DB71-EEF7-3EC6-1B10-29E798851E39}"/>
                </a:ext>
              </a:extLst>
            </p:cNvPr>
            <p:cNvSpPr/>
            <p:nvPr/>
          </p:nvSpPr>
          <p:spPr>
            <a:xfrm>
              <a:off x="3816607" y="4156945"/>
              <a:ext cx="49997" cy="50672"/>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27" name="pt16">
              <a:extLst>
                <a:ext uri="{FF2B5EF4-FFF2-40B4-BE49-F238E27FC236}">
                  <a16:creationId xmlns:a16="http://schemas.microsoft.com/office/drawing/2014/main" id="{AFAE5F63-E324-C051-CF6C-DD7D23B54991}"/>
                </a:ext>
              </a:extLst>
            </p:cNvPr>
            <p:cNvSpPr/>
            <p:nvPr/>
          </p:nvSpPr>
          <p:spPr>
            <a:xfrm>
              <a:off x="4043229" y="4146839"/>
              <a:ext cx="49997" cy="50672"/>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29" name="pt17">
              <a:extLst>
                <a:ext uri="{FF2B5EF4-FFF2-40B4-BE49-F238E27FC236}">
                  <a16:creationId xmlns:a16="http://schemas.microsoft.com/office/drawing/2014/main" id="{B24C297C-151B-3EFE-0009-B7FE33CC52EF}"/>
                </a:ext>
              </a:extLst>
            </p:cNvPr>
            <p:cNvSpPr/>
            <p:nvPr/>
          </p:nvSpPr>
          <p:spPr>
            <a:xfrm>
              <a:off x="4269850" y="4164524"/>
              <a:ext cx="49997" cy="50672"/>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30" name="pt18">
              <a:extLst>
                <a:ext uri="{FF2B5EF4-FFF2-40B4-BE49-F238E27FC236}">
                  <a16:creationId xmlns:a16="http://schemas.microsoft.com/office/drawing/2014/main" id="{A158B7F3-6CFB-FA3B-5381-46E5C0C57537}"/>
                </a:ext>
              </a:extLst>
            </p:cNvPr>
            <p:cNvSpPr/>
            <p:nvPr/>
          </p:nvSpPr>
          <p:spPr>
            <a:xfrm>
              <a:off x="4496473" y="4154924"/>
              <a:ext cx="49997" cy="50672"/>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31" name="pt19">
              <a:extLst>
                <a:ext uri="{FF2B5EF4-FFF2-40B4-BE49-F238E27FC236}">
                  <a16:creationId xmlns:a16="http://schemas.microsoft.com/office/drawing/2014/main" id="{4D30FD50-318C-A913-B2F9-20EF3026C919}"/>
                </a:ext>
              </a:extLst>
            </p:cNvPr>
            <p:cNvSpPr/>
            <p:nvPr/>
          </p:nvSpPr>
          <p:spPr>
            <a:xfrm>
              <a:off x="1777008" y="4435870"/>
              <a:ext cx="49997" cy="50672"/>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32" name="pt20">
              <a:extLst>
                <a:ext uri="{FF2B5EF4-FFF2-40B4-BE49-F238E27FC236}">
                  <a16:creationId xmlns:a16="http://schemas.microsoft.com/office/drawing/2014/main" id="{4343EF44-7F6E-CD72-A73A-59DAC0E33C47}"/>
                </a:ext>
              </a:extLst>
            </p:cNvPr>
            <p:cNvSpPr/>
            <p:nvPr/>
          </p:nvSpPr>
          <p:spPr>
            <a:xfrm>
              <a:off x="2003631" y="4401060"/>
              <a:ext cx="49997" cy="50672"/>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33" name="pt21">
              <a:extLst>
                <a:ext uri="{FF2B5EF4-FFF2-40B4-BE49-F238E27FC236}">
                  <a16:creationId xmlns:a16="http://schemas.microsoft.com/office/drawing/2014/main" id="{D3C93491-9092-D966-42F7-75FD7165E2C6}"/>
                </a:ext>
              </a:extLst>
            </p:cNvPr>
            <p:cNvSpPr/>
            <p:nvPr/>
          </p:nvSpPr>
          <p:spPr>
            <a:xfrm>
              <a:off x="2230253" y="4393761"/>
              <a:ext cx="49997" cy="50672"/>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34" name="pt22">
              <a:extLst>
                <a:ext uri="{FF2B5EF4-FFF2-40B4-BE49-F238E27FC236}">
                  <a16:creationId xmlns:a16="http://schemas.microsoft.com/office/drawing/2014/main" id="{C40E6CF4-BC5D-886B-173C-0665883B734C}"/>
                </a:ext>
              </a:extLst>
            </p:cNvPr>
            <p:cNvSpPr/>
            <p:nvPr/>
          </p:nvSpPr>
          <p:spPr>
            <a:xfrm>
              <a:off x="2456874" y="4367374"/>
              <a:ext cx="49997" cy="50672"/>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35" name="pt23">
              <a:extLst>
                <a:ext uri="{FF2B5EF4-FFF2-40B4-BE49-F238E27FC236}">
                  <a16:creationId xmlns:a16="http://schemas.microsoft.com/office/drawing/2014/main" id="{FAE26B8E-059F-99A0-6E13-69598CEE8BEE}"/>
                </a:ext>
              </a:extLst>
            </p:cNvPr>
            <p:cNvSpPr/>
            <p:nvPr/>
          </p:nvSpPr>
          <p:spPr>
            <a:xfrm>
              <a:off x="2683497" y="4362882"/>
              <a:ext cx="49997" cy="50672"/>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36" name="pt24">
              <a:extLst>
                <a:ext uri="{FF2B5EF4-FFF2-40B4-BE49-F238E27FC236}">
                  <a16:creationId xmlns:a16="http://schemas.microsoft.com/office/drawing/2014/main" id="{C60A3C04-D97F-42D0-E6BF-412BE59EB431}"/>
                </a:ext>
              </a:extLst>
            </p:cNvPr>
            <p:cNvSpPr/>
            <p:nvPr/>
          </p:nvSpPr>
          <p:spPr>
            <a:xfrm>
              <a:off x="2910118" y="4243856"/>
              <a:ext cx="49997" cy="50672"/>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37" name="pt25">
              <a:extLst>
                <a:ext uri="{FF2B5EF4-FFF2-40B4-BE49-F238E27FC236}">
                  <a16:creationId xmlns:a16="http://schemas.microsoft.com/office/drawing/2014/main" id="{409D4471-96FB-8FAB-FAD6-CFDEC766BCA6}"/>
                </a:ext>
              </a:extLst>
            </p:cNvPr>
            <p:cNvSpPr/>
            <p:nvPr/>
          </p:nvSpPr>
          <p:spPr>
            <a:xfrm>
              <a:off x="3136740" y="4217468"/>
              <a:ext cx="49997" cy="50672"/>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38" name="pt26">
              <a:extLst>
                <a:ext uri="{FF2B5EF4-FFF2-40B4-BE49-F238E27FC236}">
                  <a16:creationId xmlns:a16="http://schemas.microsoft.com/office/drawing/2014/main" id="{BEDB68AC-5EF0-1E35-7105-C91DE504472E}"/>
                </a:ext>
              </a:extLst>
            </p:cNvPr>
            <p:cNvSpPr/>
            <p:nvPr/>
          </p:nvSpPr>
          <p:spPr>
            <a:xfrm>
              <a:off x="3363363" y="4163570"/>
              <a:ext cx="49997" cy="50672"/>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39" name="pt27">
              <a:extLst>
                <a:ext uri="{FF2B5EF4-FFF2-40B4-BE49-F238E27FC236}">
                  <a16:creationId xmlns:a16="http://schemas.microsoft.com/office/drawing/2014/main" id="{F5620070-518A-474A-E90D-91B28C48727F}"/>
                </a:ext>
              </a:extLst>
            </p:cNvPr>
            <p:cNvSpPr/>
            <p:nvPr/>
          </p:nvSpPr>
          <p:spPr>
            <a:xfrm>
              <a:off x="3589984" y="4111917"/>
              <a:ext cx="49997" cy="50672"/>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40" name="pt28">
              <a:extLst>
                <a:ext uri="{FF2B5EF4-FFF2-40B4-BE49-F238E27FC236}">
                  <a16:creationId xmlns:a16="http://schemas.microsoft.com/office/drawing/2014/main" id="{21F04B1F-C616-F802-C293-414CB6C2B0F7}"/>
                </a:ext>
              </a:extLst>
            </p:cNvPr>
            <p:cNvSpPr/>
            <p:nvPr/>
          </p:nvSpPr>
          <p:spPr>
            <a:xfrm>
              <a:off x="3816607" y="4064756"/>
              <a:ext cx="49997" cy="50672"/>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41" name="pt29">
              <a:extLst>
                <a:ext uri="{FF2B5EF4-FFF2-40B4-BE49-F238E27FC236}">
                  <a16:creationId xmlns:a16="http://schemas.microsoft.com/office/drawing/2014/main" id="{F423A389-DF72-638D-8E3B-15ED4293D9E5}"/>
                </a:ext>
              </a:extLst>
            </p:cNvPr>
            <p:cNvSpPr/>
            <p:nvPr/>
          </p:nvSpPr>
          <p:spPr>
            <a:xfrm>
              <a:off x="4043229" y="3996260"/>
              <a:ext cx="49997" cy="50672"/>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42" name="pt30">
              <a:extLst>
                <a:ext uri="{FF2B5EF4-FFF2-40B4-BE49-F238E27FC236}">
                  <a16:creationId xmlns:a16="http://schemas.microsoft.com/office/drawing/2014/main" id="{F086BB7E-CD71-1313-7243-3E932DA2BE77}"/>
                </a:ext>
              </a:extLst>
            </p:cNvPr>
            <p:cNvSpPr/>
            <p:nvPr/>
          </p:nvSpPr>
          <p:spPr>
            <a:xfrm>
              <a:off x="4269850" y="3982224"/>
              <a:ext cx="49997" cy="50672"/>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43" name="pt31">
              <a:extLst>
                <a:ext uri="{FF2B5EF4-FFF2-40B4-BE49-F238E27FC236}">
                  <a16:creationId xmlns:a16="http://schemas.microsoft.com/office/drawing/2014/main" id="{FAB4C594-47EF-A2CF-5A3C-734A329C6690}"/>
                </a:ext>
              </a:extLst>
            </p:cNvPr>
            <p:cNvSpPr/>
            <p:nvPr/>
          </p:nvSpPr>
          <p:spPr>
            <a:xfrm>
              <a:off x="4496473" y="3967627"/>
              <a:ext cx="49997" cy="50672"/>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44" name="pt32">
              <a:extLst>
                <a:ext uri="{FF2B5EF4-FFF2-40B4-BE49-F238E27FC236}">
                  <a16:creationId xmlns:a16="http://schemas.microsoft.com/office/drawing/2014/main" id="{774EF411-39CC-4872-B8D9-FFE69BE7EE11}"/>
                </a:ext>
              </a:extLst>
            </p:cNvPr>
            <p:cNvSpPr/>
            <p:nvPr/>
          </p:nvSpPr>
          <p:spPr>
            <a:xfrm>
              <a:off x="1777008" y="4435870"/>
              <a:ext cx="49997" cy="50672"/>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45" name="pt33">
              <a:extLst>
                <a:ext uri="{FF2B5EF4-FFF2-40B4-BE49-F238E27FC236}">
                  <a16:creationId xmlns:a16="http://schemas.microsoft.com/office/drawing/2014/main" id="{3889FEF3-8C74-6D2B-4ED6-817AF4B244B7}"/>
                </a:ext>
              </a:extLst>
            </p:cNvPr>
            <p:cNvSpPr/>
            <p:nvPr/>
          </p:nvSpPr>
          <p:spPr>
            <a:xfrm>
              <a:off x="2003631" y="4799123"/>
              <a:ext cx="49997" cy="50672"/>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46" name="pt34">
              <a:extLst>
                <a:ext uri="{FF2B5EF4-FFF2-40B4-BE49-F238E27FC236}">
                  <a16:creationId xmlns:a16="http://schemas.microsoft.com/office/drawing/2014/main" id="{EF3BD85D-1753-C4D9-FEF7-F95C73B5810F}"/>
                </a:ext>
              </a:extLst>
            </p:cNvPr>
            <p:cNvSpPr/>
            <p:nvPr/>
          </p:nvSpPr>
          <p:spPr>
            <a:xfrm>
              <a:off x="2230253" y="4798000"/>
              <a:ext cx="49997" cy="50672"/>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8" name="pt35">
              <a:extLst>
                <a:ext uri="{FF2B5EF4-FFF2-40B4-BE49-F238E27FC236}">
                  <a16:creationId xmlns:a16="http://schemas.microsoft.com/office/drawing/2014/main" id="{B809FAF5-4454-DC55-E740-DF6320950502}"/>
                </a:ext>
              </a:extLst>
            </p:cNvPr>
            <p:cNvSpPr/>
            <p:nvPr/>
          </p:nvSpPr>
          <p:spPr>
            <a:xfrm>
              <a:off x="2456874" y="4788455"/>
              <a:ext cx="49997" cy="50672"/>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9" name="pt36">
              <a:extLst>
                <a:ext uri="{FF2B5EF4-FFF2-40B4-BE49-F238E27FC236}">
                  <a16:creationId xmlns:a16="http://schemas.microsoft.com/office/drawing/2014/main" id="{DDE2433D-37DE-AF1D-5C4B-9A05AFEB58E8}"/>
                </a:ext>
              </a:extLst>
            </p:cNvPr>
            <p:cNvSpPr/>
            <p:nvPr/>
          </p:nvSpPr>
          <p:spPr>
            <a:xfrm>
              <a:off x="2683497" y="4785087"/>
              <a:ext cx="49997" cy="50672"/>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 name="pt37">
              <a:extLst>
                <a:ext uri="{FF2B5EF4-FFF2-40B4-BE49-F238E27FC236}">
                  <a16:creationId xmlns:a16="http://schemas.microsoft.com/office/drawing/2014/main" id="{5221A585-869F-E2D1-F676-4B6C846CFB68}"/>
                </a:ext>
              </a:extLst>
            </p:cNvPr>
            <p:cNvSpPr/>
            <p:nvPr/>
          </p:nvSpPr>
          <p:spPr>
            <a:xfrm>
              <a:off x="2910118" y="4684589"/>
              <a:ext cx="49997" cy="50672"/>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2" name="pt38">
              <a:extLst>
                <a:ext uri="{FF2B5EF4-FFF2-40B4-BE49-F238E27FC236}">
                  <a16:creationId xmlns:a16="http://schemas.microsoft.com/office/drawing/2014/main" id="{29FC9F00-3F38-9812-0976-A712A674CAB4}"/>
                </a:ext>
              </a:extLst>
            </p:cNvPr>
            <p:cNvSpPr/>
            <p:nvPr/>
          </p:nvSpPr>
          <p:spPr>
            <a:xfrm>
              <a:off x="3136740" y="4667184"/>
              <a:ext cx="49997" cy="50672"/>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3" name="pt39">
              <a:extLst>
                <a:ext uri="{FF2B5EF4-FFF2-40B4-BE49-F238E27FC236}">
                  <a16:creationId xmlns:a16="http://schemas.microsoft.com/office/drawing/2014/main" id="{5AD09E76-983B-7E52-33FC-5D1A6BC4732D}"/>
                </a:ext>
              </a:extLst>
            </p:cNvPr>
            <p:cNvSpPr/>
            <p:nvPr/>
          </p:nvSpPr>
          <p:spPr>
            <a:xfrm>
              <a:off x="3363363" y="4602057"/>
              <a:ext cx="49997" cy="50672"/>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56" name="pt40">
              <a:extLst>
                <a:ext uri="{FF2B5EF4-FFF2-40B4-BE49-F238E27FC236}">
                  <a16:creationId xmlns:a16="http://schemas.microsoft.com/office/drawing/2014/main" id="{FFC0E658-F25A-B76C-C5D8-63135A7F8814}"/>
                </a:ext>
              </a:extLst>
            </p:cNvPr>
            <p:cNvSpPr/>
            <p:nvPr/>
          </p:nvSpPr>
          <p:spPr>
            <a:xfrm>
              <a:off x="3589984" y="4556580"/>
              <a:ext cx="49997" cy="50672"/>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57" name="pt41">
              <a:extLst>
                <a:ext uri="{FF2B5EF4-FFF2-40B4-BE49-F238E27FC236}">
                  <a16:creationId xmlns:a16="http://schemas.microsoft.com/office/drawing/2014/main" id="{D53D7888-96CA-3A89-46FD-09E1DB360578}"/>
                </a:ext>
              </a:extLst>
            </p:cNvPr>
            <p:cNvSpPr/>
            <p:nvPr/>
          </p:nvSpPr>
          <p:spPr>
            <a:xfrm>
              <a:off x="3816607" y="4511103"/>
              <a:ext cx="49997" cy="50672"/>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58" name="pt42">
              <a:extLst>
                <a:ext uri="{FF2B5EF4-FFF2-40B4-BE49-F238E27FC236}">
                  <a16:creationId xmlns:a16="http://schemas.microsoft.com/office/drawing/2014/main" id="{9E1912C5-F35E-169C-A753-4B11D7235F1E}"/>
                </a:ext>
              </a:extLst>
            </p:cNvPr>
            <p:cNvSpPr/>
            <p:nvPr/>
          </p:nvSpPr>
          <p:spPr>
            <a:xfrm>
              <a:off x="4043229" y="4477978"/>
              <a:ext cx="49997" cy="50672"/>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59" name="pt43">
              <a:extLst>
                <a:ext uri="{FF2B5EF4-FFF2-40B4-BE49-F238E27FC236}">
                  <a16:creationId xmlns:a16="http://schemas.microsoft.com/office/drawing/2014/main" id="{37681FCF-859C-E514-CE4B-BE7AB84091E4}"/>
                </a:ext>
              </a:extLst>
            </p:cNvPr>
            <p:cNvSpPr/>
            <p:nvPr/>
          </p:nvSpPr>
          <p:spPr>
            <a:xfrm>
              <a:off x="4269850" y="4468433"/>
              <a:ext cx="49997" cy="50672"/>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60" name="pt44">
              <a:extLst>
                <a:ext uri="{FF2B5EF4-FFF2-40B4-BE49-F238E27FC236}">
                  <a16:creationId xmlns:a16="http://schemas.microsoft.com/office/drawing/2014/main" id="{BAD27EE0-D8C9-C5C0-410F-02FC816E11A7}"/>
                </a:ext>
              </a:extLst>
            </p:cNvPr>
            <p:cNvSpPr/>
            <p:nvPr/>
          </p:nvSpPr>
          <p:spPr>
            <a:xfrm>
              <a:off x="4496473" y="4473486"/>
              <a:ext cx="49997" cy="50672"/>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61" name="pt45">
              <a:extLst>
                <a:ext uri="{FF2B5EF4-FFF2-40B4-BE49-F238E27FC236}">
                  <a16:creationId xmlns:a16="http://schemas.microsoft.com/office/drawing/2014/main" id="{4E47073D-F9EA-6739-FFDE-770D1A6959B9}"/>
                </a:ext>
              </a:extLst>
            </p:cNvPr>
            <p:cNvSpPr/>
            <p:nvPr/>
          </p:nvSpPr>
          <p:spPr>
            <a:xfrm>
              <a:off x="1777008" y="4435870"/>
              <a:ext cx="49997" cy="50672"/>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62" name="pt46">
              <a:extLst>
                <a:ext uri="{FF2B5EF4-FFF2-40B4-BE49-F238E27FC236}">
                  <a16:creationId xmlns:a16="http://schemas.microsoft.com/office/drawing/2014/main" id="{5AC7ABDC-E442-BD97-9E97-534FF104211B}"/>
                </a:ext>
              </a:extLst>
            </p:cNvPr>
            <p:cNvSpPr/>
            <p:nvPr/>
          </p:nvSpPr>
          <p:spPr>
            <a:xfrm>
              <a:off x="2003631" y="4874468"/>
              <a:ext cx="49997" cy="50672"/>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63" name="pt47">
              <a:extLst>
                <a:ext uri="{FF2B5EF4-FFF2-40B4-BE49-F238E27FC236}">
                  <a16:creationId xmlns:a16="http://schemas.microsoft.com/office/drawing/2014/main" id="{84C75328-803A-EA1D-035B-12027319476D}"/>
                </a:ext>
              </a:extLst>
            </p:cNvPr>
            <p:cNvSpPr/>
            <p:nvPr/>
          </p:nvSpPr>
          <p:spPr>
            <a:xfrm>
              <a:off x="2230253" y="4810296"/>
              <a:ext cx="49997" cy="50672"/>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64" name="pt48">
              <a:extLst>
                <a:ext uri="{FF2B5EF4-FFF2-40B4-BE49-F238E27FC236}">
                  <a16:creationId xmlns:a16="http://schemas.microsoft.com/office/drawing/2014/main" id="{D7F5C69E-AC8B-DF97-648A-DE56339D1E22}"/>
                </a:ext>
              </a:extLst>
            </p:cNvPr>
            <p:cNvSpPr/>
            <p:nvPr/>
          </p:nvSpPr>
          <p:spPr>
            <a:xfrm>
              <a:off x="2456874" y="4750165"/>
              <a:ext cx="49997" cy="50672"/>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65" name="pt49">
              <a:extLst>
                <a:ext uri="{FF2B5EF4-FFF2-40B4-BE49-F238E27FC236}">
                  <a16:creationId xmlns:a16="http://schemas.microsoft.com/office/drawing/2014/main" id="{8AF82BD3-39D2-EF51-4B71-F0BCC13DDB15}"/>
                </a:ext>
              </a:extLst>
            </p:cNvPr>
            <p:cNvSpPr/>
            <p:nvPr/>
          </p:nvSpPr>
          <p:spPr>
            <a:xfrm>
              <a:off x="2683497" y="4721363"/>
              <a:ext cx="49997" cy="50672"/>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67" name="pt50">
              <a:extLst>
                <a:ext uri="{FF2B5EF4-FFF2-40B4-BE49-F238E27FC236}">
                  <a16:creationId xmlns:a16="http://schemas.microsoft.com/office/drawing/2014/main" id="{65585842-B6E1-8296-883C-EE97C7404FCD}"/>
                </a:ext>
              </a:extLst>
            </p:cNvPr>
            <p:cNvSpPr/>
            <p:nvPr/>
          </p:nvSpPr>
          <p:spPr>
            <a:xfrm>
              <a:off x="2910118" y="4667801"/>
              <a:ext cx="49997" cy="50672"/>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68" name="pt51">
              <a:extLst>
                <a:ext uri="{FF2B5EF4-FFF2-40B4-BE49-F238E27FC236}">
                  <a16:creationId xmlns:a16="http://schemas.microsoft.com/office/drawing/2014/main" id="{91CCD899-48C6-2C15-5161-ADCABB89186C}"/>
                </a:ext>
              </a:extLst>
            </p:cNvPr>
            <p:cNvSpPr/>
            <p:nvPr/>
          </p:nvSpPr>
          <p:spPr>
            <a:xfrm>
              <a:off x="3136740" y="4622830"/>
              <a:ext cx="49997" cy="50672"/>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69" name="pt52">
              <a:extLst>
                <a:ext uri="{FF2B5EF4-FFF2-40B4-BE49-F238E27FC236}">
                  <a16:creationId xmlns:a16="http://schemas.microsoft.com/office/drawing/2014/main" id="{DDE52A54-E484-B1B0-62B0-A48A89355E7A}"/>
                </a:ext>
              </a:extLst>
            </p:cNvPr>
            <p:cNvSpPr/>
            <p:nvPr/>
          </p:nvSpPr>
          <p:spPr>
            <a:xfrm>
              <a:off x="3363363" y="4573311"/>
              <a:ext cx="49997" cy="50672"/>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70" name="pt53">
              <a:extLst>
                <a:ext uri="{FF2B5EF4-FFF2-40B4-BE49-F238E27FC236}">
                  <a16:creationId xmlns:a16="http://schemas.microsoft.com/office/drawing/2014/main" id="{BB54AE29-5C4C-AE96-9764-75E80877B988}"/>
                </a:ext>
              </a:extLst>
            </p:cNvPr>
            <p:cNvSpPr/>
            <p:nvPr/>
          </p:nvSpPr>
          <p:spPr>
            <a:xfrm>
              <a:off x="3589984" y="4532887"/>
              <a:ext cx="49997" cy="50672"/>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71" name="pt54">
              <a:extLst>
                <a:ext uri="{FF2B5EF4-FFF2-40B4-BE49-F238E27FC236}">
                  <a16:creationId xmlns:a16="http://schemas.microsoft.com/office/drawing/2014/main" id="{35491CB2-E59F-14FB-1C69-34C20E298AFD}"/>
                </a:ext>
              </a:extLst>
            </p:cNvPr>
            <p:cNvSpPr/>
            <p:nvPr/>
          </p:nvSpPr>
          <p:spPr>
            <a:xfrm>
              <a:off x="3816607" y="4430817"/>
              <a:ext cx="49997" cy="50672"/>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72" name="pt55">
              <a:extLst>
                <a:ext uri="{FF2B5EF4-FFF2-40B4-BE49-F238E27FC236}">
                  <a16:creationId xmlns:a16="http://schemas.microsoft.com/office/drawing/2014/main" id="{6CFD3FAA-485C-AA98-89B5-5E42B07B5263}"/>
                </a:ext>
              </a:extLst>
            </p:cNvPr>
            <p:cNvSpPr/>
            <p:nvPr/>
          </p:nvSpPr>
          <p:spPr>
            <a:xfrm>
              <a:off x="4043229" y="4448502"/>
              <a:ext cx="49997" cy="50672"/>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73" name="pt56">
              <a:extLst>
                <a:ext uri="{FF2B5EF4-FFF2-40B4-BE49-F238E27FC236}">
                  <a16:creationId xmlns:a16="http://schemas.microsoft.com/office/drawing/2014/main" id="{FCB0E4AA-FC6A-93F6-866A-837F342343FF}"/>
                </a:ext>
              </a:extLst>
            </p:cNvPr>
            <p:cNvSpPr/>
            <p:nvPr/>
          </p:nvSpPr>
          <p:spPr>
            <a:xfrm>
              <a:off x="4269850" y="4435870"/>
              <a:ext cx="49997" cy="50672"/>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74" name="pt57">
              <a:extLst>
                <a:ext uri="{FF2B5EF4-FFF2-40B4-BE49-F238E27FC236}">
                  <a16:creationId xmlns:a16="http://schemas.microsoft.com/office/drawing/2014/main" id="{45B4D3D9-8274-ED50-6530-593F27D9085A}"/>
                </a:ext>
              </a:extLst>
            </p:cNvPr>
            <p:cNvSpPr/>
            <p:nvPr/>
          </p:nvSpPr>
          <p:spPr>
            <a:xfrm>
              <a:off x="4496473" y="4460124"/>
              <a:ext cx="49997" cy="50672"/>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75" name="pt58">
              <a:extLst>
                <a:ext uri="{FF2B5EF4-FFF2-40B4-BE49-F238E27FC236}">
                  <a16:creationId xmlns:a16="http://schemas.microsoft.com/office/drawing/2014/main" id="{5D899987-F239-5A25-6CBA-3593A03C34C4}"/>
                </a:ext>
              </a:extLst>
            </p:cNvPr>
            <p:cNvSpPr/>
            <p:nvPr/>
          </p:nvSpPr>
          <p:spPr>
            <a:xfrm>
              <a:off x="1777008" y="4435870"/>
              <a:ext cx="49997" cy="50672"/>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76" name="pt59">
              <a:extLst>
                <a:ext uri="{FF2B5EF4-FFF2-40B4-BE49-F238E27FC236}">
                  <a16:creationId xmlns:a16="http://schemas.microsoft.com/office/drawing/2014/main" id="{F6A449FA-6F33-8A9A-06DD-C167B4460982}"/>
                </a:ext>
              </a:extLst>
            </p:cNvPr>
            <p:cNvSpPr/>
            <p:nvPr/>
          </p:nvSpPr>
          <p:spPr>
            <a:xfrm>
              <a:off x="2003631" y="4786041"/>
              <a:ext cx="49997" cy="50672"/>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77" name="pt60">
              <a:extLst>
                <a:ext uri="{FF2B5EF4-FFF2-40B4-BE49-F238E27FC236}">
                  <a16:creationId xmlns:a16="http://schemas.microsoft.com/office/drawing/2014/main" id="{9970D166-3F3A-8098-3B45-39C83E01CF2D}"/>
                </a:ext>
              </a:extLst>
            </p:cNvPr>
            <p:cNvSpPr/>
            <p:nvPr/>
          </p:nvSpPr>
          <p:spPr>
            <a:xfrm>
              <a:off x="2230253" y="4774925"/>
              <a:ext cx="49997" cy="50672"/>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78" name="pt61">
              <a:extLst>
                <a:ext uri="{FF2B5EF4-FFF2-40B4-BE49-F238E27FC236}">
                  <a16:creationId xmlns:a16="http://schemas.microsoft.com/office/drawing/2014/main" id="{02091D2F-3336-7890-D5C2-C0C54DFF2E50}"/>
                </a:ext>
              </a:extLst>
            </p:cNvPr>
            <p:cNvSpPr/>
            <p:nvPr/>
          </p:nvSpPr>
          <p:spPr>
            <a:xfrm>
              <a:off x="2456874" y="4777451"/>
              <a:ext cx="49997" cy="50672"/>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79" name="pt62">
              <a:extLst>
                <a:ext uri="{FF2B5EF4-FFF2-40B4-BE49-F238E27FC236}">
                  <a16:creationId xmlns:a16="http://schemas.microsoft.com/office/drawing/2014/main" id="{59933510-A106-85B2-7A47-B5788CB43FEC}"/>
                </a:ext>
              </a:extLst>
            </p:cNvPr>
            <p:cNvSpPr/>
            <p:nvPr/>
          </p:nvSpPr>
          <p:spPr>
            <a:xfrm>
              <a:off x="2683497" y="4771893"/>
              <a:ext cx="49997" cy="50672"/>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80" name="pt63">
              <a:extLst>
                <a:ext uri="{FF2B5EF4-FFF2-40B4-BE49-F238E27FC236}">
                  <a16:creationId xmlns:a16="http://schemas.microsoft.com/office/drawing/2014/main" id="{F18D434E-7925-0356-B258-77C8824AB323}"/>
                </a:ext>
              </a:extLst>
            </p:cNvPr>
            <p:cNvSpPr/>
            <p:nvPr/>
          </p:nvSpPr>
          <p:spPr>
            <a:xfrm>
              <a:off x="2910118" y="4642031"/>
              <a:ext cx="49997" cy="50672"/>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81" name="pt64">
              <a:extLst>
                <a:ext uri="{FF2B5EF4-FFF2-40B4-BE49-F238E27FC236}">
                  <a16:creationId xmlns:a16="http://schemas.microsoft.com/office/drawing/2014/main" id="{1C4696AC-3088-CECE-FEA7-9888B03F4D05}"/>
                </a:ext>
              </a:extLst>
            </p:cNvPr>
            <p:cNvSpPr/>
            <p:nvPr/>
          </p:nvSpPr>
          <p:spPr>
            <a:xfrm>
              <a:off x="3136740" y="4636473"/>
              <a:ext cx="49997" cy="50672"/>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82" name="pt65">
              <a:extLst>
                <a:ext uri="{FF2B5EF4-FFF2-40B4-BE49-F238E27FC236}">
                  <a16:creationId xmlns:a16="http://schemas.microsoft.com/office/drawing/2014/main" id="{C3A74FD5-05D7-5DBA-328D-970BB1526DF2}"/>
                </a:ext>
              </a:extLst>
            </p:cNvPr>
            <p:cNvSpPr/>
            <p:nvPr/>
          </p:nvSpPr>
          <p:spPr>
            <a:xfrm>
              <a:off x="3363363" y="4590996"/>
              <a:ext cx="49997" cy="50672"/>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83" name="pt66">
              <a:extLst>
                <a:ext uri="{FF2B5EF4-FFF2-40B4-BE49-F238E27FC236}">
                  <a16:creationId xmlns:a16="http://schemas.microsoft.com/office/drawing/2014/main" id="{018EAF6D-A209-2168-71B6-BB13927F7E2F}"/>
                </a:ext>
              </a:extLst>
            </p:cNvPr>
            <p:cNvSpPr/>
            <p:nvPr/>
          </p:nvSpPr>
          <p:spPr>
            <a:xfrm>
              <a:off x="3589984" y="4565731"/>
              <a:ext cx="49997" cy="50672"/>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84" name="pt67">
              <a:extLst>
                <a:ext uri="{FF2B5EF4-FFF2-40B4-BE49-F238E27FC236}">
                  <a16:creationId xmlns:a16="http://schemas.microsoft.com/office/drawing/2014/main" id="{5D5A7DED-56FB-ADBB-5F86-1EC9F9A339AC}"/>
                </a:ext>
              </a:extLst>
            </p:cNvPr>
            <p:cNvSpPr/>
            <p:nvPr/>
          </p:nvSpPr>
          <p:spPr>
            <a:xfrm>
              <a:off x="3816607" y="4493979"/>
              <a:ext cx="49997" cy="50672"/>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85" name="pt68">
              <a:extLst>
                <a:ext uri="{FF2B5EF4-FFF2-40B4-BE49-F238E27FC236}">
                  <a16:creationId xmlns:a16="http://schemas.microsoft.com/office/drawing/2014/main" id="{AAC981CE-C017-C36B-8422-0EE58B183286}"/>
                </a:ext>
              </a:extLst>
            </p:cNvPr>
            <p:cNvSpPr/>
            <p:nvPr/>
          </p:nvSpPr>
          <p:spPr>
            <a:xfrm>
              <a:off x="4043229" y="4454566"/>
              <a:ext cx="49997" cy="50672"/>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86" name="pt69">
              <a:extLst>
                <a:ext uri="{FF2B5EF4-FFF2-40B4-BE49-F238E27FC236}">
                  <a16:creationId xmlns:a16="http://schemas.microsoft.com/office/drawing/2014/main" id="{150BC0C1-62BD-1592-018E-7CDAA1FC0FEE}"/>
                </a:ext>
              </a:extLst>
            </p:cNvPr>
            <p:cNvSpPr/>
            <p:nvPr/>
          </p:nvSpPr>
          <p:spPr>
            <a:xfrm>
              <a:off x="4269850" y="4432333"/>
              <a:ext cx="49997" cy="50672"/>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87" name="pt70">
              <a:extLst>
                <a:ext uri="{FF2B5EF4-FFF2-40B4-BE49-F238E27FC236}">
                  <a16:creationId xmlns:a16="http://schemas.microsoft.com/office/drawing/2014/main" id="{92F91D98-0DB9-F655-AA38-51C394E5C61D}"/>
                </a:ext>
              </a:extLst>
            </p:cNvPr>
            <p:cNvSpPr/>
            <p:nvPr/>
          </p:nvSpPr>
          <p:spPr>
            <a:xfrm>
              <a:off x="4496473" y="4449513"/>
              <a:ext cx="49997" cy="50672"/>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88" name="pl71">
              <a:extLst>
                <a:ext uri="{FF2B5EF4-FFF2-40B4-BE49-F238E27FC236}">
                  <a16:creationId xmlns:a16="http://schemas.microsoft.com/office/drawing/2014/main" id="{C5BEB026-34CE-FEF2-A668-84CA67286AB3}"/>
                </a:ext>
              </a:extLst>
            </p:cNvPr>
            <p:cNvSpPr/>
            <p:nvPr/>
          </p:nvSpPr>
          <p:spPr>
            <a:xfrm>
              <a:off x="1802007" y="4172174"/>
              <a:ext cx="2719463" cy="289029"/>
            </a:xfrm>
            <a:custGeom>
              <a:avLst/>
              <a:gdLst/>
              <a:ahLst/>
              <a:cxnLst/>
              <a:rect l="0" t="0" r="0" b="0"/>
              <a:pathLst>
                <a:path w="1963636" h="205919">
                  <a:moveTo>
                    <a:pt x="0" y="205919"/>
                  </a:moveTo>
                  <a:lnTo>
                    <a:pt x="163636" y="181440"/>
                  </a:lnTo>
                  <a:lnTo>
                    <a:pt x="327272" y="188279"/>
                  </a:lnTo>
                  <a:lnTo>
                    <a:pt x="490909" y="160199"/>
                  </a:lnTo>
                  <a:lnTo>
                    <a:pt x="654545" y="122759"/>
                  </a:lnTo>
                  <a:lnTo>
                    <a:pt x="818181" y="90000"/>
                  </a:lnTo>
                  <a:lnTo>
                    <a:pt x="981818" y="82079"/>
                  </a:lnTo>
                  <a:lnTo>
                    <a:pt x="1145454" y="48240"/>
                  </a:lnTo>
                  <a:lnTo>
                    <a:pt x="1309090" y="43919"/>
                  </a:lnTo>
                  <a:lnTo>
                    <a:pt x="1472727" y="7199"/>
                  </a:lnTo>
                  <a:lnTo>
                    <a:pt x="1636363" y="0"/>
                  </a:lnTo>
                  <a:lnTo>
                    <a:pt x="1800000" y="12600"/>
                  </a:lnTo>
                  <a:lnTo>
                    <a:pt x="1963636" y="576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89" name="pl72">
              <a:extLst>
                <a:ext uri="{FF2B5EF4-FFF2-40B4-BE49-F238E27FC236}">
                  <a16:creationId xmlns:a16="http://schemas.microsoft.com/office/drawing/2014/main" id="{06B6F0E8-445A-F463-0635-902DC00EBAE5}"/>
                </a:ext>
              </a:extLst>
            </p:cNvPr>
            <p:cNvSpPr/>
            <p:nvPr/>
          </p:nvSpPr>
          <p:spPr>
            <a:xfrm>
              <a:off x="1802007" y="3992962"/>
              <a:ext cx="2719463" cy="468243"/>
            </a:xfrm>
            <a:custGeom>
              <a:avLst/>
              <a:gdLst/>
              <a:ahLst/>
              <a:cxnLst/>
              <a:rect l="0" t="0" r="0" b="0"/>
              <a:pathLst>
                <a:path w="1963636" h="333600">
                  <a:moveTo>
                    <a:pt x="0" y="333600"/>
                  </a:moveTo>
                  <a:lnTo>
                    <a:pt x="163636" y="308799"/>
                  </a:lnTo>
                  <a:lnTo>
                    <a:pt x="327272" y="303600"/>
                  </a:lnTo>
                  <a:lnTo>
                    <a:pt x="490909" y="284800"/>
                  </a:lnTo>
                  <a:lnTo>
                    <a:pt x="654545" y="281600"/>
                  </a:lnTo>
                  <a:lnTo>
                    <a:pt x="818181" y="196800"/>
                  </a:lnTo>
                  <a:lnTo>
                    <a:pt x="981818" y="178000"/>
                  </a:lnTo>
                  <a:lnTo>
                    <a:pt x="1145454" y="139600"/>
                  </a:lnTo>
                  <a:lnTo>
                    <a:pt x="1309090" y="102800"/>
                  </a:lnTo>
                  <a:lnTo>
                    <a:pt x="1472727" y="69200"/>
                  </a:lnTo>
                  <a:lnTo>
                    <a:pt x="1636363" y="20400"/>
                  </a:lnTo>
                  <a:lnTo>
                    <a:pt x="1800000" y="10400"/>
                  </a:lnTo>
                  <a:lnTo>
                    <a:pt x="1963636"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90" name="pl73">
              <a:extLst>
                <a:ext uri="{FF2B5EF4-FFF2-40B4-BE49-F238E27FC236}">
                  <a16:creationId xmlns:a16="http://schemas.microsoft.com/office/drawing/2014/main" id="{902F5E41-E58A-2BDD-5B34-215A2C953D79}"/>
                </a:ext>
              </a:extLst>
            </p:cNvPr>
            <p:cNvSpPr/>
            <p:nvPr/>
          </p:nvSpPr>
          <p:spPr>
            <a:xfrm>
              <a:off x="1802007" y="4461205"/>
              <a:ext cx="2719463" cy="363253"/>
            </a:xfrm>
            <a:custGeom>
              <a:avLst/>
              <a:gdLst/>
              <a:ahLst/>
              <a:cxnLst/>
              <a:rect l="0" t="0" r="0" b="0"/>
              <a:pathLst>
                <a:path w="1963636" h="258800">
                  <a:moveTo>
                    <a:pt x="0" y="0"/>
                  </a:moveTo>
                  <a:lnTo>
                    <a:pt x="163636" y="258800"/>
                  </a:lnTo>
                  <a:lnTo>
                    <a:pt x="327272" y="258000"/>
                  </a:lnTo>
                  <a:lnTo>
                    <a:pt x="490909" y="251199"/>
                  </a:lnTo>
                  <a:lnTo>
                    <a:pt x="654545" y="248799"/>
                  </a:lnTo>
                  <a:lnTo>
                    <a:pt x="818181" y="177200"/>
                  </a:lnTo>
                  <a:lnTo>
                    <a:pt x="981818" y="164800"/>
                  </a:lnTo>
                  <a:lnTo>
                    <a:pt x="1145454" y="118400"/>
                  </a:lnTo>
                  <a:lnTo>
                    <a:pt x="1309090" y="85999"/>
                  </a:lnTo>
                  <a:lnTo>
                    <a:pt x="1472727" y="53599"/>
                  </a:lnTo>
                  <a:lnTo>
                    <a:pt x="1636363" y="30000"/>
                  </a:lnTo>
                  <a:lnTo>
                    <a:pt x="1800000" y="23199"/>
                  </a:lnTo>
                  <a:lnTo>
                    <a:pt x="1963636" y="26799"/>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91" name="pl74">
              <a:extLst>
                <a:ext uri="{FF2B5EF4-FFF2-40B4-BE49-F238E27FC236}">
                  <a16:creationId xmlns:a16="http://schemas.microsoft.com/office/drawing/2014/main" id="{051BF1BD-E85F-E4EE-2A3D-E7459E35B759}"/>
                </a:ext>
              </a:extLst>
            </p:cNvPr>
            <p:cNvSpPr/>
            <p:nvPr/>
          </p:nvSpPr>
          <p:spPr>
            <a:xfrm>
              <a:off x="1802007" y="4456152"/>
              <a:ext cx="2719463" cy="443650"/>
            </a:xfrm>
            <a:custGeom>
              <a:avLst/>
              <a:gdLst/>
              <a:ahLst/>
              <a:cxnLst/>
              <a:rect l="0" t="0" r="0" b="0"/>
              <a:pathLst>
                <a:path w="1963636" h="316079">
                  <a:moveTo>
                    <a:pt x="0" y="3599"/>
                  </a:moveTo>
                  <a:lnTo>
                    <a:pt x="163636" y="316079"/>
                  </a:lnTo>
                  <a:lnTo>
                    <a:pt x="327272" y="270359"/>
                  </a:lnTo>
                  <a:lnTo>
                    <a:pt x="490909" y="227519"/>
                  </a:lnTo>
                  <a:lnTo>
                    <a:pt x="654545" y="206999"/>
                  </a:lnTo>
                  <a:lnTo>
                    <a:pt x="818181" y="168839"/>
                  </a:lnTo>
                  <a:lnTo>
                    <a:pt x="981818" y="136799"/>
                  </a:lnTo>
                  <a:lnTo>
                    <a:pt x="1145454" y="101519"/>
                  </a:lnTo>
                  <a:lnTo>
                    <a:pt x="1309090" y="72719"/>
                  </a:lnTo>
                  <a:lnTo>
                    <a:pt x="1472727" y="0"/>
                  </a:lnTo>
                  <a:lnTo>
                    <a:pt x="1636363" y="12599"/>
                  </a:lnTo>
                  <a:lnTo>
                    <a:pt x="1800000" y="3599"/>
                  </a:lnTo>
                  <a:lnTo>
                    <a:pt x="1963636" y="20879"/>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92" name="pl75">
              <a:extLst>
                <a:ext uri="{FF2B5EF4-FFF2-40B4-BE49-F238E27FC236}">
                  <a16:creationId xmlns:a16="http://schemas.microsoft.com/office/drawing/2014/main" id="{19523112-918F-215A-FF4A-2CEE81D74D21}"/>
                </a:ext>
              </a:extLst>
            </p:cNvPr>
            <p:cNvSpPr/>
            <p:nvPr/>
          </p:nvSpPr>
          <p:spPr>
            <a:xfrm>
              <a:off x="1802007" y="4457668"/>
              <a:ext cx="2719463" cy="353707"/>
            </a:xfrm>
            <a:custGeom>
              <a:avLst/>
              <a:gdLst/>
              <a:ahLst/>
              <a:cxnLst/>
              <a:rect l="0" t="0" r="0" b="0"/>
              <a:pathLst>
                <a:path w="1963636" h="251999">
                  <a:moveTo>
                    <a:pt x="0" y="2519"/>
                  </a:moveTo>
                  <a:lnTo>
                    <a:pt x="163636" y="251999"/>
                  </a:lnTo>
                  <a:lnTo>
                    <a:pt x="327272" y="244079"/>
                  </a:lnTo>
                  <a:lnTo>
                    <a:pt x="490909" y="245879"/>
                  </a:lnTo>
                  <a:lnTo>
                    <a:pt x="654545" y="241919"/>
                  </a:lnTo>
                  <a:lnTo>
                    <a:pt x="818181" y="149399"/>
                  </a:lnTo>
                  <a:lnTo>
                    <a:pt x="981818" y="145439"/>
                  </a:lnTo>
                  <a:lnTo>
                    <a:pt x="1145454" y="113039"/>
                  </a:lnTo>
                  <a:lnTo>
                    <a:pt x="1309090" y="95039"/>
                  </a:lnTo>
                  <a:lnTo>
                    <a:pt x="1472727" y="43919"/>
                  </a:lnTo>
                  <a:lnTo>
                    <a:pt x="1636363" y="15839"/>
                  </a:lnTo>
                  <a:lnTo>
                    <a:pt x="1800000" y="0"/>
                  </a:lnTo>
                  <a:lnTo>
                    <a:pt x="1963636" y="12239"/>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93" name="pl76">
              <a:extLst>
                <a:ext uri="{FF2B5EF4-FFF2-40B4-BE49-F238E27FC236}">
                  <a16:creationId xmlns:a16="http://schemas.microsoft.com/office/drawing/2014/main" id="{3B466B6F-658A-17FD-7C9C-642F00200CC1}"/>
                </a:ext>
              </a:extLst>
            </p:cNvPr>
            <p:cNvSpPr/>
            <p:nvPr/>
          </p:nvSpPr>
          <p:spPr>
            <a:xfrm>
              <a:off x="1802007" y="4461205"/>
              <a:ext cx="0" cy="0"/>
            </a:xfrm>
            <a:custGeom>
              <a:avLst/>
              <a:gdLst/>
              <a:ahLst/>
              <a:cxnLst/>
              <a:rect l="0" t="0" r="0" b="0"/>
              <a:pathLst>
                <a:path>
                  <a:moveTo>
                    <a:pt x="0" y="0"/>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94" name="pl77">
              <a:extLst>
                <a:ext uri="{FF2B5EF4-FFF2-40B4-BE49-F238E27FC236}">
                  <a16:creationId xmlns:a16="http://schemas.microsoft.com/office/drawing/2014/main" id="{03FCC17A-B392-0FCD-DEB6-75B578B73040}"/>
                </a:ext>
              </a:extLst>
            </p:cNvPr>
            <p:cNvSpPr/>
            <p:nvPr/>
          </p:nvSpPr>
          <p:spPr>
            <a:xfrm>
              <a:off x="2028629" y="4404274"/>
              <a:ext cx="0" cy="22570"/>
            </a:xfrm>
            <a:custGeom>
              <a:avLst/>
              <a:gdLst/>
              <a:ahLst/>
              <a:cxnLst/>
              <a:rect l="0" t="0" r="0" b="0"/>
              <a:pathLst>
                <a:path h="16080">
                  <a:moveTo>
                    <a:pt x="0" y="16080"/>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95" name="pl78">
              <a:extLst>
                <a:ext uri="{FF2B5EF4-FFF2-40B4-BE49-F238E27FC236}">
                  <a16:creationId xmlns:a16="http://schemas.microsoft.com/office/drawing/2014/main" id="{0F4150C6-0FBE-EF28-098F-BA1C1C4371CA}"/>
                </a:ext>
              </a:extLst>
            </p:cNvPr>
            <p:cNvSpPr/>
            <p:nvPr/>
          </p:nvSpPr>
          <p:spPr>
            <a:xfrm>
              <a:off x="2255252" y="4407668"/>
              <a:ext cx="0" cy="28775"/>
            </a:xfrm>
            <a:custGeom>
              <a:avLst/>
              <a:gdLst/>
              <a:ahLst/>
              <a:cxnLst/>
              <a:rect l="0" t="0" r="0" b="0"/>
              <a:pathLst>
                <a:path h="20501">
                  <a:moveTo>
                    <a:pt x="0" y="20501"/>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96" name="pl79">
              <a:extLst>
                <a:ext uri="{FF2B5EF4-FFF2-40B4-BE49-F238E27FC236}">
                  <a16:creationId xmlns:a16="http://schemas.microsoft.com/office/drawing/2014/main" id="{22770062-31DB-8A50-777C-A6B4A57177BA}"/>
                </a:ext>
              </a:extLst>
            </p:cNvPr>
            <p:cNvSpPr/>
            <p:nvPr/>
          </p:nvSpPr>
          <p:spPr>
            <a:xfrm>
              <a:off x="2481873" y="4373046"/>
              <a:ext cx="0" cy="23986"/>
            </a:xfrm>
            <a:custGeom>
              <a:avLst/>
              <a:gdLst/>
              <a:ahLst/>
              <a:cxnLst/>
              <a:rect l="0" t="0" r="0" b="0"/>
              <a:pathLst>
                <a:path h="17089">
                  <a:moveTo>
                    <a:pt x="0" y="17089"/>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97" name="pl80">
              <a:extLst>
                <a:ext uri="{FF2B5EF4-FFF2-40B4-BE49-F238E27FC236}">
                  <a16:creationId xmlns:a16="http://schemas.microsoft.com/office/drawing/2014/main" id="{4FFE14DB-C073-B1FC-D7C3-F0BC3A1CD251}"/>
                </a:ext>
              </a:extLst>
            </p:cNvPr>
            <p:cNvSpPr/>
            <p:nvPr/>
          </p:nvSpPr>
          <p:spPr>
            <a:xfrm>
              <a:off x="2708495" y="4313356"/>
              <a:ext cx="0" cy="31125"/>
            </a:xfrm>
            <a:custGeom>
              <a:avLst/>
              <a:gdLst/>
              <a:ahLst/>
              <a:cxnLst/>
              <a:rect l="0" t="0" r="0" b="0"/>
              <a:pathLst>
                <a:path h="22175">
                  <a:moveTo>
                    <a:pt x="0" y="22175"/>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98" name="pl81">
              <a:extLst>
                <a:ext uri="{FF2B5EF4-FFF2-40B4-BE49-F238E27FC236}">
                  <a16:creationId xmlns:a16="http://schemas.microsoft.com/office/drawing/2014/main" id="{F2DBEABD-2C90-5E45-ACD1-6BF696A24FB2}"/>
                </a:ext>
              </a:extLst>
            </p:cNvPr>
            <p:cNvSpPr/>
            <p:nvPr/>
          </p:nvSpPr>
          <p:spPr>
            <a:xfrm>
              <a:off x="2935117" y="4249725"/>
              <a:ext cx="0" cy="48774"/>
            </a:xfrm>
            <a:custGeom>
              <a:avLst/>
              <a:gdLst/>
              <a:ahLst/>
              <a:cxnLst/>
              <a:rect l="0" t="0" r="0" b="0"/>
              <a:pathLst>
                <a:path h="34749">
                  <a:moveTo>
                    <a:pt x="0" y="34749"/>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99" name="pl82">
              <a:extLst>
                <a:ext uri="{FF2B5EF4-FFF2-40B4-BE49-F238E27FC236}">
                  <a16:creationId xmlns:a16="http://schemas.microsoft.com/office/drawing/2014/main" id="{9DE54ED9-552F-6330-33FF-FF1C115383C2}"/>
                </a:ext>
              </a:extLst>
            </p:cNvPr>
            <p:cNvSpPr/>
            <p:nvPr/>
          </p:nvSpPr>
          <p:spPr>
            <a:xfrm>
              <a:off x="3161739" y="4228817"/>
              <a:ext cx="0" cy="58565"/>
            </a:xfrm>
            <a:custGeom>
              <a:avLst/>
              <a:gdLst/>
              <a:ahLst/>
              <a:cxnLst/>
              <a:rect l="0" t="0" r="0" b="0"/>
              <a:pathLst>
                <a:path h="41725">
                  <a:moveTo>
                    <a:pt x="0" y="41725"/>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100" name="pl83">
              <a:extLst>
                <a:ext uri="{FF2B5EF4-FFF2-40B4-BE49-F238E27FC236}">
                  <a16:creationId xmlns:a16="http://schemas.microsoft.com/office/drawing/2014/main" id="{1AEF1386-DBE4-4992-6258-603645BC39B7}"/>
                </a:ext>
              </a:extLst>
            </p:cNvPr>
            <p:cNvSpPr/>
            <p:nvPr/>
          </p:nvSpPr>
          <p:spPr>
            <a:xfrm>
              <a:off x="3388360" y="4176062"/>
              <a:ext cx="0" cy="63821"/>
            </a:xfrm>
            <a:custGeom>
              <a:avLst/>
              <a:gdLst/>
              <a:ahLst/>
              <a:cxnLst/>
              <a:rect l="0" t="0" r="0" b="0"/>
              <a:pathLst>
                <a:path h="45469">
                  <a:moveTo>
                    <a:pt x="0" y="45469"/>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101" name="pl84">
              <a:extLst>
                <a:ext uri="{FF2B5EF4-FFF2-40B4-BE49-F238E27FC236}">
                  <a16:creationId xmlns:a16="http://schemas.microsoft.com/office/drawing/2014/main" id="{D2EDABD4-3E22-7DAC-15AE-67F4533BBBC8}"/>
                </a:ext>
              </a:extLst>
            </p:cNvPr>
            <p:cNvSpPr/>
            <p:nvPr/>
          </p:nvSpPr>
          <p:spPr>
            <a:xfrm>
              <a:off x="3614983" y="4162201"/>
              <a:ext cx="0" cy="71618"/>
            </a:xfrm>
            <a:custGeom>
              <a:avLst/>
              <a:gdLst/>
              <a:ahLst/>
              <a:cxnLst/>
              <a:rect l="0" t="0" r="0" b="0"/>
              <a:pathLst>
                <a:path h="51024">
                  <a:moveTo>
                    <a:pt x="0" y="51024"/>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102" name="pl85">
              <a:extLst>
                <a:ext uri="{FF2B5EF4-FFF2-40B4-BE49-F238E27FC236}">
                  <a16:creationId xmlns:a16="http://schemas.microsoft.com/office/drawing/2014/main" id="{36A4BA16-EF95-FAE9-CEDF-E85266C06ACE}"/>
                </a:ext>
              </a:extLst>
            </p:cNvPr>
            <p:cNvSpPr/>
            <p:nvPr/>
          </p:nvSpPr>
          <p:spPr>
            <a:xfrm>
              <a:off x="3841605" y="4104047"/>
              <a:ext cx="0" cy="78231"/>
            </a:xfrm>
            <a:custGeom>
              <a:avLst/>
              <a:gdLst/>
              <a:ahLst/>
              <a:cxnLst/>
              <a:rect l="0" t="0" r="0" b="0"/>
              <a:pathLst>
                <a:path h="55736">
                  <a:moveTo>
                    <a:pt x="0" y="55736"/>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103" name="pl86">
              <a:extLst>
                <a:ext uri="{FF2B5EF4-FFF2-40B4-BE49-F238E27FC236}">
                  <a16:creationId xmlns:a16="http://schemas.microsoft.com/office/drawing/2014/main" id="{4B72F62E-1D36-FF85-A364-4570A0E31FFA}"/>
                </a:ext>
              </a:extLst>
            </p:cNvPr>
            <p:cNvSpPr/>
            <p:nvPr/>
          </p:nvSpPr>
          <p:spPr>
            <a:xfrm>
              <a:off x="4068228" y="4084241"/>
              <a:ext cx="0" cy="87933"/>
            </a:xfrm>
            <a:custGeom>
              <a:avLst/>
              <a:gdLst/>
              <a:ahLst/>
              <a:cxnLst/>
              <a:rect l="0" t="0" r="0" b="0"/>
              <a:pathLst>
                <a:path h="62648">
                  <a:moveTo>
                    <a:pt x="0" y="62648"/>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104" name="pl87">
              <a:extLst>
                <a:ext uri="{FF2B5EF4-FFF2-40B4-BE49-F238E27FC236}">
                  <a16:creationId xmlns:a16="http://schemas.microsoft.com/office/drawing/2014/main" id="{6418172A-F085-1F68-C325-A75409E4795F}"/>
                </a:ext>
              </a:extLst>
            </p:cNvPr>
            <p:cNvSpPr/>
            <p:nvPr/>
          </p:nvSpPr>
          <p:spPr>
            <a:xfrm>
              <a:off x="4294849" y="4094399"/>
              <a:ext cx="0" cy="95461"/>
            </a:xfrm>
            <a:custGeom>
              <a:avLst/>
              <a:gdLst/>
              <a:ahLst/>
              <a:cxnLst/>
              <a:rect l="0" t="0" r="0" b="0"/>
              <a:pathLst>
                <a:path h="68011">
                  <a:moveTo>
                    <a:pt x="0" y="68011"/>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105" name="pl88">
              <a:extLst>
                <a:ext uri="{FF2B5EF4-FFF2-40B4-BE49-F238E27FC236}">
                  <a16:creationId xmlns:a16="http://schemas.microsoft.com/office/drawing/2014/main" id="{23C18A9D-7110-A33D-FD26-942755C36395}"/>
                </a:ext>
              </a:extLst>
            </p:cNvPr>
            <p:cNvSpPr/>
            <p:nvPr/>
          </p:nvSpPr>
          <p:spPr>
            <a:xfrm>
              <a:off x="4521471" y="4087688"/>
              <a:ext cx="0" cy="92571"/>
            </a:xfrm>
            <a:custGeom>
              <a:avLst/>
              <a:gdLst/>
              <a:ahLst/>
              <a:cxnLst/>
              <a:rect l="0" t="0" r="0" b="0"/>
              <a:pathLst>
                <a:path h="65952">
                  <a:moveTo>
                    <a:pt x="0" y="65952"/>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16" name="pl89">
              <a:extLst>
                <a:ext uri="{FF2B5EF4-FFF2-40B4-BE49-F238E27FC236}">
                  <a16:creationId xmlns:a16="http://schemas.microsoft.com/office/drawing/2014/main" id="{DCCDBD08-FC13-E375-A8C2-E9103A733AE1}"/>
                </a:ext>
              </a:extLst>
            </p:cNvPr>
            <p:cNvSpPr/>
            <p:nvPr/>
          </p:nvSpPr>
          <p:spPr>
            <a:xfrm>
              <a:off x="1802007" y="4461205"/>
              <a:ext cx="0" cy="0"/>
            </a:xfrm>
            <a:custGeom>
              <a:avLst/>
              <a:gdLst/>
              <a:ahLst/>
              <a:cxnLst/>
              <a:rect l="0" t="0" r="0" b="0"/>
              <a:pathLst>
                <a:path>
                  <a:moveTo>
                    <a:pt x="0" y="0"/>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17" name="pl90">
              <a:extLst>
                <a:ext uri="{FF2B5EF4-FFF2-40B4-BE49-F238E27FC236}">
                  <a16:creationId xmlns:a16="http://schemas.microsoft.com/office/drawing/2014/main" id="{3D8DDD45-9A1C-9251-C690-FA84EAD83444}"/>
                </a:ext>
              </a:extLst>
            </p:cNvPr>
            <p:cNvSpPr/>
            <p:nvPr/>
          </p:nvSpPr>
          <p:spPr>
            <a:xfrm>
              <a:off x="2028629" y="4408285"/>
              <a:ext cx="0" cy="18109"/>
            </a:xfrm>
            <a:custGeom>
              <a:avLst/>
              <a:gdLst/>
              <a:ahLst/>
              <a:cxnLst/>
              <a:rect l="0" t="0" r="0" b="0"/>
              <a:pathLst>
                <a:path h="12902">
                  <a:moveTo>
                    <a:pt x="0" y="12902"/>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18" name="pl91">
              <a:extLst>
                <a:ext uri="{FF2B5EF4-FFF2-40B4-BE49-F238E27FC236}">
                  <a16:creationId xmlns:a16="http://schemas.microsoft.com/office/drawing/2014/main" id="{47277DFF-D5E7-0823-3D8E-856F21D417AE}"/>
                </a:ext>
              </a:extLst>
            </p:cNvPr>
            <p:cNvSpPr/>
            <p:nvPr/>
          </p:nvSpPr>
          <p:spPr>
            <a:xfrm>
              <a:off x="2255252" y="4409795"/>
              <a:ext cx="0" cy="9302"/>
            </a:xfrm>
            <a:custGeom>
              <a:avLst/>
              <a:gdLst/>
              <a:ahLst/>
              <a:cxnLst/>
              <a:rect l="0" t="0" r="0" b="0"/>
              <a:pathLst>
                <a:path h="6627">
                  <a:moveTo>
                    <a:pt x="0" y="6627"/>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19" name="pl92">
              <a:extLst>
                <a:ext uri="{FF2B5EF4-FFF2-40B4-BE49-F238E27FC236}">
                  <a16:creationId xmlns:a16="http://schemas.microsoft.com/office/drawing/2014/main" id="{F8CAE60B-0AF7-B8E6-FE29-30988C106F18}"/>
                </a:ext>
              </a:extLst>
            </p:cNvPr>
            <p:cNvSpPr/>
            <p:nvPr/>
          </p:nvSpPr>
          <p:spPr>
            <a:xfrm>
              <a:off x="2481873" y="4361822"/>
              <a:ext cx="0" cy="30886"/>
            </a:xfrm>
            <a:custGeom>
              <a:avLst/>
              <a:gdLst/>
              <a:ahLst/>
              <a:cxnLst/>
              <a:rect l="0" t="0" r="0" b="0"/>
              <a:pathLst>
                <a:path h="22005">
                  <a:moveTo>
                    <a:pt x="0" y="22005"/>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20" name="pl93">
              <a:extLst>
                <a:ext uri="{FF2B5EF4-FFF2-40B4-BE49-F238E27FC236}">
                  <a16:creationId xmlns:a16="http://schemas.microsoft.com/office/drawing/2014/main" id="{A7EEC926-6009-D9FB-C1E9-4D4625867F15}"/>
                </a:ext>
              </a:extLst>
            </p:cNvPr>
            <p:cNvSpPr/>
            <p:nvPr/>
          </p:nvSpPr>
          <p:spPr>
            <a:xfrm>
              <a:off x="2708495" y="4356774"/>
              <a:ext cx="0" cy="31444"/>
            </a:xfrm>
            <a:custGeom>
              <a:avLst/>
              <a:gdLst/>
              <a:ahLst/>
              <a:cxnLst/>
              <a:rect l="0" t="0" r="0" b="0"/>
              <a:pathLst>
                <a:path h="22402">
                  <a:moveTo>
                    <a:pt x="0" y="22402"/>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21" name="pl94">
              <a:extLst>
                <a:ext uri="{FF2B5EF4-FFF2-40B4-BE49-F238E27FC236}">
                  <a16:creationId xmlns:a16="http://schemas.microsoft.com/office/drawing/2014/main" id="{A6125CFC-F96A-6DF8-D3E0-071C5043082D}"/>
                </a:ext>
              </a:extLst>
            </p:cNvPr>
            <p:cNvSpPr/>
            <p:nvPr/>
          </p:nvSpPr>
          <p:spPr>
            <a:xfrm>
              <a:off x="2935117" y="4230288"/>
              <a:ext cx="0" cy="38904"/>
            </a:xfrm>
            <a:custGeom>
              <a:avLst/>
              <a:gdLst/>
              <a:ahLst/>
              <a:cxnLst/>
              <a:rect l="0" t="0" r="0" b="0"/>
              <a:pathLst>
                <a:path h="27717">
                  <a:moveTo>
                    <a:pt x="0" y="27717"/>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22" name="pl95">
              <a:extLst>
                <a:ext uri="{FF2B5EF4-FFF2-40B4-BE49-F238E27FC236}">
                  <a16:creationId xmlns:a16="http://schemas.microsoft.com/office/drawing/2014/main" id="{E5298426-5A0A-6065-EB7D-22AFE1BAC376}"/>
                </a:ext>
              </a:extLst>
            </p:cNvPr>
            <p:cNvSpPr/>
            <p:nvPr/>
          </p:nvSpPr>
          <p:spPr>
            <a:xfrm>
              <a:off x="3161739" y="4202224"/>
              <a:ext cx="0" cy="40578"/>
            </a:xfrm>
            <a:custGeom>
              <a:avLst/>
              <a:gdLst/>
              <a:ahLst/>
              <a:cxnLst/>
              <a:rect l="0" t="0" r="0" b="0"/>
              <a:pathLst>
                <a:path h="28910">
                  <a:moveTo>
                    <a:pt x="0" y="28910"/>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23" name="pl96">
              <a:extLst>
                <a:ext uri="{FF2B5EF4-FFF2-40B4-BE49-F238E27FC236}">
                  <a16:creationId xmlns:a16="http://schemas.microsoft.com/office/drawing/2014/main" id="{C73C1F68-A26E-591A-73BC-AF186C1E9671}"/>
                </a:ext>
              </a:extLst>
            </p:cNvPr>
            <p:cNvSpPr/>
            <p:nvPr/>
          </p:nvSpPr>
          <p:spPr>
            <a:xfrm>
              <a:off x="3388360" y="4143903"/>
              <a:ext cx="0" cy="45001"/>
            </a:xfrm>
            <a:custGeom>
              <a:avLst/>
              <a:gdLst/>
              <a:ahLst/>
              <a:cxnLst/>
              <a:rect l="0" t="0" r="0" b="0"/>
              <a:pathLst>
                <a:path h="32061">
                  <a:moveTo>
                    <a:pt x="0" y="32061"/>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24" name="pl97">
              <a:extLst>
                <a:ext uri="{FF2B5EF4-FFF2-40B4-BE49-F238E27FC236}">
                  <a16:creationId xmlns:a16="http://schemas.microsoft.com/office/drawing/2014/main" id="{D0648646-D0B1-1431-B403-7610099F54EE}"/>
                </a:ext>
              </a:extLst>
            </p:cNvPr>
            <p:cNvSpPr/>
            <p:nvPr/>
          </p:nvSpPr>
          <p:spPr>
            <a:xfrm>
              <a:off x="3614983" y="4089106"/>
              <a:ext cx="0" cy="48147"/>
            </a:xfrm>
            <a:custGeom>
              <a:avLst/>
              <a:gdLst/>
              <a:ahLst/>
              <a:cxnLst/>
              <a:rect l="0" t="0" r="0" b="0"/>
              <a:pathLst>
                <a:path h="34302">
                  <a:moveTo>
                    <a:pt x="0" y="34302"/>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25" name="pl98">
              <a:extLst>
                <a:ext uri="{FF2B5EF4-FFF2-40B4-BE49-F238E27FC236}">
                  <a16:creationId xmlns:a16="http://schemas.microsoft.com/office/drawing/2014/main" id="{89610D83-9C23-3A1F-1179-1B7F1DE6B435}"/>
                </a:ext>
              </a:extLst>
            </p:cNvPr>
            <p:cNvSpPr/>
            <p:nvPr/>
          </p:nvSpPr>
          <p:spPr>
            <a:xfrm>
              <a:off x="3841605" y="4035877"/>
              <a:ext cx="0" cy="54213"/>
            </a:xfrm>
            <a:custGeom>
              <a:avLst/>
              <a:gdLst/>
              <a:ahLst/>
              <a:cxnLst/>
              <a:rect l="0" t="0" r="0" b="0"/>
              <a:pathLst>
                <a:path h="38624">
                  <a:moveTo>
                    <a:pt x="0" y="38624"/>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26" name="pl99">
              <a:extLst>
                <a:ext uri="{FF2B5EF4-FFF2-40B4-BE49-F238E27FC236}">
                  <a16:creationId xmlns:a16="http://schemas.microsoft.com/office/drawing/2014/main" id="{F138C45D-EBF0-9624-AAAC-1F0B21602226}"/>
                </a:ext>
              </a:extLst>
            </p:cNvPr>
            <p:cNvSpPr/>
            <p:nvPr/>
          </p:nvSpPr>
          <p:spPr>
            <a:xfrm>
              <a:off x="4068228" y="3958975"/>
              <a:ext cx="0" cy="62620"/>
            </a:xfrm>
            <a:custGeom>
              <a:avLst/>
              <a:gdLst/>
              <a:ahLst/>
              <a:cxnLst/>
              <a:rect l="0" t="0" r="0" b="0"/>
              <a:pathLst>
                <a:path h="44614">
                  <a:moveTo>
                    <a:pt x="0" y="44614"/>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27" name="pl100">
              <a:extLst>
                <a:ext uri="{FF2B5EF4-FFF2-40B4-BE49-F238E27FC236}">
                  <a16:creationId xmlns:a16="http://schemas.microsoft.com/office/drawing/2014/main" id="{E409C412-099B-0E79-79DD-51E55F013051}"/>
                </a:ext>
              </a:extLst>
            </p:cNvPr>
            <p:cNvSpPr/>
            <p:nvPr/>
          </p:nvSpPr>
          <p:spPr>
            <a:xfrm>
              <a:off x="4294849" y="3949752"/>
              <a:ext cx="0" cy="57808"/>
            </a:xfrm>
            <a:custGeom>
              <a:avLst/>
              <a:gdLst/>
              <a:ahLst/>
              <a:cxnLst/>
              <a:rect l="0" t="0" r="0" b="0"/>
              <a:pathLst>
                <a:path h="41185">
                  <a:moveTo>
                    <a:pt x="0" y="41185"/>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28" name="pl101">
              <a:extLst>
                <a:ext uri="{FF2B5EF4-FFF2-40B4-BE49-F238E27FC236}">
                  <a16:creationId xmlns:a16="http://schemas.microsoft.com/office/drawing/2014/main" id="{948FB28F-B914-A79F-224C-25CA48DA49FD}"/>
                </a:ext>
              </a:extLst>
            </p:cNvPr>
            <p:cNvSpPr/>
            <p:nvPr/>
          </p:nvSpPr>
          <p:spPr>
            <a:xfrm>
              <a:off x="4521471" y="3921125"/>
              <a:ext cx="0" cy="71835"/>
            </a:xfrm>
            <a:custGeom>
              <a:avLst/>
              <a:gdLst/>
              <a:ahLst/>
              <a:cxnLst/>
              <a:rect l="0" t="0" r="0" b="0"/>
              <a:pathLst>
                <a:path h="51179">
                  <a:moveTo>
                    <a:pt x="0" y="51179"/>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29" name="pl102">
              <a:extLst>
                <a:ext uri="{FF2B5EF4-FFF2-40B4-BE49-F238E27FC236}">
                  <a16:creationId xmlns:a16="http://schemas.microsoft.com/office/drawing/2014/main" id="{27B645D2-EEBC-1239-C999-E4D42C03639E}"/>
                </a:ext>
              </a:extLst>
            </p:cNvPr>
            <p:cNvSpPr/>
            <p:nvPr/>
          </p:nvSpPr>
          <p:spPr>
            <a:xfrm>
              <a:off x="1802007" y="4461205"/>
              <a:ext cx="0" cy="0"/>
            </a:xfrm>
            <a:custGeom>
              <a:avLst/>
              <a:gdLst/>
              <a:ahLst/>
              <a:cxnLst/>
              <a:rect l="0" t="0" r="0" b="0"/>
              <a:pathLst>
                <a:path>
                  <a:moveTo>
                    <a:pt x="0" y="0"/>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30" name="pl103">
              <a:extLst>
                <a:ext uri="{FF2B5EF4-FFF2-40B4-BE49-F238E27FC236}">
                  <a16:creationId xmlns:a16="http://schemas.microsoft.com/office/drawing/2014/main" id="{A7A81AE9-1B06-E18F-3251-3E3BABAE3242}"/>
                </a:ext>
              </a:extLst>
            </p:cNvPr>
            <p:cNvSpPr/>
            <p:nvPr/>
          </p:nvSpPr>
          <p:spPr>
            <a:xfrm>
              <a:off x="2028629" y="4791437"/>
              <a:ext cx="0" cy="33021"/>
            </a:xfrm>
            <a:custGeom>
              <a:avLst/>
              <a:gdLst/>
              <a:ahLst/>
              <a:cxnLst/>
              <a:rect l="0" t="0" r="0" b="0"/>
              <a:pathLst>
                <a:path h="23526">
                  <a:moveTo>
                    <a:pt x="0" y="23526"/>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31" name="pl104">
              <a:extLst>
                <a:ext uri="{FF2B5EF4-FFF2-40B4-BE49-F238E27FC236}">
                  <a16:creationId xmlns:a16="http://schemas.microsoft.com/office/drawing/2014/main" id="{89718FDC-8087-65BE-1A00-2E6B10B4C7D7}"/>
                </a:ext>
              </a:extLst>
            </p:cNvPr>
            <p:cNvSpPr/>
            <p:nvPr/>
          </p:nvSpPr>
          <p:spPr>
            <a:xfrm>
              <a:off x="2255252" y="4780072"/>
              <a:ext cx="0" cy="43262"/>
            </a:xfrm>
            <a:custGeom>
              <a:avLst/>
              <a:gdLst/>
              <a:ahLst/>
              <a:cxnLst/>
              <a:rect l="0" t="0" r="0" b="0"/>
              <a:pathLst>
                <a:path h="30822">
                  <a:moveTo>
                    <a:pt x="0" y="30822"/>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32" name="pl105">
              <a:extLst>
                <a:ext uri="{FF2B5EF4-FFF2-40B4-BE49-F238E27FC236}">
                  <a16:creationId xmlns:a16="http://schemas.microsoft.com/office/drawing/2014/main" id="{CE4D2D10-27AA-9AAB-DD9C-D50ABC304CF5}"/>
                </a:ext>
              </a:extLst>
            </p:cNvPr>
            <p:cNvSpPr/>
            <p:nvPr/>
          </p:nvSpPr>
          <p:spPr>
            <a:xfrm>
              <a:off x="2481873" y="4765591"/>
              <a:ext cx="0" cy="48200"/>
            </a:xfrm>
            <a:custGeom>
              <a:avLst/>
              <a:gdLst/>
              <a:ahLst/>
              <a:cxnLst/>
              <a:rect l="0" t="0" r="0" b="0"/>
              <a:pathLst>
                <a:path h="34340">
                  <a:moveTo>
                    <a:pt x="0" y="34340"/>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33" name="pl106">
              <a:extLst>
                <a:ext uri="{FF2B5EF4-FFF2-40B4-BE49-F238E27FC236}">
                  <a16:creationId xmlns:a16="http://schemas.microsoft.com/office/drawing/2014/main" id="{CD4C9B00-ABF2-1C04-90DE-E343121B193B}"/>
                </a:ext>
              </a:extLst>
            </p:cNvPr>
            <p:cNvSpPr/>
            <p:nvPr/>
          </p:nvSpPr>
          <p:spPr>
            <a:xfrm>
              <a:off x="2708495" y="4758355"/>
              <a:ext cx="0" cy="52067"/>
            </a:xfrm>
            <a:custGeom>
              <a:avLst/>
              <a:gdLst/>
              <a:ahLst/>
              <a:cxnLst/>
              <a:rect l="0" t="0" r="0" b="0"/>
              <a:pathLst>
                <a:path h="37095">
                  <a:moveTo>
                    <a:pt x="0" y="37095"/>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34" name="pl107">
              <a:extLst>
                <a:ext uri="{FF2B5EF4-FFF2-40B4-BE49-F238E27FC236}">
                  <a16:creationId xmlns:a16="http://schemas.microsoft.com/office/drawing/2014/main" id="{1771F06A-627D-EFF4-451E-5C59D2B6CE82}"/>
                </a:ext>
              </a:extLst>
            </p:cNvPr>
            <p:cNvSpPr/>
            <p:nvPr/>
          </p:nvSpPr>
          <p:spPr>
            <a:xfrm>
              <a:off x="2935117" y="4650662"/>
              <a:ext cx="0" cy="59262"/>
            </a:xfrm>
            <a:custGeom>
              <a:avLst/>
              <a:gdLst/>
              <a:ahLst/>
              <a:cxnLst/>
              <a:rect l="0" t="0" r="0" b="0"/>
              <a:pathLst>
                <a:path h="42221">
                  <a:moveTo>
                    <a:pt x="0" y="42221"/>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35" name="pl108">
              <a:extLst>
                <a:ext uri="{FF2B5EF4-FFF2-40B4-BE49-F238E27FC236}">
                  <a16:creationId xmlns:a16="http://schemas.microsoft.com/office/drawing/2014/main" id="{47DE94BB-E62C-671B-49BA-72D006A2EC87}"/>
                </a:ext>
              </a:extLst>
            </p:cNvPr>
            <p:cNvSpPr/>
            <p:nvPr/>
          </p:nvSpPr>
          <p:spPr>
            <a:xfrm>
              <a:off x="3161739" y="4628019"/>
              <a:ext cx="0" cy="64500"/>
            </a:xfrm>
            <a:custGeom>
              <a:avLst/>
              <a:gdLst/>
              <a:ahLst/>
              <a:cxnLst/>
              <a:rect l="0" t="0" r="0" b="0"/>
              <a:pathLst>
                <a:path h="45953">
                  <a:moveTo>
                    <a:pt x="0" y="45953"/>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36" name="pl109">
              <a:extLst>
                <a:ext uri="{FF2B5EF4-FFF2-40B4-BE49-F238E27FC236}">
                  <a16:creationId xmlns:a16="http://schemas.microsoft.com/office/drawing/2014/main" id="{769ABAF8-AD4E-E5B4-CB60-5A9ECED4463C}"/>
                </a:ext>
              </a:extLst>
            </p:cNvPr>
            <p:cNvSpPr/>
            <p:nvPr/>
          </p:nvSpPr>
          <p:spPr>
            <a:xfrm>
              <a:off x="3388360" y="4561782"/>
              <a:ext cx="0" cy="65609"/>
            </a:xfrm>
            <a:custGeom>
              <a:avLst/>
              <a:gdLst/>
              <a:ahLst/>
              <a:cxnLst/>
              <a:rect l="0" t="0" r="0" b="0"/>
              <a:pathLst>
                <a:path h="46743">
                  <a:moveTo>
                    <a:pt x="0" y="46743"/>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37" name="pl110">
              <a:extLst>
                <a:ext uri="{FF2B5EF4-FFF2-40B4-BE49-F238E27FC236}">
                  <a16:creationId xmlns:a16="http://schemas.microsoft.com/office/drawing/2014/main" id="{F840EF1F-8F7C-2CC3-E3DC-23FF1826E15B}"/>
                </a:ext>
              </a:extLst>
            </p:cNvPr>
            <p:cNvSpPr/>
            <p:nvPr/>
          </p:nvSpPr>
          <p:spPr>
            <a:xfrm>
              <a:off x="3614983" y="4517808"/>
              <a:ext cx="0" cy="64106"/>
            </a:xfrm>
            <a:custGeom>
              <a:avLst/>
              <a:gdLst/>
              <a:ahLst/>
              <a:cxnLst/>
              <a:rect l="0" t="0" r="0" b="0"/>
              <a:pathLst>
                <a:path h="45672">
                  <a:moveTo>
                    <a:pt x="0" y="45672"/>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38" name="pl111">
              <a:extLst>
                <a:ext uri="{FF2B5EF4-FFF2-40B4-BE49-F238E27FC236}">
                  <a16:creationId xmlns:a16="http://schemas.microsoft.com/office/drawing/2014/main" id="{921389A9-C05C-B4D0-F979-0156AFC97296}"/>
                </a:ext>
              </a:extLst>
            </p:cNvPr>
            <p:cNvSpPr/>
            <p:nvPr/>
          </p:nvSpPr>
          <p:spPr>
            <a:xfrm>
              <a:off x="3841605" y="4463966"/>
              <a:ext cx="0" cy="72471"/>
            </a:xfrm>
            <a:custGeom>
              <a:avLst/>
              <a:gdLst/>
              <a:ahLst/>
              <a:cxnLst/>
              <a:rect l="0" t="0" r="0" b="0"/>
              <a:pathLst>
                <a:path h="51632">
                  <a:moveTo>
                    <a:pt x="0" y="51632"/>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39" name="pl112">
              <a:extLst>
                <a:ext uri="{FF2B5EF4-FFF2-40B4-BE49-F238E27FC236}">
                  <a16:creationId xmlns:a16="http://schemas.microsoft.com/office/drawing/2014/main" id="{92C6E35C-FE67-EB67-C3D4-E5D693BDEA11}"/>
                </a:ext>
              </a:extLst>
            </p:cNvPr>
            <p:cNvSpPr/>
            <p:nvPr/>
          </p:nvSpPr>
          <p:spPr>
            <a:xfrm>
              <a:off x="4068228" y="4439860"/>
              <a:ext cx="0" cy="63453"/>
            </a:xfrm>
            <a:custGeom>
              <a:avLst/>
              <a:gdLst/>
              <a:ahLst/>
              <a:cxnLst/>
              <a:rect l="0" t="0" r="0" b="0"/>
              <a:pathLst>
                <a:path h="45207">
                  <a:moveTo>
                    <a:pt x="0" y="45207"/>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40" name="pl113">
              <a:extLst>
                <a:ext uri="{FF2B5EF4-FFF2-40B4-BE49-F238E27FC236}">
                  <a16:creationId xmlns:a16="http://schemas.microsoft.com/office/drawing/2014/main" id="{F42D6918-64DD-9447-8F5D-23A189D847E8}"/>
                </a:ext>
              </a:extLst>
            </p:cNvPr>
            <p:cNvSpPr/>
            <p:nvPr/>
          </p:nvSpPr>
          <p:spPr>
            <a:xfrm>
              <a:off x="4294849" y="4424470"/>
              <a:ext cx="0" cy="69299"/>
            </a:xfrm>
            <a:custGeom>
              <a:avLst/>
              <a:gdLst/>
              <a:ahLst/>
              <a:cxnLst/>
              <a:rect l="0" t="0" r="0" b="0"/>
              <a:pathLst>
                <a:path h="49372">
                  <a:moveTo>
                    <a:pt x="0" y="49372"/>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41" name="pl114">
              <a:extLst>
                <a:ext uri="{FF2B5EF4-FFF2-40B4-BE49-F238E27FC236}">
                  <a16:creationId xmlns:a16="http://schemas.microsoft.com/office/drawing/2014/main" id="{C6BCBBF4-CE1A-9E44-8E1D-341CE2C0C137}"/>
                </a:ext>
              </a:extLst>
            </p:cNvPr>
            <p:cNvSpPr/>
            <p:nvPr/>
          </p:nvSpPr>
          <p:spPr>
            <a:xfrm>
              <a:off x="4521471" y="4427550"/>
              <a:ext cx="0" cy="71271"/>
            </a:xfrm>
            <a:custGeom>
              <a:avLst/>
              <a:gdLst/>
              <a:ahLst/>
              <a:cxnLst/>
              <a:rect l="0" t="0" r="0" b="0"/>
              <a:pathLst>
                <a:path h="50777">
                  <a:moveTo>
                    <a:pt x="0" y="50777"/>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42" name="pl115">
              <a:extLst>
                <a:ext uri="{FF2B5EF4-FFF2-40B4-BE49-F238E27FC236}">
                  <a16:creationId xmlns:a16="http://schemas.microsoft.com/office/drawing/2014/main" id="{4EC77228-AA42-0C48-250F-DC3419FB6AF8}"/>
                </a:ext>
              </a:extLst>
            </p:cNvPr>
            <p:cNvSpPr/>
            <p:nvPr/>
          </p:nvSpPr>
          <p:spPr>
            <a:xfrm>
              <a:off x="1802007" y="4461205"/>
              <a:ext cx="0" cy="0"/>
            </a:xfrm>
            <a:custGeom>
              <a:avLst/>
              <a:gdLst/>
              <a:ahLst/>
              <a:cxnLst/>
              <a:rect l="0" t="0" r="0" b="0"/>
              <a:pathLst>
                <a:path>
                  <a:moveTo>
                    <a:pt x="0" y="0"/>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43" name="pl116">
              <a:extLst>
                <a:ext uri="{FF2B5EF4-FFF2-40B4-BE49-F238E27FC236}">
                  <a16:creationId xmlns:a16="http://schemas.microsoft.com/office/drawing/2014/main" id="{08EE3873-E391-470C-2625-2D841F78596C}"/>
                </a:ext>
              </a:extLst>
            </p:cNvPr>
            <p:cNvSpPr/>
            <p:nvPr/>
          </p:nvSpPr>
          <p:spPr>
            <a:xfrm>
              <a:off x="2028629" y="4868053"/>
              <a:ext cx="0" cy="31751"/>
            </a:xfrm>
            <a:custGeom>
              <a:avLst/>
              <a:gdLst/>
              <a:ahLst/>
              <a:cxnLst/>
              <a:rect l="0" t="0" r="0" b="0"/>
              <a:pathLst>
                <a:path h="22621">
                  <a:moveTo>
                    <a:pt x="0" y="22621"/>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44" name="pl117">
              <a:extLst>
                <a:ext uri="{FF2B5EF4-FFF2-40B4-BE49-F238E27FC236}">
                  <a16:creationId xmlns:a16="http://schemas.microsoft.com/office/drawing/2014/main" id="{C5450C14-CEF1-3833-E542-CD05D78EEAA1}"/>
                </a:ext>
              </a:extLst>
            </p:cNvPr>
            <p:cNvSpPr/>
            <p:nvPr/>
          </p:nvSpPr>
          <p:spPr>
            <a:xfrm>
              <a:off x="2255252" y="4815065"/>
              <a:ext cx="0" cy="20566"/>
            </a:xfrm>
            <a:custGeom>
              <a:avLst/>
              <a:gdLst/>
              <a:ahLst/>
              <a:cxnLst/>
              <a:rect l="0" t="0" r="0" b="0"/>
              <a:pathLst>
                <a:path h="14652">
                  <a:moveTo>
                    <a:pt x="0" y="14652"/>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45" name="pl118">
              <a:extLst>
                <a:ext uri="{FF2B5EF4-FFF2-40B4-BE49-F238E27FC236}">
                  <a16:creationId xmlns:a16="http://schemas.microsoft.com/office/drawing/2014/main" id="{734486D1-276A-479F-4934-BF87DD46ED33}"/>
                </a:ext>
              </a:extLst>
            </p:cNvPr>
            <p:cNvSpPr/>
            <p:nvPr/>
          </p:nvSpPr>
          <p:spPr>
            <a:xfrm>
              <a:off x="2481873" y="4754888"/>
              <a:ext cx="0" cy="20612"/>
            </a:xfrm>
            <a:custGeom>
              <a:avLst/>
              <a:gdLst/>
              <a:ahLst/>
              <a:cxnLst/>
              <a:rect l="0" t="0" r="0" b="0"/>
              <a:pathLst>
                <a:path h="14685">
                  <a:moveTo>
                    <a:pt x="0" y="14685"/>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46" name="pl119">
              <a:extLst>
                <a:ext uri="{FF2B5EF4-FFF2-40B4-BE49-F238E27FC236}">
                  <a16:creationId xmlns:a16="http://schemas.microsoft.com/office/drawing/2014/main" id="{547323DF-3CA6-465B-3BF7-460264838B2A}"/>
                </a:ext>
              </a:extLst>
            </p:cNvPr>
            <p:cNvSpPr/>
            <p:nvPr/>
          </p:nvSpPr>
          <p:spPr>
            <a:xfrm>
              <a:off x="2708495" y="4723127"/>
              <a:ext cx="0" cy="23571"/>
            </a:xfrm>
            <a:custGeom>
              <a:avLst/>
              <a:gdLst/>
              <a:ahLst/>
              <a:cxnLst/>
              <a:rect l="0" t="0" r="0" b="0"/>
              <a:pathLst>
                <a:path h="16793">
                  <a:moveTo>
                    <a:pt x="0" y="16793"/>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47" name="pl120">
              <a:extLst>
                <a:ext uri="{FF2B5EF4-FFF2-40B4-BE49-F238E27FC236}">
                  <a16:creationId xmlns:a16="http://schemas.microsoft.com/office/drawing/2014/main" id="{0005B5E7-DEFB-A8B0-B898-D70AF7B0FEF2}"/>
                </a:ext>
              </a:extLst>
            </p:cNvPr>
            <p:cNvSpPr/>
            <p:nvPr/>
          </p:nvSpPr>
          <p:spPr>
            <a:xfrm>
              <a:off x="2935117" y="4659312"/>
              <a:ext cx="0" cy="33824"/>
            </a:xfrm>
            <a:custGeom>
              <a:avLst/>
              <a:gdLst/>
              <a:ahLst/>
              <a:cxnLst/>
              <a:rect l="0" t="0" r="0" b="0"/>
              <a:pathLst>
                <a:path h="24098">
                  <a:moveTo>
                    <a:pt x="0" y="24098"/>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48" name="pl121">
              <a:extLst>
                <a:ext uri="{FF2B5EF4-FFF2-40B4-BE49-F238E27FC236}">
                  <a16:creationId xmlns:a16="http://schemas.microsoft.com/office/drawing/2014/main" id="{FE7D0AD0-F01E-5713-40A1-9D14B602AB80}"/>
                </a:ext>
              </a:extLst>
            </p:cNvPr>
            <p:cNvSpPr/>
            <p:nvPr/>
          </p:nvSpPr>
          <p:spPr>
            <a:xfrm>
              <a:off x="3161739" y="4611433"/>
              <a:ext cx="0" cy="36731"/>
            </a:xfrm>
            <a:custGeom>
              <a:avLst/>
              <a:gdLst/>
              <a:ahLst/>
              <a:cxnLst/>
              <a:rect l="0" t="0" r="0" b="0"/>
              <a:pathLst>
                <a:path h="26169">
                  <a:moveTo>
                    <a:pt x="0" y="26169"/>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49" name="pl122">
              <a:extLst>
                <a:ext uri="{FF2B5EF4-FFF2-40B4-BE49-F238E27FC236}">
                  <a16:creationId xmlns:a16="http://schemas.microsoft.com/office/drawing/2014/main" id="{B2CCC1AE-21F6-4502-7F10-FEFA52F96747}"/>
                </a:ext>
              </a:extLst>
            </p:cNvPr>
            <p:cNvSpPr/>
            <p:nvPr/>
          </p:nvSpPr>
          <p:spPr>
            <a:xfrm>
              <a:off x="3388360" y="4565248"/>
              <a:ext cx="0" cy="33396"/>
            </a:xfrm>
            <a:custGeom>
              <a:avLst/>
              <a:gdLst/>
              <a:ahLst/>
              <a:cxnLst/>
              <a:rect l="0" t="0" r="0" b="0"/>
              <a:pathLst>
                <a:path h="23793">
                  <a:moveTo>
                    <a:pt x="0" y="23793"/>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50" name="pl123">
              <a:extLst>
                <a:ext uri="{FF2B5EF4-FFF2-40B4-BE49-F238E27FC236}">
                  <a16:creationId xmlns:a16="http://schemas.microsoft.com/office/drawing/2014/main" id="{BE41B767-B21A-9C25-1164-706E6971FE25}"/>
                </a:ext>
              </a:extLst>
            </p:cNvPr>
            <p:cNvSpPr/>
            <p:nvPr/>
          </p:nvSpPr>
          <p:spPr>
            <a:xfrm>
              <a:off x="3614983" y="4510595"/>
              <a:ext cx="0" cy="47626"/>
            </a:xfrm>
            <a:custGeom>
              <a:avLst/>
              <a:gdLst/>
              <a:ahLst/>
              <a:cxnLst/>
              <a:rect l="0" t="0" r="0" b="0"/>
              <a:pathLst>
                <a:path h="33931">
                  <a:moveTo>
                    <a:pt x="0" y="33931"/>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51" name="pl124">
              <a:extLst>
                <a:ext uri="{FF2B5EF4-FFF2-40B4-BE49-F238E27FC236}">
                  <a16:creationId xmlns:a16="http://schemas.microsoft.com/office/drawing/2014/main" id="{5C4B8E45-F86E-FE58-20EA-D14B40FA7B34}"/>
                </a:ext>
              </a:extLst>
            </p:cNvPr>
            <p:cNvSpPr/>
            <p:nvPr/>
          </p:nvSpPr>
          <p:spPr>
            <a:xfrm>
              <a:off x="3841605" y="4412262"/>
              <a:ext cx="0" cy="43889"/>
            </a:xfrm>
            <a:custGeom>
              <a:avLst/>
              <a:gdLst/>
              <a:ahLst/>
              <a:cxnLst/>
              <a:rect l="0" t="0" r="0" b="0"/>
              <a:pathLst>
                <a:path h="31269">
                  <a:moveTo>
                    <a:pt x="0" y="31269"/>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52" name="pl125">
              <a:extLst>
                <a:ext uri="{FF2B5EF4-FFF2-40B4-BE49-F238E27FC236}">
                  <a16:creationId xmlns:a16="http://schemas.microsoft.com/office/drawing/2014/main" id="{F5408E6D-62DD-5CBC-70E4-910D02BBEA9E}"/>
                </a:ext>
              </a:extLst>
            </p:cNvPr>
            <p:cNvSpPr/>
            <p:nvPr/>
          </p:nvSpPr>
          <p:spPr>
            <a:xfrm>
              <a:off x="4068228" y="4440065"/>
              <a:ext cx="0" cy="33772"/>
            </a:xfrm>
            <a:custGeom>
              <a:avLst/>
              <a:gdLst/>
              <a:ahLst/>
              <a:cxnLst/>
              <a:rect l="0" t="0" r="0" b="0"/>
              <a:pathLst>
                <a:path h="24061">
                  <a:moveTo>
                    <a:pt x="0" y="24061"/>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53" name="pl126">
              <a:extLst>
                <a:ext uri="{FF2B5EF4-FFF2-40B4-BE49-F238E27FC236}">
                  <a16:creationId xmlns:a16="http://schemas.microsoft.com/office/drawing/2014/main" id="{7BD88DEE-A49C-05E2-3C3E-EE7AB57C279C}"/>
                </a:ext>
              </a:extLst>
            </p:cNvPr>
            <p:cNvSpPr/>
            <p:nvPr/>
          </p:nvSpPr>
          <p:spPr>
            <a:xfrm>
              <a:off x="4294849" y="4412686"/>
              <a:ext cx="0" cy="48518"/>
            </a:xfrm>
            <a:custGeom>
              <a:avLst/>
              <a:gdLst/>
              <a:ahLst/>
              <a:cxnLst/>
              <a:rect l="0" t="0" r="0" b="0"/>
              <a:pathLst>
                <a:path h="34567">
                  <a:moveTo>
                    <a:pt x="0" y="34567"/>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54" name="pl127">
              <a:extLst>
                <a:ext uri="{FF2B5EF4-FFF2-40B4-BE49-F238E27FC236}">
                  <a16:creationId xmlns:a16="http://schemas.microsoft.com/office/drawing/2014/main" id="{D22458B5-87AD-E833-BC7E-03FEEDCA1C97}"/>
                </a:ext>
              </a:extLst>
            </p:cNvPr>
            <p:cNvSpPr/>
            <p:nvPr/>
          </p:nvSpPr>
          <p:spPr>
            <a:xfrm>
              <a:off x="4521471" y="4436014"/>
              <a:ext cx="0" cy="49443"/>
            </a:xfrm>
            <a:custGeom>
              <a:avLst/>
              <a:gdLst/>
              <a:ahLst/>
              <a:cxnLst/>
              <a:rect l="0" t="0" r="0" b="0"/>
              <a:pathLst>
                <a:path h="35226">
                  <a:moveTo>
                    <a:pt x="0" y="35226"/>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55" name="pl128">
              <a:extLst>
                <a:ext uri="{FF2B5EF4-FFF2-40B4-BE49-F238E27FC236}">
                  <a16:creationId xmlns:a16="http://schemas.microsoft.com/office/drawing/2014/main" id="{BB14305D-3950-BECA-66BA-D065D655C31A}"/>
                </a:ext>
              </a:extLst>
            </p:cNvPr>
            <p:cNvSpPr/>
            <p:nvPr/>
          </p:nvSpPr>
          <p:spPr>
            <a:xfrm>
              <a:off x="1802007" y="4461205"/>
              <a:ext cx="0" cy="0"/>
            </a:xfrm>
            <a:custGeom>
              <a:avLst/>
              <a:gdLst/>
              <a:ahLst/>
              <a:cxnLst/>
              <a:rect l="0" t="0" r="0" b="0"/>
              <a:pathLst>
                <a:path>
                  <a:moveTo>
                    <a:pt x="0" y="0"/>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56" name="pl129">
              <a:extLst>
                <a:ext uri="{FF2B5EF4-FFF2-40B4-BE49-F238E27FC236}">
                  <a16:creationId xmlns:a16="http://schemas.microsoft.com/office/drawing/2014/main" id="{256009FD-E469-28E4-378F-E452C68871EC}"/>
                </a:ext>
              </a:extLst>
            </p:cNvPr>
            <p:cNvSpPr/>
            <p:nvPr/>
          </p:nvSpPr>
          <p:spPr>
            <a:xfrm>
              <a:off x="2028629" y="4770596"/>
              <a:ext cx="0" cy="40780"/>
            </a:xfrm>
            <a:custGeom>
              <a:avLst/>
              <a:gdLst/>
              <a:ahLst/>
              <a:cxnLst/>
              <a:rect l="0" t="0" r="0" b="0"/>
              <a:pathLst>
                <a:path h="29054">
                  <a:moveTo>
                    <a:pt x="0" y="29054"/>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57" name="pl130">
              <a:extLst>
                <a:ext uri="{FF2B5EF4-FFF2-40B4-BE49-F238E27FC236}">
                  <a16:creationId xmlns:a16="http://schemas.microsoft.com/office/drawing/2014/main" id="{8E27CBC7-34F9-212E-2CE5-57A47D601119}"/>
                </a:ext>
              </a:extLst>
            </p:cNvPr>
            <p:cNvSpPr/>
            <p:nvPr/>
          </p:nvSpPr>
          <p:spPr>
            <a:xfrm>
              <a:off x="2255252" y="4749970"/>
              <a:ext cx="0" cy="50290"/>
            </a:xfrm>
            <a:custGeom>
              <a:avLst/>
              <a:gdLst/>
              <a:ahLst/>
              <a:cxnLst/>
              <a:rect l="0" t="0" r="0" b="0"/>
              <a:pathLst>
                <a:path h="35829">
                  <a:moveTo>
                    <a:pt x="0" y="35829"/>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58" name="pl131">
              <a:extLst>
                <a:ext uri="{FF2B5EF4-FFF2-40B4-BE49-F238E27FC236}">
                  <a16:creationId xmlns:a16="http://schemas.microsoft.com/office/drawing/2014/main" id="{21B368B5-03CE-63D3-7F2E-3ACA9BA275D0}"/>
                </a:ext>
              </a:extLst>
            </p:cNvPr>
            <p:cNvSpPr/>
            <p:nvPr/>
          </p:nvSpPr>
          <p:spPr>
            <a:xfrm>
              <a:off x="2481873" y="4747392"/>
              <a:ext cx="0" cy="55393"/>
            </a:xfrm>
            <a:custGeom>
              <a:avLst/>
              <a:gdLst/>
              <a:ahLst/>
              <a:cxnLst/>
              <a:rect l="0" t="0" r="0" b="0"/>
              <a:pathLst>
                <a:path h="39465">
                  <a:moveTo>
                    <a:pt x="0" y="39465"/>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59" name="pl132">
              <a:extLst>
                <a:ext uri="{FF2B5EF4-FFF2-40B4-BE49-F238E27FC236}">
                  <a16:creationId xmlns:a16="http://schemas.microsoft.com/office/drawing/2014/main" id="{4258549C-87D8-96CD-4262-9ADEF63AF11E}"/>
                </a:ext>
              </a:extLst>
            </p:cNvPr>
            <p:cNvSpPr/>
            <p:nvPr/>
          </p:nvSpPr>
          <p:spPr>
            <a:xfrm>
              <a:off x="2708495" y="4741151"/>
              <a:ext cx="0" cy="56077"/>
            </a:xfrm>
            <a:custGeom>
              <a:avLst/>
              <a:gdLst/>
              <a:ahLst/>
              <a:cxnLst/>
              <a:rect l="0" t="0" r="0" b="0"/>
              <a:pathLst>
                <a:path h="39952">
                  <a:moveTo>
                    <a:pt x="0" y="39952"/>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74" name="pl133">
              <a:extLst>
                <a:ext uri="{FF2B5EF4-FFF2-40B4-BE49-F238E27FC236}">
                  <a16:creationId xmlns:a16="http://schemas.microsoft.com/office/drawing/2014/main" id="{91FA4A9C-8958-941C-C848-2EBDA68CF602}"/>
                </a:ext>
              </a:extLst>
            </p:cNvPr>
            <p:cNvSpPr/>
            <p:nvPr/>
          </p:nvSpPr>
          <p:spPr>
            <a:xfrm>
              <a:off x="2935117" y="4607376"/>
              <a:ext cx="0" cy="59990"/>
            </a:xfrm>
            <a:custGeom>
              <a:avLst/>
              <a:gdLst/>
              <a:ahLst/>
              <a:cxnLst/>
              <a:rect l="0" t="0" r="0" b="0"/>
              <a:pathLst>
                <a:path h="42740">
                  <a:moveTo>
                    <a:pt x="0" y="42740"/>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75" name="pl134">
              <a:extLst>
                <a:ext uri="{FF2B5EF4-FFF2-40B4-BE49-F238E27FC236}">
                  <a16:creationId xmlns:a16="http://schemas.microsoft.com/office/drawing/2014/main" id="{819259AE-F6A1-DD66-923D-0541FEC4B122}"/>
                </a:ext>
              </a:extLst>
            </p:cNvPr>
            <p:cNvSpPr/>
            <p:nvPr/>
          </p:nvSpPr>
          <p:spPr>
            <a:xfrm>
              <a:off x="3161739" y="4614744"/>
              <a:ext cx="0" cy="47064"/>
            </a:xfrm>
            <a:custGeom>
              <a:avLst/>
              <a:gdLst/>
              <a:ahLst/>
              <a:cxnLst/>
              <a:rect l="0" t="0" r="0" b="0"/>
              <a:pathLst>
                <a:path h="33531">
                  <a:moveTo>
                    <a:pt x="0" y="33531"/>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79" name="pl135">
              <a:extLst>
                <a:ext uri="{FF2B5EF4-FFF2-40B4-BE49-F238E27FC236}">
                  <a16:creationId xmlns:a16="http://schemas.microsoft.com/office/drawing/2014/main" id="{2B010151-3B60-79B5-313C-F267656D3979}"/>
                </a:ext>
              </a:extLst>
            </p:cNvPr>
            <p:cNvSpPr/>
            <p:nvPr/>
          </p:nvSpPr>
          <p:spPr>
            <a:xfrm>
              <a:off x="3388360" y="4564384"/>
              <a:ext cx="0" cy="51947"/>
            </a:xfrm>
            <a:custGeom>
              <a:avLst/>
              <a:gdLst/>
              <a:ahLst/>
              <a:cxnLst/>
              <a:rect l="0" t="0" r="0" b="0"/>
              <a:pathLst>
                <a:path h="37010">
                  <a:moveTo>
                    <a:pt x="0" y="37010"/>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81" name="pl136">
              <a:extLst>
                <a:ext uri="{FF2B5EF4-FFF2-40B4-BE49-F238E27FC236}">
                  <a16:creationId xmlns:a16="http://schemas.microsoft.com/office/drawing/2014/main" id="{AA892048-3C54-14AE-CEC6-9E963D38FD81}"/>
                </a:ext>
              </a:extLst>
            </p:cNvPr>
            <p:cNvSpPr/>
            <p:nvPr/>
          </p:nvSpPr>
          <p:spPr>
            <a:xfrm>
              <a:off x="3614983" y="4532236"/>
              <a:ext cx="0" cy="58831"/>
            </a:xfrm>
            <a:custGeom>
              <a:avLst/>
              <a:gdLst/>
              <a:ahLst/>
              <a:cxnLst/>
              <a:rect l="0" t="0" r="0" b="0"/>
              <a:pathLst>
                <a:path h="41914">
                  <a:moveTo>
                    <a:pt x="0" y="41914"/>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82" name="pl137">
              <a:extLst>
                <a:ext uri="{FF2B5EF4-FFF2-40B4-BE49-F238E27FC236}">
                  <a16:creationId xmlns:a16="http://schemas.microsoft.com/office/drawing/2014/main" id="{910E93BA-8950-9139-993B-9663D9A9D357}"/>
                </a:ext>
              </a:extLst>
            </p:cNvPr>
            <p:cNvSpPr/>
            <p:nvPr/>
          </p:nvSpPr>
          <p:spPr>
            <a:xfrm>
              <a:off x="3841605" y="4474553"/>
              <a:ext cx="0" cy="44761"/>
            </a:xfrm>
            <a:custGeom>
              <a:avLst/>
              <a:gdLst/>
              <a:ahLst/>
              <a:cxnLst/>
              <a:rect l="0" t="0" r="0" b="0"/>
              <a:pathLst>
                <a:path h="31890">
                  <a:moveTo>
                    <a:pt x="0" y="31890"/>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84" name="pl138">
              <a:extLst>
                <a:ext uri="{FF2B5EF4-FFF2-40B4-BE49-F238E27FC236}">
                  <a16:creationId xmlns:a16="http://schemas.microsoft.com/office/drawing/2014/main" id="{AA3E6DDF-F510-76E8-A505-AF69E968D611}"/>
                </a:ext>
              </a:extLst>
            </p:cNvPr>
            <p:cNvSpPr/>
            <p:nvPr/>
          </p:nvSpPr>
          <p:spPr>
            <a:xfrm>
              <a:off x="4068228" y="4431952"/>
              <a:ext cx="0" cy="47949"/>
            </a:xfrm>
            <a:custGeom>
              <a:avLst/>
              <a:gdLst/>
              <a:ahLst/>
              <a:cxnLst/>
              <a:rect l="0" t="0" r="0" b="0"/>
              <a:pathLst>
                <a:path h="34161">
                  <a:moveTo>
                    <a:pt x="0" y="34161"/>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85" name="pl139">
              <a:extLst>
                <a:ext uri="{FF2B5EF4-FFF2-40B4-BE49-F238E27FC236}">
                  <a16:creationId xmlns:a16="http://schemas.microsoft.com/office/drawing/2014/main" id="{9DC98083-14C2-982D-AD5B-D29830014AA1}"/>
                </a:ext>
              </a:extLst>
            </p:cNvPr>
            <p:cNvSpPr/>
            <p:nvPr/>
          </p:nvSpPr>
          <p:spPr>
            <a:xfrm>
              <a:off x="4294849" y="4405340"/>
              <a:ext cx="0" cy="52328"/>
            </a:xfrm>
            <a:custGeom>
              <a:avLst/>
              <a:gdLst/>
              <a:ahLst/>
              <a:cxnLst/>
              <a:rect l="0" t="0" r="0" b="0"/>
              <a:pathLst>
                <a:path h="37281">
                  <a:moveTo>
                    <a:pt x="0" y="37281"/>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86" name="pl140">
              <a:extLst>
                <a:ext uri="{FF2B5EF4-FFF2-40B4-BE49-F238E27FC236}">
                  <a16:creationId xmlns:a16="http://schemas.microsoft.com/office/drawing/2014/main" id="{4DC5E966-90B2-718E-44BF-4B5B0F02CA8B}"/>
                </a:ext>
              </a:extLst>
            </p:cNvPr>
            <p:cNvSpPr/>
            <p:nvPr/>
          </p:nvSpPr>
          <p:spPr>
            <a:xfrm>
              <a:off x="4521471" y="4408943"/>
              <a:ext cx="0" cy="65904"/>
            </a:xfrm>
            <a:custGeom>
              <a:avLst/>
              <a:gdLst/>
              <a:ahLst/>
              <a:cxnLst/>
              <a:rect l="0" t="0" r="0" b="0"/>
              <a:pathLst>
                <a:path h="46953">
                  <a:moveTo>
                    <a:pt x="0" y="46953"/>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87" name="pl141">
              <a:extLst>
                <a:ext uri="{FF2B5EF4-FFF2-40B4-BE49-F238E27FC236}">
                  <a16:creationId xmlns:a16="http://schemas.microsoft.com/office/drawing/2014/main" id="{55FA4370-9CE1-5A0F-1ECA-33448836EA38}"/>
                </a:ext>
              </a:extLst>
            </p:cNvPr>
            <p:cNvSpPr/>
            <p:nvPr/>
          </p:nvSpPr>
          <p:spPr>
            <a:xfrm>
              <a:off x="1666034" y="3450608"/>
              <a:ext cx="0" cy="2021192"/>
            </a:xfrm>
            <a:custGeom>
              <a:avLst/>
              <a:gdLst/>
              <a:ahLst/>
              <a:cxnLst/>
              <a:rect l="0" t="0" r="0" b="0"/>
              <a:pathLst>
                <a:path h="1439999">
                  <a:moveTo>
                    <a:pt x="0" y="1439999"/>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88" name="tx142">
              <a:extLst>
                <a:ext uri="{FF2B5EF4-FFF2-40B4-BE49-F238E27FC236}">
                  <a16:creationId xmlns:a16="http://schemas.microsoft.com/office/drawing/2014/main" id="{61A17824-F811-3E70-F68B-3CC4961E3A26}"/>
                </a:ext>
              </a:extLst>
            </p:cNvPr>
            <p:cNvSpPr/>
            <p:nvPr/>
          </p:nvSpPr>
          <p:spPr>
            <a:xfrm>
              <a:off x="1399981" y="5421747"/>
              <a:ext cx="146898" cy="95489"/>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80</a:t>
              </a:r>
            </a:p>
          </p:txBody>
        </p:sp>
        <p:sp>
          <p:nvSpPr>
            <p:cNvPr id="6089" name="tx143">
              <a:extLst>
                <a:ext uri="{FF2B5EF4-FFF2-40B4-BE49-F238E27FC236}">
                  <a16:creationId xmlns:a16="http://schemas.microsoft.com/office/drawing/2014/main" id="{6DC6AF1D-D5D2-C0F0-EC75-B7A82BB939B3}"/>
                </a:ext>
              </a:extLst>
            </p:cNvPr>
            <p:cNvSpPr/>
            <p:nvPr/>
          </p:nvSpPr>
          <p:spPr>
            <a:xfrm>
              <a:off x="1326532" y="4411150"/>
              <a:ext cx="220346" cy="95489"/>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00</a:t>
              </a:r>
            </a:p>
          </p:txBody>
        </p:sp>
        <p:sp>
          <p:nvSpPr>
            <p:cNvPr id="6090" name="tx144">
              <a:extLst>
                <a:ext uri="{FF2B5EF4-FFF2-40B4-BE49-F238E27FC236}">
                  <a16:creationId xmlns:a16="http://schemas.microsoft.com/office/drawing/2014/main" id="{3CE16ED8-28C5-2D1D-D866-480502FB9749}"/>
                </a:ext>
              </a:extLst>
            </p:cNvPr>
            <p:cNvSpPr/>
            <p:nvPr/>
          </p:nvSpPr>
          <p:spPr>
            <a:xfrm>
              <a:off x="1326532" y="3400554"/>
              <a:ext cx="220346" cy="95489"/>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20</a:t>
              </a:r>
            </a:p>
          </p:txBody>
        </p:sp>
        <p:sp>
          <p:nvSpPr>
            <p:cNvPr id="6091" name="pl145">
              <a:extLst>
                <a:ext uri="{FF2B5EF4-FFF2-40B4-BE49-F238E27FC236}">
                  <a16:creationId xmlns:a16="http://schemas.microsoft.com/office/drawing/2014/main" id="{FF5456C5-AAE4-990E-7385-7B63E4BB2D8E}"/>
                </a:ext>
              </a:extLst>
            </p:cNvPr>
            <p:cNvSpPr/>
            <p:nvPr/>
          </p:nvSpPr>
          <p:spPr>
            <a:xfrm>
              <a:off x="1578420" y="5471801"/>
              <a:ext cx="8761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92" name="pl146">
              <a:extLst>
                <a:ext uri="{FF2B5EF4-FFF2-40B4-BE49-F238E27FC236}">
                  <a16:creationId xmlns:a16="http://schemas.microsoft.com/office/drawing/2014/main" id="{EAE1D115-0773-09C2-C501-E033BE5506F4}"/>
                </a:ext>
              </a:extLst>
            </p:cNvPr>
            <p:cNvSpPr/>
            <p:nvPr/>
          </p:nvSpPr>
          <p:spPr>
            <a:xfrm>
              <a:off x="1578420" y="4461204"/>
              <a:ext cx="8761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93" name="pl147">
              <a:extLst>
                <a:ext uri="{FF2B5EF4-FFF2-40B4-BE49-F238E27FC236}">
                  <a16:creationId xmlns:a16="http://schemas.microsoft.com/office/drawing/2014/main" id="{666015F8-920A-255D-FB1D-1FA83B3BA931}"/>
                </a:ext>
              </a:extLst>
            </p:cNvPr>
            <p:cNvSpPr/>
            <p:nvPr/>
          </p:nvSpPr>
          <p:spPr>
            <a:xfrm>
              <a:off x="1578420" y="3450608"/>
              <a:ext cx="8761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94" name="pl148">
              <a:extLst>
                <a:ext uri="{FF2B5EF4-FFF2-40B4-BE49-F238E27FC236}">
                  <a16:creationId xmlns:a16="http://schemas.microsoft.com/office/drawing/2014/main" id="{B146361A-188A-3A07-F006-540B3E71360C}"/>
                </a:ext>
              </a:extLst>
            </p:cNvPr>
            <p:cNvSpPr/>
            <p:nvPr/>
          </p:nvSpPr>
          <p:spPr>
            <a:xfrm>
              <a:off x="1666034" y="5471801"/>
              <a:ext cx="2991410" cy="0"/>
            </a:xfrm>
            <a:custGeom>
              <a:avLst/>
              <a:gdLst/>
              <a:ahLst/>
              <a:cxnLst/>
              <a:rect l="0" t="0" r="0" b="0"/>
              <a:pathLst>
                <a:path w="2160000">
                  <a:moveTo>
                    <a:pt x="0" y="0"/>
                  </a:moveTo>
                  <a:lnTo>
                    <a:pt x="216000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95" name="pl149">
              <a:extLst>
                <a:ext uri="{FF2B5EF4-FFF2-40B4-BE49-F238E27FC236}">
                  <a16:creationId xmlns:a16="http://schemas.microsoft.com/office/drawing/2014/main" id="{DCFFEAD1-97E9-DF26-60DD-4431EDE88B41}"/>
                </a:ext>
              </a:extLst>
            </p:cNvPr>
            <p:cNvSpPr/>
            <p:nvPr/>
          </p:nvSpPr>
          <p:spPr>
            <a:xfrm>
              <a:off x="1802007" y="5471801"/>
              <a:ext cx="0" cy="88795"/>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96" name="pl150">
              <a:extLst>
                <a:ext uri="{FF2B5EF4-FFF2-40B4-BE49-F238E27FC236}">
                  <a16:creationId xmlns:a16="http://schemas.microsoft.com/office/drawing/2014/main" id="{7C4CE594-58AF-ADD0-215F-457AF5733A46}"/>
                </a:ext>
              </a:extLst>
            </p:cNvPr>
            <p:cNvSpPr/>
            <p:nvPr/>
          </p:nvSpPr>
          <p:spPr>
            <a:xfrm>
              <a:off x="2028629" y="5471801"/>
              <a:ext cx="0" cy="88795"/>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97" name="pl151">
              <a:extLst>
                <a:ext uri="{FF2B5EF4-FFF2-40B4-BE49-F238E27FC236}">
                  <a16:creationId xmlns:a16="http://schemas.microsoft.com/office/drawing/2014/main" id="{1DCF2C85-16C2-1726-82F6-32D0FB6E51E6}"/>
                </a:ext>
              </a:extLst>
            </p:cNvPr>
            <p:cNvSpPr/>
            <p:nvPr/>
          </p:nvSpPr>
          <p:spPr>
            <a:xfrm>
              <a:off x="2255252" y="5471801"/>
              <a:ext cx="0" cy="88795"/>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98" name="pl152">
              <a:extLst>
                <a:ext uri="{FF2B5EF4-FFF2-40B4-BE49-F238E27FC236}">
                  <a16:creationId xmlns:a16="http://schemas.microsoft.com/office/drawing/2014/main" id="{EBC6EE45-C364-8F3B-B6F4-CEB6B0983542}"/>
                </a:ext>
              </a:extLst>
            </p:cNvPr>
            <p:cNvSpPr/>
            <p:nvPr/>
          </p:nvSpPr>
          <p:spPr>
            <a:xfrm>
              <a:off x="2481873" y="5471801"/>
              <a:ext cx="0" cy="88795"/>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099" name="pl153">
              <a:extLst>
                <a:ext uri="{FF2B5EF4-FFF2-40B4-BE49-F238E27FC236}">
                  <a16:creationId xmlns:a16="http://schemas.microsoft.com/office/drawing/2014/main" id="{35C7D337-B0A8-DB85-89BB-6CB7874D4A1B}"/>
                </a:ext>
              </a:extLst>
            </p:cNvPr>
            <p:cNvSpPr/>
            <p:nvPr/>
          </p:nvSpPr>
          <p:spPr>
            <a:xfrm>
              <a:off x="2708495" y="5471801"/>
              <a:ext cx="0" cy="88795"/>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00" name="pl154">
              <a:extLst>
                <a:ext uri="{FF2B5EF4-FFF2-40B4-BE49-F238E27FC236}">
                  <a16:creationId xmlns:a16="http://schemas.microsoft.com/office/drawing/2014/main" id="{727177F7-3DF3-09A8-1C51-CAA641A39803}"/>
                </a:ext>
              </a:extLst>
            </p:cNvPr>
            <p:cNvSpPr/>
            <p:nvPr/>
          </p:nvSpPr>
          <p:spPr>
            <a:xfrm>
              <a:off x="2935117" y="5471801"/>
              <a:ext cx="0" cy="88795"/>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01" name="pl155">
              <a:extLst>
                <a:ext uri="{FF2B5EF4-FFF2-40B4-BE49-F238E27FC236}">
                  <a16:creationId xmlns:a16="http://schemas.microsoft.com/office/drawing/2014/main" id="{4C577044-C67A-2F30-AC08-CAD92AB6C8BD}"/>
                </a:ext>
              </a:extLst>
            </p:cNvPr>
            <p:cNvSpPr/>
            <p:nvPr/>
          </p:nvSpPr>
          <p:spPr>
            <a:xfrm>
              <a:off x="3161739" y="5471801"/>
              <a:ext cx="0" cy="88795"/>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02" name="pl156">
              <a:extLst>
                <a:ext uri="{FF2B5EF4-FFF2-40B4-BE49-F238E27FC236}">
                  <a16:creationId xmlns:a16="http://schemas.microsoft.com/office/drawing/2014/main" id="{1608D2A2-E3E7-95A8-2206-9E7E647ECBA7}"/>
                </a:ext>
              </a:extLst>
            </p:cNvPr>
            <p:cNvSpPr/>
            <p:nvPr/>
          </p:nvSpPr>
          <p:spPr>
            <a:xfrm>
              <a:off x="3388360" y="5471801"/>
              <a:ext cx="0" cy="88795"/>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03" name="pl157">
              <a:extLst>
                <a:ext uri="{FF2B5EF4-FFF2-40B4-BE49-F238E27FC236}">
                  <a16:creationId xmlns:a16="http://schemas.microsoft.com/office/drawing/2014/main" id="{976B69FD-208C-6150-8B59-C617526B81DD}"/>
                </a:ext>
              </a:extLst>
            </p:cNvPr>
            <p:cNvSpPr/>
            <p:nvPr/>
          </p:nvSpPr>
          <p:spPr>
            <a:xfrm>
              <a:off x="3614983" y="5471801"/>
              <a:ext cx="0" cy="88795"/>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04" name="pl158">
              <a:extLst>
                <a:ext uri="{FF2B5EF4-FFF2-40B4-BE49-F238E27FC236}">
                  <a16:creationId xmlns:a16="http://schemas.microsoft.com/office/drawing/2014/main" id="{AB82BD62-1717-19E8-0144-4B8BD6A607B9}"/>
                </a:ext>
              </a:extLst>
            </p:cNvPr>
            <p:cNvSpPr/>
            <p:nvPr/>
          </p:nvSpPr>
          <p:spPr>
            <a:xfrm>
              <a:off x="3841605" y="5471801"/>
              <a:ext cx="0" cy="88795"/>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05" name="pl159">
              <a:extLst>
                <a:ext uri="{FF2B5EF4-FFF2-40B4-BE49-F238E27FC236}">
                  <a16:creationId xmlns:a16="http://schemas.microsoft.com/office/drawing/2014/main" id="{0C831CFF-0B78-DE3D-2675-2220E4F4A491}"/>
                </a:ext>
              </a:extLst>
            </p:cNvPr>
            <p:cNvSpPr/>
            <p:nvPr/>
          </p:nvSpPr>
          <p:spPr>
            <a:xfrm>
              <a:off x="4068228" y="5471801"/>
              <a:ext cx="0" cy="88795"/>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06" name="pl160">
              <a:extLst>
                <a:ext uri="{FF2B5EF4-FFF2-40B4-BE49-F238E27FC236}">
                  <a16:creationId xmlns:a16="http://schemas.microsoft.com/office/drawing/2014/main" id="{9464BD86-E13F-9D22-BFA8-B137F8894E44}"/>
                </a:ext>
              </a:extLst>
            </p:cNvPr>
            <p:cNvSpPr/>
            <p:nvPr/>
          </p:nvSpPr>
          <p:spPr>
            <a:xfrm>
              <a:off x="4294849" y="5471801"/>
              <a:ext cx="0" cy="88795"/>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07" name="pl161">
              <a:extLst>
                <a:ext uri="{FF2B5EF4-FFF2-40B4-BE49-F238E27FC236}">
                  <a16:creationId xmlns:a16="http://schemas.microsoft.com/office/drawing/2014/main" id="{18A5BD4A-1502-0A7C-0E9D-3D5B893ACBE2}"/>
                </a:ext>
              </a:extLst>
            </p:cNvPr>
            <p:cNvSpPr/>
            <p:nvPr/>
          </p:nvSpPr>
          <p:spPr>
            <a:xfrm>
              <a:off x="4521471" y="5471801"/>
              <a:ext cx="0" cy="88795"/>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08" name="tx162">
              <a:extLst>
                <a:ext uri="{FF2B5EF4-FFF2-40B4-BE49-F238E27FC236}">
                  <a16:creationId xmlns:a16="http://schemas.microsoft.com/office/drawing/2014/main" id="{7B0591B3-EAA0-B9CC-A5EE-846B514A4C76}"/>
                </a:ext>
              </a:extLst>
            </p:cNvPr>
            <p:cNvSpPr/>
            <p:nvPr/>
          </p:nvSpPr>
          <p:spPr>
            <a:xfrm>
              <a:off x="1765282" y="5602073"/>
              <a:ext cx="73449" cy="95489"/>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GB"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First</a:t>
              </a:r>
            </a:p>
            <a:p>
              <a:pPr marL="0" marR="0" lvl="0" indent="0" algn="l" defTabSz="914446" rtl="0" eaLnBrk="1" fontAlgn="auto" latinLnBrk="0" hangingPunct="1">
                <a:lnSpc>
                  <a:spcPts val="720"/>
                </a:lnSpc>
                <a:spcBef>
                  <a:spcPts val="0"/>
                </a:spcBef>
                <a:spcAft>
                  <a:spcPts val="0"/>
                </a:spcAft>
                <a:buClrTx/>
                <a:buSzTx/>
                <a:buFontTx/>
                <a:buNone/>
                <a:tabLst/>
                <a:defRPr/>
              </a:pPr>
              <a:r>
                <a:rPr kumimoji="0" lang="en-GB"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dose</a:t>
              </a:r>
              <a:endPar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endParaRPr>
            </a:p>
          </p:txBody>
        </p:sp>
        <p:sp>
          <p:nvSpPr>
            <p:cNvPr id="6109" name="tx163">
              <a:extLst>
                <a:ext uri="{FF2B5EF4-FFF2-40B4-BE49-F238E27FC236}">
                  <a16:creationId xmlns:a16="http://schemas.microsoft.com/office/drawing/2014/main" id="{F48C30D0-47E7-D8B9-2A46-6565C339A03C}"/>
                </a:ext>
              </a:extLst>
            </p:cNvPr>
            <p:cNvSpPr/>
            <p:nvPr/>
          </p:nvSpPr>
          <p:spPr>
            <a:xfrm>
              <a:off x="1991905" y="5592565"/>
              <a:ext cx="73449" cy="90868"/>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a:t>
              </a:r>
            </a:p>
          </p:txBody>
        </p:sp>
        <p:sp>
          <p:nvSpPr>
            <p:cNvPr id="6110" name="tx164">
              <a:extLst>
                <a:ext uri="{FF2B5EF4-FFF2-40B4-BE49-F238E27FC236}">
                  <a16:creationId xmlns:a16="http://schemas.microsoft.com/office/drawing/2014/main" id="{8A250B25-D407-0CC0-E2CF-54807F7B2CC5}"/>
                </a:ext>
              </a:extLst>
            </p:cNvPr>
            <p:cNvSpPr/>
            <p:nvPr/>
          </p:nvSpPr>
          <p:spPr>
            <a:xfrm>
              <a:off x="2218526" y="5590254"/>
              <a:ext cx="73449" cy="93178"/>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2</a:t>
              </a:r>
            </a:p>
          </p:txBody>
        </p:sp>
        <p:sp>
          <p:nvSpPr>
            <p:cNvPr id="6111" name="tx165">
              <a:extLst>
                <a:ext uri="{FF2B5EF4-FFF2-40B4-BE49-F238E27FC236}">
                  <a16:creationId xmlns:a16="http://schemas.microsoft.com/office/drawing/2014/main" id="{F66863F9-9835-20AA-0CAC-6D13272B827C}"/>
                </a:ext>
              </a:extLst>
            </p:cNvPr>
            <p:cNvSpPr/>
            <p:nvPr/>
          </p:nvSpPr>
          <p:spPr>
            <a:xfrm>
              <a:off x="2445148" y="5587944"/>
              <a:ext cx="73449" cy="95489"/>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3</a:t>
              </a:r>
            </a:p>
          </p:txBody>
        </p:sp>
        <p:sp>
          <p:nvSpPr>
            <p:cNvPr id="6112" name="tx166">
              <a:extLst>
                <a:ext uri="{FF2B5EF4-FFF2-40B4-BE49-F238E27FC236}">
                  <a16:creationId xmlns:a16="http://schemas.microsoft.com/office/drawing/2014/main" id="{C79B6ED4-F781-3AF8-78E0-27C92E7865E1}"/>
                </a:ext>
              </a:extLst>
            </p:cNvPr>
            <p:cNvSpPr/>
            <p:nvPr/>
          </p:nvSpPr>
          <p:spPr>
            <a:xfrm>
              <a:off x="2671771" y="5592565"/>
              <a:ext cx="73449" cy="90868"/>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4</a:t>
              </a:r>
            </a:p>
          </p:txBody>
        </p:sp>
        <p:sp>
          <p:nvSpPr>
            <p:cNvPr id="6113" name="tx167">
              <a:extLst>
                <a:ext uri="{FF2B5EF4-FFF2-40B4-BE49-F238E27FC236}">
                  <a16:creationId xmlns:a16="http://schemas.microsoft.com/office/drawing/2014/main" id="{17417A76-3195-02F0-D129-CFD1FFDE2467}"/>
                </a:ext>
              </a:extLst>
            </p:cNvPr>
            <p:cNvSpPr/>
            <p:nvPr/>
          </p:nvSpPr>
          <p:spPr>
            <a:xfrm>
              <a:off x="2898392" y="5590254"/>
              <a:ext cx="73449" cy="93178"/>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5</a:t>
              </a:r>
            </a:p>
          </p:txBody>
        </p:sp>
        <p:sp>
          <p:nvSpPr>
            <p:cNvPr id="6114" name="tx168">
              <a:extLst>
                <a:ext uri="{FF2B5EF4-FFF2-40B4-BE49-F238E27FC236}">
                  <a16:creationId xmlns:a16="http://schemas.microsoft.com/office/drawing/2014/main" id="{BBB95BD9-AFE6-906C-33AB-2A86F2CD1322}"/>
                </a:ext>
              </a:extLst>
            </p:cNvPr>
            <p:cNvSpPr/>
            <p:nvPr/>
          </p:nvSpPr>
          <p:spPr>
            <a:xfrm>
              <a:off x="3125014" y="5590254"/>
              <a:ext cx="73449" cy="93178"/>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6</a:t>
              </a:r>
            </a:p>
          </p:txBody>
        </p:sp>
        <p:sp>
          <p:nvSpPr>
            <p:cNvPr id="6115" name="tx169">
              <a:extLst>
                <a:ext uri="{FF2B5EF4-FFF2-40B4-BE49-F238E27FC236}">
                  <a16:creationId xmlns:a16="http://schemas.microsoft.com/office/drawing/2014/main" id="{F06489EC-2715-E8A1-B20D-4C9204E423E1}"/>
                </a:ext>
              </a:extLst>
            </p:cNvPr>
            <p:cNvSpPr/>
            <p:nvPr/>
          </p:nvSpPr>
          <p:spPr>
            <a:xfrm>
              <a:off x="3351637" y="5592565"/>
              <a:ext cx="73449" cy="90868"/>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7</a:t>
              </a:r>
            </a:p>
          </p:txBody>
        </p:sp>
        <p:sp>
          <p:nvSpPr>
            <p:cNvPr id="6116" name="tx170">
              <a:extLst>
                <a:ext uri="{FF2B5EF4-FFF2-40B4-BE49-F238E27FC236}">
                  <a16:creationId xmlns:a16="http://schemas.microsoft.com/office/drawing/2014/main" id="{F18BD822-C0A2-217D-FF92-911A2CE2EAB8}"/>
                </a:ext>
              </a:extLst>
            </p:cNvPr>
            <p:cNvSpPr/>
            <p:nvPr/>
          </p:nvSpPr>
          <p:spPr>
            <a:xfrm>
              <a:off x="3578258" y="5587944"/>
              <a:ext cx="73449" cy="95489"/>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8</a:t>
              </a:r>
            </a:p>
          </p:txBody>
        </p:sp>
        <p:sp>
          <p:nvSpPr>
            <p:cNvPr id="6117" name="tx171">
              <a:extLst>
                <a:ext uri="{FF2B5EF4-FFF2-40B4-BE49-F238E27FC236}">
                  <a16:creationId xmlns:a16="http://schemas.microsoft.com/office/drawing/2014/main" id="{B321BE23-AF17-BC0C-F318-74E366C46117}"/>
                </a:ext>
              </a:extLst>
            </p:cNvPr>
            <p:cNvSpPr/>
            <p:nvPr/>
          </p:nvSpPr>
          <p:spPr>
            <a:xfrm>
              <a:off x="3804881" y="5590254"/>
              <a:ext cx="73449" cy="93178"/>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9</a:t>
              </a:r>
            </a:p>
          </p:txBody>
        </p:sp>
        <p:sp>
          <p:nvSpPr>
            <p:cNvPr id="6118" name="tx172">
              <a:extLst>
                <a:ext uri="{FF2B5EF4-FFF2-40B4-BE49-F238E27FC236}">
                  <a16:creationId xmlns:a16="http://schemas.microsoft.com/office/drawing/2014/main" id="{5CEAECF0-AAA4-D834-A125-1CAC1E2AFF2D}"/>
                </a:ext>
              </a:extLst>
            </p:cNvPr>
            <p:cNvSpPr/>
            <p:nvPr/>
          </p:nvSpPr>
          <p:spPr>
            <a:xfrm>
              <a:off x="3994777" y="5587944"/>
              <a:ext cx="146898" cy="95489"/>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0</a:t>
              </a:r>
            </a:p>
          </p:txBody>
        </p:sp>
        <p:sp>
          <p:nvSpPr>
            <p:cNvPr id="6119" name="tx173">
              <a:extLst>
                <a:ext uri="{FF2B5EF4-FFF2-40B4-BE49-F238E27FC236}">
                  <a16:creationId xmlns:a16="http://schemas.microsoft.com/office/drawing/2014/main" id="{102200CE-DC53-63C9-667A-888E59D34370}"/>
                </a:ext>
              </a:extLst>
            </p:cNvPr>
            <p:cNvSpPr/>
            <p:nvPr/>
          </p:nvSpPr>
          <p:spPr>
            <a:xfrm>
              <a:off x="4221400" y="5592565"/>
              <a:ext cx="146898" cy="90868"/>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1</a:t>
              </a:r>
            </a:p>
          </p:txBody>
        </p:sp>
        <p:sp>
          <p:nvSpPr>
            <p:cNvPr id="6120" name="tx174">
              <a:extLst>
                <a:ext uri="{FF2B5EF4-FFF2-40B4-BE49-F238E27FC236}">
                  <a16:creationId xmlns:a16="http://schemas.microsoft.com/office/drawing/2014/main" id="{0744FFAB-9D27-CDF3-873E-9C08271D0295}"/>
                </a:ext>
              </a:extLst>
            </p:cNvPr>
            <p:cNvSpPr/>
            <p:nvPr/>
          </p:nvSpPr>
          <p:spPr>
            <a:xfrm>
              <a:off x="4448022" y="5590254"/>
              <a:ext cx="146898" cy="93178"/>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2</a:t>
              </a:r>
            </a:p>
          </p:txBody>
        </p:sp>
        <p:sp>
          <p:nvSpPr>
            <p:cNvPr id="6121" name="tx175">
              <a:extLst>
                <a:ext uri="{FF2B5EF4-FFF2-40B4-BE49-F238E27FC236}">
                  <a16:creationId xmlns:a16="http://schemas.microsoft.com/office/drawing/2014/main" id="{0CB2A00C-2583-D28C-6797-FA817FC97160}"/>
                </a:ext>
              </a:extLst>
            </p:cNvPr>
            <p:cNvSpPr/>
            <p:nvPr/>
          </p:nvSpPr>
          <p:spPr>
            <a:xfrm>
              <a:off x="2735291" y="5705447"/>
              <a:ext cx="852895" cy="159789"/>
            </a:xfrm>
            <a:prstGeom prst="rect">
              <a:avLst/>
            </a:prstGeom>
            <a:noFill/>
          </p:spPr>
          <p:txBody>
            <a:bodyPr wrap="none" lIns="0" tIns="0" rIns="0" bIns="0" anchor="ctr" anchorCtr="1"/>
            <a:lstStyle/>
            <a:p>
              <a:pPr marL="0" marR="0" lvl="0" indent="0" algn="l" defTabSz="914446" rtl="0" eaLnBrk="1" fontAlgn="auto" latinLnBrk="0" hangingPunct="1">
                <a:lnSpc>
                  <a:spcPts val="900"/>
                </a:lnSpc>
                <a:spcBef>
                  <a:spcPts val="0"/>
                </a:spcBef>
                <a:spcAft>
                  <a:spcPts val="0"/>
                </a:spcAft>
                <a:buClrTx/>
                <a:buSzTx/>
                <a:buFontTx/>
                <a:buNone/>
                <a:tabLst/>
                <a:defRPr/>
              </a:pPr>
              <a:r>
                <a:rPr kumimoji="0" sz="900" b="1" i="0" u="none" strike="noStrike" kern="1200" cap="none" spc="0" normalizeH="0" baseline="0" noProof="0">
                  <a:ln>
                    <a:noFill/>
                  </a:ln>
                  <a:solidFill>
                    <a:srgbClr val="001965">
                      <a:alpha val="100000"/>
                    </a:srgbClr>
                  </a:solidFill>
                  <a:effectLst/>
                  <a:uLnTx/>
                  <a:uFillTx/>
                  <a:latin typeface="Avenir Next LT Pro Demi" panose="020B0704020202020204" pitchFamily="34" charset="0"/>
                  <a:ea typeface="+mn-ea"/>
                  <a:cs typeface="Avenir Next LT Pro"/>
                </a:rPr>
                <a:t>Study week</a:t>
              </a:r>
            </a:p>
          </p:txBody>
        </p:sp>
        <p:sp>
          <p:nvSpPr>
            <p:cNvPr id="6122" name="tx176">
              <a:extLst>
                <a:ext uri="{FF2B5EF4-FFF2-40B4-BE49-F238E27FC236}">
                  <a16:creationId xmlns:a16="http://schemas.microsoft.com/office/drawing/2014/main" id="{92E7534F-B9CD-C191-FA87-5E9EA3C122F2}"/>
                </a:ext>
              </a:extLst>
            </p:cNvPr>
            <p:cNvSpPr/>
            <p:nvPr/>
          </p:nvSpPr>
          <p:spPr>
            <a:xfrm rot="16200000">
              <a:off x="629032" y="4382374"/>
              <a:ext cx="1234685" cy="157661"/>
            </a:xfrm>
            <a:prstGeom prst="rect">
              <a:avLst/>
            </a:prstGeom>
            <a:noFill/>
          </p:spPr>
          <p:txBody>
            <a:bodyPr wrap="none" lIns="0" tIns="0" rIns="0" bIns="0" anchor="ctr" anchorCtr="1"/>
            <a:lstStyle/>
            <a:p>
              <a:pPr marL="0" marR="0" lvl="0" indent="0" algn="l" defTabSz="914446" rtl="0" eaLnBrk="1" fontAlgn="auto" latinLnBrk="0" hangingPunct="1">
                <a:lnSpc>
                  <a:spcPts val="900"/>
                </a:lnSpc>
                <a:spcBef>
                  <a:spcPts val="0"/>
                </a:spcBef>
                <a:spcAft>
                  <a:spcPts val="0"/>
                </a:spcAft>
                <a:buClrTx/>
                <a:buSzTx/>
                <a:buFontTx/>
                <a:buNone/>
                <a:tabLst/>
                <a:defRPr/>
              </a:pPr>
              <a:r>
                <a:rPr kumimoji="0" sz="900" b="1" i="0" u="none" strike="noStrike" kern="1200" cap="none" spc="0" normalizeH="0" baseline="0" noProof="0">
                  <a:ln>
                    <a:noFill/>
                  </a:ln>
                  <a:solidFill>
                    <a:srgbClr val="001965">
                      <a:alpha val="100000"/>
                    </a:srgbClr>
                  </a:solidFill>
                  <a:effectLst/>
                  <a:uLnTx/>
                  <a:uFillTx/>
                  <a:latin typeface="Avenir Next LT Pro Demi" panose="020B0704020202020204" pitchFamily="34" charset="0"/>
                  <a:ea typeface="+mn-ea"/>
                  <a:cs typeface="Avenir Next LT Pro"/>
                </a:rPr>
                <a:t>Body weight (%)</a:t>
              </a:r>
            </a:p>
          </p:txBody>
        </p:sp>
        <p:sp>
          <p:nvSpPr>
            <p:cNvPr id="6123" name="tx143">
              <a:extLst>
                <a:ext uri="{FF2B5EF4-FFF2-40B4-BE49-F238E27FC236}">
                  <a16:creationId xmlns:a16="http://schemas.microsoft.com/office/drawing/2014/main" id="{59CB06DA-7B05-6AB5-BDAD-5270500F62B0}"/>
                </a:ext>
              </a:extLst>
            </p:cNvPr>
            <p:cNvSpPr/>
            <p:nvPr/>
          </p:nvSpPr>
          <p:spPr>
            <a:xfrm>
              <a:off x="1321770" y="3905852"/>
              <a:ext cx="220346" cy="95489"/>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a:t>
              </a:r>
              <a:r>
                <a:rPr kumimoji="0" lang="en-GB"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a:t>
              </a: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0</a:t>
              </a:r>
            </a:p>
          </p:txBody>
        </p:sp>
        <p:sp>
          <p:nvSpPr>
            <p:cNvPr id="6124" name="pl146">
              <a:extLst>
                <a:ext uri="{FF2B5EF4-FFF2-40B4-BE49-F238E27FC236}">
                  <a16:creationId xmlns:a16="http://schemas.microsoft.com/office/drawing/2014/main" id="{3978B740-4014-DFE4-83C5-122B0F7F823B}"/>
                </a:ext>
              </a:extLst>
            </p:cNvPr>
            <p:cNvSpPr/>
            <p:nvPr/>
          </p:nvSpPr>
          <p:spPr>
            <a:xfrm>
              <a:off x="1573658" y="3955906"/>
              <a:ext cx="8761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25" name="tx143">
              <a:extLst>
                <a:ext uri="{FF2B5EF4-FFF2-40B4-BE49-F238E27FC236}">
                  <a16:creationId xmlns:a16="http://schemas.microsoft.com/office/drawing/2014/main" id="{2D7DBA61-171E-A237-535E-539CF1213160}"/>
                </a:ext>
              </a:extLst>
            </p:cNvPr>
            <p:cNvSpPr/>
            <p:nvPr/>
          </p:nvSpPr>
          <p:spPr>
            <a:xfrm>
              <a:off x="1321770" y="4916448"/>
              <a:ext cx="220346" cy="95489"/>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GB"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9</a:t>
              </a: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0</a:t>
              </a:r>
            </a:p>
          </p:txBody>
        </p:sp>
        <p:sp>
          <p:nvSpPr>
            <p:cNvPr id="6126" name="pl146">
              <a:extLst>
                <a:ext uri="{FF2B5EF4-FFF2-40B4-BE49-F238E27FC236}">
                  <a16:creationId xmlns:a16="http://schemas.microsoft.com/office/drawing/2014/main" id="{12118283-176B-5061-48C9-8395DDA5A03A}"/>
                </a:ext>
              </a:extLst>
            </p:cNvPr>
            <p:cNvSpPr/>
            <p:nvPr/>
          </p:nvSpPr>
          <p:spPr>
            <a:xfrm>
              <a:off x="1573658" y="4966502"/>
              <a:ext cx="8761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grpSp>
      <p:grpSp>
        <p:nvGrpSpPr>
          <p:cNvPr id="9607" name="Group 9606">
            <a:extLst>
              <a:ext uri="{FF2B5EF4-FFF2-40B4-BE49-F238E27FC236}">
                <a16:creationId xmlns:a16="http://schemas.microsoft.com/office/drawing/2014/main" id="{9D881D9C-3FC4-52C2-06B0-16642BE0C839}"/>
              </a:ext>
            </a:extLst>
          </p:cNvPr>
          <p:cNvGrpSpPr/>
          <p:nvPr/>
        </p:nvGrpSpPr>
        <p:grpSpPr>
          <a:xfrm>
            <a:off x="8148434" y="3089949"/>
            <a:ext cx="3631735" cy="2536650"/>
            <a:chOff x="538413" y="2570229"/>
            <a:chExt cx="3631735" cy="2536650"/>
          </a:xfrm>
        </p:grpSpPr>
        <p:sp>
          <p:nvSpPr>
            <p:cNvPr id="9608" name="rc5">
              <a:extLst>
                <a:ext uri="{FF2B5EF4-FFF2-40B4-BE49-F238E27FC236}">
                  <a16:creationId xmlns:a16="http://schemas.microsoft.com/office/drawing/2014/main" id="{57BE0105-30B6-6880-CA2B-F63CDA0756CA}"/>
                </a:ext>
              </a:extLst>
            </p:cNvPr>
            <p:cNvSpPr/>
            <p:nvPr/>
          </p:nvSpPr>
          <p:spPr>
            <a:xfrm>
              <a:off x="930149" y="2605890"/>
              <a:ext cx="3239999" cy="2160000"/>
            </a:xfrm>
            <a:prstGeom prst="rect">
              <a:avLst/>
            </a:prstGeom>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609" name="pt6">
              <a:extLst>
                <a:ext uri="{FF2B5EF4-FFF2-40B4-BE49-F238E27FC236}">
                  <a16:creationId xmlns:a16="http://schemas.microsoft.com/office/drawing/2014/main" id="{3566F4F3-D0B5-59D4-07C5-4C15C77807DF}"/>
                </a:ext>
              </a:extLst>
            </p:cNvPr>
            <p:cNvSpPr/>
            <p:nvPr/>
          </p:nvSpPr>
          <p:spPr>
            <a:xfrm>
              <a:off x="1059371" y="3204982"/>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610" name="pt7">
              <a:extLst>
                <a:ext uri="{FF2B5EF4-FFF2-40B4-BE49-F238E27FC236}">
                  <a16:creationId xmlns:a16="http://schemas.microsoft.com/office/drawing/2014/main" id="{F0113ADA-D54C-13C7-EE90-2831F74E1CFE}"/>
                </a:ext>
              </a:extLst>
            </p:cNvPr>
            <p:cNvSpPr/>
            <p:nvPr/>
          </p:nvSpPr>
          <p:spPr>
            <a:xfrm>
              <a:off x="1285944" y="3202979"/>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611" name="pt8">
              <a:extLst>
                <a:ext uri="{FF2B5EF4-FFF2-40B4-BE49-F238E27FC236}">
                  <a16:creationId xmlns:a16="http://schemas.microsoft.com/office/drawing/2014/main" id="{788C23DC-13F3-F29A-D909-ED7BEE7A46F8}"/>
                </a:ext>
              </a:extLst>
            </p:cNvPr>
            <p:cNvSpPr/>
            <p:nvPr/>
          </p:nvSpPr>
          <p:spPr>
            <a:xfrm>
              <a:off x="1512518" y="3165969"/>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612" name="pt9">
              <a:extLst>
                <a:ext uri="{FF2B5EF4-FFF2-40B4-BE49-F238E27FC236}">
                  <a16:creationId xmlns:a16="http://schemas.microsoft.com/office/drawing/2014/main" id="{13D2F3CB-D4DD-D668-42FC-8BDF5EDF6DC7}"/>
                </a:ext>
              </a:extLst>
            </p:cNvPr>
            <p:cNvSpPr/>
            <p:nvPr/>
          </p:nvSpPr>
          <p:spPr>
            <a:xfrm>
              <a:off x="1739091" y="3109530"/>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613" name="pt10">
              <a:extLst>
                <a:ext uri="{FF2B5EF4-FFF2-40B4-BE49-F238E27FC236}">
                  <a16:creationId xmlns:a16="http://schemas.microsoft.com/office/drawing/2014/main" id="{1860E28C-7F6E-CC58-223B-53DE5CD61882}"/>
                </a:ext>
              </a:extLst>
            </p:cNvPr>
            <p:cNvSpPr/>
            <p:nvPr/>
          </p:nvSpPr>
          <p:spPr>
            <a:xfrm>
              <a:off x="1965665" y="3112506"/>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614" name="pt11">
              <a:extLst>
                <a:ext uri="{FF2B5EF4-FFF2-40B4-BE49-F238E27FC236}">
                  <a16:creationId xmlns:a16="http://schemas.microsoft.com/office/drawing/2014/main" id="{D013C011-69F8-A5DF-E646-7239F65B7C75}"/>
                </a:ext>
              </a:extLst>
            </p:cNvPr>
            <p:cNvSpPr/>
            <p:nvPr/>
          </p:nvSpPr>
          <p:spPr>
            <a:xfrm>
              <a:off x="2418812" y="3045424"/>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615" name="pt12">
              <a:extLst>
                <a:ext uri="{FF2B5EF4-FFF2-40B4-BE49-F238E27FC236}">
                  <a16:creationId xmlns:a16="http://schemas.microsoft.com/office/drawing/2014/main" id="{98F3F87C-720F-FFA0-A652-F6C8A2DDBA49}"/>
                </a:ext>
              </a:extLst>
            </p:cNvPr>
            <p:cNvSpPr/>
            <p:nvPr/>
          </p:nvSpPr>
          <p:spPr>
            <a:xfrm>
              <a:off x="2871958" y="2886586"/>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616" name="pt13">
              <a:extLst>
                <a:ext uri="{FF2B5EF4-FFF2-40B4-BE49-F238E27FC236}">
                  <a16:creationId xmlns:a16="http://schemas.microsoft.com/office/drawing/2014/main" id="{0FAD3E35-7885-F76B-AA96-58B3CB3994CF}"/>
                </a:ext>
              </a:extLst>
            </p:cNvPr>
            <p:cNvSpPr/>
            <p:nvPr/>
          </p:nvSpPr>
          <p:spPr>
            <a:xfrm>
              <a:off x="3325105" y="2801571"/>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617" name="pt14">
              <a:extLst>
                <a:ext uri="{FF2B5EF4-FFF2-40B4-BE49-F238E27FC236}">
                  <a16:creationId xmlns:a16="http://schemas.microsoft.com/office/drawing/2014/main" id="{75A814A7-E9FF-E581-3CE6-3ED7D9279257}"/>
                </a:ext>
              </a:extLst>
            </p:cNvPr>
            <p:cNvSpPr/>
            <p:nvPr/>
          </p:nvSpPr>
          <p:spPr>
            <a:xfrm>
              <a:off x="3778252" y="2788578"/>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618" name="pt15">
              <a:extLst>
                <a:ext uri="{FF2B5EF4-FFF2-40B4-BE49-F238E27FC236}">
                  <a16:creationId xmlns:a16="http://schemas.microsoft.com/office/drawing/2014/main" id="{C277E451-B306-6EAD-A9DD-FB5274C480DD}"/>
                </a:ext>
              </a:extLst>
            </p:cNvPr>
            <p:cNvSpPr/>
            <p:nvPr/>
          </p:nvSpPr>
          <p:spPr>
            <a:xfrm>
              <a:off x="1059371" y="3204982"/>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619" name="pt16">
              <a:extLst>
                <a:ext uri="{FF2B5EF4-FFF2-40B4-BE49-F238E27FC236}">
                  <a16:creationId xmlns:a16="http://schemas.microsoft.com/office/drawing/2014/main" id="{5A312FCB-5DA3-70C8-FC6F-33783C9E0D6E}"/>
                </a:ext>
              </a:extLst>
            </p:cNvPr>
            <p:cNvSpPr/>
            <p:nvPr/>
          </p:nvSpPr>
          <p:spPr>
            <a:xfrm>
              <a:off x="1285944" y="3676308"/>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620" name="pt17">
              <a:extLst>
                <a:ext uri="{FF2B5EF4-FFF2-40B4-BE49-F238E27FC236}">
                  <a16:creationId xmlns:a16="http://schemas.microsoft.com/office/drawing/2014/main" id="{AE784A48-93F5-2839-9616-69A3E8F0E9DB}"/>
                </a:ext>
              </a:extLst>
            </p:cNvPr>
            <p:cNvSpPr/>
            <p:nvPr/>
          </p:nvSpPr>
          <p:spPr>
            <a:xfrm>
              <a:off x="1512518" y="3862557"/>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621" name="pt18">
              <a:extLst>
                <a:ext uri="{FF2B5EF4-FFF2-40B4-BE49-F238E27FC236}">
                  <a16:creationId xmlns:a16="http://schemas.microsoft.com/office/drawing/2014/main" id="{4F7EBCAC-3736-ABBF-0EEC-33F104CD6B1F}"/>
                </a:ext>
              </a:extLst>
            </p:cNvPr>
            <p:cNvSpPr/>
            <p:nvPr/>
          </p:nvSpPr>
          <p:spPr>
            <a:xfrm>
              <a:off x="1739091" y="3921363"/>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622" name="pt19">
              <a:extLst>
                <a:ext uri="{FF2B5EF4-FFF2-40B4-BE49-F238E27FC236}">
                  <a16:creationId xmlns:a16="http://schemas.microsoft.com/office/drawing/2014/main" id="{D091131D-9270-841E-894D-7B8C0FCC192D}"/>
                </a:ext>
              </a:extLst>
            </p:cNvPr>
            <p:cNvSpPr/>
            <p:nvPr/>
          </p:nvSpPr>
          <p:spPr>
            <a:xfrm>
              <a:off x="1965665" y="3981268"/>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623" name="pt20">
              <a:extLst>
                <a:ext uri="{FF2B5EF4-FFF2-40B4-BE49-F238E27FC236}">
                  <a16:creationId xmlns:a16="http://schemas.microsoft.com/office/drawing/2014/main" id="{A393988C-7B9D-C6DD-47D9-153430888B9B}"/>
                </a:ext>
              </a:extLst>
            </p:cNvPr>
            <p:cNvSpPr/>
            <p:nvPr/>
          </p:nvSpPr>
          <p:spPr>
            <a:xfrm>
              <a:off x="2418812" y="4019433"/>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778" name="pt21">
              <a:extLst>
                <a:ext uri="{FF2B5EF4-FFF2-40B4-BE49-F238E27FC236}">
                  <a16:creationId xmlns:a16="http://schemas.microsoft.com/office/drawing/2014/main" id="{D850916E-B4CF-F920-67B0-275A751D74E1}"/>
                </a:ext>
              </a:extLst>
            </p:cNvPr>
            <p:cNvSpPr/>
            <p:nvPr/>
          </p:nvSpPr>
          <p:spPr>
            <a:xfrm>
              <a:off x="2871958" y="3903778"/>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779" name="pt22">
              <a:extLst>
                <a:ext uri="{FF2B5EF4-FFF2-40B4-BE49-F238E27FC236}">
                  <a16:creationId xmlns:a16="http://schemas.microsoft.com/office/drawing/2014/main" id="{94E647F1-C20E-4B14-D5AD-AF21F33EB8C5}"/>
                </a:ext>
              </a:extLst>
            </p:cNvPr>
            <p:cNvSpPr/>
            <p:nvPr/>
          </p:nvSpPr>
          <p:spPr>
            <a:xfrm>
              <a:off x="3325105" y="3857562"/>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780" name="pt23">
              <a:extLst>
                <a:ext uri="{FF2B5EF4-FFF2-40B4-BE49-F238E27FC236}">
                  <a16:creationId xmlns:a16="http://schemas.microsoft.com/office/drawing/2014/main" id="{1E072D31-63D0-B298-5C0C-8BDFAFA91283}"/>
                </a:ext>
              </a:extLst>
            </p:cNvPr>
            <p:cNvSpPr/>
            <p:nvPr/>
          </p:nvSpPr>
          <p:spPr>
            <a:xfrm>
              <a:off x="3778252" y="3815115"/>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781" name="pl24">
              <a:extLst>
                <a:ext uri="{FF2B5EF4-FFF2-40B4-BE49-F238E27FC236}">
                  <a16:creationId xmlns:a16="http://schemas.microsoft.com/office/drawing/2014/main" id="{4AF589FE-0BB1-B609-017A-C2CA61A254CE}"/>
                </a:ext>
              </a:extLst>
            </p:cNvPr>
            <p:cNvSpPr/>
            <p:nvPr/>
          </p:nvSpPr>
          <p:spPr>
            <a:xfrm>
              <a:off x="1077422" y="2806629"/>
              <a:ext cx="2718881" cy="416403"/>
            </a:xfrm>
            <a:custGeom>
              <a:avLst/>
              <a:gdLst/>
              <a:ahLst/>
              <a:cxnLst/>
              <a:rect l="0" t="0" r="0" b="0"/>
              <a:pathLst>
                <a:path w="2718881" h="416403">
                  <a:moveTo>
                    <a:pt x="0" y="416403"/>
                  </a:moveTo>
                  <a:lnTo>
                    <a:pt x="226573" y="414400"/>
                  </a:lnTo>
                  <a:lnTo>
                    <a:pt x="453146" y="377390"/>
                  </a:lnTo>
                  <a:lnTo>
                    <a:pt x="679720" y="320951"/>
                  </a:lnTo>
                  <a:lnTo>
                    <a:pt x="906293" y="323927"/>
                  </a:lnTo>
                  <a:lnTo>
                    <a:pt x="1359440" y="256845"/>
                  </a:lnTo>
                  <a:lnTo>
                    <a:pt x="1812587" y="98007"/>
                  </a:lnTo>
                  <a:lnTo>
                    <a:pt x="2265734" y="12992"/>
                  </a:lnTo>
                  <a:lnTo>
                    <a:pt x="2718881"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782" name="pl25">
              <a:extLst>
                <a:ext uri="{FF2B5EF4-FFF2-40B4-BE49-F238E27FC236}">
                  <a16:creationId xmlns:a16="http://schemas.microsoft.com/office/drawing/2014/main" id="{F1D878B1-840B-B95C-65A1-39B74C958D9E}"/>
                </a:ext>
              </a:extLst>
            </p:cNvPr>
            <p:cNvSpPr/>
            <p:nvPr/>
          </p:nvSpPr>
          <p:spPr>
            <a:xfrm>
              <a:off x="1077422" y="3223033"/>
              <a:ext cx="2718881" cy="814450"/>
            </a:xfrm>
            <a:custGeom>
              <a:avLst/>
              <a:gdLst/>
              <a:ahLst/>
              <a:cxnLst/>
              <a:rect l="0" t="0" r="0" b="0"/>
              <a:pathLst>
                <a:path w="2718881" h="814450">
                  <a:moveTo>
                    <a:pt x="0" y="0"/>
                  </a:moveTo>
                  <a:lnTo>
                    <a:pt x="226573" y="471325"/>
                  </a:lnTo>
                  <a:lnTo>
                    <a:pt x="453146" y="657574"/>
                  </a:lnTo>
                  <a:lnTo>
                    <a:pt x="679720" y="716380"/>
                  </a:lnTo>
                  <a:lnTo>
                    <a:pt x="906293" y="776285"/>
                  </a:lnTo>
                  <a:lnTo>
                    <a:pt x="1359440" y="814450"/>
                  </a:lnTo>
                  <a:lnTo>
                    <a:pt x="1812587" y="698795"/>
                  </a:lnTo>
                  <a:lnTo>
                    <a:pt x="2265734" y="652579"/>
                  </a:lnTo>
                  <a:lnTo>
                    <a:pt x="2718881" y="610132"/>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783" name="pl26">
              <a:extLst>
                <a:ext uri="{FF2B5EF4-FFF2-40B4-BE49-F238E27FC236}">
                  <a16:creationId xmlns:a16="http://schemas.microsoft.com/office/drawing/2014/main" id="{2D481A87-CDCD-C55A-9ABE-088233CC1C3B}"/>
                </a:ext>
              </a:extLst>
            </p:cNvPr>
            <p:cNvSpPr/>
            <p:nvPr/>
          </p:nvSpPr>
          <p:spPr>
            <a:xfrm>
              <a:off x="1077422" y="3223033"/>
              <a:ext cx="0" cy="0"/>
            </a:xfrm>
            <a:custGeom>
              <a:avLst/>
              <a:gdLst/>
              <a:ahLst/>
              <a:cxnLst/>
              <a:rect l="0" t="0" r="0" b="0"/>
              <a:pathLst>
                <a:path>
                  <a:moveTo>
                    <a:pt x="0" y="0"/>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784" name="pl27">
              <a:extLst>
                <a:ext uri="{FF2B5EF4-FFF2-40B4-BE49-F238E27FC236}">
                  <a16:creationId xmlns:a16="http://schemas.microsoft.com/office/drawing/2014/main" id="{429D0E5E-99D3-6009-CCA3-DC32B81E4682}"/>
                </a:ext>
              </a:extLst>
            </p:cNvPr>
            <p:cNvSpPr/>
            <p:nvPr/>
          </p:nvSpPr>
          <p:spPr>
            <a:xfrm>
              <a:off x="1303995" y="3156575"/>
              <a:ext cx="0" cy="64454"/>
            </a:xfrm>
            <a:custGeom>
              <a:avLst/>
              <a:gdLst/>
              <a:ahLst/>
              <a:cxnLst/>
              <a:rect l="0" t="0" r="0" b="0"/>
              <a:pathLst>
                <a:path h="64454">
                  <a:moveTo>
                    <a:pt x="0" y="64454"/>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785" name="pl28">
              <a:extLst>
                <a:ext uri="{FF2B5EF4-FFF2-40B4-BE49-F238E27FC236}">
                  <a16:creationId xmlns:a16="http://schemas.microsoft.com/office/drawing/2014/main" id="{56471305-ABAD-90DA-C6A5-564E866B4970}"/>
                </a:ext>
              </a:extLst>
            </p:cNvPr>
            <p:cNvSpPr/>
            <p:nvPr/>
          </p:nvSpPr>
          <p:spPr>
            <a:xfrm>
              <a:off x="1530568" y="3116611"/>
              <a:ext cx="0" cy="67409"/>
            </a:xfrm>
            <a:custGeom>
              <a:avLst/>
              <a:gdLst/>
              <a:ahLst/>
              <a:cxnLst/>
              <a:rect l="0" t="0" r="0" b="0"/>
              <a:pathLst>
                <a:path h="67409">
                  <a:moveTo>
                    <a:pt x="0" y="67409"/>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786" name="pl29">
              <a:extLst>
                <a:ext uri="{FF2B5EF4-FFF2-40B4-BE49-F238E27FC236}">
                  <a16:creationId xmlns:a16="http://schemas.microsoft.com/office/drawing/2014/main" id="{30BED254-F45E-D612-1A07-15A567E7B208}"/>
                </a:ext>
              </a:extLst>
            </p:cNvPr>
            <p:cNvSpPr/>
            <p:nvPr/>
          </p:nvSpPr>
          <p:spPr>
            <a:xfrm>
              <a:off x="1757142" y="3051057"/>
              <a:ext cx="0" cy="76523"/>
            </a:xfrm>
            <a:custGeom>
              <a:avLst/>
              <a:gdLst/>
              <a:ahLst/>
              <a:cxnLst/>
              <a:rect l="0" t="0" r="0" b="0"/>
              <a:pathLst>
                <a:path h="76523">
                  <a:moveTo>
                    <a:pt x="0" y="76523"/>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787" name="pl30">
              <a:extLst>
                <a:ext uri="{FF2B5EF4-FFF2-40B4-BE49-F238E27FC236}">
                  <a16:creationId xmlns:a16="http://schemas.microsoft.com/office/drawing/2014/main" id="{B1F69BFE-F779-B98B-DF47-961DDC152652}"/>
                </a:ext>
              </a:extLst>
            </p:cNvPr>
            <p:cNvSpPr/>
            <p:nvPr/>
          </p:nvSpPr>
          <p:spPr>
            <a:xfrm>
              <a:off x="1983715" y="3043640"/>
              <a:ext cx="0" cy="86916"/>
            </a:xfrm>
            <a:custGeom>
              <a:avLst/>
              <a:gdLst/>
              <a:ahLst/>
              <a:cxnLst/>
              <a:rect l="0" t="0" r="0" b="0"/>
              <a:pathLst>
                <a:path h="86916">
                  <a:moveTo>
                    <a:pt x="0" y="86916"/>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788" name="pl31">
              <a:extLst>
                <a:ext uri="{FF2B5EF4-FFF2-40B4-BE49-F238E27FC236}">
                  <a16:creationId xmlns:a16="http://schemas.microsoft.com/office/drawing/2014/main" id="{485B22AE-BDD0-61AA-0999-24728C8CD2C6}"/>
                </a:ext>
              </a:extLst>
            </p:cNvPr>
            <p:cNvSpPr/>
            <p:nvPr/>
          </p:nvSpPr>
          <p:spPr>
            <a:xfrm>
              <a:off x="2436862" y="2939774"/>
              <a:ext cx="0" cy="123700"/>
            </a:xfrm>
            <a:custGeom>
              <a:avLst/>
              <a:gdLst/>
              <a:ahLst/>
              <a:cxnLst/>
              <a:rect l="0" t="0" r="0" b="0"/>
              <a:pathLst>
                <a:path h="123700">
                  <a:moveTo>
                    <a:pt x="0" y="123700"/>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789" name="pl32">
              <a:extLst>
                <a:ext uri="{FF2B5EF4-FFF2-40B4-BE49-F238E27FC236}">
                  <a16:creationId xmlns:a16="http://schemas.microsoft.com/office/drawing/2014/main" id="{F1F02190-45BF-4D81-20B7-CBEB3E28D1D3}"/>
                </a:ext>
              </a:extLst>
            </p:cNvPr>
            <p:cNvSpPr/>
            <p:nvPr/>
          </p:nvSpPr>
          <p:spPr>
            <a:xfrm>
              <a:off x="2890009" y="2754654"/>
              <a:ext cx="0" cy="149983"/>
            </a:xfrm>
            <a:custGeom>
              <a:avLst/>
              <a:gdLst/>
              <a:ahLst/>
              <a:cxnLst/>
              <a:rect l="0" t="0" r="0" b="0"/>
              <a:pathLst>
                <a:path h="149983">
                  <a:moveTo>
                    <a:pt x="0" y="149983"/>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790" name="pl33">
              <a:extLst>
                <a:ext uri="{FF2B5EF4-FFF2-40B4-BE49-F238E27FC236}">
                  <a16:creationId xmlns:a16="http://schemas.microsoft.com/office/drawing/2014/main" id="{10F65539-E52D-CE65-2659-E80183009A45}"/>
                </a:ext>
              </a:extLst>
            </p:cNvPr>
            <p:cNvSpPr/>
            <p:nvPr/>
          </p:nvSpPr>
          <p:spPr>
            <a:xfrm>
              <a:off x="3343156" y="2659787"/>
              <a:ext cx="0" cy="159834"/>
            </a:xfrm>
            <a:custGeom>
              <a:avLst/>
              <a:gdLst/>
              <a:ahLst/>
              <a:cxnLst/>
              <a:rect l="0" t="0" r="0" b="0"/>
              <a:pathLst>
                <a:path h="159834">
                  <a:moveTo>
                    <a:pt x="0" y="159834"/>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9791" name="pl34">
              <a:extLst>
                <a:ext uri="{FF2B5EF4-FFF2-40B4-BE49-F238E27FC236}">
                  <a16:creationId xmlns:a16="http://schemas.microsoft.com/office/drawing/2014/main" id="{8EF34691-0046-0DB5-DF83-6B11A7053266}"/>
                </a:ext>
              </a:extLst>
            </p:cNvPr>
            <p:cNvSpPr/>
            <p:nvPr/>
          </p:nvSpPr>
          <p:spPr>
            <a:xfrm>
              <a:off x="3796303" y="2640845"/>
              <a:ext cx="0" cy="165783"/>
            </a:xfrm>
            <a:custGeom>
              <a:avLst/>
              <a:gdLst/>
              <a:ahLst/>
              <a:cxnLst/>
              <a:rect l="0" t="0" r="0" b="0"/>
              <a:pathLst>
                <a:path h="165783">
                  <a:moveTo>
                    <a:pt x="0" y="165783"/>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27" name="pl35">
              <a:extLst>
                <a:ext uri="{FF2B5EF4-FFF2-40B4-BE49-F238E27FC236}">
                  <a16:creationId xmlns:a16="http://schemas.microsoft.com/office/drawing/2014/main" id="{3A1FB937-09A1-5F4F-7162-9AF60C42535B}"/>
                </a:ext>
              </a:extLst>
            </p:cNvPr>
            <p:cNvSpPr/>
            <p:nvPr/>
          </p:nvSpPr>
          <p:spPr>
            <a:xfrm>
              <a:off x="1077422" y="3223033"/>
              <a:ext cx="0" cy="0"/>
            </a:xfrm>
            <a:custGeom>
              <a:avLst/>
              <a:gdLst/>
              <a:ahLst/>
              <a:cxnLst/>
              <a:rect l="0" t="0" r="0" b="0"/>
              <a:pathLst>
                <a:path>
                  <a:moveTo>
                    <a:pt x="0" y="0"/>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28" name="pl36">
              <a:extLst>
                <a:ext uri="{FF2B5EF4-FFF2-40B4-BE49-F238E27FC236}">
                  <a16:creationId xmlns:a16="http://schemas.microsoft.com/office/drawing/2014/main" id="{3B7D2F9A-AE04-B64F-6792-964BAB8DD4BF}"/>
                </a:ext>
              </a:extLst>
            </p:cNvPr>
            <p:cNvSpPr/>
            <p:nvPr/>
          </p:nvSpPr>
          <p:spPr>
            <a:xfrm>
              <a:off x="1303995" y="3638931"/>
              <a:ext cx="0" cy="55427"/>
            </a:xfrm>
            <a:custGeom>
              <a:avLst/>
              <a:gdLst/>
              <a:ahLst/>
              <a:cxnLst/>
              <a:rect l="0" t="0" r="0" b="0"/>
              <a:pathLst>
                <a:path h="55427">
                  <a:moveTo>
                    <a:pt x="0" y="55427"/>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29" name="pl37">
              <a:extLst>
                <a:ext uri="{FF2B5EF4-FFF2-40B4-BE49-F238E27FC236}">
                  <a16:creationId xmlns:a16="http://schemas.microsoft.com/office/drawing/2014/main" id="{52C8C081-B7FC-BAA8-F4CA-955D5ABBA148}"/>
                </a:ext>
              </a:extLst>
            </p:cNvPr>
            <p:cNvSpPr/>
            <p:nvPr/>
          </p:nvSpPr>
          <p:spPr>
            <a:xfrm>
              <a:off x="1530568" y="3812525"/>
              <a:ext cx="0" cy="68082"/>
            </a:xfrm>
            <a:custGeom>
              <a:avLst/>
              <a:gdLst/>
              <a:ahLst/>
              <a:cxnLst/>
              <a:rect l="0" t="0" r="0" b="0"/>
              <a:pathLst>
                <a:path h="68082">
                  <a:moveTo>
                    <a:pt x="0" y="68082"/>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30" name="pl38">
              <a:extLst>
                <a:ext uri="{FF2B5EF4-FFF2-40B4-BE49-F238E27FC236}">
                  <a16:creationId xmlns:a16="http://schemas.microsoft.com/office/drawing/2014/main" id="{3C983681-78E1-0A8F-6D29-7BF6E8071B73}"/>
                </a:ext>
              </a:extLst>
            </p:cNvPr>
            <p:cNvSpPr/>
            <p:nvPr/>
          </p:nvSpPr>
          <p:spPr>
            <a:xfrm>
              <a:off x="1757142" y="3873645"/>
              <a:ext cx="0" cy="65768"/>
            </a:xfrm>
            <a:custGeom>
              <a:avLst/>
              <a:gdLst/>
              <a:ahLst/>
              <a:cxnLst/>
              <a:rect l="0" t="0" r="0" b="0"/>
              <a:pathLst>
                <a:path h="65768">
                  <a:moveTo>
                    <a:pt x="0" y="65768"/>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31" name="pl39">
              <a:extLst>
                <a:ext uri="{FF2B5EF4-FFF2-40B4-BE49-F238E27FC236}">
                  <a16:creationId xmlns:a16="http://schemas.microsoft.com/office/drawing/2014/main" id="{7373379D-B5D8-3FD7-BDBB-5BA5B36DBFE8}"/>
                </a:ext>
              </a:extLst>
            </p:cNvPr>
            <p:cNvSpPr/>
            <p:nvPr/>
          </p:nvSpPr>
          <p:spPr>
            <a:xfrm>
              <a:off x="1983715" y="3926035"/>
              <a:ext cx="0" cy="73283"/>
            </a:xfrm>
            <a:custGeom>
              <a:avLst/>
              <a:gdLst/>
              <a:ahLst/>
              <a:cxnLst/>
              <a:rect l="0" t="0" r="0" b="0"/>
              <a:pathLst>
                <a:path h="73283">
                  <a:moveTo>
                    <a:pt x="0" y="73283"/>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32" name="pl40">
              <a:extLst>
                <a:ext uri="{FF2B5EF4-FFF2-40B4-BE49-F238E27FC236}">
                  <a16:creationId xmlns:a16="http://schemas.microsoft.com/office/drawing/2014/main" id="{8AA16C83-6F73-1650-99CD-F61A9369C2F8}"/>
                </a:ext>
              </a:extLst>
            </p:cNvPr>
            <p:cNvSpPr/>
            <p:nvPr/>
          </p:nvSpPr>
          <p:spPr>
            <a:xfrm>
              <a:off x="2436862" y="3953755"/>
              <a:ext cx="0" cy="83728"/>
            </a:xfrm>
            <a:custGeom>
              <a:avLst/>
              <a:gdLst/>
              <a:ahLst/>
              <a:cxnLst/>
              <a:rect l="0" t="0" r="0" b="0"/>
              <a:pathLst>
                <a:path h="83728">
                  <a:moveTo>
                    <a:pt x="0" y="83728"/>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33" name="pl41">
              <a:extLst>
                <a:ext uri="{FF2B5EF4-FFF2-40B4-BE49-F238E27FC236}">
                  <a16:creationId xmlns:a16="http://schemas.microsoft.com/office/drawing/2014/main" id="{AC450472-84DC-490F-8D61-4F83B0DA1FC3}"/>
                </a:ext>
              </a:extLst>
            </p:cNvPr>
            <p:cNvSpPr/>
            <p:nvPr/>
          </p:nvSpPr>
          <p:spPr>
            <a:xfrm>
              <a:off x="2890009" y="3834510"/>
              <a:ext cx="0" cy="87318"/>
            </a:xfrm>
            <a:custGeom>
              <a:avLst/>
              <a:gdLst/>
              <a:ahLst/>
              <a:cxnLst/>
              <a:rect l="0" t="0" r="0" b="0"/>
              <a:pathLst>
                <a:path h="87318">
                  <a:moveTo>
                    <a:pt x="0" y="87318"/>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34" name="pl42">
              <a:extLst>
                <a:ext uri="{FF2B5EF4-FFF2-40B4-BE49-F238E27FC236}">
                  <a16:creationId xmlns:a16="http://schemas.microsoft.com/office/drawing/2014/main" id="{DE433AA9-6526-BB1E-54A6-6444565026ED}"/>
                </a:ext>
              </a:extLst>
            </p:cNvPr>
            <p:cNvSpPr/>
            <p:nvPr/>
          </p:nvSpPr>
          <p:spPr>
            <a:xfrm>
              <a:off x="3343156" y="3751466"/>
              <a:ext cx="0" cy="124146"/>
            </a:xfrm>
            <a:custGeom>
              <a:avLst/>
              <a:gdLst/>
              <a:ahLst/>
              <a:cxnLst/>
              <a:rect l="0" t="0" r="0" b="0"/>
              <a:pathLst>
                <a:path h="124146">
                  <a:moveTo>
                    <a:pt x="0" y="124146"/>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35" name="pl43">
              <a:extLst>
                <a:ext uri="{FF2B5EF4-FFF2-40B4-BE49-F238E27FC236}">
                  <a16:creationId xmlns:a16="http://schemas.microsoft.com/office/drawing/2014/main" id="{369AFD94-225A-7224-7156-4C4355262A4F}"/>
                </a:ext>
              </a:extLst>
            </p:cNvPr>
            <p:cNvSpPr/>
            <p:nvPr/>
          </p:nvSpPr>
          <p:spPr>
            <a:xfrm>
              <a:off x="3796303" y="3704106"/>
              <a:ext cx="0" cy="129059"/>
            </a:xfrm>
            <a:custGeom>
              <a:avLst/>
              <a:gdLst/>
              <a:ahLst/>
              <a:cxnLst/>
              <a:rect l="0" t="0" r="0" b="0"/>
              <a:pathLst>
                <a:path h="129059">
                  <a:moveTo>
                    <a:pt x="0" y="129059"/>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36" name="pl44">
              <a:extLst>
                <a:ext uri="{FF2B5EF4-FFF2-40B4-BE49-F238E27FC236}">
                  <a16:creationId xmlns:a16="http://schemas.microsoft.com/office/drawing/2014/main" id="{B754780C-D5CF-0920-BAE3-FF3714E54A95}"/>
                </a:ext>
              </a:extLst>
            </p:cNvPr>
            <p:cNvSpPr/>
            <p:nvPr/>
          </p:nvSpPr>
          <p:spPr>
            <a:xfrm>
              <a:off x="930149" y="2605890"/>
              <a:ext cx="0" cy="2160000"/>
            </a:xfrm>
            <a:custGeom>
              <a:avLst/>
              <a:gdLst/>
              <a:ahLst/>
              <a:cxnLst/>
              <a:rect l="0" t="0" r="0" b="0"/>
              <a:pathLst>
                <a:path h="2160000">
                  <a:moveTo>
                    <a:pt x="0" y="2160000"/>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137" name="tx45">
              <a:extLst>
                <a:ext uri="{FF2B5EF4-FFF2-40B4-BE49-F238E27FC236}">
                  <a16:creationId xmlns:a16="http://schemas.microsoft.com/office/drawing/2014/main" id="{5439A867-EB32-C3C6-6CF1-984182D14CB0}"/>
                </a:ext>
              </a:extLst>
            </p:cNvPr>
            <p:cNvSpPr/>
            <p:nvPr/>
          </p:nvSpPr>
          <p:spPr>
            <a:xfrm>
              <a:off x="708780" y="4730229"/>
              <a:ext cx="135331" cy="68031"/>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50</a:t>
              </a:r>
            </a:p>
          </p:txBody>
        </p:sp>
        <p:sp>
          <p:nvSpPr>
            <p:cNvPr id="6138" name="tx46">
              <a:extLst>
                <a:ext uri="{FF2B5EF4-FFF2-40B4-BE49-F238E27FC236}">
                  <a16:creationId xmlns:a16="http://schemas.microsoft.com/office/drawing/2014/main" id="{6D044D52-4E2B-37FD-0F24-00C6168E4061}"/>
                </a:ext>
              </a:extLst>
            </p:cNvPr>
            <p:cNvSpPr/>
            <p:nvPr/>
          </p:nvSpPr>
          <p:spPr>
            <a:xfrm>
              <a:off x="708780" y="4421657"/>
              <a:ext cx="135331" cy="68031"/>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40</a:t>
              </a:r>
            </a:p>
          </p:txBody>
        </p:sp>
        <p:sp>
          <p:nvSpPr>
            <p:cNvPr id="6139" name="tx47">
              <a:extLst>
                <a:ext uri="{FF2B5EF4-FFF2-40B4-BE49-F238E27FC236}">
                  <a16:creationId xmlns:a16="http://schemas.microsoft.com/office/drawing/2014/main" id="{563DE9A1-BC4B-D480-43D7-8759692B8189}"/>
                </a:ext>
              </a:extLst>
            </p:cNvPr>
            <p:cNvSpPr/>
            <p:nvPr/>
          </p:nvSpPr>
          <p:spPr>
            <a:xfrm>
              <a:off x="708780" y="4113086"/>
              <a:ext cx="135331" cy="68031"/>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30</a:t>
              </a:r>
            </a:p>
          </p:txBody>
        </p:sp>
        <p:sp>
          <p:nvSpPr>
            <p:cNvPr id="6140" name="tx48">
              <a:extLst>
                <a:ext uri="{FF2B5EF4-FFF2-40B4-BE49-F238E27FC236}">
                  <a16:creationId xmlns:a16="http://schemas.microsoft.com/office/drawing/2014/main" id="{CB881BD1-90B6-688D-C09A-40209268971D}"/>
                </a:ext>
              </a:extLst>
            </p:cNvPr>
            <p:cNvSpPr/>
            <p:nvPr/>
          </p:nvSpPr>
          <p:spPr>
            <a:xfrm>
              <a:off x="708780" y="3804514"/>
              <a:ext cx="135331" cy="68031"/>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20</a:t>
              </a:r>
            </a:p>
          </p:txBody>
        </p:sp>
        <p:sp>
          <p:nvSpPr>
            <p:cNvPr id="6141" name="tx49">
              <a:extLst>
                <a:ext uri="{FF2B5EF4-FFF2-40B4-BE49-F238E27FC236}">
                  <a16:creationId xmlns:a16="http://schemas.microsoft.com/office/drawing/2014/main" id="{9781E0A8-975C-D86B-0593-6889401C6BAB}"/>
                </a:ext>
              </a:extLst>
            </p:cNvPr>
            <p:cNvSpPr/>
            <p:nvPr/>
          </p:nvSpPr>
          <p:spPr>
            <a:xfrm>
              <a:off x="708780" y="3495943"/>
              <a:ext cx="135331" cy="68031"/>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0</a:t>
              </a:r>
            </a:p>
          </p:txBody>
        </p:sp>
        <p:sp>
          <p:nvSpPr>
            <p:cNvPr id="6142" name="tx50">
              <a:extLst>
                <a:ext uri="{FF2B5EF4-FFF2-40B4-BE49-F238E27FC236}">
                  <a16:creationId xmlns:a16="http://schemas.microsoft.com/office/drawing/2014/main" id="{569DA6ED-E860-255F-FCF4-964381403D43}"/>
                </a:ext>
              </a:extLst>
            </p:cNvPr>
            <p:cNvSpPr/>
            <p:nvPr/>
          </p:nvSpPr>
          <p:spPr>
            <a:xfrm>
              <a:off x="791076" y="3187371"/>
              <a:ext cx="53035" cy="68031"/>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0</a:t>
              </a:r>
            </a:p>
          </p:txBody>
        </p:sp>
        <p:sp>
          <p:nvSpPr>
            <p:cNvPr id="6143" name="tx51">
              <a:extLst>
                <a:ext uri="{FF2B5EF4-FFF2-40B4-BE49-F238E27FC236}">
                  <a16:creationId xmlns:a16="http://schemas.microsoft.com/office/drawing/2014/main" id="{8CB72511-9F2A-62AB-A0E0-F18836012067}"/>
                </a:ext>
              </a:extLst>
            </p:cNvPr>
            <p:cNvSpPr/>
            <p:nvPr/>
          </p:nvSpPr>
          <p:spPr>
            <a:xfrm>
              <a:off x="738041" y="2878800"/>
              <a:ext cx="106070" cy="68031"/>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0</a:t>
              </a:r>
            </a:p>
          </p:txBody>
        </p:sp>
        <p:sp>
          <p:nvSpPr>
            <p:cNvPr id="8064" name="tx52">
              <a:extLst>
                <a:ext uri="{FF2B5EF4-FFF2-40B4-BE49-F238E27FC236}">
                  <a16:creationId xmlns:a16="http://schemas.microsoft.com/office/drawing/2014/main" id="{546E4A77-EFB2-D4CB-F6CA-EDBFE90D739B}"/>
                </a:ext>
              </a:extLst>
            </p:cNvPr>
            <p:cNvSpPr/>
            <p:nvPr/>
          </p:nvSpPr>
          <p:spPr>
            <a:xfrm>
              <a:off x="738041" y="2570229"/>
              <a:ext cx="106070" cy="68031"/>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20</a:t>
              </a:r>
            </a:p>
          </p:txBody>
        </p:sp>
        <p:sp>
          <p:nvSpPr>
            <p:cNvPr id="8065" name="pl53">
              <a:extLst>
                <a:ext uri="{FF2B5EF4-FFF2-40B4-BE49-F238E27FC236}">
                  <a16:creationId xmlns:a16="http://schemas.microsoft.com/office/drawing/2014/main" id="{F03BFCD2-3877-1725-A600-E1A350809A0E}"/>
                </a:ext>
              </a:extLst>
            </p:cNvPr>
            <p:cNvSpPr/>
            <p:nvPr/>
          </p:nvSpPr>
          <p:spPr>
            <a:xfrm>
              <a:off x="866886" y="4765890"/>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066" name="pl54">
              <a:extLst>
                <a:ext uri="{FF2B5EF4-FFF2-40B4-BE49-F238E27FC236}">
                  <a16:creationId xmlns:a16="http://schemas.microsoft.com/office/drawing/2014/main" id="{24FE90EF-9E27-8AF6-ACD3-3748A29E8D5B}"/>
                </a:ext>
              </a:extLst>
            </p:cNvPr>
            <p:cNvSpPr/>
            <p:nvPr/>
          </p:nvSpPr>
          <p:spPr>
            <a:xfrm>
              <a:off x="866886" y="4457319"/>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067" name="pl55">
              <a:extLst>
                <a:ext uri="{FF2B5EF4-FFF2-40B4-BE49-F238E27FC236}">
                  <a16:creationId xmlns:a16="http://schemas.microsoft.com/office/drawing/2014/main" id="{32498F6C-D825-58EF-C91D-685BDA854E8B}"/>
                </a:ext>
              </a:extLst>
            </p:cNvPr>
            <p:cNvSpPr/>
            <p:nvPr/>
          </p:nvSpPr>
          <p:spPr>
            <a:xfrm>
              <a:off x="866886" y="4148747"/>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068" name="pl56">
              <a:extLst>
                <a:ext uri="{FF2B5EF4-FFF2-40B4-BE49-F238E27FC236}">
                  <a16:creationId xmlns:a16="http://schemas.microsoft.com/office/drawing/2014/main" id="{A1DE5D31-0C08-FBBC-282B-D88B25804ACF}"/>
                </a:ext>
              </a:extLst>
            </p:cNvPr>
            <p:cNvSpPr/>
            <p:nvPr/>
          </p:nvSpPr>
          <p:spPr>
            <a:xfrm>
              <a:off x="866886" y="3840176"/>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069" name="pl57">
              <a:extLst>
                <a:ext uri="{FF2B5EF4-FFF2-40B4-BE49-F238E27FC236}">
                  <a16:creationId xmlns:a16="http://schemas.microsoft.com/office/drawing/2014/main" id="{584CC235-7FE1-C966-C3E6-52302D8C2D37}"/>
                </a:ext>
              </a:extLst>
            </p:cNvPr>
            <p:cNvSpPr/>
            <p:nvPr/>
          </p:nvSpPr>
          <p:spPr>
            <a:xfrm>
              <a:off x="866886" y="3531604"/>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070" name="pl58">
              <a:extLst>
                <a:ext uri="{FF2B5EF4-FFF2-40B4-BE49-F238E27FC236}">
                  <a16:creationId xmlns:a16="http://schemas.microsoft.com/office/drawing/2014/main" id="{E077427E-0252-267D-4D00-1B7649F2DF79}"/>
                </a:ext>
              </a:extLst>
            </p:cNvPr>
            <p:cNvSpPr/>
            <p:nvPr/>
          </p:nvSpPr>
          <p:spPr>
            <a:xfrm>
              <a:off x="866886" y="3223033"/>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071" name="pl59">
              <a:extLst>
                <a:ext uri="{FF2B5EF4-FFF2-40B4-BE49-F238E27FC236}">
                  <a16:creationId xmlns:a16="http://schemas.microsoft.com/office/drawing/2014/main" id="{006DAE4B-24D6-537B-9AC8-807A4C3BACCC}"/>
                </a:ext>
              </a:extLst>
            </p:cNvPr>
            <p:cNvSpPr/>
            <p:nvPr/>
          </p:nvSpPr>
          <p:spPr>
            <a:xfrm>
              <a:off x="866886" y="2914462"/>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072" name="pl60">
              <a:extLst>
                <a:ext uri="{FF2B5EF4-FFF2-40B4-BE49-F238E27FC236}">
                  <a16:creationId xmlns:a16="http://schemas.microsoft.com/office/drawing/2014/main" id="{E453E397-1A2C-9D7D-AAEB-5C4303E680D8}"/>
                </a:ext>
              </a:extLst>
            </p:cNvPr>
            <p:cNvSpPr/>
            <p:nvPr/>
          </p:nvSpPr>
          <p:spPr>
            <a:xfrm>
              <a:off x="866886" y="2605890"/>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073" name="pl61">
              <a:extLst>
                <a:ext uri="{FF2B5EF4-FFF2-40B4-BE49-F238E27FC236}">
                  <a16:creationId xmlns:a16="http://schemas.microsoft.com/office/drawing/2014/main" id="{5BFF3DCB-4048-14E6-63A2-92FCFA809C79}"/>
                </a:ext>
              </a:extLst>
            </p:cNvPr>
            <p:cNvSpPr/>
            <p:nvPr/>
          </p:nvSpPr>
          <p:spPr>
            <a:xfrm>
              <a:off x="930149" y="4765889"/>
              <a:ext cx="3011750" cy="45719"/>
            </a:xfrm>
            <a:custGeom>
              <a:avLst/>
              <a:gdLst/>
              <a:ahLst/>
              <a:cxnLst/>
              <a:rect l="0" t="0" r="0" b="0"/>
              <a:pathLst>
                <a:path w="3240000">
                  <a:moveTo>
                    <a:pt x="0" y="0"/>
                  </a:moveTo>
                  <a:lnTo>
                    <a:pt x="324000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074" name="pl62">
              <a:extLst>
                <a:ext uri="{FF2B5EF4-FFF2-40B4-BE49-F238E27FC236}">
                  <a16:creationId xmlns:a16="http://schemas.microsoft.com/office/drawing/2014/main" id="{73E1A8E2-F8BF-4CA7-1802-705BBFB1CA41}"/>
                </a:ext>
              </a:extLst>
            </p:cNvPr>
            <p:cNvSpPr/>
            <p:nvPr/>
          </p:nvSpPr>
          <p:spPr>
            <a:xfrm>
              <a:off x="1077422" y="4765890"/>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075" name="pl63">
              <a:extLst>
                <a:ext uri="{FF2B5EF4-FFF2-40B4-BE49-F238E27FC236}">
                  <a16:creationId xmlns:a16="http://schemas.microsoft.com/office/drawing/2014/main" id="{288CB488-9E01-5897-BD65-AB438AA3AFE6}"/>
                </a:ext>
              </a:extLst>
            </p:cNvPr>
            <p:cNvSpPr/>
            <p:nvPr/>
          </p:nvSpPr>
          <p:spPr>
            <a:xfrm>
              <a:off x="1303995" y="4765890"/>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076" name="pl64">
              <a:extLst>
                <a:ext uri="{FF2B5EF4-FFF2-40B4-BE49-F238E27FC236}">
                  <a16:creationId xmlns:a16="http://schemas.microsoft.com/office/drawing/2014/main" id="{E883F13E-B859-A198-E1ED-2EB0E09C9915}"/>
                </a:ext>
              </a:extLst>
            </p:cNvPr>
            <p:cNvSpPr/>
            <p:nvPr/>
          </p:nvSpPr>
          <p:spPr>
            <a:xfrm>
              <a:off x="1530568" y="4765890"/>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077" name="pl65">
              <a:extLst>
                <a:ext uri="{FF2B5EF4-FFF2-40B4-BE49-F238E27FC236}">
                  <a16:creationId xmlns:a16="http://schemas.microsoft.com/office/drawing/2014/main" id="{73B7DC0C-D3AE-9125-5940-6F1ADC207A95}"/>
                </a:ext>
              </a:extLst>
            </p:cNvPr>
            <p:cNvSpPr/>
            <p:nvPr/>
          </p:nvSpPr>
          <p:spPr>
            <a:xfrm>
              <a:off x="1757142" y="4765890"/>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078" name="pl66">
              <a:extLst>
                <a:ext uri="{FF2B5EF4-FFF2-40B4-BE49-F238E27FC236}">
                  <a16:creationId xmlns:a16="http://schemas.microsoft.com/office/drawing/2014/main" id="{4E6FCC37-B1D2-5A0C-C227-15A14C7BEE8A}"/>
                </a:ext>
              </a:extLst>
            </p:cNvPr>
            <p:cNvSpPr/>
            <p:nvPr/>
          </p:nvSpPr>
          <p:spPr>
            <a:xfrm>
              <a:off x="1983715" y="4765890"/>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079" name="pl67">
              <a:extLst>
                <a:ext uri="{FF2B5EF4-FFF2-40B4-BE49-F238E27FC236}">
                  <a16:creationId xmlns:a16="http://schemas.microsoft.com/office/drawing/2014/main" id="{3BF46BB7-E2F8-D9B9-85B4-F626A27F1B06}"/>
                </a:ext>
              </a:extLst>
            </p:cNvPr>
            <p:cNvSpPr/>
            <p:nvPr/>
          </p:nvSpPr>
          <p:spPr>
            <a:xfrm>
              <a:off x="2210289" y="4765890"/>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080" name="pl68">
              <a:extLst>
                <a:ext uri="{FF2B5EF4-FFF2-40B4-BE49-F238E27FC236}">
                  <a16:creationId xmlns:a16="http://schemas.microsoft.com/office/drawing/2014/main" id="{6991DB55-7EF2-46DC-40DF-4346C8A9E463}"/>
                </a:ext>
              </a:extLst>
            </p:cNvPr>
            <p:cNvSpPr/>
            <p:nvPr/>
          </p:nvSpPr>
          <p:spPr>
            <a:xfrm>
              <a:off x="2436862" y="4765890"/>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081" name="pl69">
              <a:extLst>
                <a:ext uri="{FF2B5EF4-FFF2-40B4-BE49-F238E27FC236}">
                  <a16:creationId xmlns:a16="http://schemas.microsoft.com/office/drawing/2014/main" id="{24B9C228-CAF9-1749-319A-0C647AB19B9F}"/>
                </a:ext>
              </a:extLst>
            </p:cNvPr>
            <p:cNvSpPr/>
            <p:nvPr/>
          </p:nvSpPr>
          <p:spPr>
            <a:xfrm>
              <a:off x="2663436" y="4765890"/>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082" name="pl70">
              <a:extLst>
                <a:ext uri="{FF2B5EF4-FFF2-40B4-BE49-F238E27FC236}">
                  <a16:creationId xmlns:a16="http://schemas.microsoft.com/office/drawing/2014/main" id="{1DDA72ED-82A7-B378-233C-837DB083C992}"/>
                </a:ext>
              </a:extLst>
            </p:cNvPr>
            <p:cNvSpPr/>
            <p:nvPr/>
          </p:nvSpPr>
          <p:spPr>
            <a:xfrm>
              <a:off x="2890009" y="4765890"/>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083" name="pl71">
              <a:extLst>
                <a:ext uri="{FF2B5EF4-FFF2-40B4-BE49-F238E27FC236}">
                  <a16:creationId xmlns:a16="http://schemas.microsoft.com/office/drawing/2014/main" id="{70A94DBE-09DE-DAA1-0DFC-EC7DD7F81C8A}"/>
                </a:ext>
              </a:extLst>
            </p:cNvPr>
            <p:cNvSpPr/>
            <p:nvPr/>
          </p:nvSpPr>
          <p:spPr>
            <a:xfrm>
              <a:off x="3116582" y="4765890"/>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084" name="pl72">
              <a:extLst>
                <a:ext uri="{FF2B5EF4-FFF2-40B4-BE49-F238E27FC236}">
                  <a16:creationId xmlns:a16="http://schemas.microsoft.com/office/drawing/2014/main" id="{027035A6-38E3-21F2-6285-645FDDB42B5F}"/>
                </a:ext>
              </a:extLst>
            </p:cNvPr>
            <p:cNvSpPr/>
            <p:nvPr/>
          </p:nvSpPr>
          <p:spPr>
            <a:xfrm>
              <a:off x="3343156" y="4765890"/>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085" name="pl73">
              <a:extLst>
                <a:ext uri="{FF2B5EF4-FFF2-40B4-BE49-F238E27FC236}">
                  <a16:creationId xmlns:a16="http://schemas.microsoft.com/office/drawing/2014/main" id="{35F6B553-0C1F-0B13-A884-1F73056AB02D}"/>
                </a:ext>
              </a:extLst>
            </p:cNvPr>
            <p:cNvSpPr/>
            <p:nvPr/>
          </p:nvSpPr>
          <p:spPr>
            <a:xfrm>
              <a:off x="3569729" y="4765890"/>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086" name="pl74">
              <a:extLst>
                <a:ext uri="{FF2B5EF4-FFF2-40B4-BE49-F238E27FC236}">
                  <a16:creationId xmlns:a16="http://schemas.microsoft.com/office/drawing/2014/main" id="{2B1D3A1A-4230-58DC-DC1E-09971DA6D099}"/>
                </a:ext>
              </a:extLst>
            </p:cNvPr>
            <p:cNvSpPr/>
            <p:nvPr/>
          </p:nvSpPr>
          <p:spPr>
            <a:xfrm>
              <a:off x="3796303" y="4765890"/>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087" name="tx75">
              <a:extLst>
                <a:ext uri="{FF2B5EF4-FFF2-40B4-BE49-F238E27FC236}">
                  <a16:creationId xmlns:a16="http://schemas.microsoft.com/office/drawing/2014/main" id="{8929420F-2DB6-3444-B40C-544E2933D249}"/>
                </a:ext>
              </a:extLst>
            </p:cNvPr>
            <p:cNvSpPr/>
            <p:nvPr/>
          </p:nvSpPr>
          <p:spPr>
            <a:xfrm>
              <a:off x="1033099" y="4893203"/>
              <a:ext cx="82296" cy="64739"/>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First </a:t>
              </a:r>
            </a:p>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dose</a:t>
              </a:r>
            </a:p>
          </p:txBody>
        </p:sp>
        <p:sp>
          <p:nvSpPr>
            <p:cNvPr id="8088" name="tx76">
              <a:extLst>
                <a:ext uri="{FF2B5EF4-FFF2-40B4-BE49-F238E27FC236}">
                  <a16:creationId xmlns:a16="http://schemas.microsoft.com/office/drawing/2014/main" id="{87863275-E0B6-3533-9C36-D6B888D06DFC}"/>
                </a:ext>
              </a:extLst>
            </p:cNvPr>
            <p:cNvSpPr/>
            <p:nvPr/>
          </p:nvSpPr>
          <p:spPr>
            <a:xfrm>
              <a:off x="1277477" y="4851928"/>
              <a:ext cx="53035" cy="64739"/>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a:t>
              </a:r>
            </a:p>
          </p:txBody>
        </p:sp>
        <p:sp>
          <p:nvSpPr>
            <p:cNvPr id="8089" name="tx77">
              <a:extLst>
                <a:ext uri="{FF2B5EF4-FFF2-40B4-BE49-F238E27FC236}">
                  <a16:creationId xmlns:a16="http://schemas.microsoft.com/office/drawing/2014/main" id="{ECA53046-DA4D-2512-3823-20BC427DD03F}"/>
                </a:ext>
              </a:extLst>
            </p:cNvPr>
            <p:cNvSpPr/>
            <p:nvPr/>
          </p:nvSpPr>
          <p:spPr>
            <a:xfrm>
              <a:off x="1504051" y="4850282"/>
              <a:ext cx="53035" cy="66385"/>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2</a:t>
              </a:r>
            </a:p>
          </p:txBody>
        </p:sp>
        <p:sp>
          <p:nvSpPr>
            <p:cNvPr id="8090" name="tx78">
              <a:extLst>
                <a:ext uri="{FF2B5EF4-FFF2-40B4-BE49-F238E27FC236}">
                  <a16:creationId xmlns:a16="http://schemas.microsoft.com/office/drawing/2014/main" id="{0AC3F3F6-F9F2-5DF8-C846-663C61CEC210}"/>
                </a:ext>
              </a:extLst>
            </p:cNvPr>
            <p:cNvSpPr/>
            <p:nvPr/>
          </p:nvSpPr>
          <p:spPr>
            <a:xfrm>
              <a:off x="1730624" y="4848636"/>
              <a:ext cx="53035" cy="68031"/>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3</a:t>
              </a:r>
            </a:p>
          </p:txBody>
        </p:sp>
        <p:sp>
          <p:nvSpPr>
            <p:cNvPr id="8091" name="tx79">
              <a:extLst>
                <a:ext uri="{FF2B5EF4-FFF2-40B4-BE49-F238E27FC236}">
                  <a16:creationId xmlns:a16="http://schemas.microsoft.com/office/drawing/2014/main" id="{406CC869-0419-930C-F909-6FF59887DC83}"/>
                </a:ext>
              </a:extLst>
            </p:cNvPr>
            <p:cNvSpPr/>
            <p:nvPr/>
          </p:nvSpPr>
          <p:spPr>
            <a:xfrm>
              <a:off x="1957198" y="4851928"/>
              <a:ext cx="53035" cy="64739"/>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4</a:t>
              </a:r>
            </a:p>
          </p:txBody>
        </p:sp>
        <p:sp>
          <p:nvSpPr>
            <p:cNvPr id="8092" name="tx80">
              <a:extLst>
                <a:ext uri="{FF2B5EF4-FFF2-40B4-BE49-F238E27FC236}">
                  <a16:creationId xmlns:a16="http://schemas.microsoft.com/office/drawing/2014/main" id="{2A40E793-2F34-C14E-948A-0191AC1232EA}"/>
                </a:ext>
              </a:extLst>
            </p:cNvPr>
            <p:cNvSpPr/>
            <p:nvPr/>
          </p:nvSpPr>
          <p:spPr>
            <a:xfrm>
              <a:off x="2183771" y="4850282"/>
              <a:ext cx="53035" cy="66385"/>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5</a:t>
              </a:r>
            </a:p>
          </p:txBody>
        </p:sp>
        <p:sp>
          <p:nvSpPr>
            <p:cNvPr id="8093" name="tx81">
              <a:extLst>
                <a:ext uri="{FF2B5EF4-FFF2-40B4-BE49-F238E27FC236}">
                  <a16:creationId xmlns:a16="http://schemas.microsoft.com/office/drawing/2014/main" id="{64E254DB-5792-3F73-4A0F-F047F76AA653}"/>
                </a:ext>
              </a:extLst>
            </p:cNvPr>
            <p:cNvSpPr/>
            <p:nvPr/>
          </p:nvSpPr>
          <p:spPr>
            <a:xfrm>
              <a:off x="2410345" y="4850282"/>
              <a:ext cx="53035" cy="66385"/>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6</a:t>
              </a:r>
            </a:p>
          </p:txBody>
        </p:sp>
        <p:sp>
          <p:nvSpPr>
            <p:cNvPr id="8094" name="tx82">
              <a:extLst>
                <a:ext uri="{FF2B5EF4-FFF2-40B4-BE49-F238E27FC236}">
                  <a16:creationId xmlns:a16="http://schemas.microsoft.com/office/drawing/2014/main" id="{8B5AF540-FE1A-0C79-AE53-38433CF531D6}"/>
                </a:ext>
              </a:extLst>
            </p:cNvPr>
            <p:cNvSpPr/>
            <p:nvPr/>
          </p:nvSpPr>
          <p:spPr>
            <a:xfrm>
              <a:off x="2636918" y="4851928"/>
              <a:ext cx="53035" cy="64739"/>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7</a:t>
              </a:r>
            </a:p>
          </p:txBody>
        </p:sp>
        <p:sp>
          <p:nvSpPr>
            <p:cNvPr id="8095" name="tx83">
              <a:extLst>
                <a:ext uri="{FF2B5EF4-FFF2-40B4-BE49-F238E27FC236}">
                  <a16:creationId xmlns:a16="http://schemas.microsoft.com/office/drawing/2014/main" id="{678939C1-4663-ED19-2842-BA66AE7787FE}"/>
                </a:ext>
              </a:extLst>
            </p:cNvPr>
            <p:cNvSpPr/>
            <p:nvPr/>
          </p:nvSpPr>
          <p:spPr>
            <a:xfrm>
              <a:off x="2863491" y="4848636"/>
              <a:ext cx="53035" cy="68031"/>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8</a:t>
              </a:r>
            </a:p>
          </p:txBody>
        </p:sp>
        <p:sp>
          <p:nvSpPr>
            <p:cNvPr id="8096" name="tx84">
              <a:extLst>
                <a:ext uri="{FF2B5EF4-FFF2-40B4-BE49-F238E27FC236}">
                  <a16:creationId xmlns:a16="http://schemas.microsoft.com/office/drawing/2014/main" id="{C931C4A8-A18F-F7C5-7B85-55F264B4A053}"/>
                </a:ext>
              </a:extLst>
            </p:cNvPr>
            <p:cNvSpPr/>
            <p:nvPr/>
          </p:nvSpPr>
          <p:spPr>
            <a:xfrm>
              <a:off x="3090065" y="4850282"/>
              <a:ext cx="53035" cy="66385"/>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9</a:t>
              </a:r>
            </a:p>
          </p:txBody>
        </p:sp>
        <p:sp>
          <p:nvSpPr>
            <p:cNvPr id="8097" name="tx85">
              <a:extLst>
                <a:ext uri="{FF2B5EF4-FFF2-40B4-BE49-F238E27FC236}">
                  <a16:creationId xmlns:a16="http://schemas.microsoft.com/office/drawing/2014/main" id="{8AE81C29-A626-7E43-FECA-6E45A85F6BC4}"/>
                </a:ext>
              </a:extLst>
            </p:cNvPr>
            <p:cNvSpPr/>
            <p:nvPr/>
          </p:nvSpPr>
          <p:spPr>
            <a:xfrm>
              <a:off x="3290121" y="4848636"/>
              <a:ext cx="106070" cy="68031"/>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0</a:t>
              </a:r>
            </a:p>
          </p:txBody>
        </p:sp>
        <p:sp>
          <p:nvSpPr>
            <p:cNvPr id="8098" name="tx86">
              <a:extLst>
                <a:ext uri="{FF2B5EF4-FFF2-40B4-BE49-F238E27FC236}">
                  <a16:creationId xmlns:a16="http://schemas.microsoft.com/office/drawing/2014/main" id="{506D2DC0-1353-50E1-9158-115A40D8F0EB}"/>
                </a:ext>
              </a:extLst>
            </p:cNvPr>
            <p:cNvSpPr/>
            <p:nvPr/>
          </p:nvSpPr>
          <p:spPr>
            <a:xfrm>
              <a:off x="3516694" y="4851928"/>
              <a:ext cx="106070" cy="64739"/>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1</a:t>
              </a:r>
            </a:p>
          </p:txBody>
        </p:sp>
        <p:sp>
          <p:nvSpPr>
            <p:cNvPr id="8099" name="tx87">
              <a:extLst>
                <a:ext uri="{FF2B5EF4-FFF2-40B4-BE49-F238E27FC236}">
                  <a16:creationId xmlns:a16="http://schemas.microsoft.com/office/drawing/2014/main" id="{5DA26B95-0C04-18D4-625C-FE14A7AA7853}"/>
                </a:ext>
              </a:extLst>
            </p:cNvPr>
            <p:cNvSpPr/>
            <p:nvPr/>
          </p:nvSpPr>
          <p:spPr>
            <a:xfrm>
              <a:off x="3743268" y="4850282"/>
              <a:ext cx="106070" cy="66385"/>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US"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2</a:t>
              </a:r>
            </a:p>
          </p:txBody>
        </p:sp>
        <p:sp>
          <p:nvSpPr>
            <p:cNvPr id="8100" name="tx88">
              <a:extLst>
                <a:ext uri="{FF2B5EF4-FFF2-40B4-BE49-F238E27FC236}">
                  <a16:creationId xmlns:a16="http://schemas.microsoft.com/office/drawing/2014/main" id="{1D178CF5-0DD2-69C8-8A7E-07C60CCCB8BF}"/>
                </a:ext>
              </a:extLst>
            </p:cNvPr>
            <p:cNvSpPr/>
            <p:nvPr/>
          </p:nvSpPr>
          <p:spPr>
            <a:xfrm>
              <a:off x="2323706" y="5018868"/>
              <a:ext cx="308038" cy="88011"/>
            </a:xfrm>
            <a:prstGeom prst="rect">
              <a:avLst/>
            </a:prstGeom>
            <a:noFill/>
          </p:spPr>
          <p:txBody>
            <a:bodyPr wrap="none" lIns="0" tIns="0" rIns="0" bIns="0" anchor="ctr" anchorCtr="1"/>
            <a:lstStyle/>
            <a:p>
              <a:pPr marL="0" marR="0" lvl="0" indent="0" algn="l" defTabSz="914446" rtl="0" eaLnBrk="1" fontAlgn="auto" latinLnBrk="0" hangingPunct="1">
                <a:lnSpc>
                  <a:spcPts val="900"/>
                </a:lnSpc>
                <a:spcBef>
                  <a:spcPts val="0"/>
                </a:spcBef>
                <a:spcAft>
                  <a:spcPts val="0"/>
                </a:spcAft>
                <a:buClrTx/>
                <a:buSzTx/>
                <a:buFontTx/>
                <a:buNone/>
                <a:tabLst/>
                <a:defRPr/>
              </a:pPr>
              <a:r>
                <a:rPr kumimoji="0" lang="en-US" sz="900" b="1" i="0" u="none" strike="noStrike" kern="1200" cap="none" spc="0" normalizeH="0" baseline="0" noProof="0">
                  <a:ln>
                    <a:noFill/>
                  </a:ln>
                  <a:solidFill>
                    <a:srgbClr val="001965">
                      <a:alpha val="100000"/>
                    </a:srgbClr>
                  </a:solidFill>
                  <a:effectLst/>
                  <a:uLnTx/>
                  <a:uFillTx/>
                  <a:latin typeface="Avenir Next LT Pro Demi" panose="020B0504020202020204" pitchFamily="34" charset="77"/>
                  <a:ea typeface="+mn-ea"/>
                  <a:cs typeface="Avenir Next LT Pro"/>
                </a:rPr>
                <a:t>Study Week</a:t>
              </a:r>
            </a:p>
          </p:txBody>
        </p:sp>
        <p:sp>
          <p:nvSpPr>
            <p:cNvPr id="8101" name="tx89">
              <a:extLst>
                <a:ext uri="{FF2B5EF4-FFF2-40B4-BE49-F238E27FC236}">
                  <a16:creationId xmlns:a16="http://schemas.microsoft.com/office/drawing/2014/main" id="{8EFB7A94-BDB5-2425-0A9E-5FEF14E9DBCB}"/>
                </a:ext>
              </a:extLst>
            </p:cNvPr>
            <p:cNvSpPr/>
            <p:nvPr/>
          </p:nvSpPr>
          <p:spPr>
            <a:xfrm rot="16200000">
              <a:off x="529383" y="3632717"/>
              <a:ext cx="106299" cy="88239"/>
            </a:xfrm>
            <a:prstGeom prst="rect">
              <a:avLst/>
            </a:prstGeom>
            <a:noFill/>
          </p:spPr>
          <p:txBody>
            <a:bodyPr wrap="none" lIns="0" tIns="0" rIns="0" bIns="0" anchor="ctr" anchorCtr="1"/>
            <a:lstStyle/>
            <a:p>
              <a:pPr marL="0" marR="0" lvl="0" indent="0" algn="l" defTabSz="914446" rtl="0" eaLnBrk="1" fontAlgn="auto" latinLnBrk="0" hangingPunct="1">
                <a:lnSpc>
                  <a:spcPts val="900"/>
                </a:lnSpc>
                <a:spcBef>
                  <a:spcPts val="0"/>
                </a:spcBef>
                <a:spcAft>
                  <a:spcPts val="0"/>
                </a:spcAft>
                <a:buClrTx/>
                <a:buSzTx/>
                <a:buFontTx/>
                <a:buNone/>
                <a:tabLst/>
                <a:defRPr/>
              </a:pPr>
              <a:r>
                <a:rPr kumimoji="0" lang="en-US" sz="900" b="1" i="0" u="none" strike="noStrike" kern="1200" cap="none" spc="0" normalizeH="0" baseline="0" noProof="0">
                  <a:ln>
                    <a:noFill/>
                  </a:ln>
                  <a:solidFill>
                    <a:srgbClr val="001965">
                      <a:alpha val="100000"/>
                    </a:srgbClr>
                  </a:solidFill>
                  <a:effectLst/>
                  <a:uLnTx/>
                  <a:uFillTx/>
                  <a:latin typeface="Avenir Next LT Pro Demi" panose="020B0504020202020204" pitchFamily="34" charset="77"/>
                  <a:ea typeface="+mn-ea"/>
                  <a:cs typeface="Avenir Next LT Pro"/>
                </a:rPr>
                <a:t>Fat mass change (%)</a:t>
              </a:r>
            </a:p>
          </p:txBody>
        </p:sp>
      </p:grpSp>
      <p:grpSp>
        <p:nvGrpSpPr>
          <p:cNvPr id="8102" name="Group 8101">
            <a:extLst>
              <a:ext uri="{FF2B5EF4-FFF2-40B4-BE49-F238E27FC236}">
                <a16:creationId xmlns:a16="http://schemas.microsoft.com/office/drawing/2014/main" id="{D0FDB13C-6467-BF73-C850-5A51A51DCCD0}"/>
              </a:ext>
            </a:extLst>
          </p:cNvPr>
          <p:cNvGrpSpPr/>
          <p:nvPr/>
        </p:nvGrpSpPr>
        <p:grpSpPr>
          <a:xfrm>
            <a:off x="8668308" y="3162422"/>
            <a:ext cx="2754982" cy="1414689"/>
            <a:chOff x="6727912" y="2803807"/>
            <a:chExt cx="2754982" cy="1414689"/>
          </a:xfrm>
        </p:grpSpPr>
        <p:sp>
          <p:nvSpPr>
            <p:cNvPr id="6400" name="pt6">
              <a:extLst>
                <a:ext uri="{FF2B5EF4-FFF2-40B4-BE49-F238E27FC236}">
                  <a16:creationId xmlns:a16="http://schemas.microsoft.com/office/drawing/2014/main" id="{2F594849-A6CD-21DF-9F6F-9ED6D939369F}"/>
                </a:ext>
              </a:extLst>
            </p:cNvPr>
            <p:cNvSpPr/>
            <p:nvPr/>
          </p:nvSpPr>
          <p:spPr>
            <a:xfrm>
              <a:off x="6727912" y="3367944"/>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01" name="pt7">
              <a:extLst>
                <a:ext uri="{FF2B5EF4-FFF2-40B4-BE49-F238E27FC236}">
                  <a16:creationId xmlns:a16="http://schemas.microsoft.com/office/drawing/2014/main" id="{899891A5-EBA8-7603-7678-6AC27D6096F7}"/>
                </a:ext>
              </a:extLst>
            </p:cNvPr>
            <p:cNvSpPr/>
            <p:nvPr/>
          </p:nvSpPr>
          <p:spPr>
            <a:xfrm>
              <a:off x="6954485" y="3365941"/>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02" name="pt8">
              <a:extLst>
                <a:ext uri="{FF2B5EF4-FFF2-40B4-BE49-F238E27FC236}">
                  <a16:creationId xmlns:a16="http://schemas.microsoft.com/office/drawing/2014/main" id="{42DBF9AC-878D-5BE1-AAE7-F716A7FE6478}"/>
                </a:ext>
              </a:extLst>
            </p:cNvPr>
            <p:cNvSpPr/>
            <p:nvPr/>
          </p:nvSpPr>
          <p:spPr>
            <a:xfrm>
              <a:off x="7181059" y="3328931"/>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03" name="pt9">
              <a:extLst>
                <a:ext uri="{FF2B5EF4-FFF2-40B4-BE49-F238E27FC236}">
                  <a16:creationId xmlns:a16="http://schemas.microsoft.com/office/drawing/2014/main" id="{B98DDB94-7498-EF59-8A50-E8CE90B28DC9}"/>
                </a:ext>
              </a:extLst>
            </p:cNvPr>
            <p:cNvSpPr/>
            <p:nvPr/>
          </p:nvSpPr>
          <p:spPr>
            <a:xfrm>
              <a:off x="7407632" y="3272492"/>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04" name="pt10">
              <a:extLst>
                <a:ext uri="{FF2B5EF4-FFF2-40B4-BE49-F238E27FC236}">
                  <a16:creationId xmlns:a16="http://schemas.microsoft.com/office/drawing/2014/main" id="{1FB23658-0A42-F10B-2DCB-6577D6FE0A77}"/>
                </a:ext>
              </a:extLst>
            </p:cNvPr>
            <p:cNvSpPr/>
            <p:nvPr/>
          </p:nvSpPr>
          <p:spPr>
            <a:xfrm>
              <a:off x="7634206" y="3275468"/>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05" name="pt11">
              <a:extLst>
                <a:ext uri="{FF2B5EF4-FFF2-40B4-BE49-F238E27FC236}">
                  <a16:creationId xmlns:a16="http://schemas.microsoft.com/office/drawing/2014/main" id="{B2078996-AF73-12AD-0015-35D6B76B9CFB}"/>
                </a:ext>
              </a:extLst>
            </p:cNvPr>
            <p:cNvSpPr/>
            <p:nvPr/>
          </p:nvSpPr>
          <p:spPr>
            <a:xfrm>
              <a:off x="8087353" y="3208386"/>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06" name="pt12">
              <a:extLst>
                <a:ext uri="{FF2B5EF4-FFF2-40B4-BE49-F238E27FC236}">
                  <a16:creationId xmlns:a16="http://schemas.microsoft.com/office/drawing/2014/main" id="{24C9DD67-418A-7E96-8557-17CC646893DF}"/>
                </a:ext>
              </a:extLst>
            </p:cNvPr>
            <p:cNvSpPr/>
            <p:nvPr/>
          </p:nvSpPr>
          <p:spPr>
            <a:xfrm>
              <a:off x="8540499" y="3049548"/>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07" name="pt13">
              <a:extLst>
                <a:ext uri="{FF2B5EF4-FFF2-40B4-BE49-F238E27FC236}">
                  <a16:creationId xmlns:a16="http://schemas.microsoft.com/office/drawing/2014/main" id="{0D34EDF8-7245-CB0D-F973-8A9D22B154F3}"/>
                </a:ext>
              </a:extLst>
            </p:cNvPr>
            <p:cNvSpPr/>
            <p:nvPr/>
          </p:nvSpPr>
          <p:spPr>
            <a:xfrm>
              <a:off x="8993646" y="2964533"/>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08" name="pt14">
              <a:extLst>
                <a:ext uri="{FF2B5EF4-FFF2-40B4-BE49-F238E27FC236}">
                  <a16:creationId xmlns:a16="http://schemas.microsoft.com/office/drawing/2014/main" id="{6788DEE9-4525-0D79-9DC9-DB5B6C4D2070}"/>
                </a:ext>
              </a:extLst>
            </p:cNvPr>
            <p:cNvSpPr/>
            <p:nvPr/>
          </p:nvSpPr>
          <p:spPr>
            <a:xfrm>
              <a:off x="9446793" y="2951540"/>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09" name="pt15">
              <a:extLst>
                <a:ext uri="{FF2B5EF4-FFF2-40B4-BE49-F238E27FC236}">
                  <a16:creationId xmlns:a16="http://schemas.microsoft.com/office/drawing/2014/main" id="{74883A2C-0F6A-0610-8CDD-AB6E0E1B9E98}"/>
                </a:ext>
              </a:extLst>
            </p:cNvPr>
            <p:cNvSpPr/>
            <p:nvPr/>
          </p:nvSpPr>
          <p:spPr>
            <a:xfrm>
              <a:off x="6727912" y="3367944"/>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10" name="pt16">
              <a:extLst>
                <a:ext uri="{FF2B5EF4-FFF2-40B4-BE49-F238E27FC236}">
                  <a16:creationId xmlns:a16="http://schemas.microsoft.com/office/drawing/2014/main" id="{B5EBCA8E-D306-6C79-8C11-8999DDCC55C6}"/>
                </a:ext>
              </a:extLst>
            </p:cNvPr>
            <p:cNvSpPr/>
            <p:nvPr/>
          </p:nvSpPr>
          <p:spPr>
            <a:xfrm>
              <a:off x="6954485" y="3839270"/>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11" name="pt17">
              <a:extLst>
                <a:ext uri="{FF2B5EF4-FFF2-40B4-BE49-F238E27FC236}">
                  <a16:creationId xmlns:a16="http://schemas.microsoft.com/office/drawing/2014/main" id="{8BBE64D8-EE06-2EBB-594B-E7A16EDDA01C}"/>
                </a:ext>
              </a:extLst>
            </p:cNvPr>
            <p:cNvSpPr/>
            <p:nvPr/>
          </p:nvSpPr>
          <p:spPr>
            <a:xfrm>
              <a:off x="7181059" y="4025519"/>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12" name="pt18">
              <a:extLst>
                <a:ext uri="{FF2B5EF4-FFF2-40B4-BE49-F238E27FC236}">
                  <a16:creationId xmlns:a16="http://schemas.microsoft.com/office/drawing/2014/main" id="{AB98DAFE-6B4F-1806-447C-ADE0462D4819}"/>
                </a:ext>
              </a:extLst>
            </p:cNvPr>
            <p:cNvSpPr/>
            <p:nvPr/>
          </p:nvSpPr>
          <p:spPr>
            <a:xfrm>
              <a:off x="7407632" y="4084325"/>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13" name="pt19">
              <a:extLst>
                <a:ext uri="{FF2B5EF4-FFF2-40B4-BE49-F238E27FC236}">
                  <a16:creationId xmlns:a16="http://schemas.microsoft.com/office/drawing/2014/main" id="{883FE69B-EC74-D855-6BD4-6313EB9B089B}"/>
                </a:ext>
              </a:extLst>
            </p:cNvPr>
            <p:cNvSpPr/>
            <p:nvPr/>
          </p:nvSpPr>
          <p:spPr>
            <a:xfrm>
              <a:off x="7634206" y="4144230"/>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14" name="pt20">
              <a:extLst>
                <a:ext uri="{FF2B5EF4-FFF2-40B4-BE49-F238E27FC236}">
                  <a16:creationId xmlns:a16="http://schemas.microsoft.com/office/drawing/2014/main" id="{F053966A-EC4B-7338-960A-DBFB6BBBCCD3}"/>
                </a:ext>
              </a:extLst>
            </p:cNvPr>
            <p:cNvSpPr/>
            <p:nvPr/>
          </p:nvSpPr>
          <p:spPr>
            <a:xfrm>
              <a:off x="8087353" y="4182395"/>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15" name="pt21">
              <a:extLst>
                <a:ext uri="{FF2B5EF4-FFF2-40B4-BE49-F238E27FC236}">
                  <a16:creationId xmlns:a16="http://schemas.microsoft.com/office/drawing/2014/main" id="{A3B4E35F-0837-A889-9B67-3C9994534684}"/>
                </a:ext>
              </a:extLst>
            </p:cNvPr>
            <p:cNvSpPr/>
            <p:nvPr/>
          </p:nvSpPr>
          <p:spPr>
            <a:xfrm>
              <a:off x="8540499" y="4066740"/>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16" name="pt22">
              <a:extLst>
                <a:ext uri="{FF2B5EF4-FFF2-40B4-BE49-F238E27FC236}">
                  <a16:creationId xmlns:a16="http://schemas.microsoft.com/office/drawing/2014/main" id="{FB91CF20-6181-B1A4-3B9D-F1C9B7D00D0D}"/>
                </a:ext>
              </a:extLst>
            </p:cNvPr>
            <p:cNvSpPr/>
            <p:nvPr/>
          </p:nvSpPr>
          <p:spPr>
            <a:xfrm>
              <a:off x="8993646" y="4020524"/>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17" name="pt23">
              <a:extLst>
                <a:ext uri="{FF2B5EF4-FFF2-40B4-BE49-F238E27FC236}">
                  <a16:creationId xmlns:a16="http://schemas.microsoft.com/office/drawing/2014/main" id="{2E4BE899-300F-7F18-CE01-55A926367A15}"/>
                </a:ext>
              </a:extLst>
            </p:cNvPr>
            <p:cNvSpPr/>
            <p:nvPr/>
          </p:nvSpPr>
          <p:spPr>
            <a:xfrm>
              <a:off x="9446793" y="3978077"/>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18" name="pt24">
              <a:extLst>
                <a:ext uri="{FF2B5EF4-FFF2-40B4-BE49-F238E27FC236}">
                  <a16:creationId xmlns:a16="http://schemas.microsoft.com/office/drawing/2014/main" id="{A4B32D07-8C7D-1167-0074-41E5D0782EDD}"/>
                </a:ext>
              </a:extLst>
            </p:cNvPr>
            <p:cNvSpPr/>
            <p:nvPr/>
          </p:nvSpPr>
          <p:spPr>
            <a:xfrm>
              <a:off x="6727912" y="3367944"/>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19" name="pt25">
              <a:extLst>
                <a:ext uri="{FF2B5EF4-FFF2-40B4-BE49-F238E27FC236}">
                  <a16:creationId xmlns:a16="http://schemas.microsoft.com/office/drawing/2014/main" id="{8F6E6B92-4252-9205-3FBC-CFD1D1EF59A1}"/>
                </a:ext>
              </a:extLst>
            </p:cNvPr>
            <p:cNvSpPr/>
            <p:nvPr/>
          </p:nvSpPr>
          <p:spPr>
            <a:xfrm>
              <a:off x="6954485" y="3647442"/>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20" name="pt26">
              <a:extLst>
                <a:ext uri="{FF2B5EF4-FFF2-40B4-BE49-F238E27FC236}">
                  <a16:creationId xmlns:a16="http://schemas.microsoft.com/office/drawing/2014/main" id="{26A06A25-A51F-9AC3-5A8F-CC8C696571F1}"/>
                </a:ext>
              </a:extLst>
            </p:cNvPr>
            <p:cNvSpPr/>
            <p:nvPr/>
          </p:nvSpPr>
          <p:spPr>
            <a:xfrm>
              <a:off x="7181059" y="3787879"/>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21" name="pt27">
              <a:extLst>
                <a:ext uri="{FF2B5EF4-FFF2-40B4-BE49-F238E27FC236}">
                  <a16:creationId xmlns:a16="http://schemas.microsoft.com/office/drawing/2014/main" id="{0D893CA5-CC81-9CEA-821A-1534C7BA8F8C}"/>
                </a:ext>
              </a:extLst>
            </p:cNvPr>
            <p:cNvSpPr/>
            <p:nvPr/>
          </p:nvSpPr>
          <p:spPr>
            <a:xfrm>
              <a:off x="7407632" y="3903881"/>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22" name="pt28">
              <a:extLst>
                <a:ext uri="{FF2B5EF4-FFF2-40B4-BE49-F238E27FC236}">
                  <a16:creationId xmlns:a16="http://schemas.microsoft.com/office/drawing/2014/main" id="{493FC733-FD16-1325-12CC-C93D6E5EAA8B}"/>
                </a:ext>
              </a:extLst>
            </p:cNvPr>
            <p:cNvSpPr/>
            <p:nvPr/>
          </p:nvSpPr>
          <p:spPr>
            <a:xfrm>
              <a:off x="7634206" y="3975890"/>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23" name="pt29">
              <a:extLst>
                <a:ext uri="{FF2B5EF4-FFF2-40B4-BE49-F238E27FC236}">
                  <a16:creationId xmlns:a16="http://schemas.microsoft.com/office/drawing/2014/main" id="{BCED79A5-0114-A7CC-50B6-64A9DFD52E31}"/>
                </a:ext>
              </a:extLst>
            </p:cNvPr>
            <p:cNvSpPr/>
            <p:nvPr/>
          </p:nvSpPr>
          <p:spPr>
            <a:xfrm>
              <a:off x="8087353" y="3881048"/>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24" name="pt30">
              <a:extLst>
                <a:ext uri="{FF2B5EF4-FFF2-40B4-BE49-F238E27FC236}">
                  <a16:creationId xmlns:a16="http://schemas.microsoft.com/office/drawing/2014/main" id="{CF56FD8E-FE69-4173-99CA-C74F9E543583}"/>
                </a:ext>
              </a:extLst>
            </p:cNvPr>
            <p:cNvSpPr/>
            <p:nvPr/>
          </p:nvSpPr>
          <p:spPr>
            <a:xfrm>
              <a:off x="8540499" y="3728648"/>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25" name="pt31">
              <a:extLst>
                <a:ext uri="{FF2B5EF4-FFF2-40B4-BE49-F238E27FC236}">
                  <a16:creationId xmlns:a16="http://schemas.microsoft.com/office/drawing/2014/main" id="{14970A26-7076-3C98-46B9-69CBD48CC890}"/>
                </a:ext>
              </a:extLst>
            </p:cNvPr>
            <p:cNvSpPr/>
            <p:nvPr/>
          </p:nvSpPr>
          <p:spPr>
            <a:xfrm>
              <a:off x="8993646" y="3579095"/>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26" name="pt32">
              <a:extLst>
                <a:ext uri="{FF2B5EF4-FFF2-40B4-BE49-F238E27FC236}">
                  <a16:creationId xmlns:a16="http://schemas.microsoft.com/office/drawing/2014/main" id="{D3B04DDC-A3C5-4B7B-1A49-6C6600518F63}"/>
                </a:ext>
              </a:extLst>
            </p:cNvPr>
            <p:cNvSpPr/>
            <p:nvPr/>
          </p:nvSpPr>
          <p:spPr>
            <a:xfrm>
              <a:off x="9446793" y="3555506"/>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27" name="pl33">
              <a:extLst>
                <a:ext uri="{FF2B5EF4-FFF2-40B4-BE49-F238E27FC236}">
                  <a16:creationId xmlns:a16="http://schemas.microsoft.com/office/drawing/2014/main" id="{89E47FAD-FF47-52C6-C470-A292841AED67}"/>
                </a:ext>
              </a:extLst>
            </p:cNvPr>
            <p:cNvSpPr/>
            <p:nvPr/>
          </p:nvSpPr>
          <p:spPr>
            <a:xfrm>
              <a:off x="6745963" y="2969591"/>
              <a:ext cx="2718881" cy="416403"/>
            </a:xfrm>
            <a:custGeom>
              <a:avLst/>
              <a:gdLst/>
              <a:ahLst/>
              <a:cxnLst/>
              <a:rect l="0" t="0" r="0" b="0"/>
              <a:pathLst>
                <a:path w="2718881" h="416403">
                  <a:moveTo>
                    <a:pt x="0" y="416403"/>
                  </a:moveTo>
                  <a:lnTo>
                    <a:pt x="226573" y="414400"/>
                  </a:lnTo>
                  <a:lnTo>
                    <a:pt x="453146" y="377390"/>
                  </a:lnTo>
                  <a:lnTo>
                    <a:pt x="679720" y="320951"/>
                  </a:lnTo>
                  <a:lnTo>
                    <a:pt x="906293" y="323927"/>
                  </a:lnTo>
                  <a:lnTo>
                    <a:pt x="1359440" y="256845"/>
                  </a:lnTo>
                  <a:lnTo>
                    <a:pt x="1812587" y="98007"/>
                  </a:lnTo>
                  <a:lnTo>
                    <a:pt x="2265734" y="12992"/>
                  </a:lnTo>
                  <a:lnTo>
                    <a:pt x="2718881"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28" name="pl34">
              <a:extLst>
                <a:ext uri="{FF2B5EF4-FFF2-40B4-BE49-F238E27FC236}">
                  <a16:creationId xmlns:a16="http://schemas.microsoft.com/office/drawing/2014/main" id="{6F3DD412-1A25-99BA-9B87-25F3FA0373AE}"/>
                </a:ext>
              </a:extLst>
            </p:cNvPr>
            <p:cNvSpPr/>
            <p:nvPr/>
          </p:nvSpPr>
          <p:spPr>
            <a:xfrm>
              <a:off x="6745963" y="3385995"/>
              <a:ext cx="2718881" cy="814450"/>
            </a:xfrm>
            <a:custGeom>
              <a:avLst/>
              <a:gdLst/>
              <a:ahLst/>
              <a:cxnLst/>
              <a:rect l="0" t="0" r="0" b="0"/>
              <a:pathLst>
                <a:path w="2718881" h="814450">
                  <a:moveTo>
                    <a:pt x="0" y="0"/>
                  </a:moveTo>
                  <a:lnTo>
                    <a:pt x="226573" y="471325"/>
                  </a:lnTo>
                  <a:lnTo>
                    <a:pt x="453146" y="657574"/>
                  </a:lnTo>
                  <a:lnTo>
                    <a:pt x="679720" y="716380"/>
                  </a:lnTo>
                  <a:lnTo>
                    <a:pt x="906293" y="776285"/>
                  </a:lnTo>
                  <a:lnTo>
                    <a:pt x="1359440" y="814450"/>
                  </a:lnTo>
                  <a:lnTo>
                    <a:pt x="1812587" y="698795"/>
                  </a:lnTo>
                  <a:lnTo>
                    <a:pt x="2265734" y="652579"/>
                  </a:lnTo>
                  <a:lnTo>
                    <a:pt x="2718881" y="610132"/>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29" name="pl35">
              <a:extLst>
                <a:ext uri="{FF2B5EF4-FFF2-40B4-BE49-F238E27FC236}">
                  <a16:creationId xmlns:a16="http://schemas.microsoft.com/office/drawing/2014/main" id="{FEF90478-D098-90B1-2DB0-314AAE8F5779}"/>
                </a:ext>
              </a:extLst>
            </p:cNvPr>
            <p:cNvSpPr/>
            <p:nvPr/>
          </p:nvSpPr>
          <p:spPr>
            <a:xfrm>
              <a:off x="6745963" y="3385995"/>
              <a:ext cx="2718881" cy="607945"/>
            </a:xfrm>
            <a:custGeom>
              <a:avLst/>
              <a:gdLst/>
              <a:ahLst/>
              <a:cxnLst/>
              <a:rect l="0" t="0" r="0" b="0"/>
              <a:pathLst>
                <a:path w="2718881" h="607945">
                  <a:moveTo>
                    <a:pt x="0" y="0"/>
                  </a:moveTo>
                  <a:lnTo>
                    <a:pt x="226573" y="279497"/>
                  </a:lnTo>
                  <a:lnTo>
                    <a:pt x="453146" y="419934"/>
                  </a:lnTo>
                  <a:lnTo>
                    <a:pt x="679720" y="535936"/>
                  </a:lnTo>
                  <a:lnTo>
                    <a:pt x="906293" y="607945"/>
                  </a:lnTo>
                  <a:lnTo>
                    <a:pt x="1359440" y="513103"/>
                  </a:lnTo>
                  <a:lnTo>
                    <a:pt x="1812587" y="360703"/>
                  </a:lnTo>
                  <a:lnTo>
                    <a:pt x="2265734" y="211150"/>
                  </a:lnTo>
                  <a:lnTo>
                    <a:pt x="2718881" y="187561"/>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30" name="pl36">
              <a:extLst>
                <a:ext uri="{FF2B5EF4-FFF2-40B4-BE49-F238E27FC236}">
                  <a16:creationId xmlns:a16="http://schemas.microsoft.com/office/drawing/2014/main" id="{11E87C10-E18D-280C-6A7C-6889EA5F24AA}"/>
                </a:ext>
              </a:extLst>
            </p:cNvPr>
            <p:cNvSpPr/>
            <p:nvPr/>
          </p:nvSpPr>
          <p:spPr>
            <a:xfrm>
              <a:off x="6745963" y="3385995"/>
              <a:ext cx="0" cy="0"/>
            </a:xfrm>
            <a:custGeom>
              <a:avLst/>
              <a:gdLst/>
              <a:ahLst/>
              <a:cxnLst/>
              <a:rect l="0" t="0" r="0" b="0"/>
              <a:pathLst>
                <a:path>
                  <a:moveTo>
                    <a:pt x="0" y="0"/>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31" name="pl37">
              <a:extLst>
                <a:ext uri="{FF2B5EF4-FFF2-40B4-BE49-F238E27FC236}">
                  <a16:creationId xmlns:a16="http://schemas.microsoft.com/office/drawing/2014/main" id="{E3A20540-057A-E92F-6157-C98B6E6D0505}"/>
                </a:ext>
              </a:extLst>
            </p:cNvPr>
            <p:cNvSpPr/>
            <p:nvPr/>
          </p:nvSpPr>
          <p:spPr>
            <a:xfrm>
              <a:off x="6972536" y="3319537"/>
              <a:ext cx="0" cy="64454"/>
            </a:xfrm>
            <a:custGeom>
              <a:avLst/>
              <a:gdLst/>
              <a:ahLst/>
              <a:cxnLst/>
              <a:rect l="0" t="0" r="0" b="0"/>
              <a:pathLst>
                <a:path h="64454">
                  <a:moveTo>
                    <a:pt x="0" y="64454"/>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32" name="pl38">
              <a:extLst>
                <a:ext uri="{FF2B5EF4-FFF2-40B4-BE49-F238E27FC236}">
                  <a16:creationId xmlns:a16="http://schemas.microsoft.com/office/drawing/2014/main" id="{0B5CEC50-DF6D-0FC6-6B57-3ABC47F506A4}"/>
                </a:ext>
              </a:extLst>
            </p:cNvPr>
            <p:cNvSpPr/>
            <p:nvPr/>
          </p:nvSpPr>
          <p:spPr>
            <a:xfrm>
              <a:off x="7199109" y="3279573"/>
              <a:ext cx="0" cy="67409"/>
            </a:xfrm>
            <a:custGeom>
              <a:avLst/>
              <a:gdLst/>
              <a:ahLst/>
              <a:cxnLst/>
              <a:rect l="0" t="0" r="0" b="0"/>
              <a:pathLst>
                <a:path h="67409">
                  <a:moveTo>
                    <a:pt x="0" y="67409"/>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34" name="pl39">
              <a:extLst>
                <a:ext uri="{FF2B5EF4-FFF2-40B4-BE49-F238E27FC236}">
                  <a16:creationId xmlns:a16="http://schemas.microsoft.com/office/drawing/2014/main" id="{5B1EBA6D-16BA-947C-935D-70765ED14770}"/>
                </a:ext>
              </a:extLst>
            </p:cNvPr>
            <p:cNvSpPr/>
            <p:nvPr/>
          </p:nvSpPr>
          <p:spPr>
            <a:xfrm>
              <a:off x="7425683" y="3214019"/>
              <a:ext cx="0" cy="76523"/>
            </a:xfrm>
            <a:custGeom>
              <a:avLst/>
              <a:gdLst/>
              <a:ahLst/>
              <a:cxnLst/>
              <a:rect l="0" t="0" r="0" b="0"/>
              <a:pathLst>
                <a:path h="76523">
                  <a:moveTo>
                    <a:pt x="0" y="76523"/>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35" name="pl40">
              <a:extLst>
                <a:ext uri="{FF2B5EF4-FFF2-40B4-BE49-F238E27FC236}">
                  <a16:creationId xmlns:a16="http://schemas.microsoft.com/office/drawing/2014/main" id="{93960710-035E-727C-69E8-16F16CAD3091}"/>
                </a:ext>
              </a:extLst>
            </p:cNvPr>
            <p:cNvSpPr/>
            <p:nvPr/>
          </p:nvSpPr>
          <p:spPr>
            <a:xfrm>
              <a:off x="7652256" y="3206602"/>
              <a:ext cx="0" cy="86916"/>
            </a:xfrm>
            <a:custGeom>
              <a:avLst/>
              <a:gdLst/>
              <a:ahLst/>
              <a:cxnLst/>
              <a:rect l="0" t="0" r="0" b="0"/>
              <a:pathLst>
                <a:path h="86916">
                  <a:moveTo>
                    <a:pt x="0" y="86916"/>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36" name="pl41">
              <a:extLst>
                <a:ext uri="{FF2B5EF4-FFF2-40B4-BE49-F238E27FC236}">
                  <a16:creationId xmlns:a16="http://schemas.microsoft.com/office/drawing/2014/main" id="{AEF6B95D-6556-9D33-5BB8-1E98AB3356A5}"/>
                </a:ext>
              </a:extLst>
            </p:cNvPr>
            <p:cNvSpPr/>
            <p:nvPr/>
          </p:nvSpPr>
          <p:spPr>
            <a:xfrm>
              <a:off x="8105403" y="3102736"/>
              <a:ext cx="0" cy="123700"/>
            </a:xfrm>
            <a:custGeom>
              <a:avLst/>
              <a:gdLst/>
              <a:ahLst/>
              <a:cxnLst/>
              <a:rect l="0" t="0" r="0" b="0"/>
              <a:pathLst>
                <a:path h="123700">
                  <a:moveTo>
                    <a:pt x="0" y="123700"/>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37" name="pl42">
              <a:extLst>
                <a:ext uri="{FF2B5EF4-FFF2-40B4-BE49-F238E27FC236}">
                  <a16:creationId xmlns:a16="http://schemas.microsoft.com/office/drawing/2014/main" id="{F5B64B0E-4D51-2966-402D-81D839A00A1E}"/>
                </a:ext>
              </a:extLst>
            </p:cNvPr>
            <p:cNvSpPr/>
            <p:nvPr/>
          </p:nvSpPr>
          <p:spPr>
            <a:xfrm>
              <a:off x="8558550" y="2917616"/>
              <a:ext cx="0" cy="149983"/>
            </a:xfrm>
            <a:custGeom>
              <a:avLst/>
              <a:gdLst/>
              <a:ahLst/>
              <a:cxnLst/>
              <a:rect l="0" t="0" r="0" b="0"/>
              <a:pathLst>
                <a:path h="149983">
                  <a:moveTo>
                    <a:pt x="0" y="149983"/>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38" name="pl43">
              <a:extLst>
                <a:ext uri="{FF2B5EF4-FFF2-40B4-BE49-F238E27FC236}">
                  <a16:creationId xmlns:a16="http://schemas.microsoft.com/office/drawing/2014/main" id="{C16E208E-BF03-46B5-7E3B-4CF47E6BDA65}"/>
                </a:ext>
              </a:extLst>
            </p:cNvPr>
            <p:cNvSpPr/>
            <p:nvPr/>
          </p:nvSpPr>
          <p:spPr>
            <a:xfrm>
              <a:off x="9011697" y="2822749"/>
              <a:ext cx="0" cy="159834"/>
            </a:xfrm>
            <a:custGeom>
              <a:avLst/>
              <a:gdLst/>
              <a:ahLst/>
              <a:cxnLst/>
              <a:rect l="0" t="0" r="0" b="0"/>
              <a:pathLst>
                <a:path h="159834">
                  <a:moveTo>
                    <a:pt x="0" y="159834"/>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39" name="pl44">
              <a:extLst>
                <a:ext uri="{FF2B5EF4-FFF2-40B4-BE49-F238E27FC236}">
                  <a16:creationId xmlns:a16="http://schemas.microsoft.com/office/drawing/2014/main" id="{69FD6424-3BDE-1677-7334-1E99FAE8CFB9}"/>
                </a:ext>
              </a:extLst>
            </p:cNvPr>
            <p:cNvSpPr/>
            <p:nvPr/>
          </p:nvSpPr>
          <p:spPr>
            <a:xfrm>
              <a:off x="9464844" y="2803807"/>
              <a:ext cx="0" cy="165783"/>
            </a:xfrm>
            <a:custGeom>
              <a:avLst/>
              <a:gdLst/>
              <a:ahLst/>
              <a:cxnLst/>
              <a:rect l="0" t="0" r="0" b="0"/>
              <a:pathLst>
                <a:path h="165783">
                  <a:moveTo>
                    <a:pt x="0" y="165783"/>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40" name="pl45">
              <a:extLst>
                <a:ext uri="{FF2B5EF4-FFF2-40B4-BE49-F238E27FC236}">
                  <a16:creationId xmlns:a16="http://schemas.microsoft.com/office/drawing/2014/main" id="{EE9532F1-D87C-58EB-51D7-96B8739911D4}"/>
                </a:ext>
              </a:extLst>
            </p:cNvPr>
            <p:cNvSpPr/>
            <p:nvPr/>
          </p:nvSpPr>
          <p:spPr>
            <a:xfrm>
              <a:off x="6745963" y="3385995"/>
              <a:ext cx="0" cy="0"/>
            </a:xfrm>
            <a:custGeom>
              <a:avLst/>
              <a:gdLst/>
              <a:ahLst/>
              <a:cxnLst/>
              <a:rect l="0" t="0" r="0" b="0"/>
              <a:pathLst>
                <a:path>
                  <a:moveTo>
                    <a:pt x="0" y="0"/>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41" name="pl46">
              <a:extLst>
                <a:ext uri="{FF2B5EF4-FFF2-40B4-BE49-F238E27FC236}">
                  <a16:creationId xmlns:a16="http://schemas.microsoft.com/office/drawing/2014/main" id="{D24628E1-34C8-F988-D023-B21A74037D79}"/>
                </a:ext>
              </a:extLst>
            </p:cNvPr>
            <p:cNvSpPr/>
            <p:nvPr/>
          </p:nvSpPr>
          <p:spPr>
            <a:xfrm>
              <a:off x="6972536" y="3801893"/>
              <a:ext cx="0" cy="55427"/>
            </a:xfrm>
            <a:custGeom>
              <a:avLst/>
              <a:gdLst/>
              <a:ahLst/>
              <a:cxnLst/>
              <a:rect l="0" t="0" r="0" b="0"/>
              <a:pathLst>
                <a:path h="55427">
                  <a:moveTo>
                    <a:pt x="0" y="55427"/>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42" name="pl47">
              <a:extLst>
                <a:ext uri="{FF2B5EF4-FFF2-40B4-BE49-F238E27FC236}">
                  <a16:creationId xmlns:a16="http://schemas.microsoft.com/office/drawing/2014/main" id="{CC45D42B-63DD-CD33-F487-4807C8C15973}"/>
                </a:ext>
              </a:extLst>
            </p:cNvPr>
            <p:cNvSpPr/>
            <p:nvPr/>
          </p:nvSpPr>
          <p:spPr>
            <a:xfrm>
              <a:off x="7199109" y="3975487"/>
              <a:ext cx="0" cy="68082"/>
            </a:xfrm>
            <a:custGeom>
              <a:avLst/>
              <a:gdLst/>
              <a:ahLst/>
              <a:cxnLst/>
              <a:rect l="0" t="0" r="0" b="0"/>
              <a:pathLst>
                <a:path h="68082">
                  <a:moveTo>
                    <a:pt x="0" y="68082"/>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43" name="pl48">
              <a:extLst>
                <a:ext uri="{FF2B5EF4-FFF2-40B4-BE49-F238E27FC236}">
                  <a16:creationId xmlns:a16="http://schemas.microsoft.com/office/drawing/2014/main" id="{688C99E2-0E84-E684-E203-77ADAE147C6F}"/>
                </a:ext>
              </a:extLst>
            </p:cNvPr>
            <p:cNvSpPr/>
            <p:nvPr/>
          </p:nvSpPr>
          <p:spPr>
            <a:xfrm>
              <a:off x="7425683" y="4036607"/>
              <a:ext cx="0" cy="65768"/>
            </a:xfrm>
            <a:custGeom>
              <a:avLst/>
              <a:gdLst/>
              <a:ahLst/>
              <a:cxnLst/>
              <a:rect l="0" t="0" r="0" b="0"/>
              <a:pathLst>
                <a:path h="65768">
                  <a:moveTo>
                    <a:pt x="0" y="65768"/>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44" name="pl49">
              <a:extLst>
                <a:ext uri="{FF2B5EF4-FFF2-40B4-BE49-F238E27FC236}">
                  <a16:creationId xmlns:a16="http://schemas.microsoft.com/office/drawing/2014/main" id="{9F044D38-60BC-7592-E69F-2D3C4D8313DE}"/>
                </a:ext>
              </a:extLst>
            </p:cNvPr>
            <p:cNvSpPr/>
            <p:nvPr/>
          </p:nvSpPr>
          <p:spPr>
            <a:xfrm>
              <a:off x="7652256" y="4088997"/>
              <a:ext cx="0" cy="73283"/>
            </a:xfrm>
            <a:custGeom>
              <a:avLst/>
              <a:gdLst/>
              <a:ahLst/>
              <a:cxnLst/>
              <a:rect l="0" t="0" r="0" b="0"/>
              <a:pathLst>
                <a:path h="73283">
                  <a:moveTo>
                    <a:pt x="0" y="73283"/>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45" name="pl50">
              <a:extLst>
                <a:ext uri="{FF2B5EF4-FFF2-40B4-BE49-F238E27FC236}">
                  <a16:creationId xmlns:a16="http://schemas.microsoft.com/office/drawing/2014/main" id="{03B103D9-B3A4-88DE-9AB8-58483AEF3CAC}"/>
                </a:ext>
              </a:extLst>
            </p:cNvPr>
            <p:cNvSpPr/>
            <p:nvPr/>
          </p:nvSpPr>
          <p:spPr>
            <a:xfrm>
              <a:off x="8105403" y="4116717"/>
              <a:ext cx="0" cy="83728"/>
            </a:xfrm>
            <a:custGeom>
              <a:avLst/>
              <a:gdLst/>
              <a:ahLst/>
              <a:cxnLst/>
              <a:rect l="0" t="0" r="0" b="0"/>
              <a:pathLst>
                <a:path h="83728">
                  <a:moveTo>
                    <a:pt x="0" y="83728"/>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46" name="pl51">
              <a:extLst>
                <a:ext uri="{FF2B5EF4-FFF2-40B4-BE49-F238E27FC236}">
                  <a16:creationId xmlns:a16="http://schemas.microsoft.com/office/drawing/2014/main" id="{9C84BC9E-6710-4B24-9433-2A7B263D1973}"/>
                </a:ext>
              </a:extLst>
            </p:cNvPr>
            <p:cNvSpPr/>
            <p:nvPr/>
          </p:nvSpPr>
          <p:spPr>
            <a:xfrm>
              <a:off x="8558550" y="3997472"/>
              <a:ext cx="0" cy="87318"/>
            </a:xfrm>
            <a:custGeom>
              <a:avLst/>
              <a:gdLst/>
              <a:ahLst/>
              <a:cxnLst/>
              <a:rect l="0" t="0" r="0" b="0"/>
              <a:pathLst>
                <a:path h="87318">
                  <a:moveTo>
                    <a:pt x="0" y="87318"/>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47" name="pl52">
              <a:extLst>
                <a:ext uri="{FF2B5EF4-FFF2-40B4-BE49-F238E27FC236}">
                  <a16:creationId xmlns:a16="http://schemas.microsoft.com/office/drawing/2014/main" id="{BEC0FEB6-5D1E-698F-AA16-39971237AAE2}"/>
                </a:ext>
              </a:extLst>
            </p:cNvPr>
            <p:cNvSpPr/>
            <p:nvPr/>
          </p:nvSpPr>
          <p:spPr>
            <a:xfrm>
              <a:off x="9011697" y="3914428"/>
              <a:ext cx="0" cy="124146"/>
            </a:xfrm>
            <a:custGeom>
              <a:avLst/>
              <a:gdLst/>
              <a:ahLst/>
              <a:cxnLst/>
              <a:rect l="0" t="0" r="0" b="0"/>
              <a:pathLst>
                <a:path h="124146">
                  <a:moveTo>
                    <a:pt x="0" y="124146"/>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48" name="pl53">
              <a:extLst>
                <a:ext uri="{FF2B5EF4-FFF2-40B4-BE49-F238E27FC236}">
                  <a16:creationId xmlns:a16="http://schemas.microsoft.com/office/drawing/2014/main" id="{881C0B07-F074-B92C-BA42-59BF5CB5616D}"/>
                </a:ext>
              </a:extLst>
            </p:cNvPr>
            <p:cNvSpPr/>
            <p:nvPr/>
          </p:nvSpPr>
          <p:spPr>
            <a:xfrm>
              <a:off x="9464844" y="3867068"/>
              <a:ext cx="0" cy="129059"/>
            </a:xfrm>
            <a:custGeom>
              <a:avLst/>
              <a:gdLst/>
              <a:ahLst/>
              <a:cxnLst/>
              <a:rect l="0" t="0" r="0" b="0"/>
              <a:pathLst>
                <a:path h="129059">
                  <a:moveTo>
                    <a:pt x="0" y="129059"/>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49" name="pl54">
              <a:extLst>
                <a:ext uri="{FF2B5EF4-FFF2-40B4-BE49-F238E27FC236}">
                  <a16:creationId xmlns:a16="http://schemas.microsoft.com/office/drawing/2014/main" id="{C5D2093E-58EB-4B0A-D355-9BD3804F38CF}"/>
                </a:ext>
              </a:extLst>
            </p:cNvPr>
            <p:cNvSpPr/>
            <p:nvPr/>
          </p:nvSpPr>
          <p:spPr>
            <a:xfrm>
              <a:off x="6745963" y="3385995"/>
              <a:ext cx="0" cy="0"/>
            </a:xfrm>
            <a:custGeom>
              <a:avLst/>
              <a:gdLst/>
              <a:ahLst/>
              <a:cxnLst/>
              <a:rect l="0" t="0" r="0" b="0"/>
              <a:pathLst>
                <a:path>
                  <a:moveTo>
                    <a:pt x="0" y="0"/>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50" name="pl55">
              <a:extLst>
                <a:ext uri="{FF2B5EF4-FFF2-40B4-BE49-F238E27FC236}">
                  <a16:creationId xmlns:a16="http://schemas.microsoft.com/office/drawing/2014/main" id="{D84F4C39-EFF0-DB66-17BF-A7641F31A4E4}"/>
                </a:ext>
              </a:extLst>
            </p:cNvPr>
            <p:cNvSpPr/>
            <p:nvPr/>
          </p:nvSpPr>
          <p:spPr>
            <a:xfrm>
              <a:off x="6972536" y="3613295"/>
              <a:ext cx="0" cy="52198"/>
            </a:xfrm>
            <a:custGeom>
              <a:avLst/>
              <a:gdLst/>
              <a:ahLst/>
              <a:cxnLst/>
              <a:rect l="0" t="0" r="0" b="0"/>
              <a:pathLst>
                <a:path h="52198">
                  <a:moveTo>
                    <a:pt x="0" y="52198"/>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51" name="pl56">
              <a:extLst>
                <a:ext uri="{FF2B5EF4-FFF2-40B4-BE49-F238E27FC236}">
                  <a16:creationId xmlns:a16="http://schemas.microsoft.com/office/drawing/2014/main" id="{31586AB5-04E2-7850-A06A-1274D8668CF3}"/>
                </a:ext>
              </a:extLst>
            </p:cNvPr>
            <p:cNvSpPr/>
            <p:nvPr/>
          </p:nvSpPr>
          <p:spPr>
            <a:xfrm>
              <a:off x="7199109" y="3726422"/>
              <a:ext cx="0" cy="79507"/>
            </a:xfrm>
            <a:custGeom>
              <a:avLst/>
              <a:gdLst/>
              <a:ahLst/>
              <a:cxnLst/>
              <a:rect l="0" t="0" r="0" b="0"/>
              <a:pathLst>
                <a:path h="79507">
                  <a:moveTo>
                    <a:pt x="0" y="79507"/>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52" name="pl57">
              <a:extLst>
                <a:ext uri="{FF2B5EF4-FFF2-40B4-BE49-F238E27FC236}">
                  <a16:creationId xmlns:a16="http://schemas.microsoft.com/office/drawing/2014/main" id="{8800B363-627E-8AE2-0A56-5FD4CB189410}"/>
                </a:ext>
              </a:extLst>
            </p:cNvPr>
            <p:cNvSpPr/>
            <p:nvPr/>
          </p:nvSpPr>
          <p:spPr>
            <a:xfrm>
              <a:off x="7425683" y="3833524"/>
              <a:ext cx="0" cy="88407"/>
            </a:xfrm>
            <a:custGeom>
              <a:avLst/>
              <a:gdLst/>
              <a:ahLst/>
              <a:cxnLst/>
              <a:rect l="0" t="0" r="0" b="0"/>
              <a:pathLst>
                <a:path h="88407">
                  <a:moveTo>
                    <a:pt x="0" y="88407"/>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53" name="pl58">
              <a:extLst>
                <a:ext uri="{FF2B5EF4-FFF2-40B4-BE49-F238E27FC236}">
                  <a16:creationId xmlns:a16="http://schemas.microsoft.com/office/drawing/2014/main" id="{C34A6ADB-9666-2740-6CA1-F62DEF25E9C0}"/>
                </a:ext>
              </a:extLst>
            </p:cNvPr>
            <p:cNvSpPr/>
            <p:nvPr/>
          </p:nvSpPr>
          <p:spPr>
            <a:xfrm>
              <a:off x="7652256" y="3892832"/>
              <a:ext cx="0" cy="101108"/>
            </a:xfrm>
            <a:custGeom>
              <a:avLst/>
              <a:gdLst/>
              <a:ahLst/>
              <a:cxnLst/>
              <a:rect l="0" t="0" r="0" b="0"/>
              <a:pathLst>
                <a:path h="101108">
                  <a:moveTo>
                    <a:pt x="0" y="101108"/>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54" name="pl59">
              <a:extLst>
                <a:ext uri="{FF2B5EF4-FFF2-40B4-BE49-F238E27FC236}">
                  <a16:creationId xmlns:a16="http://schemas.microsoft.com/office/drawing/2014/main" id="{172BB170-7F00-4A4C-4402-5BD7C2921B58}"/>
                </a:ext>
              </a:extLst>
            </p:cNvPr>
            <p:cNvSpPr/>
            <p:nvPr/>
          </p:nvSpPr>
          <p:spPr>
            <a:xfrm>
              <a:off x="8105403" y="3776575"/>
              <a:ext cx="0" cy="122523"/>
            </a:xfrm>
            <a:custGeom>
              <a:avLst/>
              <a:gdLst/>
              <a:ahLst/>
              <a:cxnLst/>
              <a:rect l="0" t="0" r="0" b="0"/>
              <a:pathLst>
                <a:path h="122523">
                  <a:moveTo>
                    <a:pt x="0" y="122523"/>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55" name="pl60">
              <a:extLst>
                <a:ext uri="{FF2B5EF4-FFF2-40B4-BE49-F238E27FC236}">
                  <a16:creationId xmlns:a16="http://schemas.microsoft.com/office/drawing/2014/main" id="{4EC5BD39-D9F6-175F-1C90-C46A0664ED14}"/>
                </a:ext>
              </a:extLst>
            </p:cNvPr>
            <p:cNvSpPr/>
            <p:nvPr/>
          </p:nvSpPr>
          <p:spPr>
            <a:xfrm>
              <a:off x="8558550" y="3612254"/>
              <a:ext cx="0" cy="134444"/>
            </a:xfrm>
            <a:custGeom>
              <a:avLst/>
              <a:gdLst/>
              <a:ahLst/>
              <a:cxnLst/>
              <a:rect l="0" t="0" r="0" b="0"/>
              <a:pathLst>
                <a:path h="134444">
                  <a:moveTo>
                    <a:pt x="0" y="134444"/>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56" name="pl61">
              <a:extLst>
                <a:ext uri="{FF2B5EF4-FFF2-40B4-BE49-F238E27FC236}">
                  <a16:creationId xmlns:a16="http://schemas.microsoft.com/office/drawing/2014/main" id="{0A86F523-F415-48DE-A169-FDDF75C416B6}"/>
                </a:ext>
              </a:extLst>
            </p:cNvPr>
            <p:cNvSpPr/>
            <p:nvPr/>
          </p:nvSpPr>
          <p:spPr>
            <a:xfrm>
              <a:off x="9011697" y="3450015"/>
              <a:ext cx="0" cy="147130"/>
            </a:xfrm>
            <a:custGeom>
              <a:avLst/>
              <a:gdLst/>
              <a:ahLst/>
              <a:cxnLst/>
              <a:rect l="0" t="0" r="0" b="0"/>
              <a:pathLst>
                <a:path h="147130">
                  <a:moveTo>
                    <a:pt x="0" y="147130"/>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57" name="pl62">
              <a:extLst>
                <a:ext uri="{FF2B5EF4-FFF2-40B4-BE49-F238E27FC236}">
                  <a16:creationId xmlns:a16="http://schemas.microsoft.com/office/drawing/2014/main" id="{69936F18-B436-6970-CE37-00409BCA419D}"/>
                </a:ext>
              </a:extLst>
            </p:cNvPr>
            <p:cNvSpPr/>
            <p:nvPr/>
          </p:nvSpPr>
          <p:spPr>
            <a:xfrm>
              <a:off x="9464844" y="3430264"/>
              <a:ext cx="0" cy="143292"/>
            </a:xfrm>
            <a:custGeom>
              <a:avLst/>
              <a:gdLst/>
              <a:ahLst/>
              <a:cxnLst/>
              <a:rect l="0" t="0" r="0" b="0"/>
              <a:pathLst>
                <a:path h="143292">
                  <a:moveTo>
                    <a:pt x="0" y="143292"/>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grpSp>
      <p:grpSp>
        <p:nvGrpSpPr>
          <p:cNvPr id="6458" name="Group 6457">
            <a:extLst>
              <a:ext uri="{FF2B5EF4-FFF2-40B4-BE49-F238E27FC236}">
                <a16:creationId xmlns:a16="http://schemas.microsoft.com/office/drawing/2014/main" id="{F298CBED-F307-DA9E-1AC0-CA22B9AB54E0}"/>
              </a:ext>
            </a:extLst>
          </p:cNvPr>
          <p:cNvGrpSpPr/>
          <p:nvPr/>
        </p:nvGrpSpPr>
        <p:grpSpPr>
          <a:xfrm>
            <a:off x="8669745" y="3162402"/>
            <a:ext cx="2754982" cy="1864717"/>
            <a:chOff x="1059371" y="2677059"/>
            <a:chExt cx="2754982" cy="1864717"/>
          </a:xfrm>
        </p:grpSpPr>
        <p:sp>
          <p:nvSpPr>
            <p:cNvPr id="6459" name="pt6">
              <a:extLst>
                <a:ext uri="{FF2B5EF4-FFF2-40B4-BE49-F238E27FC236}">
                  <a16:creationId xmlns:a16="http://schemas.microsoft.com/office/drawing/2014/main" id="{393459F9-2A5A-C9F1-FBB1-270047FE7C41}"/>
                </a:ext>
              </a:extLst>
            </p:cNvPr>
            <p:cNvSpPr/>
            <p:nvPr/>
          </p:nvSpPr>
          <p:spPr>
            <a:xfrm>
              <a:off x="1059371" y="3241196"/>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60" name="pt7">
              <a:extLst>
                <a:ext uri="{FF2B5EF4-FFF2-40B4-BE49-F238E27FC236}">
                  <a16:creationId xmlns:a16="http://schemas.microsoft.com/office/drawing/2014/main" id="{CA30D7FD-CE0A-279F-EEB0-E9F3721E23E5}"/>
                </a:ext>
              </a:extLst>
            </p:cNvPr>
            <p:cNvSpPr/>
            <p:nvPr/>
          </p:nvSpPr>
          <p:spPr>
            <a:xfrm>
              <a:off x="1285944" y="3239193"/>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61" name="pt8">
              <a:extLst>
                <a:ext uri="{FF2B5EF4-FFF2-40B4-BE49-F238E27FC236}">
                  <a16:creationId xmlns:a16="http://schemas.microsoft.com/office/drawing/2014/main" id="{699F8884-FB05-9F6D-6314-ED42781E4D3B}"/>
                </a:ext>
              </a:extLst>
            </p:cNvPr>
            <p:cNvSpPr/>
            <p:nvPr/>
          </p:nvSpPr>
          <p:spPr>
            <a:xfrm>
              <a:off x="1512518" y="3202183"/>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62" name="pt9">
              <a:extLst>
                <a:ext uri="{FF2B5EF4-FFF2-40B4-BE49-F238E27FC236}">
                  <a16:creationId xmlns:a16="http://schemas.microsoft.com/office/drawing/2014/main" id="{885CCCCA-43BA-5E47-DA1E-DCD0834BA9E7}"/>
                </a:ext>
              </a:extLst>
            </p:cNvPr>
            <p:cNvSpPr/>
            <p:nvPr/>
          </p:nvSpPr>
          <p:spPr>
            <a:xfrm>
              <a:off x="1739091" y="3145744"/>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6463" name="pt10">
              <a:extLst>
                <a:ext uri="{FF2B5EF4-FFF2-40B4-BE49-F238E27FC236}">
                  <a16:creationId xmlns:a16="http://schemas.microsoft.com/office/drawing/2014/main" id="{FEC923AC-5EB2-F5EE-D295-C0BA0E669094}"/>
                </a:ext>
              </a:extLst>
            </p:cNvPr>
            <p:cNvSpPr/>
            <p:nvPr/>
          </p:nvSpPr>
          <p:spPr>
            <a:xfrm>
              <a:off x="1965665" y="3148720"/>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393" name="pt11">
              <a:extLst>
                <a:ext uri="{FF2B5EF4-FFF2-40B4-BE49-F238E27FC236}">
                  <a16:creationId xmlns:a16="http://schemas.microsoft.com/office/drawing/2014/main" id="{75D3533D-8B14-E3D4-8B58-C1A794D445C8}"/>
                </a:ext>
              </a:extLst>
            </p:cNvPr>
            <p:cNvSpPr/>
            <p:nvPr/>
          </p:nvSpPr>
          <p:spPr>
            <a:xfrm>
              <a:off x="2418812" y="3081638"/>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394" name="pt12">
              <a:extLst>
                <a:ext uri="{FF2B5EF4-FFF2-40B4-BE49-F238E27FC236}">
                  <a16:creationId xmlns:a16="http://schemas.microsoft.com/office/drawing/2014/main" id="{E897DDB1-5ED6-8387-D570-2F7409E58EFB}"/>
                </a:ext>
              </a:extLst>
            </p:cNvPr>
            <p:cNvSpPr/>
            <p:nvPr/>
          </p:nvSpPr>
          <p:spPr>
            <a:xfrm>
              <a:off x="2871958" y="2922800"/>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395" name="pt13">
              <a:extLst>
                <a:ext uri="{FF2B5EF4-FFF2-40B4-BE49-F238E27FC236}">
                  <a16:creationId xmlns:a16="http://schemas.microsoft.com/office/drawing/2014/main" id="{114FFD4D-03F8-E7A8-16DF-32BBE636C59B}"/>
                </a:ext>
              </a:extLst>
            </p:cNvPr>
            <p:cNvSpPr/>
            <p:nvPr/>
          </p:nvSpPr>
          <p:spPr>
            <a:xfrm>
              <a:off x="3325105" y="2837785"/>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396" name="pt14">
              <a:extLst>
                <a:ext uri="{FF2B5EF4-FFF2-40B4-BE49-F238E27FC236}">
                  <a16:creationId xmlns:a16="http://schemas.microsoft.com/office/drawing/2014/main" id="{A5AC5D27-A5AE-A39B-8905-40DCDFE05CF1}"/>
                </a:ext>
              </a:extLst>
            </p:cNvPr>
            <p:cNvSpPr/>
            <p:nvPr/>
          </p:nvSpPr>
          <p:spPr>
            <a:xfrm>
              <a:off x="3778252" y="2824792"/>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397" name="pt15">
              <a:extLst>
                <a:ext uri="{FF2B5EF4-FFF2-40B4-BE49-F238E27FC236}">
                  <a16:creationId xmlns:a16="http://schemas.microsoft.com/office/drawing/2014/main" id="{60F88D97-8FC7-B973-EEA9-D9DA7E7F9E16}"/>
                </a:ext>
              </a:extLst>
            </p:cNvPr>
            <p:cNvSpPr/>
            <p:nvPr/>
          </p:nvSpPr>
          <p:spPr>
            <a:xfrm>
              <a:off x="1059371" y="3241196"/>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398" name="pt16">
              <a:extLst>
                <a:ext uri="{FF2B5EF4-FFF2-40B4-BE49-F238E27FC236}">
                  <a16:creationId xmlns:a16="http://schemas.microsoft.com/office/drawing/2014/main" id="{B600992A-D58E-6AD3-E903-7617DE0E8E15}"/>
                </a:ext>
              </a:extLst>
            </p:cNvPr>
            <p:cNvSpPr/>
            <p:nvPr/>
          </p:nvSpPr>
          <p:spPr>
            <a:xfrm>
              <a:off x="1285944" y="3712522"/>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399" name="pt17">
              <a:extLst>
                <a:ext uri="{FF2B5EF4-FFF2-40B4-BE49-F238E27FC236}">
                  <a16:creationId xmlns:a16="http://schemas.microsoft.com/office/drawing/2014/main" id="{F60972CC-E915-9360-7D85-B3152546CA30}"/>
                </a:ext>
              </a:extLst>
            </p:cNvPr>
            <p:cNvSpPr/>
            <p:nvPr/>
          </p:nvSpPr>
          <p:spPr>
            <a:xfrm>
              <a:off x="1512518" y="3898771"/>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00" name="pt18">
              <a:extLst>
                <a:ext uri="{FF2B5EF4-FFF2-40B4-BE49-F238E27FC236}">
                  <a16:creationId xmlns:a16="http://schemas.microsoft.com/office/drawing/2014/main" id="{A1125710-924F-BE0D-1D2B-761FBB5B5483}"/>
                </a:ext>
              </a:extLst>
            </p:cNvPr>
            <p:cNvSpPr/>
            <p:nvPr/>
          </p:nvSpPr>
          <p:spPr>
            <a:xfrm>
              <a:off x="1739091" y="3957577"/>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01" name="pt19">
              <a:extLst>
                <a:ext uri="{FF2B5EF4-FFF2-40B4-BE49-F238E27FC236}">
                  <a16:creationId xmlns:a16="http://schemas.microsoft.com/office/drawing/2014/main" id="{68E5E11B-5CC5-7E65-B78E-1B1BB689C150}"/>
                </a:ext>
              </a:extLst>
            </p:cNvPr>
            <p:cNvSpPr/>
            <p:nvPr/>
          </p:nvSpPr>
          <p:spPr>
            <a:xfrm>
              <a:off x="1965665" y="4017482"/>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02" name="pt20">
              <a:extLst>
                <a:ext uri="{FF2B5EF4-FFF2-40B4-BE49-F238E27FC236}">
                  <a16:creationId xmlns:a16="http://schemas.microsoft.com/office/drawing/2014/main" id="{0879D938-084C-19BF-E2D0-E3B3934A5F48}"/>
                </a:ext>
              </a:extLst>
            </p:cNvPr>
            <p:cNvSpPr/>
            <p:nvPr/>
          </p:nvSpPr>
          <p:spPr>
            <a:xfrm>
              <a:off x="2418812" y="4055647"/>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03" name="pt21">
              <a:extLst>
                <a:ext uri="{FF2B5EF4-FFF2-40B4-BE49-F238E27FC236}">
                  <a16:creationId xmlns:a16="http://schemas.microsoft.com/office/drawing/2014/main" id="{9C06DF39-2CA4-F34F-1E90-D5C21DB7A603}"/>
                </a:ext>
              </a:extLst>
            </p:cNvPr>
            <p:cNvSpPr/>
            <p:nvPr/>
          </p:nvSpPr>
          <p:spPr>
            <a:xfrm>
              <a:off x="2871958" y="3939992"/>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04" name="pt22">
              <a:extLst>
                <a:ext uri="{FF2B5EF4-FFF2-40B4-BE49-F238E27FC236}">
                  <a16:creationId xmlns:a16="http://schemas.microsoft.com/office/drawing/2014/main" id="{B5553A72-EE72-759B-5AB6-9DAE9D6E3008}"/>
                </a:ext>
              </a:extLst>
            </p:cNvPr>
            <p:cNvSpPr/>
            <p:nvPr/>
          </p:nvSpPr>
          <p:spPr>
            <a:xfrm>
              <a:off x="3325105" y="3893776"/>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05" name="pt23">
              <a:extLst>
                <a:ext uri="{FF2B5EF4-FFF2-40B4-BE49-F238E27FC236}">
                  <a16:creationId xmlns:a16="http://schemas.microsoft.com/office/drawing/2014/main" id="{0902B74A-01DD-AD0A-619B-3EF71E0CE72E}"/>
                </a:ext>
              </a:extLst>
            </p:cNvPr>
            <p:cNvSpPr/>
            <p:nvPr/>
          </p:nvSpPr>
          <p:spPr>
            <a:xfrm>
              <a:off x="3778252" y="3851329"/>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06" name="pt24">
              <a:extLst>
                <a:ext uri="{FF2B5EF4-FFF2-40B4-BE49-F238E27FC236}">
                  <a16:creationId xmlns:a16="http://schemas.microsoft.com/office/drawing/2014/main" id="{2DA3A92E-7620-1D50-CB4E-3E2D847D3CDD}"/>
                </a:ext>
              </a:extLst>
            </p:cNvPr>
            <p:cNvSpPr/>
            <p:nvPr/>
          </p:nvSpPr>
          <p:spPr>
            <a:xfrm>
              <a:off x="1059371" y="3241196"/>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07" name="pt25">
              <a:extLst>
                <a:ext uri="{FF2B5EF4-FFF2-40B4-BE49-F238E27FC236}">
                  <a16:creationId xmlns:a16="http://schemas.microsoft.com/office/drawing/2014/main" id="{B7DF0350-FA12-B929-C740-C33A8EFF340F}"/>
                </a:ext>
              </a:extLst>
            </p:cNvPr>
            <p:cNvSpPr/>
            <p:nvPr/>
          </p:nvSpPr>
          <p:spPr>
            <a:xfrm>
              <a:off x="1285944" y="3520694"/>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08" name="pt26">
              <a:extLst>
                <a:ext uri="{FF2B5EF4-FFF2-40B4-BE49-F238E27FC236}">
                  <a16:creationId xmlns:a16="http://schemas.microsoft.com/office/drawing/2014/main" id="{4D95A155-7C63-E34A-4C0C-AA2AA321F17E}"/>
                </a:ext>
              </a:extLst>
            </p:cNvPr>
            <p:cNvSpPr/>
            <p:nvPr/>
          </p:nvSpPr>
          <p:spPr>
            <a:xfrm>
              <a:off x="1512518" y="3661131"/>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09" name="pt27">
              <a:extLst>
                <a:ext uri="{FF2B5EF4-FFF2-40B4-BE49-F238E27FC236}">
                  <a16:creationId xmlns:a16="http://schemas.microsoft.com/office/drawing/2014/main" id="{1B190D24-C001-D758-8999-CE81E9A6A169}"/>
                </a:ext>
              </a:extLst>
            </p:cNvPr>
            <p:cNvSpPr/>
            <p:nvPr/>
          </p:nvSpPr>
          <p:spPr>
            <a:xfrm>
              <a:off x="1739091" y="3777133"/>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10" name="pt28">
              <a:extLst>
                <a:ext uri="{FF2B5EF4-FFF2-40B4-BE49-F238E27FC236}">
                  <a16:creationId xmlns:a16="http://schemas.microsoft.com/office/drawing/2014/main" id="{FA090684-E468-4C02-D162-F58EA2DF64AD}"/>
                </a:ext>
              </a:extLst>
            </p:cNvPr>
            <p:cNvSpPr/>
            <p:nvPr/>
          </p:nvSpPr>
          <p:spPr>
            <a:xfrm>
              <a:off x="1965665" y="3849142"/>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11" name="pt29">
              <a:extLst>
                <a:ext uri="{FF2B5EF4-FFF2-40B4-BE49-F238E27FC236}">
                  <a16:creationId xmlns:a16="http://schemas.microsoft.com/office/drawing/2014/main" id="{6F4C7BE8-3C7D-D338-AA8A-8C59287F17D8}"/>
                </a:ext>
              </a:extLst>
            </p:cNvPr>
            <p:cNvSpPr/>
            <p:nvPr/>
          </p:nvSpPr>
          <p:spPr>
            <a:xfrm>
              <a:off x="2418812" y="3754300"/>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12" name="pt30">
              <a:extLst>
                <a:ext uri="{FF2B5EF4-FFF2-40B4-BE49-F238E27FC236}">
                  <a16:creationId xmlns:a16="http://schemas.microsoft.com/office/drawing/2014/main" id="{36D8B2B8-59DD-97B3-835F-80C9C1457778}"/>
                </a:ext>
              </a:extLst>
            </p:cNvPr>
            <p:cNvSpPr/>
            <p:nvPr/>
          </p:nvSpPr>
          <p:spPr>
            <a:xfrm>
              <a:off x="2871958" y="3601900"/>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13" name="pt31">
              <a:extLst>
                <a:ext uri="{FF2B5EF4-FFF2-40B4-BE49-F238E27FC236}">
                  <a16:creationId xmlns:a16="http://schemas.microsoft.com/office/drawing/2014/main" id="{4E6C3A54-126A-8C6D-A477-CE412E9704B1}"/>
                </a:ext>
              </a:extLst>
            </p:cNvPr>
            <p:cNvSpPr/>
            <p:nvPr/>
          </p:nvSpPr>
          <p:spPr>
            <a:xfrm>
              <a:off x="3325105" y="3452347"/>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14" name="pt32">
              <a:extLst>
                <a:ext uri="{FF2B5EF4-FFF2-40B4-BE49-F238E27FC236}">
                  <a16:creationId xmlns:a16="http://schemas.microsoft.com/office/drawing/2014/main" id="{87AAB6F0-EBBD-F1CC-A711-073D8D6CB581}"/>
                </a:ext>
              </a:extLst>
            </p:cNvPr>
            <p:cNvSpPr/>
            <p:nvPr/>
          </p:nvSpPr>
          <p:spPr>
            <a:xfrm>
              <a:off x="3778252" y="3428758"/>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15" name="pt33">
              <a:extLst>
                <a:ext uri="{FF2B5EF4-FFF2-40B4-BE49-F238E27FC236}">
                  <a16:creationId xmlns:a16="http://schemas.microsoft.com/office/drawing/2014/main" id="{6DA02400-1A81-B62D-4B37-2078A068D805}"/>
                </a:ext>
              </a:extLst>
            </p:cNvPr>
            <p:cNvSpPr/>
            <p:nvPr/>
          </p:nvSpPr>
          <p:spPr>
            <a:xfrm>
              <a:off x="1059371" y="3241196"/>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16" name="pt34">
              <a:extLst>
                <a:ext uri="{FF2B5EF4-FFF2-40B4-BE49-F238E27FC236}">
                  <a16:creationId xmlns:a16="http://schemas.microsoft.com/office/drawing/2014/main" id="{71CBEBE0-9F0B-7B72-5EA0-8C6C57D8D68E}"/>
                </a:ext>
              </a:extLst>
            </p:cNvPr>
            <p:cNvSpPr/>
            <p:nvPr/>
          </p:nvSpPr>
          <p:spPr>
            <a:xfrm>
              <a:off x="1285944" y="3677865"/>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17" name="pt35">
              <a:extLst>
                <a:ext uri="{FF2B5EF4-FFF2-40B4-BE49-F238E27FC236}">
                  <a16:creationId xmlns:a16="http://schemas.microsoft.com/office/drawing/2014/main" id="{37223083-98F2-B375-3477-082AB18A6B73}"/>
                </a:ext>
              </a:extLst>
            </p:cNvPr>
            <p:cNvSpPr/>
            <p:nvPr/>
          </p:nvSpPr>
          <p:spPr>
            <a:xfrm>
              <a:off x="1512518" y="4106716"/>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18" name="pt36">
              <a:extLst>
                <a:ext uri="{FF2B5EF4-FFF2-40B4-BE49-F238E27FC236}">
                  <a16:creationId xmlns:a16="http://schemas.microsoft.com/office/drawing/2014/main" id="{5EAAF1E8-E637-201A-5D01-653600FD0F02}"/>
                </a:ext>
              </a:extLst>
            </p:cNvPr>
            <p:cNvSpPr/>
            <p:nvPr/>
          </p:nvSpPr>
          <p:spPr>
            <a:xfrm>
              <a:off x="1739091" y="4300590"/>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19" name="pt37">
              <a:extLst>
                <a:ext uri="{FF2B5EF4-FFF2-40B4-BE49-F238E27FC236}">
                  <a16:creationId xmlns:a16="http://schemas.microsoft.com/office/drawing/2014/main" id="{D8235F55-221D-3231-E625-EAE86AE93219}"/>
                </a:ext>
              </a:extLst>
            </p:cNvPr>
            <p:cNvSpPr/>
            <p:nvPr/>
          </p:nvSpPr>
          <p:spPr>
            <a:xfrm>
              <a:off x="1965665" y="4436202"/>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20" name="pt38">
              <a:extLst>
                <a:ext uri="{FF2B5EF4-FFF2-40B4-BE49-F238E27FC236}">
                  <a16:creationId xmlns:a16="http://schemas.microsoft.com/office/drawing/2014/main" id="{A977E344-D14D-F387-7954-D925AEBBE196}"/>
                </a:ext>
              </a:extLst>
            </p:cNvPr>
            <p:cNvSpPr/>
            <p:nvPr/>
          </p:nvSpPr>
          <p:spPr>
            <a:xfrm>
              <a:off x="2418812" y="4505675"/>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21" name="pt39">
              <a:extLst>
                <a:ext uri="{FF2B5EF4-FFF2-40B4-BE49-F238E27FC236}">
                  <a16:creationId xmlns:a16="http://schemas.microsoft.com/office/drawing/2014/main" id="{F57079F7-3682-345A-6E55-2A71D6AA5FBA}"/>
                </a:ext>
              </a:extLst>
            </p:cNvPr>
            <p:cNvSpPr/>
            <p:nvPr/>
          </p:nvSpPr>
          <p:spPr>
            <a:xfrm>
              <a:off x="2871958" y="4436566"/>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22" name="pt40">
              <a:extLst>
                <a:ext uri="{FF2B5EF4-FFF2-40B4-BE49-F238E27FC236}">
                  <a16:creationId xmlns:a16="http://schemas.microsoft.com/office/drawing/2014/main" id="{B7C5F395-A79A-47EB-EE8C-B0CAFC857CA0}"/>
                </a:ext>
              </a:extLst>
            </p:cNvPr>
            <p:cNvSpPr/>
            <p:nvPr/>
          </p:nvSpPr>
          <p:spPr>
            <a:xfrm>
              <a:off x="3325105" y="4394966"/>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23" name="pt41">
              <a:extLst>
                <a:ext uri="{FF2B5EF4-FFF2-40B4-BE49-F238E27FC236}">
                  <a16:creationId xmlns:a16="http://schemas.microsoft.com/office/drawing/2014/main" id="{6EC08C1C-312D-C626-E59F-CF8191F10053}"/>
                </a:ext>
              </a:extLst>
            </p:cNvPr>
            <p:cNvSpPr/>
            <p:nvPr/>
          </p:nvSpPr>
          <p:spPr>
            <a:xfrm>
              <a:off x="3778252" y="4409630"/>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24" name="pl42">
              <a:extLst>
                <a:ext uri="{FF2B5EF4-FFF2-40B4-BE49-F238E27FC236}">
                  <a16:creationId xmlns:a16="http://schemas.microsoft.com/office/drawing/2014/main" id="{1389195A-BE8E-3D3E-BDC1-DBB696F4B89F}"/>
                </a:ext>
              </a:extLst>
            </p:cNvPr>
            <p:cNvSpPr/>
            <p:nvPr/>
          </p:nvSpPr>
          <p:spPr>
            <a:xfrm>
              <a:off x="1077422" y="2842843"/>
              <a:ext cx="2718881" cy="416403"/>
            </a:xfrm>
            <a:custGeom>
              <a:avLst/>
              <a:gdLst/>
              <a:ahLst/>
              <a:cxnLst/>
              <a:rect l="0" t="0" r="0" b="0"/>
              <a:pathLst>
                <a:path w="2718881" h="416403">
                  <a:moveTo>
                    <a:pt x="0" y="416403"/>
                  </a:moveTo>
                  <a:lnTo>
                    <a:pt x="226573" y="414400"/>
                  </a:lnTo>
                  <a:lnTo>
                    <a:pt x="453146" y="377390"/>
                  </a:lnTo>
                  <a:lnTo>
                    <a:pt x="679720" y="320951"/>
                  </a:lnTo>
                  <a:lnTo>
                    <a:pt x="906293" y="323927"/>
                  </a:lnTo>
                  <a:lnTo>
                    <a:pt x="1359440" y="256845"/>
                  </a:lnTo>
                  <a:lnTo>
                    <a:pt x="1812587" y="98007"/>
                  </a:lnTo>
                  <a:lnTo>
                    <a:pt x="2265734" y="12992"/>
                  </a:lnTo>
                  <a:lnTo>
                    <a:pt x="2718881"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25" name="pl43">
              <a:extLst>
                <a:ext uri="{FF2B5EF4-FFF2-40B4-BE49-F238E27FC236}">
                  <a16:creationId xmlns:a16="http://schemas.microsoft.com/office/drawing/2014/main" id="{A3655677-18ED-0664-D6FB-35AE625DB76F}"/>
                </a:ext>
              </a:extLst>
            </p:cNvPr>
            <p:cNvSpPr/>
            <p:nvPr/>
          </p:nvSpPr>
          <p:spPr>
            <a:xfrm>
              <a:off x="1077422" y="3259247"/>
              <a:ext cx="2718881" cy="814450"/>
            </a:xfrm>
            <a:custGeom>
              <a:avLst/>
              <a:gdLst/>
              <a:ahLst/>
              <a:cxnLst/>
              <a:rect l="0" t="0" r="0" b="0"/>
              <a:pathLst>
                <a:path w="2718881" h="814450">
                  <a:moveTo>
                    <a:pt x="0" y="0"/>
                  </a:moveTo>
                  <a:lnTo>
                    <a:pt x="226573" y="471325"/>
                  </a:lnTo>
                  <a:lnTo>
                    <a:pt x="453146" y="657574"/>
                  </a:lnTo>
                  <a:lnTo>
                    <a:pt x="679720" y="716380"/>
                  </a:lnTo>
                  <a:lnTo>
                    <a:pt x="906293" y="776285"/>
                  </a:lnTo>
                  <a:lnTo>
                    <a:pt x="1359440" y="814450"/>
                  </a:lnTo>
                  <a:lnTo>
                    <a:pt x="1812587" y="698795"/>
                  </a:lnTo>
                  <a:lnTo>
                    <a:pt x="2265734" y="652579"/>
                  </a:lnTo>
                  <a:lnTo>
                    <a:pt x="2718881" y="610132"/>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26" name="pl44">
              <a:extLst>
                <a:ext uri="{FF2B5EF4-FFF2-40B4-BE49-F238E27FC236}">
                  <a16:creationId xmlns:a16="http://schemas.microsoft.com/office/drawing/2014/main" id="{4E0B2205-ED7F-F577-D1F4-CCDCEB9544A7}"/>
                </a:ext>
              </a:extLst>
            </p:cNvPr>
            <p:cNvSpPr/>
            <p:nvPr/>
          </p:nvSpPr>
          <p:spPr>
            <a:xfrm>
              <a:off x="1077422" y="3259247"/>
              <a:ext cx="2718881" cy="607945"/>
            </a:xfrm>
            <a:custGeom>
              <a:avLst/>
              <a:gdLst/>
              <a:ahLst/>
              <a:cxnLst/>
              <a:rect l="0" t="0" r="0" b="0"/>
              <a:pathLst>
                <a:path w="2718881" h="607945">
                  <a:moveTo>
                    <a:pt x="0" y="0"/>
                  </a:moveTo>
                  <a:lnTo>
                    <a:pt x="226573" y="279497"/>
                  </a:lnTo>
                  <a:lnTo>
                    <a:pt x="453146" y="419934"/>
                  </a:lnTo>
                  <a:lnTo>
                    <a:pt x="679720" y="535936"/>
                  </a:lnTo>
                  <a:lnTo>
                    <a:pt x="906293" y="607945"/>
                  </a:lnTo>
                  <a:lnTo>
                    <a:pt x="1359440" y="513103"/>
                  </a:lnTo>
                  <a:lnTo>
                    <a:pt x="1812587" y="360703"/>
                  </a:lnTo>
                  <a:lnTo>
                    <a:pt x="2265734" y="211150"/>
                  </a:lnTo>
                  <a:lnTo>
                    <a:pt x="2718881" y="187561"/>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27" name="pl45">
              <a:extLst>
                <a:ext uri="{FF2B5EF4-FFF2-40B4-BE49-F238E27FC236}">
                  <a16:creationId xmlns:a16="http://schemas.microsoft.com/office/drawing/2014/main" id="{B54B1E8A-2910-3486-639C-A9B5BF07025C}"/>
                </a:ext>
              </a:extLst>
            </p:cNvPr>
            <p:cNvSpPr/>
            <p:nvPr/>
          </p:nvSpPr>
          <p:spPr>
            <a:xfrm>
              <a:off x="1077422" y="3259247"/>
              <a:ext cx="2718881" cy="1264478"/>
            </a:xfrm>
            <a:custGeom>
              <a:avLst/>
              <a:gdLst/>
              <a:ahLst/>
              <a:cxnLst/>
              <a:rect l="0" t="0" r="0" b="0"/>
              <a:pathLst>
                <a:path w="2718881" h="1264478">
                  <a:moveTo>
                    <a:pt x="0" y="0"/>
                  </a:moveTo>
                  <a:lnTo>
                    <a:pt x="226573" y="436668"/>
                  </a:lnTo>
                  <a:lnTo>
                    <a:pt x="453146" y="865519"/>
                  </a:lnTo>
                  <a:lnTo>
                    <a:pt x="679720" y="1059393"/>
                  </a:lnTo>
                  <a:lnTo>
                    <a:pt x="906293" y="1195005"/>
                  </a:lnTo>
                  <a:lnTo>
                    <a:pt x="1359440" y="1264478"/>
                  </a:lnTo>
                  <a:lnTo>
                    <a:pt x="1812587" y="1195369"/>
                  </a:lnTo>
                  <a:lnTo>
                    <a:pt x="2265734" y="1153769"/>
                  </a:lnTo>
                  <a:lnTo>
                    <a:pt x="2718881" y="1168433"/>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28" name="pl46">
              <a:extLst>
                <a:ext uri="{FF2B5EF4-FFF2-40B4-BE49-F238E27FC236}">
                  <a16:creationId xmlns:a16="http://schemas.microsoft.com/office/drawing/2014/main" id="{A8C2BF92-81C3-7151-2119-CDFBDF0C3935}"/>
                </a:ext>
              </a:extLst>
            </p:cNvPr>
            <p:cNvSpPr/>
            <p:nvPr/>
          </p:nvSpPr>
          <p:spPr>
            <a:xfrm>
              <a:off x="1077422" y="3259247"/>
              <a:ext cx="0" cy="0"/>
            </a:xfrm>
            <a:custGeom>
              <a:avLst/>
              <a:gdLst/>
              <a:ahLst/>
              <a:cxnLst/>
              <a:rect l="0" t="0" r="0" b="0"/>
              <a:pathLst>
                <a:path>
                  <a:moveTo>
                    <a:pt x="0" y="0"/>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29" name="pl47">
              <a:extLst>
                <a:ext uri="{FF2B5EF4-FFF2-40B4-BE49-F238E27FC236}">
                  <a16:creationId xmlns:a16="http://schemas.microsoft.com/office/drawing/2014/main" id="{016692EC-F0C2-E360-D1E1-EECCE7ACA0BE}"/>
                </a:ext>
              </a:extLst>
            </p:cNvPr>
            <p:cNvSpPr/>
            <p:nvPr/>
          </p:nvSpPr>
          <p:spPr>
            <a:xfrm>
              <a:off x="1303995" y="3192789"/>
              <a:ext cx="0" cy="64454"/>
            </a:xfrm>
            <a:custGeom>
              <a:avLst/>
              <a:gdLst/>
              <a:ahLst/>
              <a:cxnLst/>
              <a:rect l="0" t="0" r="0" b="0"/>
              <a:pathLst>
                <a:path h="64454">
                  <a:moveTo>
                    <a:pt x="0" y="64454"/>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30" name="pl48">
              <a:extLst>
                <a:ext uri="{FF2B5EF4-FFF2-40B4-BE49-F238E27FC236}">
                  <a16:creationId xmlns:a16="http://schemas.microsoft.com/office/drawing/2014/main" id="{A8B7B6F7-1097-A2BC-FBAB-CED939B6C583}"/>
                </a:ext>
              </a:extLst>
            </p:cNvPr>
            <p:cNvSpPr/>
            <p:nvPr/>
          </p:nvSpPr>
          <p:spPr>
            <a:xfrm>
              <a:off x="1530568" y="3152825"/>
              <a:ext cx="0" cy="67409"/>
            </a:xfrm>
            <a:custGeom>
              <a:avLst/>
              <a:gdLst/>
              <a:ahLst/>
              <a:cxnLst/>
              <a:rect l="0" t="0" r="0" b="0"/>
              <a:pathLst>
                <a:path h="67409">
                  <a:moveTo>
                    <a:pt x="0" y="67409"/>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31" name="pl49">
              <a:extLst>
                <a:ext uri="{FF2B5EF4-FFF2-40B4-BE49-F238E27FC236}">
                  <a16:creationId xmlns:a16="http://schemas.microsoft.com/office/drawing/2014/main" id="{5FB432EA-6F6B-EC65-EC08-4AD267222DE6}"/>
                </a:ext>
              </a:extLst>
            </p:cNvPr>
            <p:cNvSpPr/>
            <p:nvPr/>
          </p:nvSpPr>
          <p:spPr>
            <a:xfrm>
              <a:off x="1757142" y="3087271"/>
              <a:ext cx="0" cy="76523"/>
            </a:xfrm>
            <a:custGeom>
              <a:avLst/>
              <a:gdLst/>
              <a:ahLst/>
              <a:cxnLst/>
              <a:rect l="0" t="0" r="0" b="0"/>
              <a:pathLst>
                <a:path h="76523">
                  <a:moveTo>
                    <a:pt x="0" y="76523"/>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32" name="pl50">
              <a:extLst>
                <a:ext uri="{FF2B5EF4-FFF2-40B4-BE49-F238E27FC236}">
                  <a16:creationId xmlns:a16="http://schemas.microsoft.com/office/drawing/2014/main" id="{12D062D3-9676-DC31-E081-2124ADE5CA27}"/>
                </a:ext>
              </a:extLst>
            </p:cNvPr>
            <p:cNvSpPr/>
            <p:nvPr/>
          </p:nvSpPr>
          <p:spPr>
            <a:xfrm>
              <a:off x="1983715" y="3079854"/>
              <a:ext cx="0" cy="86916"/>
            </a:xfrm>
            <a:custGeom>
              <a:avLst/>
              <a:gdLst/>
              <a:ahLst/>
              <a:cxnLst/>
              <a:rect l="0" t="0" r="0" b="0"/>
              <a:pathLst>
                <a:path h="86916">
                  <a:moveTo>
                    <a:pt x="0" y="86916"/>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33" name="pl51">
              <a:extLst>
                <a:ext uri="{FF2B5EF4-FFF2-40B4-BE49-F238E27FC236}">
                  <a16:creationId xmlns:a16="http://schemas.microsoft.com/office/drawing/2014/main" id="{804578BB-928C-F748-6468-EF2899FCA6DA}"/>
                </a:ext>
              </a:extLst>
            </p:cNvPr>
            <p:cNvSpPr/>
            <p:nvPr/>
          </p:nvSpPr>
          <p:spPr>
            <a:xfrm>
              <a:off x="2436862" y="2975988"/>
              <a:ext cx="0" cy="123700"/>
            </a:xfrm>
            <a:custGeom>
              <a:avLst/>
              <a:gdLst/>
              <a:ahLst/>
              <a:cxnLst/>
              <a:rect l="0" t="0" r="0" b="0"/>
              <a:pathLst>
                <a:path h="123700">
                  <a:moveTo>
                    <a:pt x="0" y="123700"/>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34" name="pl52">
              <a:extLst>
                <a:ext uri="{FF2B5EF4-FFF2-40B4-BE49-F238E27FC236}">
                  <a16:creationId xmlns:a16="http://schemas.microsoft.com/office/drawing/2014/main" id="{4439B0B6-C2A8-10B9-C109-9C26505D0DA0}"/>
                </a:ext>
              </a:extLst>
            </p:cNvPr>
            <p:cNvSpPr/>
            <p:nvPr/>
          </p:nvSpPr>
          <p:spPr>
            <a:xfrm>
              <a:off x="2890009" y="2790868"/>
              <a:ext cx="0" cy="149983"/>
            </a:xfrm>
            <a:custGeom>
              <a:avLst/>
              <a:gdLst/>
              <a:ahLst/>
              <a:cxnLst/>
              <a:rect l="0" t="0" r="0" b="0"/>
              <a:pathLst>
                <a:path h="149983">
                  <a:moveTo>
                    <a:pt x="0" y="149983"/>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35" name="pl53">
              <a:extLst>
                <a:ext uri="{FF2B5EF4-FFF2-40B4-BE49-F238E27FC236}">
                  <a16:creationId xmlns:a16="http://schemas.microsoft.com/office/drawing/2014/main" id="{9A3B62A1-AA78-0FAB-E792-AF67A2146E96}"/>
                </a:ext>
              </a:extLst>
            </p:cNvPr>
            <p:cNvSpPr/>
            <p:nvPr/>
          </p:nvSpPr>
          <p:spPr>
            <a:xfrm>
              <a:off x="3343156" y="2696001"/>
              <a:ext cx="0" cy="159834"/>
            </a:xfrm>
            <a:custGeom>
              <a:avLst/>
              <a:gdLst/>
              <a:ahLst/>
              <a:cxnLst/>
              <a:rect l="0" t="0" r="0" b="0"/>
              <a:pathLst>
                <a:path h="159834">
                  <a:moveTo>
                    <a:pt x="0" y="159834"/>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36" name="pl54">
              <a:extLst>
                <a:ext uri="{FF2B5EF4-FFF2-40B4-BE49-F238E27FC236}">
                  <a16:creationId xmlns:a16="http://schemas.microsoft.com/office/drawing/2014/main" id="{F83E7E6F-C1E4-4AA7-415F-17DBBC66E0E3}"/>
                </a:ext>
              </a:extLst>
            </p:cNvPr>
            <p:cNvSpPr/>
            <p:nvPr/>
          </p:nvSpPr>
          <p:spPr>
            <a:xfrm>
              <a:off x="3796303" y="2677059"/>
              <a:ext cx="0" cy="165783"/>
            </a:xfrm>
            <a:custGeom>
              <a:avLst/>
              <a:gdLst/>
              <a:ahLst/>
              <a:cxnLst/>
              <a:rect l="0" t="0" r="0" b="0"/>
              <a:pathLst>
                <a:path h="165783">
                  <a:moveTo>
                    <a:pt x="0" y="165783"/>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37" name="pl55">
              <a:extLst>
                <a:ext uri="{FF2B5EF4-FFF2-40B4-BE49-F238E27FC236}">
                  <a16:creationId xmlns:a16="http://schemas.microsoft.com/office/drawing/2014/main" id="{32BAAB42-EF1D-1F66-71D2-49BB0DE342EF}"/>
                </a:ext>
              </a:extLst>
            </p:cNvPr>
            <p:cNvSpPr/>
            <p:nvPr/>
          </p:nvSpPr>
          <p:spPr>
            <a:xfrm>
              <a:off x="1077422" y="3259247"/>
              <a:ext cx="0" cy="0"/>
            </a:xfrm>
            <a:custGeom>
              <a:avLst/>
              <a:gdLst/>
              <a:ahLst/>
              <a:cxnLst/>
              <a:rect l="0" t="0" r="0" b="0"/>
              <a:pathLst>
                <a:path>
                  <a:moveTo>
                    <a:pt x="0" y="0"/>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38" name="pl56">
              <a:extLst>
                <a:ext uri="{FF2B5EF4-FFF2-40B4-BE49-F238E27FC236}">
                  <a16:creationId xmlns:a16="http://schemas.microsoft.com/office/drawing/2014/main" id="{17477B2C-A6FB-108C-9143-7CD2978CF862}"/>
                </a:ext>
              </a:extLst>
            </p:cNvPr>
            <p:cNvSpPr/>
            <p:nvPr/>
          </p:nvSpPr>
          <p:spPr>
            <a:xfrm>
              <a:off x="1303995" y="3675145"/>
              <a:ext cx="0" cy="55427"/>
            </a:xfrm>
            <a:custGeom>
              <a:avLst/>
              <a:gdLst/>
              <a:ahLst/>
              <a:cxnLst/>
              <a:rect l="0" t="0" r="0" b="0"/>
              <a:pathLst>
                <a:path h="55427">
                  <a:moveTo>
                    <a:pt x="0" y="55427"/>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39" name="pl57">
              <a:extLst>
                <a:ext uri="{FF2B5EF4-FFF2-40B4-BE49-F238E27FC236}">
                  <a16:creationId xmlns:a16="http://schemas.microsoft.com/office/drawing/2014/main" id="{DE4691F2-9C1C-D039-F919-AF94F0C4CCB9}"/>
                </a:ext>
              </a:extLst>
            </p:cNvPr>
            <p:cNvSpPr/>
            <p:nvPr/>
          </p:nvSpPr>
          <p:spPr>
            <a:xfrm>
              <a:off x="1530568" y="3848739"/>
              <a:ext cx="0" cy="68082"/>
            </a:xfrm>
            <a:custGeom>
              <a:avLst/>
              <a:gdLst/>
              <a:ahLst/>
              <a:cxnLst/>
              <a:rect l="0" t="0" r="0" b="0"/>
              <a:pathLst>
                <a:path h="68082">
                  <a:moveTo>
                    <a:pt x="0" y="68082"/>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40" name="pl58">
              <a:extLst>
                <a:ext uri="{FF2B5EF4-FFF2-40B4-BE49-F238E27FC236}">
                  <a16:creationId xmlns:a16="http://schemas.microsoft.com/office/drawing/2014/main" id="{BFC79B40-3FB1-15B1-1FDE-74E2CD94AAE0}"/>
                </a:ext>
              </a:extLst>
            </p:cNvPr>
            <p:cNvSpPr/>
            <p:nvPr/>
          </p:nvSpPr>
          <p:spPr>
            <a:xfrm>
              <a:off x="1757142" y="3909859"/>
              <a:ext cx="0" cy="65768"/>
            </a:xfrm>
            <a:custGeom>
              <a:avLst/>
              <a:gdLst/>
              <a:ahLst/>
              <a:cxnLst/>
              <a:rect l="0" t="0" r="0" b="0"/>
              <a:pathLst>
                <a:path h="65768">
                  <a:moveTo>
                    <a:pt x="0" y="65768"/>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41" name="pl59">
              <a:extLst>
                <a:ext uri="{FF2B5EF4-FFF2-40B4-BE49-F238E27FC236}">
                  <a16:creationId xmlns:a16="http://schemas.microsoft.com/office/drawing/2014/main" id="{5A20C847-1198-9A33-92B7-BB84902445B1}"/>
                </a:ext>
              </a:extLst>
            </p:cNvPr>
            <p:cNvSpPr/>
            <p:nvPr/>
          </p:nvSpPr>
          <p:spPr>
            <a:xfrm>
              <a:off x="1983715" y="3962249"/>
              <a:ext cx="0" cy="73283"/>
            </a:xfrm>
            <a:custGeom>
              <a:avLst/>
              <a:gdLst/>
              <a:ahLst/>
              <a:cxnLst/>
              <a:rect l="0" t="0" r="0" b="0"/>
              <a:pathLst>
                <a:path h="73283">
                  <a:moveTo>
                    <a:pt x="0" y="73283"/>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42" name="pl60">
              <a:extLst>
                <a:ext uri="{FF2B5EF4-FFF2-40B4-BE49-F238E27FC236}">
                  <a16:creationId xmlns:a16="http://schemas.microsoft.com/office/drawing/2014/main" id="{91C5A475-163C-9165-EAD0-3F2471E0942F}"/>
                </a:ext>
              </a:extLst>
            </p:cNvPr>
            <p:cNvSpPr/>
            <p:nvPr/>
          </p:nvSpPr>
          <p:spPr>
            <a:xfrm>
              <a:off x="2436862" y="3989969"/>
              <a:ext cx="0" cy="83728"/>
            </a:xfrm>
            <a:custGeom>
              <a:avLst/>
              <a:gdLst/>
              <a:ahLst/>
              <a:cxnLst/>
              <a:rect l="0" t="0" r="0" b="0"/>
              <a:pathLst>
                <a:path h="83728">
                  <a:moveTo>
                    <a:pt x="0" y="83728"/>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43" name="pl61">
              <a:extLst>
                <a:ext uri="{FF2B5EF4-FFF2-40B4-BE49-F238E27FC236}">
                  <a16:creationId xmlns:a16="http://schemas.microsoft.com/office/drawing/2014/main" id="{D65FB565-BCB2-3EC4-712A-53D4A351C752}"/>
                </a:ext>
              </a:extLst>
            </p:cNvPr>
            <p:cNvSpPr/>
            <p:nvPr/>
          </p:nvSpPr>
          <p:spPr>
            <a:xfrm>
              <a:off x="2890009" y="3870724"/>
              <a:ext cx="0" cy="87318"/>
            </a:xfrm>
            <a:custGeom>
              <a:avLst/>
              <a:gdLst/>
              <a:ahLst/>
              <a:cxnLst/>
              <a:rect l="0" t="0" r="0" b="0"/>
              <a:pathLst>
                <a:path h="87318">
                  <a:moveTo>
                    <a:pt x="0" y="87318"/>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44" name="pl62">
              <a:extLst>
                <a:ext uri="{FF2B5EF4-FFF2-40B4-BE49-F238E27FC236}">
                  <a16:creationId xmlns:a16="http://schemas.microsoft.com/office/drawing/2014/main" id="{2ABB61E5-90C1-785D-FEF1-6BC6797329EA}"/>
                </a:ext>
              </a:extLst>
            </p:cNvPr>
            <p:cNvSpPr/>
            <p:nvPr/>
          </p:nvSpPr>
          <p:spPr>
            <a:xfrm>
              <a:off x="3343156" y="3787680"/>
              <a:ext cx="0" cy="124146"/>
            </a:xfrm>
            <a:custGeom>
              <a:avLst/>
              <a:gdLst/>
              <a:ahLst/>
              <a:cxnLst/>
              <a:rect l="0" t="0" r="0" b="0"/>
              <a:pathLst>
                <a:path h="124146">
                  <a:moveTo>
                    <a:pt x="0" y="124146"/>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45" name="pl63">
              <a:extLst>
                <a:ext uri="{FF2B5EF4-FFF2-40B4-BE49-F238E27FC236}">
                  <a16:creationId xmlns:a16="http://schemas.microsoft.com/office/drawing/2014/main" id="{A629F797-4B12-C40F-2B01-01DF7181AF44}"/>
                </a:ext>
              </a:extLst>
            </p:cNvPr>
            <p:cNvSpPr/>
            <p:nvPr/>
          </p:nvSpPr>
          <p:spPr>
            <a:xfrm>
              <a:off x="3796303" y="3740320"/>
              <a:ext cx="0" cy="129059"/>
            </a:xfrm>
            <a:custGeom>
              <a:avLst/>
              <a:gdLst/>
              <a:ahLst/>
              <a:cxnLst/>
              <a:rect l="0" t="0" r="0" b="0"/>
              <a:pathLst>
                <a:path h="129059">
                  <a:moveTo>
                    <a:pt x="0" y="129059"/>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46" name="pl64">
              <a:extLst>
                <a:ext uri="{FF2B5EF4-FFF2-40B4-BE49-F238E27FC236}">
                  <a16:creationId xmlns:a16="http://schemas.microsoft.com/office/drawing/2014/main" id="{5E225976-0C57-6E26-C61F-88D16BB3D1A4}"/>
                </a:ext>
              </a:extLst>
            </p:cNvPr>
            <p:cNvSpPr/>
            <p:nvPr/>
          </p:nvSpPr>
          <p:spPr>
            <a:xfrm>
              <a:off x="1077422" y="3259247"/>
              <a:ext cx="0" cy="0"/>
            </a:xfrm>
            <a:custGeom>
              <a:avLst/>
              <a:gdLst/>
              <a:ahLst/>
              <a:cxnLst/>
              <a:rect l="0" t="0" r="0" b="0"/>
              <a:pathLst>
                <a:path>
                  <a:moveTo>
                    <a:pt x="0" y="0"/>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8447" name="pl65">
              <a:extLst>
                <a:ext uri="{FF2B5EF4-FFF2-40B4-BE49-F238E27FC236}">
                  <a16:creationId xmlns:a16="http://schemas.microsoft.com/office/drawing/2014/main" id="{81086FBF-362A-A4C8-E743-B5F56653EC43}"/>
                </a:ext>
              </a:extLst>
            </p:cNvPr>
            <p:cNvSpPr/>
            <p:nvPr/>
          </p:nvSpPr>
          <p:spPr>
            <a:xfrm>
              <a:off x="1303995" y="3486547"/>
              <a:ext cx="0" cy="52198"/>
            </a:xfrm>
            <a:custGeom>
              <a:avLst/>
              <a:gdLst/>
              <a:ahLst/>
              <a:cxnLst/>
              <a:rect l="0" t="0" r="0" b="0"/>
              <a:pathLst>
                <a:path h="52198">
                  <a:moveTo>
                    <a:pt x="0" y="52198"/>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066" name="pl66">
              <a:extLst>
                <a:ext uri="{FF2B5EF4-FFF2-40B4-BE49-F238E27FC236}">
                  <a16:creationId xmlns:a16="http://schemas.microsoft.com/office/drawing/2014/main" id="{A9095F60-0DBD-C4D1-D94C-CFE67E85690F}"/>
                </a:ext>
              </a:extLst>
            </p:cNvPr>
            <p:cNvSpPr/>
            <p:nvPr/>
          </p:nvSpPr>
          <p:spPr>
            <a:xfrm>
              <a:off x="1530568" y="3599674"/>
              <a:ext cx="0" cy="79507"/>
            </a:xfrm>
            <a:custGeom>
              <a:avLst/>
              <a:gdLst/>
              <a:ahLst/>
              <a:cxnLst/>
              <a:rect l="0" t="0" r="0" b="0"/>
              <a:pathLst>
                <a:path h="79507">
                  <a:moveTo>
                    <a:pt x="0" y="79507"/>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106" name="pl67">
              <a:extLst>
                <a:ext uri="{FF2B5EF4-FFF2-40B4-BE49-F238E27FC236}">
                  <a16:creationId xmlns:a16="http://schemas.microsoft.com/office/drawing/2014/main" id="{059A3E52-9960-4C4D-E804-42F5B6C38236}"/>
                </a:ext>
              </a:extLst>
            </p:cNvPr>
            <p:cNvSpPr/>
            <p:nvPr/>
          </p:nvSpPr>
          <p:spPr>
            <a:xfrm>
              <a:off x="1757142" y="3706776"/>
              <a:ext cx="0" cy="88407"/>
            </a:xfrm>
            <a:custGeom>
              <a:avLst/>
              <a:gdLst/>
              <a:ahLst/>
              <a:cxnLst/>
              <a:rect l="0" t="0" r="0" b="0"/>
              <a:pathLst>
                <a:path h="88407">
                  <a:moveTo>
                    <a:pt x="0" y="88407"/>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107" name="pl68">
              <a:extLst>
                <a:ext uri="{FF2B5EF4-FFF2-40B4-BE49-F238E27FC236}">
                  <a16:creationId xmlns:a16="http://schemas.microsoft.com/office/drawing/2014/main" id="{895FCE77-0EDD-F71D-81D3-F06776A75691}"/>
                </a:ext>
              </a:extLst>
            </p:cNvPr>
            <p:cNvSpPr/>
            <p:nvPr/>
          </p:nvSpPr>
          <p:spPr>
            <a:xfrm>
              <a:off x="1983715" y="3766084"/>
              <a:ext cx="0" cy="101108"/>
            </a:xfrm>
            <a:custGeom>
              <a:avLst/>
              <a:gdLst/>
              <a:ahLst/>
              <a:cxnLst/>
              <a:rect l="0" t="0" r="0" b="0"/>
              <a:pathLst>
                <a:path h="101108">
                  <a:moveTo>
                    <a:pt x="0" y="101108"/>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108" name="pl69">
              <a:extLst>
                <a:ext uri="{FF2B5EF4-FFF2-40B4-BE49-F238E27FC236}">
                  <a16:creationId xmlns:a16="http://schemas.microsoft.com/office/drawing/2014/main" id="{73488041-B22F-00A9-BA64-C30DDEA644ED}"/>
                </a:ext>
              </a:extLst>
            </p:cNvPr>
            <p:cNvSpPr/>
            <p:nvPr/>
          </p:nvSpPr>
          <p:spPr>
            <a:xfrm>
              <a:off x="2436862" y="3649827"/>
              <a:ext cx="0" cy="122523"/>
            </a:xfrm>
            <a:custGeom>
              <a:avLst/>
              <a:gdLst/>
              <a:ahLst/>
              <a:cxnLst/>
              <a:rect l="0" t="0" r="0" b="0"/>
              <a:pathLst>
                <a:path h="122523">
                  <a:moveTo>
                    <a:pt x="0" y="122523"/>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109" name="pl70">
              <a:extLst>
                <a:ext uri="{FF2B5EF4-FFF2-40B4-BE49-F238E27FC236}">
                  <a16:creationId xmlns:a16="http://schemas.microsoft.com/office/drawing/2014/main" id="{4563D06F-8ADB-B7F2-A2BE-73417F03CEA0}"/>
                </a:ext>
              </a:extLst>
            </p:cNvPr>
            <p:cNvSpPr/>
            <p:nvPr/>
          </p:nvSpPr>
          <p:spPr>
            <a:xfrm>
              <a:off x="2890009" y="3485506"/>
              <a:ext cx="0" cy="134444"/>
            </a:xfrm>
            <a:custGeom>
              <a:avLst/>
              <a:gdLst/>
              <a:ahLst/>
              <a:cxnLst/>
              <a:rect l="0" t="0" r="0" b="0"/>
              <a:pathLst>
                <a:path h="134444">
                  <a:moveTo>
                    <a:pt x="0" y="134444"/>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110" name="pl71">
              <a:extLst>
                <a:ext uri="{FF2B5EF4-FFF2-40B4-BE49-F238E27FC236}">
                  <a16:creationId xmlns:a16="http://schemas.microsoft.com/office/drawing/2014/main" id="{770001AA-2B9F-8FB2-F6EB-9B9959055DEE}"/>
                </a:ext>
              </a:extLst>
            </p:cNvPr>
            <p:cNvSpPr/>
            <p:nvPr/>
          </p:nvSpPr>
          <p:spPr>
            <a:xfrm>
              <a:off x="3343156" y="3323267"/>
              <a:ext cx="0" cy="147130"/>
            </a:xfrm>
            <a:custGeom>
              <a:avLst/>
              <a:gdLst/>
              <a:ahLst/>
              <a:cxnLst/>
              <a:rect l="0" t="0" r="0" b="0"/>
              <a:pathLst>
                <a:path h="147130">
                  <a:moveTo>
                    <a:pt x="0" y="147130"/>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111" name="pl72">
              <a:extLst>
                <a:ext uri="{FF2B5EF4-FFF2-40B4-BE49-F238E27FC236}">
                  <a16:creationId xmlns:a16="http://schemas.microsoft.com/office/drawing/2014/main" id="{915E15F1-FACA-1B0D-351C-2D36209E727B}"/>
                </a:ext>
              </a:extLst>
            </p:cNvPr>
            <p:cNvSpPr/>
            <p:nvPr/>
          </p:nvSpPr>
          <p:spPr>
            <a:xfrm>
              <a:off x="3796303" y="3303516"/>
              <a:ext cx="0" cy="143292"/>
            </a:xfrm>
            <a:custGeom>
              <a:avLst/>
              <a:gdLst/>
              <a:ahLst/>
              <a:cxnLst/>
              <a:rect l="0" t="0" r="0" b="0"/>
              <a:pathLst>
                <a:path h="143292">
                  <a:moveTo>
                    <a:pt x="0" y="143292"/>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112" name="pl73">
              <a:extLst>
                <a:ext uri="{FF2B5EF4-FFF2-40B4-BE49-F238E27FC236}">
                  <a16:creationId xmlns:a16="http://schemas.microsoft.com/office/drawing/2014/main" id="{C41E08AD-B75B-422E-2391-43C912798456}"/>
                </a:ext>
              </a:extLst>
            </p:cNvPr>
            <p:cNvSpPr/>
            <p:nvPr/>
          </p:nvSpPr>
          <p:spPr>
            <a:xfrm>
              <a:off x="1077422" y="3259247"/>
              <a:ext cx="0" cy="0"/>
            </a:xfrm>
            <a:custGeom>
              <a:avLst/>
              <a:gdLst/>
              <a:ahLst/>
              <a:cxnLst/>
              <a:rect l="0" t="0" r="0" b="0"/>
              <a:pathLst>
                <a:path>
                  <a:moveTo>
                    <a:pt x="0" y="0"/>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113" name="pl74">
              <a:extLst>
                <a:ext uri="{FF2B5EF4-FFF2-40B4-BE49-F238E27FC236}">
                  <a16:creationId xmlns:a16="http://schemas.microsoft.com/office/drawing/2014/main" id="{884B3FE3-A91C-F2C4-2403-9DF4274E395A}"/>
                </a:ext>
              </a:extLst>
            </p:cNvPr>
            <p:cNvSpPr/>
            <p:nvPr/>
          </p:nvSpPr>
          <p:spPr>
            <a:xfrm>
              <a:off x="1303995" y="3636852"/>
              <a:ext cx="0" cy="59064"/>
            </a:xfrm>
            <a:custGeom>
              <a:avLst/>
              <a:gdLst/>
              <a:ahLst/>
              <a:cxnLst/>
              <a:rect l="0" t="0" r="0" b="0"/>
              <a:pathLst>
                <a:path h="59064">
                  <a:moveTo>
                    <a:pt x="0" y="59064"/>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114" name="pl75">
              <a:extLst>
                <a:ext uri="{FF2B5EF4-FFF2-40B4-BE49-F238E27FC236}">
                  <a16:creationId xmlns:a16="http://schemas.microsoft.com/office/drawing/2014/main" id="{CCBC7FFD-5FFD-77B1-894C-FA326C0958B8}"/>
                </a:ext>
              </a:extLst>
            </p:cNvPr>
            <p:cNvSpPr/>
            <p:nvPr/>
          </p:nvSpPr>
          <p:spPr>
            <a:xfrm>
              <a:off x="1530568" y="4033504"/>
              <a:ext cx="0" cy="91262"/>
            </a:xfrm>
            <a:custGeom>
              <a:avLst/>
              <a:gdLst/>
              <a:ahLst/>
              <a:cxnLst/>
              <a:rect l="0" t="0" r="0" b="0"/>
              <a:pathLst>
                <a:path h="91262">
                  <a:moveTo>
                    <a:pt x="0" y="91262"/>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115" name="pl76">
              <a:extLst>
                <a:ext uri="{FF2B5EF4-FFF2-40B4-BE49-F238E27FC236}">
                  <a16:creationId xmlns:a16="http://schemas.microsoft.com/office/drawing/2014/main" id="{CA199AA5-6903-6512-E86A-FB9A4E110EFF}"/>
                </a:ext>
              </a:extLst>
            </p:cNvPr>
            <p:cNvSpPr/>
            <p:nvPr/>
          </p:nvSpPr>
          <p:spPr>
            <a:xfrm>
              <a:off x="1757142" y="4218175"/>
              <a:ext cx="0" cy="100464"/>
            </a:xfrm>
            <a:custGeom>
              <a:avLst/>
              <a:gdLst/>
              <a:ahLst/>
              <a:cxnLst/>
              <a:rect l="0" t="0" r="0" b="0"/>
              <a:pathLst>
                <a:path h="100464">
                  <a:moveTo>
                    <a:pt x="0" y="100464"/>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116" name="pl77">
              <a:extLst>
                <a:ext uri="{FF2B5EF4-FFF2-40B4-BE49-F238E27FC236}">
                  <a16:creationId xmlns:a16="http://schemas.microsoft.com/office/drawing/2014/main" id="{F1826E32-75ED-E0D1-8774-B9D0CC91C159}"/>
                </a:ext>
              </a:extLst>
            </p:cNvPr>
            <p:cNvSpPr/>
            <p:nvPr/>
          </p:nvSpPr>
          <p:spPr>
            <a:xfrm>
              <a:off x="1983715" y="4348123"/>
              <a:ext cx="0" cy="106128"/>
            </a:xfrm>
            <a:custGeom>
              <a:avLst/>
              <a:gdLst/>
              <a:ahLst/>
              <a:cxnLst/>
              <a:rect l="0" t="0" r="0" b="0"/>
              <a:pathLst>
                <a:path h="106128">
                  <a:moveTo>
                    <a:pt x="0" y="106128"/>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117" name="pl78">
              <a:extLst>
                <a:ext uri="{FF2B5EF4-FFF2-40B4-BE49-F238E27FC236}">
                  <a16:creationId xmlns:a16="http://schemas.microsoft.com/office/drawing/2014/main" id="{6859C507-EE80-BEC9-E647-DF823CE5A0DC}"/>
                </a:ext>
              </a:extLst>
            </p:cNvPr>
            <p:cNvSpPr/>
            <p:nvPr/>
          </p:nvSpPr>
          <p:spPr>
            <a:xfrm>
              <a:off x="2436862" y="4412387"/>
              <a:ext cx="0" cy="111337"/>
            </a:xfrm>
            <a:custGeom>
              <a:avLst/>
              <a:gdLst/>
              <a:ahLst/>
              <a:cxnLst/>
              <a:rect l="0" t="0" r="0" b="0"/>
              <a:pathLst>
                <a:path h="111337">
                  <a:moveTo>
                    <a:pt x="0" y="111337"/>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118" name="pl79">
              <a:extLst>
                <a:ext uri="{FF2B5EF4-FFF2-40B4-BE49-F238E27FC236}">
                  <a16:creationId xmlns:a16="http://schemas.microsoft.com/office/drawing/2014/main" id="{1A6B36F2-E08A-04E1-578A-036CE69BBEBE}"/>
                </a:ext>
              </a:extLst>
            </p:cNvPr>
            <p:cNvSpPr/>
            <p:nvPr/>
          </p:nvSpPr>
          <p:spPr>
            <a:xfrm>
              <a:off x="2890009" y="4323081"/>
              <a:ext cx="0" cy="131535"/>
            </a:xfrm>
            <a:custGeom>
              <a:avLst/>
              <a:gdLst/>
              <a:ahLst/>
              <a:cxnLst/>
              <a:rect l="0" t="0" r="0" b="0"/>
              <a:pathLst>
                <a:path h="131535">
                  <a:moveTo>
                    <a:pt x="0" y="131535"/>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5119" name="pl80">
              <a:extLst>
                <a:ext uri="{FF2B5EF4-FFF2-40B4-BE49-F238E27FC236}">
                  <a16:creationId xmlns:a16="http://schemas.microsoft.com/office/drawing/2014/main" id="{569BCAF5-3724-6E8F-5BF3-AD009262D042}"/>
                </a:ext>
              </a:extLst>
            </p:cNvPr>
            <p:cNvSpPr/>
            <p:nvPr/>
          </p:nvSpPr>
          <p:spPr>
            <a:xfrm>
              <a:off x="3343156" y="4264692"/>
              <a:ext cx="0" cy="148323"/>
            </a:xfrm>
            <a:custGeom>
              <a:avLst/>
              <a:gdLst/>
              <a:ahLst/>
              <a:cxnLst/>
              <a:rect l="0" t="0" r="0" b="0"/>
              <a:pathLst>
                <a:path h="148323">
                  <a:moveTo>
                    <a:pt x="0" y="148323"/>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24" name="pl81">
              <a:extLst>
                <a:ext uri="{FF2B5EF4-FFF2-40B4-BE49-F238E27FC236}">
                  <a16:creationId xmlns:a16="http://schemas.microsoft.com/office/drawing/2014/main" id="{37C6AFEB-6FBD-2B48-7B11-970838439F74}"/>
                </a:ext>
              </a:extLst>
            </p:cNvPr>
            <p:cNvSpPr/>
            <p:nvPr/>
          </p:nvSpPr>
          <p:spPr>
            <a:xfrm>
              <a:off x="3796303" y="4275064"/>
              <a:ext cx="0" cy="152616"/>
            </a:xfrm>
            <a:custGeom>
              <a:avLst/>
              <a:gdLst/>
              <a:ahLst/>
              <a:cxnLst/>
              <a:rect l="0" t="0" r="0" b="0"/>
              <a:pathLst>
                <a:path h="152616">
                  <a:moveTo>
                    <a:pt x="0" y="152616"/>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grpSp>
      <p:grpSp>
        <p:nvGrpSpPr>
          <p:cNvPr id="10625" name="Group 10624">
            <a:extLst>
              <a:ext uri="{FF2B5EF4-FFF2-40B4-BE49-F238E27FC236}">
                <a16:creationId xmlns:a16="http://schemas.microsoft.com/office/drawing/2014/main" id="{43229F0C-E8C5-236A-D4DA-874A6DB3D76C}"/>
              </a:ext>
            </a:extLst>
          </p:cNvPr>
          <p:cNvGrpSpPr/>
          <p:nvPr/>
        </p:nvGrpSpPr>
        <p:grpSpPr>
          <a:xfrm>
            <a:off x="8668528" y="3163754"/>
            <a:ext cx="2754982" cy="1951449"/>
            <a:chOff x="6845607" y="2595578"/>
            <a:chExt cx="2754982" cy="1951449"/>
          </a:xfrm>
        </p:grpSpPr>
        <p:sp>
          <p:nvSpPr>
            <p:cNvPr id="10626" name="pt6">
              <a:extLst>
                <a:ext uri="{FF2B5EF4-FFF2-40B4-BE49-F238E27FC236}">
                  <a16:creationId xmlns:a16="http://schemas.microsoft.com/office/drawing/2014/main" id="{F22595F5-AD99-A9C4-560B-FF0076378473}"/>
                </a:ext>
              </a:extLst>
            </p:cNvPr>
            <p:cNvSpPr/>
            <p:nvPr/>
          </p:nvSpPr>
          <p:spPr>
            <a:xfrm>
              <a:off x="6845607" y="3159715"/>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27" name="pt7">
              <a:extLst>
                <a:ext uri="{FF2B5EF4-FFF2-40B4-BE49-F238E27FC236}">
                  <a16:creationId xmlns:a16="http://schemas.microsoft.com/office/drawing/2014/main" id="{125CC365-0A26-42E4-1E34-D83DDDD4AD7A}"/>
                </a:ext>
              </a:extLst>
            </p:cNvPr>
            <p:cNvSpPr/>
            <p:nvPr/>
          </p:nvSpPr>
          <p:spPr>
            <a:xfrm>
              <a:off x="7072180" y="3157712"/>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28" name="pt8">
              <a:extLst>
                <a:ext uri="{FF2B5EF4-FFF2-40B4-BE49-F238E27FC236}">
                  <a16:creationId xmlns:a16="http://schemas.microsoft.com/office/drawing/2014/main" id="{D13D31FB-D68D-F904-8672-F89CAB3C52C8}"/>
                </a:ext>
              </a:extLst>
            </p:cNvPr>
            <p:cNvSpPr/>
            <p:nvPr/>
          </p:nvSpPr>
          <p:spPr>
            <a:xfrm>
              <a:off x="7298754" y="3120702"/>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29" name="pt9">
              <a:extLst>
                <a:ext uri="{FF2B5EF4-FFF2-40B4-BE49-F238E27FC236}">
                  <a16:creationId xmlns:a16="http://schemas.microsoft.com/office/drawing/2014/main" id="{B30AE022-C1DF-AE9A-55F3-12FD30A90AE2}"/>
                </a:ext>
              </a:extLst>
            </p:cNvPr>
            <p:cNvSpPr/>
            <p:nvPr/>
          </p:nvSpPr>
          <p:spPr>
            <a:xfrm>
              <a:off x="7525327" y="3064263"/>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30" name="pt10">
              <a:extLst>
                <a:ext uri="{FF2B5EF4-FFF2-40B4-BE49-F238E27FC236}">
                  <a16:creationId xmlns:a16="http://schemas.microsoft.com/office/drawing/2014/main" id="{E15C224B-2C3C-CA59-CCAB-A964DAA93849}"/>
                </a:ext>
              </a:extLst>
            </p:cNvPr>
            <p:cNvSpPr/>
            <p:nvPr/>
          </p:nvSpPr>
          <p:spPr>
            <a:xfrm>
              <a:off x="7751901" y="3067239"/>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31" name="pt11">
              <a:extLst>
                <a:ext uri="{FF2B5EF4-FFF2-40B4-BE49-F238E27FC236}">
                  <a16:creationId xmlns:a16="http://schemas.microsoft.com/office/drawing/2014/main" id="{44267200-F09F-25E5-45EE-95ED246B474F}"/>
                </a:ext>
              </a:extLst>
            </p:cNvPr>
            <p:cNvSpPr/>
            <p:nvPr/>
          </p:nvSpPr>
          <p:spPr>
            <a:xfrm>
              <a:off x="8205048" y="3000157"/>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32" name="pt12">
              <a:extLst>
                <a:ext uri="{FF2B5EF4-FFF2-40B4-BE49-F238E27FC236}">
                  <a16:creationId xmlns:a16="http://schemas.microsoft.com/office/drawing/2014/main" id="{59E185F4-2B4B-0395-758E-E6FCB147F5C6}"/>
                </a:ext>
              </a:extLst>
            </p:cNvPr>
            <p:cNvSpPr/>
            <p:nvPr/>
          </p:nvSpPr>
          <p:spPr>
            <a:xfrm>
              <a:off x="8658194" y="2841319"/>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33" name="pt13">
              <a:extLst>
                <a:ext uri="{FF2B5EF4-FFF2-40B4-BE49-F238E27FC236}">
                  <a16:creationId xmlns:a16="http://schemas.microsoft.com/office/drawing/2014/main" id="{62A1C3E2-FA74-7CBC-7D82-7FCF6BD0CE53}"/>
                </a:ext>
              </a:extLst>
            </p:cNvPr>
            <p:cNvSpPr/>
            <p:nvPr/>
          </p:nvSpPr>
          <p:spPr>
            <a:xfrm>
              <a:off x="9111341" y="2756304"/>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34" name="pt14">
              <a:extLst>
                <a:ext uri="{FF2B5EF4-FFF2-40B4-BE49-F238E27FC236}">
                  <a16:creationId xmlns:a16="http://schemas.microsoft.com/office/drawing/2014/main" id="{00C3D5E2-1930-3605-4D07-B8D42CF03D89}"/>
                </a:ext>
              </a:extLst>
            </p:cNvPr>
            <p:cNvSpPr/>
            <p:nvPr/>
          </p:nvSpPr>
          <p:spPr>
            <a:xfrm>
              <a:off x="9564488" y="2743311"/>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35" name="pt15">
              <a:extLst>
                <a:ext uri="{FF2B5EF4-FFF2-40B4-BE49-F238E27FC236}">
                  <a16:creationId xmlns:a16="http://schemas.microsoft.com/office/drawing/2014/main" id="{9583493A-0A57-761A-66F5-8C7217EFC627}"/>
                </a:ext>
              </a:extLst>
            </p:cNvPr>
            <p:cNvSpPr/>
            <p:nvPr/>
          </p:nvSpPr>
          <p:spPr>
            <a:xfrm>
              <a:off x="6845607" y="3159715"/>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36" name="pt16">
              <a:extLst>
                <a:ext uri="{FF2B5EF4-FFF2-40B4-BE49-F238E27FC236}">
                  <a16:creationId xmlns:a16="http://schemas.microsoft.com/office/drawing/2014/main" id="{F07F08D2-2823-392F-633A-0B0FBF828682}"/>
                </a:ext>
              </a:extLst>
            </p:cNvPr>
            <p:cNvSpPr/>
            <p:nvPr/>
          </p:nvSpPr>
          <p:spPr>
            <a:xfrm>
              <a:off x="7072180" y="3631041"/>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37" name="pt17">
              <a:extLst>
                <a:ext uri="{FF2B5EF4-FFF2-40B4-BE49-F238E27FC236}">
                  <a16:creationId xmlns:a16="http://schemas.microsoft.com/office/drawing/2014/main" id="{EE4073BC-AB71-9629-3071-2EB0CEBFED40}"/>
                </a:ext>
              </a:extLst>
            </p:cNvPr>
            <p:cNvSpPr/>
            <p:nvPr/>
          </p:nvSpPr>
          <p:spPr>
            <a:xfrm>
              <a:off x="7298754" y="3817290"/>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38" name="pt18">
              <a:extLst>
                <a:ext uri="{FF2B5EF4-FFF2-40B4-BE49-F238E27FC236}">
                  <a16:creationId xmlns:a16="http://schemas.microsoft.com/office/drawing/2014/main" id="{1ED2661D-F0AA-4DD3-DF82-08BF3B70DCA8}"/>
                </a:ext>
              </a:extLst>
            </p:cNvPr>
            <p:cNvSpPr/>
            <p:nvPr/>
          </p:nvSpPr>
          <p:spPr>
            <a:xfrm>
              <a:off x="7525327" y="3876096"/>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39" name="pt19">
              <a:extLst>
                <a:ext uri="{FF2B5EF4-FFF2-40B4-BE49-F238E27FC236}">
                  <a16:creationId xmlns:a16="http://schemas.microsoft.com/office/drawing/2014/main" id="{3E18D7A6-672B-D034-FE1E-D8E9AA1851F7}"/>
                </a:ext>
              </a:extLst>
            </p:cNvPr>
            <p:cNvSpPr/>
            <p:nvPr/>
          </p:nvSpPr>
          <p:spPr>
            <a:xfrm>
              <a:off x="7751901" y="3936001"/>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40" name="pt20">
              <a:extLst>
                <a:ext uri="{FF2B5EF4-FFF2-40B4-BE49-F238E27FC236}">
                  <a16:creationId xmlns:a16="http://schemas.microsoft.com/office/drawing/2014/main" id="{AB25E586-62CE-0876-FDA4-E9D87E78EAC8}"/>
                </a:ext>
              </a:extLst>
            </p:cNvPr>
            <p:cNvSpPr/>
            <p:nvPr/>
          </p:nvSpPr>
          <p:spPr>
            <a:xfrm>
              <a:off x="8205048" y="3974166"/>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41" name="pt21">
              <a:extLst>
                <a:ext uri="{FF2B5EF4-FFF2-40B4-BE49-F238E27FC236}">
                  <a16:creationId xmlns:a16="http://schemas.microsoft.com/office/drawing/2014/main" id="{C6AC8932-F10C-9602-0E25-89E61EFCAE7E}"/>
                </a:ext>
              </a:extLst>
            </p:cNvPr>
            <p:cNvSpPr/>
            <p:nvPr/>
          </p:nvSpPr>
          <p:spPr>
            <a:xfrm>
              <a:off x="8658194" y="3858511"/>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42" name="pt22">
              <a:extLst>
                <a:ext uri="{FF2B5EF4-FFF2-40B4-BE49-F238E27FC236}">
                  <a16:creationId xmlns:a16="http://schemas.microsoft.com/office/drawing/2014/main" id="{B90C8A39-AA4C-3031-EB9F-AD37ADD2F335}"/>
                </a:ext>
              </a:extLst>
            </p:cNvPr>
            <p:cNvSpPr/>
            <p:nvPr/>
          </p:nvSpPr>
          <p:spPr>
            <a:xfrm>
              <a:off x="9111341" y="3812295"/>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43" name="pt23">
              <a:extLst>
                <a:ext uri="{FF2B5EF4-FFF2-40B4-BE49-F238E27FC236}">
                  <a16:creationId xmlns:a16="http://schemas.microsoft.com/office/drawing/2014/main" id="{9D29672D-3E9F-828F-65FD-A6D153A4C161}"/>
                </a:ext>
              </a:extLst>
            </p:cNvPr>
            <p:cNvSpPr/>
            <p:nvPr/>
          </p:nvSpPr>
          <p:spPr>
            <a:xfrm>
              <a:off x="9564488" y="3769848"/>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44" name="pt24">
              <a:extLst>
                <a:ext uri="{FF2B5EF4-FFF2-40B4-BE49-F238E27FC236}">
                  <a16:creationId xmlns:a16="http://schemas.microsoft.com/office/drawing/2014/main" id="{D7DCAEF3-42B7-98FB-262F-2628C10F7A34}"/>
                </a:ext>
              </a:extLst>
            </p:cNvPr>
            <p:cNvSpPr/>
            <p:nvPr/>
          </p:nvSpPr>
          <p:spPr>
            <a:xfrm>
              <a:off x="6845607" y="3159715"/>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45" name="pt25">
              <a:extLst>
                <a:ext uri="{FF2B5EF4-FFF2-40B4-BE49-F238E27FC236}">
                  <a16:creationId xmlns:a16="http://schemas.microsoft.com/office/drawing/2014/main" id="{684B64E1-28A2-7283-60B2-EBAD726EDBB8}"/>
                </a:ext>
              </a:extLst>
            </p:cNvPr>
            <p:cNvSpPr/>
            <p:nvPr/>
          </p:nvSpPr>
          <p:spPr>
            <a:xfrm>
              <a:off x="7072180" y="3439213"/>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46" name="pt26">
              <a:extLst>
                <a:ext uri="{FF2B5EF4-FFF2-40B4-BE49-F238E27FC236}">
                  <a16:creationId xmlns:a16="http://schemas.microsoft.com/office/drawing/2014/main" id="{4F91D910-814C-9837-3778-397B2C091071}"/>
                </a:ext>
              </a:extLst>
            </p:cNvPr>
            <p:cNvSpPr/>
            <p:nvPr/>
          </p:nvSpPr>
          <p:spPr>
            <a:xfrm>
              <a:off x="7298754" y="3579650"/>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47" name="pt27">
              <a:extLst>
                <a:ext uri="{FF2B5EF4-FFF2-40B4-BE49-F238E27FC236}">
                  <a16:creationId xmlns:a16="http://schemas.microsoft.com/office/drawing/2014/main" id="{4321ABDF-4707-4923-6E25-AA5465AA0B44}"/>
                </a:ext>
              </a:extLst>
            </p:cNvPr>
            <p:cNvSpPr/>
            <p:nvPr/>
          </p:nvSpPr>
          <p:spPr>
            <a:xfrm>
              <a:off x="7525327" y="3695652"/>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48" name="pt28">
              <a:extLst>
                <a:ext uri="{FF2B5EF4-FFF2-40B4-BE49-F238E27FC236}">
                  <a16:creationId xmlns:a16="http://schemas.microsoft.com/office/drawing/2014/main" id="{F33A2952-A191-525D-0285-2DA5CADE8755}"/>
                </a:ext>
              </a:extLst>
            </p:cNvPr>
            <p:cNvSpPr/>
            <p:nvPr/>
          </p:nvSpPr>
          <p:spPr>
            <a:xfrm>
              <a:off x="7751901" y="3767661"/>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49" name="pt29">
              <a:extLst>
                <a:ext uri="{FF2B5EF4-FFF2-40B4-BE49-F238E27FC236}">
                  <a16:creationId xmlns:a16="http://schemas.microsoft.com/office/drawing/2014/main" id="{F4B7C6A4-99AE-CA45-35FF-B18E996BC329}"/>
                </a:ext>
              </a:extLst>
            </p:cNvPr>
            <p:cNvSpPr/>
            <p:nvPr/>
          </p:nvSpPr>
          <p:spPr>
            <a:xfrm>
              <a:off x="8205048" y="3672819"/>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50" name="pt30">
              <a:extLst>
                <a:ext uri="{FF2B5EF4-FFF2-40B4-BE49-F238E27FC236}">
                  <a16:creationId xmlns:a16="http://schemas.microsoft.com/office/drawing/2014/main" id="{793734F6-048F-B6F3-DCD7-9DA6811D05D0}"/>
                </a:ext>
              </a:extLst>
            </p:cNvPr>
            <p:cNvSpPr/>
            <p:nvPr/>
          </p:nvSpPr>
          <p:spPr>
            <a:xfrm>
              <a:off x="8658194" y="3520419"/>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51" name="pt31">
              <a:extLst>
                <a:ext uri="{FF2B5EF4-FFF2-40B4-BE49-F238E27FC236}">
                  <a16:creationId xmlns:a16="http://schemas.microsoft.com/office/drawing/2014/main" id="{695E2D74-18CA-7F2E-3C63-FFF52087A556}"/>
                </a:ext>
              </a:extLst>
            </p:cNvPr>
            <p:cNvSpPr/>
            <p:nvPr/>
          </p:nvSpPr>
          <p:spPr>
            <a:xfrm>
              <a:off x="9111341" y="3370866"/>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52" name="pt32">
              <a:extLst>
                <a:ext uri="{FF2B5EF4-FFF2-40B4-BE49-F238E27FC236}">
                  <a16:creationId xmlns:a16="http://schemas.microsoft.com/office/drawing/2014/main" id="{C45255C1-6828-9F65-BABA-B328C4036B8A}"/>
                </a:ext>
              </a:extLst>
            </p:cNvPr>
            <p:cNvSpPr/>
            <p:nvPr/>
          </p:nvSpPr>
          <p:spPr>
            <a:xfrm>
              <a:off x="9564488" y="3347277"/>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53" name="pt33">
              <a:extLst>
                <a:ext uri="{FF2B5EF4-FFF2-40B4-BE49-F238E27FC236}">
                  <a16:creationId xmlns:a16="http://schemas.microsoft.com/office/drawing/2014/main" id="{424F4516-A02B-07F4-2D69-E4E48AB39E1B}"/>
                </a:ext>
              </a:extLst>
            </p:cNvPr>
            <p:cNvSpPr/>
            <p:nvPr/>
          </p:nvSpPr>
          <p:spPr>
            <a:xfrm>
              <a:off x="6845607" y="3159715"/>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54" name="pt34">
              <a:extLst>
                <a:ext uri="{FF2B5EF4-FFF2-40B4-BE49-F238E27FC236}">
                  <a16:creationId xmlns:a16="http://schemas.microsoft.com/office/drawing/2014/main" id="{C5984E04-C9E1-958E-04B7-9953265BFD5B}"/>
                </a:ext>
              </a:extLst>
            </p:cNvPr>
            <p:cNvSpPr/>
            <p:nvPr/>
          </p:nvSpPr>
          <p:spPr>
            <a:xfrm>
              <a:off x="7072180" y="3596384"/>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655" name="pt35">
              <a:extLst>
                <a:ext uri="{FF2B5EF4-FFF2-40B4-BE49-F238E27FC236}">
                  <a16:creationId xmlns:a16="http://schemas.microsoft.com/office/drawing/2014/main" id="{3645D14C-6F1B-7008-1A8D-4D93D371B04D}"/>
                </a:ext>
              </a:extLst>
            </p:cNvPr>
            <p:cNvSpPr/>
            <p:nvPr/>
          </p:nvSpPr>
          <p:spPr>
            <a:xfrm>
              <a:off x="7298754" y="4025235"/>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48" name="pt36">
              <a:extLst>
                <a:ext uri="{FF2B5EF4-FFF2-40B4-BE49-F238E27FC236}">
                  <a16:creationId xmlns:a16="http://schemas.microsoft.com/office/drawing/2014/main" id="{A66EE4C2-CF00-9EBD-6185-0F12479C3B8B}"/>
                </a:ext>
              </a:extLst>
            </p:cNvPr>
            <p:cNvSpPr/>
            <p:nvPr/>
          </p:nvSpPr>
          <p:spPr>
            <a:xfrm>
              <a:off x="7525327" y="4219109"/>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49" name="pt37">
              <a:extLst>
                <a:ext uri="{FF2B5EF4-FFF2-40B4-BE49-F238E27FC236}">
                  <a16:creationId xmlns:a16="http://schemas.microsoft.com/office/drawing/2014/main" id="{BF34A293-A7CB-7633-3342-F44F37E46221}"/>
                </a:ext>
              </a:extLst>
            </p:cNvPr>
            <p:cNvSpPr/>
            <p:nvPr/>
          </p:nvSpPr>
          <p:spPr>
            <a:xfrm>
              <a:off x="7751901" y="4354721"/>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50" name="pt38">
              <a:extLst>
                <a:ext uri="{FF2B5EF4-FFF2-40B4-BE49-F238E27FC236}">
                  <a16:creationId xmlns:a16="http://schemas.microsoft.com/office/drawing/2014/main" id="{F2ADC5F9-894F-6065-5105-94EA9280DBAA}"/>
                </a:ext>
              </a:extLst>
            </p:cNvPr>
            <p:cNvSpPr/>
            <p:nvPr/>
          </p:nvSpPr>
          <p:spPr>
            <a:xfrm>
              <a:off x="8205048" y="4424194"/>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55" name="pt39">
              <a:extLst>
                <a:ext uri="{FF2B5EF4-FFF2-40B4-BE49-F238E27FC236}">
                  <a16:creationId xmlns:a16="http://schemas.microsoft.com/office/drawing/2014/main" id="{76B4CF07-43DB-2792-AA65-E27E581F0857}"/>
                </a:ext>
              </a:extLst>
            </p:cNvPr>
            <p:cNvSpPr/>
            <p:nvPr/>
          </p:nvSpPr>
          <p:spPr>
            <a:xfrm>
              <a:off x="8658194" y="4355085"/>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56" name="pt40">
              <a:extLst>
                <a:ext uri="{FF2B5EF4-FFF2-40B4-BE49-F238E27FC236}">
                  <a16:creationId xmlns:a16="http://schemas.microsoft.com/office/drawing/2014/main" id="{B227F090-73C0-6D22-5996-EF802B65EAC1}"/>
                </a:ext>
              </a:extLst>
            </p:cNvPr>
            <p:cNvSpPr/>
            <p:nvPr/>
          </p:nvSpPr>
          <p:spPr>
            <a:xfrm>
              <a:off x="9111341" y="4313485"/>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57" name="pt41">
              <a:extLst>
                <a:ext uri="{FF2B5EF4-FFF2-40B4-BE49-F238E27FC236}">
                  <a16:creationId xmlns:a16="http://schemas.microsoft.com/office/drawing/2014/main" id="{A82F87DE-D322-FEED-D428-07A382D2CCF0}"/>
                </a:ext>
              </a:extLst>
            </p:cNvPr>
            <p:cNvSpPr/>
            <p:nvPr/>
          </p:nvSpPr>
          <p:spPr>
            <a:xfrm>
              <a:off x="9564488" y="4328149"/>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58" name="pt42">
              <a:extLst>
                <a:ext uri="{FF2B5EF4-FFF2-40B4-BE49-F238E27FC236}">
                  <a16:creationId xmlns:a16="http://schemas.microsoft.com/office/drawing/2014/main" id="{DF0A20A5-0C1C-E367-9D24-9FA0F291D39D}"/>
                </a:ext>
              </a:extLst>
            </p:cNvPr>
            <p:cNvSpPr/>
            <p:nvPr/>
          </p:nvSpPr>
          <p:spPr>
            <a:xfrm>
              <a:off x="6845607" y="3159715"/>
              <a:ext cx="36101" cy="36101"/>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59" name="pt43">
              <a:extLst>
                <a:ext uri="{FF2B5EF4-FFF2-40B4-BE49-F238E27FC236}">
                  <a16:creationId xmlns:a16="http://schemas.microsoft.com/office/drawing/2014/main" id="{88DE31CE-7C73-85F6-B01C-3646563F5491}"/>
                </a:ext>
              </a:extLst>
            </p:cNvPr>
            <p:cNvSpPr/>
            <p:nvPr/>
          </p:nvSpPr>
          <p:spPr>
            <a:xfrm>
              <a:off x="7072180" y="3527967"/>
              <a:ext cx="36101" cy="36101"/>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60" name="pt44">
              <a:extLst>
                <a:ext uri="{FF2B5EF4-FFF2-40B4-BE49-F238E27FC236}">
                  <a16:creationId xmlns:a16="http://schemas.microsoft.com/office/drawing/2014/main" id="{7B6E8BE1-7697-DD64-7C64-FDFA876540E9}"/>
                </a:ext>
              </a:extLst>
            </p:cNvPr>
            <p:cNvSpPr/>
            <p:nvPr/>
          </p:nvSpPr>
          <p:spPr>
            <a:xfrm>
              <a:off x="7298754" y="3688832"/>
              <a:ext cx="36101" cy="36101"/>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61" name="pt45">
              <a:extLst>
                <a:ext uri="{FF2B5EF4-FFF2-40B4-BE49-F238E27FC236}">
                  <a16:creationId xmlns:a16="http://schemas.microsoft.com/office/drawing/2014/main" id="{A8B769AB-F715-9604-767D-B1DDE5CE75AF}"/>
                </a:ext>
              </a:extLst>
            </p:cNvPr>
            <p:cNvSpPr/>
            <p:nvPr/>
          </p:nvSpPr>
          <p:spPr>
            <a:xfrm>
              <a:off x="7525327" y="3765330"/>
              <a:ext cx="36101" cy="36101"/>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62" name="pt46">
              <a:extLst>
                <a:ext uri="{FF2B5EF4-FFF2-40B4-BE49-F238E27FC236}">
                  <a16:creationId xmlns:a16="http://schemas.microsoft.com/office/drawing/2014/main" id="{84720E71-F455-4DE1-8EF4-870337D8F8AA}"/>
                </a:ext>
              </a:extLst>
            </p:cNvPr>
            <p:cNvSpPr/>
            <p:nvPr/>
          </p:nvSpPr>
          <p:spPr>
            <a:xfrm>
              <a:off x="7751901" y="4151425"/>
              <a:ext cx="36101" cy="36101"/>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63" name="pt47">
              <a:extLst>
                <a:ext uri="{FF2B5EF4-FFF2-40B4-BE49-F238E27FC236}">
                  <a16:creationId xmlns:a16="http://schemas.microsoft.com/office/drawing/2014/main" id="{DBC1F16D-FE3A-87A3-B253-EA4286CB7DD3}"/>
                </a:ext>
              </a:extLst>
            </p:cNvPr>
            <p:cNvSpPr/>
            <p:nvPr/>
          </p:nvSpPr>
          <p:spPr>
            <a:xfrm>
              <a:off x="8205048" y="4432799"/>
              <a:ext cx="36101" cy="36101"/>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64" name="pt48">
              <a:extLst>
                <a:ext uri="{FF2B5EF4-FFF2-40B4-BE49-F238E27FC236}">
                  <a16:creationId xmlns:a16="http://schemas.microsoft.com/office/drawing/2014/main" id="{48FA9E4C-7894-BB65-45A5-CB45CFB7F7B8}"/>
                </a:ext>
              </a:extLst>
            </p:cNvPr>
            <p:cNvSpPr/>
            <p:nvPr/>
          </p:nvSpPr>
          <p:spPr>
            <a:xfrm>
              <a:off x="8658194" y="4510926"/>
              <a:ext cx="36101" cy="36101"/>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65" name="pt49">
              <a:extLst>
                <a:ext uri="{FF2B5EF4-FFF2-40B4-BE49-F238E27FC236}">
                  <a16:creationId xmlns:a16="http://schemas.microsoft.com/office/drawing/2014/main" id="{638916F3-7733-A070-0EF8-594BE98E0313}"/>
                </a:ext>
              </a:extLst>
            </p:cNvPr>
            <p:cNvSpPr/>
            <p:nvPr/>
          </p:nvSpPr>
          <p:spPr>
            <a:xfrm>
              <a:off x="9111341" y="4446338"/>
              <a:ext cx="36101" cy="36101"/>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66" name="pt50">
              <a:extLst>
                <a:ext uri="{FF2B5EF4-FFF2-40B4-BE49-F238E27FC236}">
                  <a16:creationId xmlns:a16="http://schemas.microsoft.com/office/drawing/2014/main" id="{A13462E1-F271-AC0C-36D4-A65FA20159B9}"/>
                </a:ext>
              </a:extLst>
            </p:cNvPr>
            <p:cNvSpPr/>
            <p:nvPr/>
          </p:nvSpPr>
          <p:spPr>
            <a:xfrm>
              <a:off x="9564488" y="4446459"/>
              <a:ext cx="36101" cy="36101"/>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67" name="pl51">
              <a:extLst>
                <a:ext uri="{FF2B5EF4-FFF2-40B4-BE49-F238E27FC236}">
                  <a16:creationId xmlns:a16="http://schemas.microsoft.com/office/drawing/2014/main" id="{EEF1B28F-C114-36A3-67CE-EFCCFE6A819B}"/>
                </a:ext>
              </a:extLst>
            </p:cNvPr>
            <p:cNvSpPr/>
            <p:nvPr/>
          </p:nvSpPr>
          <p:spPr>
            <a:xfrm>
              <a:off x="6863658" y="2761362"/>
              <a:ext cx="2718881" cy="416403"/>
            </a:xfrm>
            <a:custGeom>
              <a:avLst/>
              <a:gdLst/>
              <a:ahLst/>
              <a:cxnLst/>
              <a:rect l="0" t="0" r="0" b="0"/>
              <a:pathLst>
                <a:path w="2718881" h="416403">
                  <a:moveTo>
                    <a:pt x="0" y="416403"/>
                  </a:moveTo>
                  <a:lnTo>
                    <a:pt x="226573" y="414400"/>
                  </a:lnTo>
                  <a:lnTo>
                    <a:pt x="453146" y="377390"/>
                  </a:lnTo>
                  <a:lnTo>
                    <a:pt x="679720" y="320951"/>
                  </a:lnTo>
                  <a:lnTo>
                    <a:pt x="906293" y="323927"/>
                  </a:lnTo>
                  <a:lnTo>
                    <a:pt x="1359440" y="256845"/>
                  </a:lnTo>
                  <a:lnTo>
                    <a:pt x="1812587" y="98007"/>
                  </a:lnTo>
                  <a:lnTo>
                    <a:pt x="2265734" y="12992"/>
                  </a:lnTo>
                  <a:lnTo>
                    <a:pt x="2718881"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68" name="pl52">
              <a:extLst>
                <a:ext uri="{FF2B5EF4-FFF2-40B4-BE49-F238E27FC236}">
                  <a16:creationId xmlns:a16="http://schemas.microsoft.com/office/drawing/2014/main" id="{F7090AFB-7CCD-BCAD-C886-98CFC4F3D4BD}"/>
                </a:ext>
              </a:extLst>
            </p:cNvPr>
            <p:cNvSpPr/>
            <p:nvPr/>
          </p:nvSpPr>
          <p:spPr>
            <a:xfrm>
              <a:off x="6863658" y="3177766"/>
              <a:ext cx="2718881" cy="814450"/>
            </a:xfrm>
            <a:custGeom>
              <a:avLst/>
              <a:gdLst/>
              <a:ahLst/>
              <a:cxnLst/>
              <a:rect l="0" t="0" r="0" b="0"/>
              <a:pathLst>
                <a:path w="2718881" h="814450">
                  <a:moveTo>
                    <a:pt x="0" y="0"/>
                  </a:moveTo>
                  <a:lnTo>
                    <a:pt x="226573" y="471325"/>
                  </a:lnTo>
                  <a:lnTo>
                    <a:pt x="453146" y="657574"/>
                  </a:lnTo>
                  <a:lnTo>
                    <a:pt x="679720" y="716380"/>
                  </a:lnTo>
                  <a:lnTo>
                    <a:pt x="906293" y="776285"/>
                  </a:lnTo>
                  <a:lnTo>
                    <a:pt x="1359440" y="814450"/>
                  </a:lnTo>
                  <a:lnTo>
                    <a:pt x="1812587" y="698795"/>
                  </a:lnTo>
                  <a:lnTo>
                    <a:pt x="2265734" y="652579"/>
                  </a:lnTo>
                  <a:lnTo>
                    <a:pt x="2718881" y="610132"/>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69" name="pl53">
              <a:extLst>
                <a:ext uri="{FF2B5EF4-FFF2-40B4-BE49-F238E27FC236}">
                  <a16:creationId xmlns:a16="http://schemas.microsoft.com/office/drawing/2014/main" id="{6118B626-402E-EEE4-F25F-68219C641951}"/>
                </a:ext>
              </a:extLst>
            </p:cNvPr>
            <p:cNvSpPr/>
            <p:nvPr/>
          </p:nvSpPr>
          <p:spPr>
            <a:xfrm>
              <a:off x="6863658" y="3177766"/>
              <a:ext cx="2718881" cy="607945"/>
            </a:xfrm>
            <a:custGeom>
              <a:avLst/>
              <a:gdLst/>
              <a:ahLst/>
              <a:cxnLst/>
              <a:rect l="0" t="0" r="0" b="0"/>
              <a:pathLst>
                <a:path w="2718881" h="607945">
                  <a:moveTo>
                    <a:pt x="0" y="0"/>
                  </a:moveTo>
                  <a:lnTo>
                    <a:pt x="226573" y="279497"/>
                  </a:lnTo>
                  <a:lnTo>
                    <a:pt x="453146" y="419934"/>
                  </a:lnTo>
                  <a:lnTo>
                    <a:pt x="679720" y="535936"/>
                  </a:lnTo>
                  <a:lnTo>
                    <a:pt x="906293" y="607945"/>
                  </a:lnTo>
                  <a:lnTo>
                    <a:pt x="1359440" y="513103"/>
                  </a:lnTo>
                  <a:lnTo>
                    <a:pt x="1812587" y="360703"/>
                  </a:lnTo>
                  <a:lnTo>
                    <a:pt x="2265734" y="211150"/>
                  </a:lnTo>
                  <a:lnTo>
                    <a:pt x="2718881" y="187561"/>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70" name="pl54">
              <a:extLst>
                <a:ext uri="{FF2B5EF4-FFF2-40B4-BE49-F238E27FC236}">
                  <a16:creationId xmlns:a16="http://schemas.microsoft.com/office/drawing/2014/main" id="{5F656EA0-5B35-9F7E-117E-A6D109D7E2F6}"/>
                </a:ext>
              </a:extLst>
            </p:cNvPr>
            <p:cNvSpPr/>
            <p:nvPr/>
          </p:nvSpPr>
          <p:spPr>
            <a:xfrm>
              <a:off x="6863658" y="3177766"/>
              <a:ext cx="2718881" cy="1264478"/>
            </a:xfrm>
            <a:custGeom>
              <a:avLst/>
              <a:gdLst/>
              <a:ahLst/>
              <a:cxnLst/>
              <a:rect l="0" t="0" r="0" b="0"/>
              <a:pathLst>
                <a:path w="2718881" h="1264478">
                  <a:moveTo>
                    <a:pt x="0" y="0"/>
                  </a:moveTo>
                  <a:lnTo>
                    <a:pt x="226573" y="436668"/>
                  </a:lnTo>
                  <a:lnTo>
                    <a:pt x="453146" y="865519"/>
                  </a:lnTo>
                  <a:lnTo>
                    <a:pt x="679720" y="1059393"/>
                  </a:lnTo>
                  <a:lnTo>
                    <a:pt x="906293" y="1195005"/>
                  </a:lnTo>
                  <a:lnTo>
                    <a:pt x="1359440" y="1264478"/>
                  </a:lnTo>
                  <a:lnTo>
                    <a:pt x="1812587" y="1195369"/>
                  </a:lnTo>
                  <a:lnTo>
                    <a:pt x="2265734" y="1153769"/>
                  </a:lnTo>
                  <a:lnTo>
                    <a:pt x="2718881" y="1168433"/>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71" name="pl55">
              <a:extLst>
                <a:ext uri="{FF2B5EF4-FFF2-40B4-BE49-F238E27FC236}">
                  <a16:creationId xmlns:a16="http://schemas.microsoft.com/office/drawing/2014/main" id="{E1F33172-AFD2-7CF3-1128-A7FA8800FB3F}"/>
                </a:ext>
              </a:extLst>
            </p:cNvPr>
            <p:cNvSpPr/>
            <p:nvPr/>
          </p:nvSpPr>
          <p:spPr>
            <a:xfrm>
              <a:off x="6863658" y="3177766"/>
              <a:ext cx="2718881" cy="1351210"/>
            </a:xfrm>
            <a:custGeom>
              <a:avLst/>
              <a:gdLst/>
              <a:ahLst/>
              <a:cxnLst/>
              <a:rect l="0" t="0" r="0" b="0"/>
              <a:pathLst>
                <a:path w="2718881" h="1351210">
                  <a:moveTo>
                    <a:pt x="0" y="0"/>
                  </a:moveTo>
                  <a:lnTo>
                    <a:pt x="226573" y="368251"/>
                  </a:lnTo>
                  <a:lnTo>
                    <a:pt x="453146" y="529116"/>
                  </a:lnTo>
                  <a:lnTo>
                    <a:pt x="679720" y="605614"/>
                  </a:lnTo>
                  <a:lnTo>
                    <a:pt x="906293" y="991709"/>
                  </a:lnTo>
                  <a:lnTo>
                    <a:pt x="1359440" y="1273083"/>
                  </a:lnTo>
                  <a:lnTo>
                    <a:pt x="1812587" y="1351210"/>
                  </a:lnTo>
                  <a:lnTo>
                    <a:pt x="2265734" y="1286622"/>
                  </a:lnTo>
                  <a:lnTo>
                    <a:pt x="2718881" y="1286743"/>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72" name="pl56">
              <a:extLst>
                <a:ext uri="{FF2B5EF4-FFF2-40B4-BE49-F238E27FC236}">
                  <a16:creationId xmlns:a16="http://schemas.microsoft.com/office/drawing/2014/main" id="{1C2AFF7E-EF6E-5FF4-68CD-2465B6EF635A}"/>
                </a:ext>
              </a:extLst>
            </p:cNvPr>
            <p:cNvSpPr/>
            <p:nvPr/>
          </p:nvSpPr>
          <p:spPr>
            <a:xfrm>
              <a:off x="6863658" y="3177766"/>
              <a:ext cx="0" cy="0"/>
            </a:xfrm>
            <a:custGeom>
              <a:avLst/>
              <a:gdLst/>
              <a:ahLst/>
              <a:cxnLst/>
              <a:rect l="0" t="0" r="0" b="0"/>
              <a:pathLst>
                <a:path>
                  <a:moveTo>
                    <a:pt x="0" y="0"/>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73" name="pl57">
              <a:extLst>
                <a:ext uri="{FF2B5EF4-FFF2-40B4-BE49-F238E27FC236}">
                  <a16:creationId xmlns:a16="http://schemas.microsoft.com/office/drawing/2014/main" id="{19E36296-0C02-965D-86EF-6B1BD909371E}"/>
                </a:ext>
              </a:extLst>
            </p:cNvPr>
            <p:cNvSpPr/>
            <p:nvPr/>
          </p:nvSpPr>
          <p:spPr>
            <a:xfrm>
              <a:off x="7090231" y="3111308"/>
              <a:ext cx="0" cy="64454"/>
            </a:xfrm>
            <a:custGeom>
              <a:avLst/>
              <a:gdLst/>
              <a:ahLst/>
              <a:cxnLst/>
              <a:rect l="0" t="0" r="0" b="0"/>
              <a:pathLst>
                <a:path h="64454">
                  <a:moveTo>
                    <a:pt x="0" y="64454"/>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74" name="pl58">
              <a:extLst>
                <a:ext uri="{FF2B5EF4-FFF2-40B4-BE49-F238E27FC236}">
                  <a16:creationId xmlns:a16="http://schemas.microsoft.com/office/drawing/2014/main" id="{88466ACC-59BD-AEC1-A238-1495F6EC6D8F}"/>
                </a:ext>
              </a:extLst>
            </p:cNvPr>
            <p:cNvSpPr/>
            <p:nvPr/>
          </p:nvSpPr>
          <p:spPr>
            <a:xfrm>
              <a:off x="7316804" y="3071344"/>
              <a:ext cx="0" cy="67409"/>
            </a:xfrm>
            <a:custGeom>
              <a:avLst/>
              <a:gdLst/>
              <a:ahLst/>
              <a:cxnLst/>
              <a:rect l="0" t="0" r="0" b="0"/>
              <a:pathLst>
                <a:path h="67409">
                  <a:moveTo>
                    <a:pt x="0" y="67409"/>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75" name="pl59">
              <a:extLst>
                <a:ext uri="{FF2B5EF4-FFF2-40B4-BE49-F238E27FC236}">
                  <a16:creationId xmlns:a16="http://schemas.microsoft.com/office/drawing/2014/main" id="{2EAEDD9D-C7C8-05CC-3246-E0EDC3FC053C}"/>
                </a:ext>
              </a:extLst>
            </p:cNvPr>
            <p:cNvSpPr/>
            <p:nvPr/>
          </p:nvSpPr>
          <p:spPr>
            <a:xfrm>
              <a:off x="7543378" y="3005790"/>
              <a:ext cx="0" cy="76523"/>
            </a:xfrm>
            <a:custGeom>
              <a:avLst/>
              <a:gdLst/>
              <a:ahLst/>
              <a:cxnLst/>
              <a:rect l="0" t="0" r="0" b="0"/>
              <a:pathLst>
                <a:path h="76523">
                  <a:moveTo>
                    <a:pt x="0" y="76523"/>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76" name="pl60">
              <a:extLst>
                <a:ext uri="{FF2B5EF4-FFF2-40B4-BE49-F238E27FC236}">
                  <a16:creationId xmlns:a16="http://schemas.microsoft.com/office/drawing/2014/main" id="{7367FA69-936A-925A-24E1-6732456A38AA}"/>
                </a:ext>
              </a:extLst>
            </p:cNvPr>
            <p:cNvSpPr/>
            <p:nvPr/>
          </p:nvSpPr>
          <p:spPr>
            <a:xfrm>
              <a:off x="7769951" y="2998373"/>
              <a:ext cx="0" cy="86916"/>
            </a:xfrm>
            <a:custGeom>
              <a:avLst/>
              <a:gdLst/>
              <a:ahLst/>
              <a:cxnLst/>
              <a:rect l="0" t="0" r="0" b="0"/>
              <a:pathLst>
                <a:path h="86916">
                  <a:moveTo>
                    <a:pt x="0" y="86916"/>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77" name="pl61">
              <a:extLst>
                <a:ext uri="{FF2B5EF4-FFF2-40B4-BE49-F238E27FC236}">
                  <a16:creationId xmlns:a16="http://schemas.microsoft.com/office/drawing/2014/main" id="{5183B02C-6C79-B507-0BFE-6B47ACA04C9E}"/>
                </a:ext>
              </a:extLst>
            </p:cNvPr>
            <p:cNvSpPr/>
            <p:nvPr/>
          </p:nvSpPr>
          <p:spPr>
            <a:xfrm>
              <a:off x="8223098" y="2894507"/>
              <a:ext cx="0" cy="123700"/>
            </a:xfrm>
            <a:custGeom>
              <a:avLst/>
              <a:gdLst/>
              <a:ahLst/>
              <a:cxnLst/>
              <a:rect l="0" t="0" r="0" b="0"/>
              <a:pathLst>
                <a:path h="123700">
                  <a:moveTo>
                    <a:pt x="0" y="123700"/>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78" name="pl62">
              <a:extLst>
                <a:ext uri="{FF2B5EF4-FFF2-40B4-BE49-F238E27FC236}">
                  <a16:creationId xmlns:a16="http://schemas.microsoft.com/office/drawing/2014/main" id="{F9A73F72-3027-8D67-DAAE-07FB72C614E1}"/>
                </a:ext>
              </a:extLst>
            </p:cNvPr>
            <p:cNvSpPr/>
            <p:nvPr/>
          </p:nvSpPr>
          <p:spPr>
            <a:xfrm>
              <a:off x="8676245" y="2709387"/>
              <a:ext cx="0" cy="149983"/>
            </a:xfrm>
            <a:custGeom>
              <a:avLst/>
              <a:gdLst/>
              <a:ahLst/>
              <a:cxnLst/>
              <a:rect l="0" t="0" r="0" b="0"/>
              <a:pathLst>
                <a:path h="149983">
                  <a:moveTo>
                    <a:pt x="0" y="149983"/>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79" name="pl63">
              <a:extLst>
                <a:ext uri="{FF2B5EF4-FFF2-40B4-BE49-F238E27FC236}">
                  <a16:creationId xmlns:a16="http://schemas.microsoft.com/office/drawing/2014/main" id="{38288BA5-1BA5-35EF-5771-C7DB438929FA}"/>
                </a:ext>
              </a:extLst>
            </p:cNvPr>
            <p:cNvSpPr/>
            <p:nvPr/>
          </p:nvSpPr>
          <p:spPr>
            <a:xfrm>
              <a:off x="9129392" y="2614520"/>
              <a:ext cx="0" cy="159834"/>
            </a:xfrm>
            <a:custGeom>
              <a:avLst/>
              <a:gdLst/>
              <a:ahLst/>
              <a:cxnLst/>
              <a:rect l="0" t="0" r="0" b="0"/>
              <a:pathLst>
                <a:path h="159834">
                  <a:moveTo>
                    <a:pt x="0" y="159834"/>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80" name="pl64">
              <a:extLst>
                <a:ext uri="{FF2B5EF4-FFF2-40B4-BE49-F238E27FC236}">
                  <a16:creationId xmlns:a16="http://schemas.microsoft.com/office/drawing/2014/main" id="{F3E1A552-BB38-A1D6-3FAB-F176C054FD8C}"/>
                </a:ext>
              </a:extLst>
            </p:cNvPr>
            <p:cNvSpPr/>
            <p:nvPr/>
          </p:nvSpPr>
          <p:spPr>
            <a:xfrm>
              <a:off x="9582539" y="2595578"/>
              <a:ext cx="0" cy="165783"/>
            </a:xfrm>
            <a:custGeom>
              <a:avLst/>
              <a:gdLst/>
              <a:ahLst/>
              <a:cxnLst/>
              <a:rect l="0" t="0" r="0" b="0"/>
              <a:pathLst>
                <a:path h="165783">
                  <a:moveTo>
                    <a:pt x="0" y="165783"/>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81" name="pl65">
              <a:extLst>
                <a:ext uri="{FF2B5EF4-FFF2-40B4-BE49-F238E27FC236}">
                  <a16:creationId xmlns:a16="http://schemas.microsoft.com/office/drawing/2014/main" id="{75196B54-CA06-B788-0DD8-A22591C610B0}"/>
                </a:ext>
              </a:extLst>
            </p:cNvPr>
            <p:cNvSpPr/>
            <p:nvPr/>
          </p:nvSpPr>
          <p:spPr>
            <a:xfrm>
              <a:off x="6863658" y="3177766"/>
              <a:ext cx="0" cy="0"/>
            </a:xfrm>
            <a:custGeom>
              <a:avLst/>
              <a:gdLst/>
              <a:ahLst/>
              <a:cxnLst/>
              <a:rect l="0" t="0" r="0" b="0"/>
              <a:pathLst>
                <a:path>
                  <a:moveTo>
                    <a:pt x="0" y="0"/>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82" name="pl66">
              <a:extLst>
                <a:ext uri="{FF2B5EF4-FFF2-40B4-BE49-F238E27FC236}">
                  <a16:creationId xmlns:a16="http://schemas.microsoft.com/office/drawing/2014/main" id="{138932EF-4083-3461-4BB5-27B3086456B5}"/>
                </a:ext>
              </a:extLst>
            </p:cNvPr>
            <p:cNvSpPr/>
            <p:nvPr/>
          </p:nvSpPr>
          <p:spPr>
            <a:xfrm>
              <a:off x="7090231" y="3593664"/>
              <a:ext cx="0" cy="55427"/>
            </a:xfrm>
            <a:custGeom>
              <a:avLst/>
              <a:gdLst/>
              <a:ahLst/>
              <a:cxnLst/>
              <a:rect l="0" t="0" r="0" b="0"/>
              <a:pathLst>
                <a:path h="55427">
                  <a:moveTo>
                    <a:pt x="0" y="55427"/>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83" name="pl67">
              <a:extLst>
                <a:ext uri="{FF2B5EF4-FFF2-40B4-BE49-F238E27FC236}">
                  <a16:creationId xmlns:a16="http://schemas.microsoft.com/office/drawing/2014/main" id="{56FD982D-9A96-B8DA-7FA5-D6686558719E}"/>
                </a:ext>
              </a:extLst>
            </p:cNvPr>
            <p:cNvSpPr/>
            <p:nvPr/>
          </p:nvSpPr>
          <p:spPr>
            <a:xfrm>
              <a:off x="7316804" y="3767258"/>
              <a:ext cx="0" cy="68082"/>
            </a:xfrm>
            <a:custGeom>
              <a:avLst/>
              <a:gdLst/>
              <a:ahLst/>
              <a:cxnLst/>
              <a:rect l="0" t="0" r="0" b="0"/>
              <a:pathLst>
                <a:path h="68082">
                  <a:moveTo>
                    <a:pt x="0" y="68082"/>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84" name="pl68">
              <a:extLst>
                <a:ext uri="{FF2B5EF4-FFF2-40B4-BE49-F238E27FC236}">
                  <a16:creationId xmlns:a16="http://schemas.microsoft.com/office/drawing/2014/main" id="{0BEE5DF8-653F-8F3B-96EB-9523BE02EECC}"/>
                </a:ext>
              </a:extLst>
            </p:cNvPr>
            <p:cNvSpPr/>
            <p:nvPr/>
          </p:nvSpPr>
          <p:spPr>
            <a:xfrm>
              <a:off x="7543378" y="3828378"/>
              <a:ext cx="0" cy="65768"/>
            </a:xfrm>
            <a:custGeom>
              <a:avLst/>
              <a:gdLst/>
              <a:ahLst/>
              <a:cxnLst/>
              <a:rect l="0" t="0" r="0" b="0"/>
              <a:pathLst>
                <a:path h="65768">
                  <a:moveTo>
                    <a:pt x="0" y="65768"/>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85" name="pl69">
              <a:extLst>
                <a:ext uri="{FF2B5EF4-FFF2-40B4-BE49-F238E27FC236}">
                  <a16:creationId xmlns:a16="http://schemas.microsoft.com/office/drawing/2014/main" id="{29FE679D-7BB6-0473-8CBE-6BBF6F4A2ABC}"/>
                </a:ext>
              </a:extLst>
            </p:cNvPr>
            <p:cNvSpPr/>
            <p:nvPr/>
          </p:nvSpPr>
          <p:spPr>
            <a:xfrm>
              <a:off x="7769951" y="3880768"/>
              <a:ext cx="0" cy="73283"/>
            </a:xfrm>
            <a:custGeom>
              <a:avLst/>
              <a:gdLst/>
              <a:ahLst/>
              <a:cxnLst/>
              <a:rect l="0" t="0" r="0" b="0"/>
              <a:pathLst>
                <a:path h="73283">
                  <a:moveTo>
                    <a:pt x="0" y="73283"/>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86" name="pl70">
              <a:extLst>
                <a:ext uri="{FF2B5EF4-FFF2-40B4-BE49-F238E27FC236}">
                  <a16:creationId xmlns:a16="http://schemas.microsoft.com/office/drawing/2014/main" id="{B8CC899B-3DB3-5D95-C9D2-B36EEF7A72DC}"/>
                </a:ext>
              </a:extLst>
            </p:cNvPr>
            <p:cNvSpPr/>
            <p:nvPr/>
          </p:nvSpPr>
          <p:spPr>
            <a:xfrm>
              <a:off x="8223098" y="3908488"/>
              <a:ext cx="0" cy="83728"/>
            </a:xfrm>
            <a:custGeom>
              <a:avLst/>
              <a:gdLst/>
              <a:ahLst/>
              <a:cxnLst/>
              <a:rect l="0" t="0" r="0" b="0"/>
              <a:pathLst>
                <a:path h="83728">
                  <a:moveTo>
                    <a:pt x="0" y="83728"/>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87" name="pl71">
              <a:extLst>
                <a:ext uri="{FF2B5EF4-FFF2-40B4-BE49-F238E27FC236}">
                  <a16:creationId xmlns:a16="http://schemas.microsoft.com/office/drawing/2014/main" id="{206A54FB-1DEE-0B2A-DFD4-BF55FC74C963}"/>
                </a:ext>
              </a:extLst>
            </p:cNvPr>
            <p:cNvSpPr/>
            <p:nvPr/>
          </p:nvSpPr>
          <p:spPr>
            <a:xfrm>
              <a:off x="8676245" y="3789243"/>
              <a:ext cx="0" cy="87318"/>
            </a:xfrm>
            <a:custGeom>
              <a:avLst/>
              <a:gdLst/>
              <a:ahLst/>
              <a:cxnLst/>
              <a:rect l="0" t="0" r="0" b="0"/>
              <a:pathLst>
                <a:path h="87318">
                  <a:moveTo>
                    <a:pt x="0" y="87318"/>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88" name="pl72">
              <a:extLst>
                <a:ext uri="{FF2B5EF4-FFF2-40B4-BE49-F238E27FC236}">
                  <a16:creationId xmlns:a16="http://schemas.microsoft.com/office/drawing/2014/main" id="{49CC73F7-DF64-20E7-AFBA-7C5FF6ACBADA}"/>
                </a:ext>
              </a:extLst>
            </p:cNvPr>
            <p:cNvSpPr/>
            <p:nvPr/>
          </p:nvSpPr>
          <p:spPr>
            <a:xfrm>
              <a:off x="9129392" y="3706199"/>
              <a:ext cx="0" cy="124146"/>
            </a:xfrm>
            <a:custGeom>
              <a:avLst/>
              <a:gdLst/>
              <a:ahLst/>
              <a:cxnLst/>
              <a:rect l="0" t="0" r="0" b="0"/>
              <a:pathLst>
                <a:path h="124146">
                  <a:moveTo>
                    <a:pt x="0" y="124146"/>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89" name="pl73">
              <a:extLst>
                <a:ext uri="{FF2B5EF4-FFF2-40B4-BE49-F238E27FC236}">
                  <a16:creationId xmlns:a16="http://schemas.microsoft.com/office/drawing/2014/main" id="{182A4A4D-F83D-80B4-7358-5DEE8E59D6E1}"/>
                </a:ext>
              </a:extLst>
            </p:cNvPr>
            <p:cNvSpPr/>
            <p:nvPr/>
          </p:nvSpPr>
          <p:spPr>
            <a:xfrm>
              <a:off x="9582539" y="3658839"/>
              <a:ext cx="0" cy="129059"/>
            </a:xfrm>
            <a:custGeom>
              <a:avLst/>
              <a:gdLst/>
              <a:ahLst/>
              <a:cxnLst/>
              <a:rect l="0" t="0" r="0" b="0"/>
              <a:pathLst>
                <a:path h="129059">
                  <a:moveTo>
                    <a:pt x="0" y="129059"/>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90" name="pl74">
              <a:extLst>
                <a:ext uri="{FF2B5EF4-FFF2-40B4-BE49-F238E27FC236}">
                  <a16:creationId xmlns:a16="http://schemas.microsoft.com/office/drawing/2014/main" id="{DF247E90-2966-A5BD-42EA-CE0552A899D3}"/>
                </a:ext>
              </a:extLst>
            </p:cNvPr>
            <p:cNvSpPr/>
            <p:nvPr/>
          </p:nvSpPr>
          <p:spPr>
            <a:xfrm>
              <a:off x="6863658" y="3177766"/>
              <a:ext cx="0" cy="0"/>
            </a:xfrm>
            <a:custGeom>
              <a:avLst/>
              <a:gdLst/>
              <a:ahLst/>
              <a:cxnLst/>
              <a:rect l="0" t="0" r="0" b="0"/>
              <a:pathLst>
                <a:path>
                  <a:moveTo>
                    <a:pt x="0" y="0"/>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91" name="pl75">
              <a:extLst>
                <a:ext uri="{FF2B5EF4-FFF2-40B4-BE49-F238E27FC236}">
                  <a16:creationId xmlns:a16="http://schemas.microsoft.com/office/drawing/2014/main" id="{383F3A30-54FD-6A93-5B58-0B245943713A}"/>
                </a:ext>
              </a:extLst>
            </p:cNvPr>
            <p:cNvSpPr/>
            <p:nvPr/>
          </p:nvSpPr>
          <p:spPr>
            <a:xfrm>
              <a:off x="7090231" y="3405066"/>
              <a:ext cx="0" cy="52198"/>
            </a:xfrm>
            <a:custGeom>
              <a:avLst/>
              <a:gdLst/>
              <a:ahLst/>
              <a:cxnLst/>
              <a:rect l="0" t="0" r="0" b="0"/>
              <a:pathLst>
                <a:path h="52198">
                  <a:moveTo>
                    <a:pt x="0" y="52198"/>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92" name="pl76">
              <a:extLst>
                <a:ext uri="{FF2B5EF4-FFF2-40B4-BE49-F238E27FC236}">
                  <a16:creationId xmlns:a16="http://schemas.microsoft.com/office/drawing/2014/main" id="{53D01FC2-CF66-AF34-C485-B1E7826FB555}"/>
                </a:ext>
              </a:extLst>
            </p:cNvPr>
            <p:cNvSpPr/>
            <p:nvPr/>
          </p:nvSpPr>
          <p:spPr>
            <a:xfrm>
              <a:off x="7316804" y="3518193"/>
              <a:ext cx="0" cy="79507"/>
            </a:xfrm>
            <a:custGeom>
              <a:avLst/>
              <a:gdLst/>
              <a:ahLst/>
              <a:cxnLst/>
              <a:rect l="0" t="0" r="0" b="0"/>
              <a:pathLst>
                <a:path h="79507">
                  <a:moveTo>
                    <a:pt x="0" y="79507"/>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93" name="pl77">
              <a:extLst>
                <a:ext uri="{FF2B5EF4-FFF2-40B4-BE49-F238E27FC236}">
                  <a16:creationId xmlns:a16="http://schemas.microsoft.com/office/drawing/2014/main" id="{53E959E9-D405-E12D-1BB7-2F10BD03B08D}"/>
                </a:ext>
              </a:extLst>
            </p:cNvPr>
            <p:cNvSpPr/>
            <p:nvPr/>
          </p:nvSpPr>
          <p:spPr>
            <a:xfrm>
              <a:off x="7543378" y="3625295"/>
              <a:ext cx="0" cy="88407"/>
            </a:xfrm>
            <a:custGeom>
              <a:avLst/>
              <a:gdLst/>
              <a:ahLst/>
              <a:cxnLst/>
              <a:rect l="0" t="0" r="0" b="0"/>
              <a:pathLst>
                <a:path h="88407">
                  <a:moveTo>
                    <a:pt x="0" y="88407"/>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94" name="pl78">
              <a:extLst>
                <a:ext uri="{FF2B5EF4-FFF2-40B4-BE49-F238E27FC236}">
                  <a16:creationId xmlns:a16="http://schemas.microsoft.com/office/drawing/2014/main" id="{82A6A506-04BD-43B5-0BC9-54DA4875460D}"/>
                </a:ext>
              </a:extLst>
            </p:cNvPr>
            <p:cNvSpPr/>
            <p:nvPr/>
          </p:nvSpPr>
          <p:spPr>
            <a:xfrm>
              <a:off x="7769951" y="3684603"/>
              <a:ext cx="0" cy="101108"/>
            </a:xfrm>
            <a:custGeom>
              <a:avLst/>
              <a:gdLst/>
              <a:ahLst/>
              <a:cxnLst/>
              <a:rect l="0" t="0" r="0" b="0"/>
              <a:pathLst>
                <a:path h="101108">
                  <a:moveTo>
                    <a:pt x="0" y="101108"/>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95" name="pl79">
              <a:extLst>
                <a:ext uri="{FF2B5EF4-FFF2-40B4-BE49-F238E27FC236}">
                  <a16:creationId xmlns:a16="http://schemas.microsoft.com/office/drawing/2014/main" id="{0E6A2F9D-5A94-3D82-B568-96A6580755F9}"/>
                </a:ext>
              </a:extLst>
            </p:cNvPr>
            <p:cNvSpPr/>
            <p:nvPr/>
          </p:nvSpPr>
          <p:spPr>
            <a:xfrm>
              <a:off x="8223098" y="3568346"/>
              <a:ext cx="0" cy="122523"/>
            </a:xfrm>
            <a:custGeom>
              <a:avLst/>
              <a:gdLst/>
              <a:ahLst/>
              <a:cxnLst/>
              <a:rect l="0" t="0" r="0" b="0"/>
              <a:pathLst>
                <a:path h="122523">
                  <a:moveTo>
                    <a:pt x="0" y="122523"/>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96" name="pl80">
              <a:extLst>
                <a:ext uri="{FF2B5EF4-FFF2-40B4-BE49-F238E27FC236}">
                  <a16:creationId xmlns:a16="http://schemas.microsoft.com/office/drawing/2014/main" id="{562579BB-F0FA-2C62-2BE6-F0C190215CD7}"/>
                </a:ext>
              </a:extLst>
            </p:cNvPr>
            <p:cNvSpPr/>
            <p:nvPr/>
          </p:nvSpPr>
          <p:spPr>
            <a:xfrm>
              <a:off x="8676245" y="3404025"/>
              <a:ext cx="0" cy="134444"/>
            </a:xfrm>
            <a:custGeom>
              <a:avLst/>
              <a:gdLst/>
              <a:ahLst/>
              <a:cxnLst/>
              <a:rect l="0" t="0" r="0" b="0"/>
              <a:pathLst>
                <a:path h="134444">
                  <a:moveTo>
                    <a:pt x="0" y="134444"/>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97" name="pl81">
              <a:extLst>
                <a:ext uri="{FF2B5EF4-FFF2-40B4-BE49-F238E27FC236}">
                  <a16:creationId xmlns:a16="http://schemas.microsoft.com/office/drawing/2014/main" id="{C57C1551-35A9-819A-3AAD-01C8E5065CD0}"/>
                </a:ext>
              </a:extLst>
            </p:cNvPr>
            <p:cNvSpPr/>
            <p:nvPr/>
          </p:nvSpPr>
          <p:spPr>
            <a:xfrm>
              <a:off x="9129392" y="3241786"/>
              <a:ext cx="0" cy="147130"/>
            </a:xfrm>
            <a:custGeom>
              <a:avLst/>
              <a:gdLst/>
              <a:ahLst/>
              <a:cxnLst/>
              <a:rect l="0" t="0" r="0" b="0"/>
              <a:pathLst>
                <a:path h="147130">
                  <a:moveTo>
                    <a:pt x="0" y="147130"/>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98" name="pl82">
              <a:extLst>
                <a:ext uri="{FF2B5EF4-FFF2-40B4-BE49-F238E27FC236}">
                  <a16:creationId xmlns:a16="http://schemas.microsoft.com/office/drawing/2014/main" id="{0FC20016-132D-5A51-0AD3-57079EF0128D}"/>
                </a:ext>
              </a:extLst>
            </p:cNvPr>
            <p:cNvSpPr/>
            <p:nvPr/>
          </p:nvSpPr>
          <p:spPr>
            <a:xfrm>
              <a:off x="9582539" y="3222035"/>
              <a:ext cx="0" cy="143292"/>
            </a:xfrm>
            <a:custGeom>
              <a:avLst/>
              <a:gdLst/>
              <a:ahLst/>
              <a:cxnLst/>
              <a:rect l="0" t="0" r="0" b="0"/>
              <a:pathLst>
                <a:path h="143292">
                  <a:moveTo>
                    <a:pt x="0" y="143292"/>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899" name="pl83">
              <a:extLst>
                <a:ext uri="{FF2B5EF4-FFF2-40B4-BE49-F238E27FC236}">
                  <a16:creationId xmlns:a16="http://schemas.microsoft.com/office/drawing/2014/main" id="{3C136585-6D7D-C74C-E6CB-519B5EC589EC}"/>
                </a:ext>
              </a:extLst>
            </p:cNvPr>
            <p:cNvSpPr/>
            <p:nvPr/>
          </p:nvSpPr>
          <p:spPr>
            <a:xfrm>
              <a:off x="6863658" y="3177766"/>
              <a:ext cx="0" cy="0"/>
            </a:xfrm>
            <a:custGeom>
              <a:avLst/>
              <a:gdLst/>
              <a:ahLst/>
              <a:cxnLst/>
              <a:rect l="0" t="0" r="0" b="0"/>
              <a:pathLst>
                <a:path>
                  <a:moveTo>
                    <a:pt x="0" y="0"/>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00" name="pl84">
              <a:extLst>
                <a:ext uri="{FF2B5EF4-FFF2-40B4-BE49-F238E27FC236}">
                  <a16:creationId xmlns:a16="http://schemas.microsoft.com/office/drawing/2014/main" id="{5E110FBF-063A-6C0B-4E2B-7B24B05F7C64}"/>
                </a:ext>
              </a:extLst>
            </p:cNvPr>
            <p:cNvSpPr/>
            <p:nvPr/>
          </p:nvSpPr>
          <p:spPr>
            <a:xfrm>
              <a:off x="7090231" y="3555371"/>
              <a:ext cx="0" cy="59064"/>
            </a:xfrm>
            <a:custGeom>
              <a:avLst/>
              <a:gdLst/>
              <a:ahLst/>
              <a:cxnLst/>
              <a:rect l="0" t="0" r="0" b="0"/>
              <a:pathLst>
                <a:path h="59064">
                  <a:moveTo>
                    <a:pt x="0" y="59064"/>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01" name="pl85">
              <a:extLst>
                <a:ext uri="{FF2B5EF4-FFF2-40B4-BE49-F238E27FC236}">
                  <a16:creationId xmlns:a16="http://schemas.microsoft.com/office/drawing/2014/main" id="{AA932949-59B1-D23A-D4BD-F50420132188}"/>
                </a:ext>
              </a:extLst>
            </p:cNvPr>
            <p:cNvSpPr/>
            <p:nvPr/>
          </p:nvSpPr>
          <p:spPr>
            <a:xfrm>
              <a:off x="7316804" y="3952023"/>
              <a:ext cx="0" cy="91262"/>
            </a:xfrm>
            <a:custGeom>
              <a:avLst/>
              <a:gdLst/>
              <a:ahLst/>
              <a:cxnLst/>
              <a:rect l="0" t="0" r="0" b="0"/>
              <a:pathLst>
                <a:path h="91262">
                  <a:moveTo>
                    <a:pt x="0" y="91262"/>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02" name="pl86">
              <a:extLst>
                <a:ext uri="{FF2B5EF4-FFF2-40B4-BE49-F238E27FC236}">
                  <a16:creationId xmlns:a16="http://schemas.microsoft.com/office/drawing/2014/main" id="{0FE22153-47F8-AEB7-161B-7DB4EC36038E}"/>
                </a:ext>
              </a:extLst>
            </p:cNvPr>
            <p:cNvSpPr/>
            <p:nvPr/>
          </p:nvSpPr>
          <p:spPr>
            <a:xfrm>
              <a:off x="7543378" y="4136694"/>
              <a:ext cx="0" cy="100464"/>
            </a:xfrm>
            <a:custGeom>
              <a:avLst/>
              <a:gdLst/>
              <a:ahLst/>
              <a:cxnLst/>
              <a:rect l="0" t="0" r="0" b="0"/>
              <a:pathLst>
                <a:path h="100464">
                  <a:moveTo>
                    <a:pt x="0" y="100464"/>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03" name="pl87">
              <a:extLst>
                <a:ext uri="{FF2B5EF4-FFF2-40B4-BE49-F238E27FC236}">
                  <a16:creationId xmlns:a16="http://schemas.microsoft.com/office/drawing/2014/main" id="{8B13B21E-FDD0-6B54-9D54-606B9FE73A02}"/>
                </a:ext>
              </a:extLst>
            </p:cNvPr>
            <p:cNvSpPr/>
            <p:nvPr/>
          </p:nvSpPr>
          <p:spPr>
            <a:xfrm>
              <a:off x="7769951" y="4266642"/>
              <a:ext cx="0" cy="106128"/>
            </a:xfrm>
            <a:custGeom>
              <a:avLst/>
              <a:gdLst/>
              <a:ahLst/>
              <a:cxnLst/>
              <a:rect l="0" t="0" r="0" b="0"/>
              <a:pathLst>
                <a:path h="106128">
                  <a:moveTo>
                    <a:pt x="0" y="106128"/>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04" name="pl88">
              <a:extLst>
                <a:ext uri="{FF2B5EF4-FFF2-40B4-BE49-F238E27FC236}">
                  <a16:creationId xmlns:a16="http://schemas.microsoft.com/office/drawing/2014/main" id="{AFD550B4-1FE1-32A1-3347-470145C59337}"/>
                </a:ext>
              </a:extLst>
            </p:cNvPr>
            <p:cNvSpPr/>
            <p:nvPr/>
          </p:nvSpPr>
          <p:spPr>
            <a:xfrm>
              <a:off x="8223098" y="4330906"/>
              <a:ext cx="0" cy="111337"/>
            </a:xfrm>
            <a:custGeom>
              <a:avLst/>
              <a:gdLst/>
              <a:ahLst/>
              <a:cxnLst/>
              <a:rect l="0" t="0" r="0" b="0"/>
              <a:pathLst>
                <a:path h="111337">
                  <a:moveTo>
                    <a:pt x="0" y="111337"/>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05" name="pl89">
              <a:extLst>
                <a:ext uri="{FF2B5EF4-FFF2-40B4-BE49-F238E27FC236}">
                  <a16:creationId xmlns:a16="http://schemas.microsoft.com/office/drawing/2014/main" id="{567B073F-72BA-43A0-CBB9-EE467B322884}"/>
                </a:ext>
              </a:extLst>
            </p:cNvPr>
            <p:cNvSpPr/>
            <p:nvPr/>
          </p:nvSpPr>
          <p:spPr>
            <a:xfrm>
              <a:off x="8676245" y="4241600"/>
              <a:ext cx="0" cy="131535"/>
            </a:xfrm>
            <a:custGeom>
              <a:avLst/>
              <a:gdLst/>
              <a:ahLst/>
              <a:cxnLst/>
              <a:rect l="0" t="0" r="0" b="0"/>
              <a:pathLst>
                <a:path h="131535">
                  <a:moveTo>
                    <a:pt x="0" y="131535"/>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06" name="pl90">
              <a:extLst>
                <a:ext uri="{FF2B5EF4-FFF2-40B4-BE49-F238E27FC236}">
                  <a16:creationId xmlns:a16="http://schemas.microsoft.com/office/drawing/2014/main" id="{83A09CE7-026D-909A-6EF3-3D36376843D3}"/>
                </a:ext>
              </a:extLst>
            </p:cNvPr>
            <p:cNvSpPr/>
            <p:nvPr/>
          </p:nvSpPr>
          <p:spPr>
            <a:xfrm>
              <a:off x="9129392" y="4183211"/>
              <a:ext cx="0" cy="148323"/>
            </a:xfrm>
            <a:custGeom>
              <a:avLst/>
              <a:gdLst/>
              <a:ahLst/>
              <a:cxnLst/>
              <a:rect l="0" t="0" r="0" b="0"/>
              <a:pathLst>
                <a:path h="148323">
                  <a:moveTo>
                    <a:pt x="0" y="148323"/>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07" name="pl91">
              <a:extLst>
                <a:ext uri="{FF2B5EF4-FFF2-40B4-BE49-F238E27FC236}">
                  <a16:creationId xmlns:a16="http://schemas.microsoft.com/office/drawing/2014/main" id="{1D7B7482-044F-2339-1563-BAF6552D4E47}"/>
                </a:ext>
              </a:extLst>
            </p:cNvPr>
            <p:cNvSpPr/>
            <p:nvPr/>
          </p:nvSpPr>
          <p:spPr>
            <a:xfrm>
              <a:off x="9582539" y="4193583"/>
              <a:ext cx="0" cy="152616"/>
            </a:xfrm>
            <a:custGeom>
              <a:avLst/>
              <a:gdLst/>
              <a:ahLst/>
              <a:cxnLst/>
              <a:rect l="0" t="0" r="0" b="0"/>
              <a:pathLst>
                <a:path h="152616">
                  <a:moveTo>
                    <a:pt x="0" y="152616"/>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08" name="pl92">
              <a:extLst>
                <a:ext uri="{FF2B5EF4-FFF2-40B4-BE49-F238E27FC236}">
                  <a16:creationId xmlns:a16="http://schemas.microsoft.com/office/drawing/2014/main" id="{93342C7A-3294-3F4B-3FE7-B28B1B2EE4DE}"/>
                </a:ext>
              </a:extLst>
            </p:cNvPr>
            <p:cNvSpPr/>
            <p:nvPr/>
          </p:nvSpPr>
          <p:spPr>
            <a:xfrm>
              <a:off x="6863658" y="3177766"/>
              <a:ext cx="0" cy="0"/>
            </a:xfrm>
            <a:custGeom>
              <a:avLst/>
              <a:gdLst/>
              <a:ahLst/>
              <a:cxnLst/>
              <a:rect l="0" t="0" r="0" b="0"/>
              <a:pathLst>
                <a:path>
                  <a:moveTo>
                    <a:pt x="0" y="0"/>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09" name="pl93">
              <a:extLst>
                <a:ext uri="{FF2B5EF4-FFF2-40B4-BE49-F238E27FC236}">
                  <a16:creationId xmlns:a16="http://schemas.microsoft.com/office/drawing/2014/main" id="{1C7EA652-CABD-B832-BB7D-9D4919DB6DC5}"/>
                </a:ext>
              </a:extLst>
            </p:cNvPr>
            <p:cNvSpPr/>
            <p:nvPr/>
          </p:nvSpPr>
          <p:spPr>
            <a:xfrm>
              <a:off x="7090231" y="3491925"/>
              <a:ext cx="0" cy="54092"/>
            </a:xfrm>
            <a:custGeom>
              <a:avLst/>
              <a:gdLst/>
              <a:ahLst/>
              <a:cxnLst/>
              <a:rect l="0" t="0" r="0" b="0"/>
              <a:pathLst>
                <a:path h="54092">
                  <a:moveTo>
                    <a:pt x="0" y="54092"/>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10" name="pl94">
              <a:extLst>
                <a:ext uri="{FF2B5EF4-FFF2-40B4-BE49-F238E27FC236}">
                  <a16:creationId xmlns:a16="http://schemas.microsoft.com/office/drawing/2014/main" id="{8DAE2080-04D2-F1A0-AB05-387C32E338F2}"/>
                </a:ext>
              </a:extLst>
            </p:cNvPr>
            <p:cNvSpPr/>
            <p:nvPr/>
          </p:nvSpPr>
          <p:spPr>
            <a:xfrm>
              <a:off x="7316804" y="3639569"/>
              <a:ext cx="0" cy="67314"/>
            </a:xfrm>
            <a:custGeom>
              <a:avLst/>
              <a:gdLst/>
              <a:ahLst/>
              <a:cxnLst/>
              <a:rect l="0" t="0" r="0" b="0"/>
              <a:pathLst>
                <a:path h="67314">
                  <a:moveTo>
                    <a:pt x="0" y="67314"/>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11" name="pl95">
              <a:extLst>
                <a:ext uri="{FF2B5EF4-FFF2-40B4-BE49-F238E27FC236}">
                  <a16:creationId xmlns:a16="http://schemas.microsoft.com/office/drawing/2014/main" id="{07A01C06-44D4-9459-ADED-086FEA43BDD3}"/>
                </a:ext>
              </a:extLst>
            </p:cNvPr>
            <p:cNvSpPr/>
            <p:nvPr/>
          </p:nvSpPr>
          <p:spPr>
            <a:xfrm>
              <a:off x="7543378" y="3704087"/>
              <a:ext cx="0" cy="79293"/>
            </a:xfrm>
            <a:custGeom>
              <a:avLst/>
              <a:gdLst/>
              <a:ahLst/>
              <a:cxnLst/>
              <a:rect l="0" t="0" r="0" b="0"/>
              <a:pathLst>
                <a:path h="79293">
                  <a:moveTo>
                    <a:pt x="0" y="79293"/>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12" name="pl96">
              <a:extLst>
                <a:ext uri="{FF2B5EF4-FFF2-40B4-BE49-F238E27FC236}">
                  <a16:creationId xmlns:a16="http://schemas.microsoft.com/office/drawing/2014/main" id="{115233A8-684D-7937-D6EA-4ADED43FAF9B}"/>
                </a:ext>
              </a:extLst>
            </p:cNvPr>
            <p:cNvSpPr/>
            <p:nvPr/>
          </p:nvSpPr>
          <p:spPr>
            <a:xfrm>
              <a:off x="7769951" y="4089863"/>
              <a:ext cx="0" cy="79612"/>
            </a:xfrm>
            <a:custGeom>
              <a:avLst/>
              <a:gdLst/>
              <a:ahLst/>
              <a:cxnLst/>
              <a:rect l="0" t="0" r="0" b="0"/>
              <a:pathLst>
                <a:path h="79612">
                  <a:moveTo>
                    <a:pt x="0" y="79612"/>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13" name="pl97">
              <a:extLst>
                <a:ext uri="{FF2B5EF4-FFF2-40B4-BE49-F238E27FC236}">
                  <a16:creationId xmlns:a16="http://schemas.microsoft.com/office/drawing/2014/main" id="{BF744A06-8E4C-9889-5312-D2E93330767E}"/>
                </a:ext>
              </a:extLst>
            </p:cNvPr>
            <p:cNvSpPr/>
            <p:nvPr/>
          </p:nvSpPr>
          <p:spPr>
            <a:xfrm>
              <a:off x="8223098" y="4364042"/>
              <a:ext cx="0" cy="86807"/>
            </a:xfrm>
            <a:custGeom>
              <a:avLst/>
              <a:gdLst/>
              <a:ahLst/>
              <a:cxnLst/>
              <a:rect l="0" t="0" r="0" b="0"/>
              <a:pathLst>
                <a:path h="86807">
                  <a:moveTo>
                    <a:pt x="0" y="86807"/>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14" name="pl98">
              <a:extLst>
                <a:ext uri="{FF2B5EF4-FFF2-40B4-BE49-F238E27FC236}">
                  <a16:creationId xmlns:a16="http://schemas.microsoft.com/office/drawing/2014/main" id="{F4A8D284-D7BD-62E3-9501-A78BFDC06D64}"/>
                </a:ext>
              </a:extLst>
            </p:cNvPr>
            <p:cNvSpPr/>
            <p:nvPr/>
          </p:nvSpPr>
          <p:spPr>
            <a:xfrm>
              <a:off x="8676245" y="4434261"/>
              <a:ext cx="0" cy="94715"/>
            </a:xfrm>
            <a:custGeom>
              <a:avLst/>
              <a:gdLst/>
              <a:ahLst/>
              <a:cxnLst/>
              <a:rect l="0" t="0" r="0" b="0"/>
              <a:pathLst>
                <a:path h="94715">
                  <a:moveTo>
                    <a:pt x="0" y="94715"/>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15" name="pl99">
              <a:extLst>
                <a:ext uri="{FF2B5EF4-FFF2-40B4-BE49-F238E27FC236}">
                  <a16:creationId xmlns:a16="http://schemas.microsoft.com/office/drawing/2014/main" id="{D4C68D67-9361-C882-4B1E-B7A07D388543}"/>
                </a:ext>
              </a:extLst>
            </p:cNvPr>
            <p:cNvSpPr/>
            <p:nvPr/>
          </p:nvSpPr>
          <p:spPr>
            <a:xfrm>
              <a:off x="9129392" y="4357696"/>
              <a:ext cx="0" cy="106692"/>
            </a:xfrm>
            <a:custGeom>
              <a:avLst/>
              <a:gdLst/>
              <a:ahLst/>
              <a:cxnLst/>
              <a:rect l="0" t="0" r="0" b="0"/>
              <a:pathLst>
                <a:path h="106692">
                  <a:moveTo>
                    <a:pt x="0" y="106692"/>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16" name="pl100">
              <a:extLst>
                <a:ext uri="{FF2B5EF4-FFF2-40B4-BE49-F238E27FC236}">
                  <a16:creationId xmlns:a16="http://schemas.microsoft.com/office/drawing/2014/main" id="{1A7DA7DB-2F7B-4E71-B2B3-892E42826B75}"/>
                </a:ext>
              </a:extLst>
            </p:cNvPr>
            <p:cNvSpPr/>
            <p:nvPr/>
          </p:nvSpPr>
          <p:spPr>
            <a:xfrm>
              <a:off x="9582539" y="4347301"/>
              <a:ext cx="0" cy="117209"/>
            </a:xfrm>
            <a:custGeom>
              <a:avLst/>
              <a:gdLst/>
              <a:ahLst/>
              <a:cxnLst/>
              <a:rect l="0" t="0" r="0" b="0"/>
              <a:pathLst>
                <a:path h="117209">
                  <a:moveTo>
                    <a:pt x="0" y="117209"/>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grpSp>
      <p:cxnSp>
        <p:nvCxnSpPr>
          <p:cNvPr id="10917" name="Straight Arrow Connector 10916">
            <a:extLst>
              <a:ext uri="{FF2B5EF4-FFF2-40B4-BE49-F238E27FC236}">
                <a16:creationId xmlns:a16="http://schemas.microsoft.com/office/drawing/2014/main" id="{711F3C0A-4A16-3F1A-2E3B-E954151F726C}"/>
              </a:ext>
            </a:extLst>
          </p:cNvPr>
          <p:cNvCxnSpPr>
            <a:cxnSpLocks/>
          </p:cNvCxnSpPr>
          <p:nvPr/>
        </p:nvCxnSpPr>
        <p:spPr>
          <a:xfrm flipH="1" flipV="1">
            <a:off x="5614893" y="4909889"/>
            <a:ext cx="216000" cy="216000"/>
          </a:xfrm>
          <a:prstGeom prst="straightConnector1">
            <a:avLst/>
          </a:prstGeom>
          <a:ln w="44450" cap="rnd">
            <a:solidFill>
              <a:schemeClr val="tx1"/>
            </a:solidFill>
            <a:round/>
            <a:tailEnd type="triangle"/>
          </a:ln>
        </p:spPr>
        <p:style>
          <a:lnRef idx="1">
            <a:schemeClr val="accent1"/>
          </a:lnRef>
          <a:fillRef idx="0">
            <a:schemeClr val="accent1"/>
          </a:fillRef>
          <a:effectRef idx="0">
            <a:schemeClr val="accent1"/>
          </a:effectRef>
          <a:fontRef idx="minor">
            <a:schemeClr val="tx1"/>
          </a:fontRef>
        </p:style>
      </p:cxnSp>
      <p:cxnSp>
        <p:nvCxnSpPr>
          <p:cNvPr id="10918" name="Straight Arrow Connector 10917">
            <a:extLst>
              <a:ext uri="{FF2B5EF4-FFF2-40B4-BE49-F238E27FC236}">
                <a16:creationId xmlns:a16="http://schemas.microsoft.com/office/drawing/2014/main" id="{D80D690A-AD04-D95F-8CD8-D90ECA8582DB}"/>
              </a:ext>
            </a:extLst>
          </p:cNvPr>
          <p:cNvCxnSpPr>
            <a:cxnSpLocks/>
          </p:cNvCxnSpPr>
          <p:nvPr/>
        </p:nvCxnSpPr>
        <p:spPr>
          <a:xfrm flipH="1">
            <a:off x="9396612" y="3893820"/>
            <a:ext cx="136008" cy="314995"/>
          </a:xfrm>
          <a:prstGeom prst="straightConnector1">
            <a:avLst/>
          </a:prstGeom>
          <a:ln w="44450" cap="rnd">
            <a:solidFill>
              <a:schemeClr val="tx1"/>
            </a:solidFill>
            <a:round/>
            <a:tailEnd type="triangle"/>
          </a:ln>
        </p:spPr>
        <p:style>
          <a:lnRef idx="1">
            <a:schemeClr val="accent1"/>
          </a:lnRef>
          <a:fillRef idx="0">
            <a:schemeClr val="accent1"/>
          </a:fillRef>
          <a:effectRef idx="0">
            <a:schemeClr val="accent1"/>
          </a:effectRef>
          <a:fontRef idx="minor">
            <a:schemeClr val="tx1"/>
          </a:fontRef>
        </p:style>
      </p:cxnSp>
      <p:grpSp>
        <p:nvGrpSpPr>
          <p:cNvPr id="10919" name="grp2">
            <a:extLst>
              <a:ext uri="{FF2B5EF4-FFF2-40B4-BE49-F238E27FC236}">
                <a16:creationId xmlns:a16="http://schemas.microsoft.com/office/drawing/2014/main" id="{B9DEAEF6-B1DB-220D-A46B-8F1F7ED3D89F}"/>
              </a:ext>
            </a:extLst>
          </p:cNvPr>
          <p:cNvGrpSpPr/>
          <p:nvPr/>
        </p:nvGrpSpPr>
        <p:grpSpPr>
          <a:xfrm>
            <a:off x="4316543" y="3065203"/>
            <a:ext cx="3701943" cy="2606694"/>
            <a:chOff x="4973747" y="3345466"/>
            <a:chExt cx="2456864" cy="1741257"/>
          </a:xfrm>
        </p:grpSpPr>
        <p:sp>
          <p:nvSpPr>
            <p:cNvPr id="10920" name="rc5">
              <a:extLst>
                <a:ext uri="{FF2B5EF4-FFF2-40B4-BE49-F238E27FC236}">
                  <a16:creationId xmlns:a16="http://schemas.microsoft.com/office/drawing/2014/main" id="{E360E18A-DC8C-8F67-CC8E-60414E9C24EA}"/>
                </a:ext>
              </a:extLst>
            </p:cNvPr>
            <p:cNvSpPr/>
            <p:nvPr/>
          </p:nvSpPr>
          <p:spPr>
            <a:xfrm>
              <a:off x="5270611" y="3381127"/>
              <a:ext cx="2160000" cy="1439999"/>
            </a:xfrm>
            <a:prstGeom prst="rect">
              <a:avLst/>
            </a:prstGeom>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21" name="pt6">
              <a:extLst>
                <a:ext uri="{FF2B5EF4-FFF2-40B4-BE49-F238E27FC236}">
                  <a16:creationId xmlns:a16="http://schemas.microsoft.com/office/drawing/2014/main" id="{1AACD626-E5E1-641B-2A7D-C068839E500B}"/>
                </a:ext>
              </a:extLst>
            </p:cNvPr>
            <p:cNvSpPr/>
            <p:nvPr/>
          </p:nvSpPr>
          <p:spPr>
            <a:xfrm>
              <a:off x="5350742" y="4391648"/>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22" name="pt7">
              <a:extLst>
                <a:ext uri="{FF2B5EF4-FFF2-40B4-BE49-F238E27FC236}">
                  <a16:creationId xmlns:a16="http://schemas.microsoft.com/office/drawing/2014/main" id="{10852989-3CAB-6CE6-8BEE-8C1A7EFD823C}"/>
                </a:ext>
              </a:extLst>
            </p:cNvPr>
            <p:cNvSpPr/>
            <p:nvPr/>
          </p:nvSpPr>
          <p:spPr>
            <a:xfrm>
              <a:off x="5501791" y="4297550"/>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23" name="pt8">
              <a:extLst>
                <a:ext uri="{FF2B5EF4-FFF2-40B4-BE49-F238E27FC236}">
                  <a16:creationId xmlns:a16="http://schemas.microsoft.com/office/drawing/2014/main" id="{3C39C339-25A5-451A-1BC4-82E51B737738}"/>
                </a:ext>
              </a:extLst>
            </p:cNvPr>
            <p:cNvSpPr/>
            <p:nvPr/>
          </p:nvSpPr>
          <p:spPr>
            <a:xfrm>
              <a:off x="5652840" y="4284025"/>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24" name="pt9">
              <a:extLst>
                <a:ext uri="{FF2B5EF4-FFF2-40B4-BE49-F238E27FC236}">
                  <a16:creationId xmlns:a16="http://schemas.microsoft.com/office/drawing/2014/main" id="{ABDF11D2-F1BC-120D-F81D-061FC411ABDB}"/>
                </a:ext>
              </a:extLst>
            </p:cNvPr>
            <p:cNvSpPr/>
            <p:nvPr/>
          </p:nvSpPr>
          <p:spPr>
            <a:xfrm>
              <a:off x="5803889" y="4282538"/>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25" name="pt10">
              <a:extLst>
                <a:ext uri="{FF2B5EF4-FFF2-40B4-BE49-F238E27FC236}">
                  <a16:creationId xmlns:a16="http://schemas.microsoft.com/office/drawing/2014/main" id="{210F5886-35D6-B544-2CD1-9A091BD84178}"/>
                </a:ext>
              </a:extLst>
            </p:cNvPr>
            <p:cNvSpPr/>
            <p:nvPr/>
          </p:nvSpPr>
          <p:spPr>
            <a:xfrm>
              <a:off x="5954938" y="4235785"/>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26" name="pt11">
              <a:extLst>
                <a:ext uri="{FF2B5EF4-FFF2-40B4-BE49-F238E27FC236}">
                  <a16:creationId xmlns:a16="http://schemas.microsoft.com/office/drawing/2014/main" id="{3B9B5E00-FD1F-AF29-C369-B7718CD43DB0}"/>
                </a:ext>
              </a:extLst>
            </p:cNvPr>
            <p:cNvSpPr/>
            <p:nvPr/>
          </p:nvSpPr>
          <p:spPr>
            <a:xfrm>
              <a:off x="6257036" y="4207696"/>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27" name="pt12">
              <a:extLst>
                <a:ext uri="{FF2B5EF4-FFF2-40B4-BE49-F238E27FC236}">
                  <a16:creationId xmlns:a16="http://schemas.microsoft.com/office/drawing/2014/main" id="{CF44FEC6-5E14-E012-1750-C0D5FE89EB58}"/>
                </a:ext>
              </a:extLst>
            </p:cNvPr>
            <p:cNvSpPr/>
            <p:nvPr/>
          </p:nvSpPr>
          <p:spPr>
            <a:xfrm>
              <a:off x="6559134" y="4188657"/>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28" name="pt13">
              <a:extLst>
                <a:ext uri="{FF2B5EF4-FFF2-40B4-BE49-F238E27FC236}">
                  <a16:creationId xmlns:a16="http://schemas.microsoft.com/office/drawing/2014/main" id="{E7C469C9-4C05-4804-2776-FBA6D30DC214}"/>
                </a:ext>
              </a:extLst>
            </p:cNvPr>
            <p:cNvSpPr/>
            <p:nvPr/>
          </p:nvSpPr>
          <p:spPr>
            <a:xfrm>
              <a:off x="6861232" y="4197884"/>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29" name="pt14">
              <a:extLst>
                <a:ext uri="{FF2B5EF4-FFF2-40B4-BE49-F238E27FC236}">
                  <a16:creationId xmlns:a16="http://schemas.microsoft.com/office/drawing/2014/main" id="{EE8E982D-3D97-E33E-A456-8A8235715FE8}"/>
                </a:ext>
              </a:extLst>
            </p:cNvPr>
            <p:cNvSpPr/>
            <p:nvPr/>
          </p:nvSpPr>
          <p:spPr>
            <a:xfrm>
              <a:off x="7163329" y="4220754"/>
              <a:ext cx="36101" cy="36101"/>
            </a:xfrm>
            <a:prstGeom prst="ellipse">
              <a:avLst/>
            </a:prstGeom>
            <a:solidFill>
              <a:srgbClr val="2E2E2E">
                <a:alpha val="100000"/>
              </a:srgbClr>
            </a:solidFill>
            <a:ln w="9000" cap="rnd">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30" name="pt15">
              <a:extLst>
                <a:ext uri="{FF2B5EF4-FFF2-40B4-BE49-F238E27FC236}">
                  <a16:creationId xmlns:a16="http://schemas.microsoft.com/office/drawing/2014/main" id="{D3AF727C-0528-AFC2-E1B9-6E61E77ABC5F}"/>
                </a:ext>
              </a:extLst>
            </p:cNvPr>
            <p:cNvSpPr/>
            <p:nvPr/>
          </p:nvSpPr>
          <p:spPr>
            <a:xfrm>
              <a:off x="5350742" y="4391648"/>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31" name="pt16">
              <a:extLst>
                <a:ext uri="{FF2B5EF4-FFF2-40B4-BE49-F238E27FC236}">
                  <a16:creationId xmlns:a16="http://schemas.microsoft.com/office/drawing/2014/main" id="{0E850B16-9640-C92A-26C2-4D3DDB1DEADC}"/>
                </a:ext>
              </a:extLst>
            </p:cNvPr>
            <p:cNvSpPr/>
            <p:nvPr/>
          </p:nvSpPr>
          <p:spPr>
            <a:xfrm>
              <a:off x="5501791" y="4167791"/>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32" name="pt17">
              <a:extLst>
                <a:ext uri="{FF2B5EF4-FFF2-40B4-BE49-F238E27FC236}">
                  <a16:creationId xmlns:a16="http://schemas.microsoft.com/office/drawing/2014/main" id="{4340778D-AA46-E5D9-048B-198629A083E0}"/>
                </a:ext>
              </a:extLst>
            </p:cNvPr>
            <p:cNvSpPr/>
            <p:nvPr/>
          </p:nvSpPr>
          <p:spPr>
            <a:xfrm>
              <a:off x="5652840" y="3984476"/>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33" name="pt18">
              <a:extLst>
                <a:ext uri="{FF2B5EF4-FFF2-40B4-BE49-F238E27FC236}">
                  <a16:creationId xmlns:a16="http://schemas.microsoft.com/office/drawing/2014/main" id="{AB990201-079E-4D46-FE0B-646838919AD4}"/>
                </a:ext>
              </a:extLst>
            </p:cNvPr>
            <p:cNvSpPr/>
            <p:nvPr/>
          </p:nvSpPr>
          <p:spPr>
            <a:xfrm>
              <a:off x="5803889" y="3946112"/>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34" name="pt19">
              <a:extLst>
                <a:ext uri="{FF2B5EF4-FFF2-40B4-BE49-F238E27FC236}">
                  <a16:creationId xmlns:a16="http://schemas.microsoft.com/office/drawing/2014/main" id="{9C82CEDB-5AEA-5DEA-514B-6E2B683A1E0E}"/>
                </a:ext>
              </a:extLst>
            </p:cNvPr>
            <p:cNvSpPr/>
            <p:nvPr/>
          </p:nvSpPr>
          <p:spPr>
            <a:xfrm>
              <a:off x="5954938" y="3892427"/>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35" name="pt20">
              <a:extLst>
                <a:ext uri="{FF2B5EF4-FFF2-40B4-BE49-F238E27FC236}">
                  <a16:creationId xmlns:a16="http://schemas.microsoft.com/office/drawing/2014/main" id="{B22A46CB-CEBC-C330-DD42-F5FD52CC601E}"/>
                </a:ext>
              </a:extLst>
            </p:cNvPr>
            <p:cNvSpPr/>
            <p:nvPr/>
          </p:nvSpPr>
          <p:spPr>
            <a:xfrm>
              <a:off x="6257036" y="3772726"/>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36" name="pt21">
              <a:extLst>
                <a:ext uri="{FF2B5EF4-FFF2-40B4-BE49-F238E27FC236}">
                  <a16:creationId xmlns:a16="http://schemas.microsoft.com/office/drawing/2014/main" id="{17BFC1D8-34C2-FA94-A095-B82313BB4D14}"/>
                </a:ext>
              </a:extLst>
            </p:cNvPr>
            <p:cNvSpPr/>
            <p:nvPr/>
          </p:nvSpPr>
          <p:spPr>
            <a:xfrm>
              <a:off x="6559134" y="3712927"/>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37" name="pt22">
              <a:extLst>
                <a:ext uri="{FF2B5EF4-FFF2-40B4-BE49-F238E27FC236}">
                  <a16:creationId xmlns:a16="http://schemas.microsoft.com/office/drawing/2014/main" id="{FD83ACE6-78EE-8A53-5061-0C745FA76A9D}"/>
                </a:ext>
              </a:extLst>
            </p:cNvPr>
            <p:cNvSpPr/>
            <p:nvPr/>
          </p:nvSpPr>
          <p:spPr>
            <a:xfrm>
              <a:off x="6861232" y="3596822"/>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38" name="pt23">
              <a:extLst>
                <a:ext uri="{FF2B5EF4-FFF2-40B4-BE49-F238E27FC236}">
                  <a16:creationId xmlns:a16="http://schemas.microsoft.com/office/drawing/2014/main" id="{1C9D881D-CF92-9581-AB21-2BC57B24CBAC}"/>
                </a:ext>
              </a:extLst>
            </p:cNvPr>
            <p:cNvSpPr/>
            <p:nvPr/>
          </p:nvSpPr>
          <p:spPr>
            <a:xfrm>
              <a:off x="7163329" y="3641358"/>
              <a:ext cx="36101" cy="36101"/>
            </a:xfrm>
            <a:prstGeom prst="ellipse">
              <a:avLst/>
            </a:prstGeom>
            <a:solidFill>
              <a:srgbClr val="00DF86">
                <a:alpha val="100000"/>
              </a:srgbClr>
            </a:solidFill>
            <a:ln w="9000" cap="rnd">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39" name="pt24">
              <a:extLst>
                <a:ext uri="{FF2B5EF4-FFF2-40B4-BE49-F238E27FC236}">
                  <a16:creationId xmlns:a16="http://schemas.microsoft.com/office/drawing/2014/main" id="{626D0356-539C-87BC-2FB7-5EB320479D35}"/>
                </a:ext>
              </a:extLst>
            </p:cNvPr>
            <p:cNvSpPr/>
            <p:nvPr/>
          </p:nvSpPr>
          <p:spPr>
            <a:xfrm>
              <a:off x="5350742" y="4391648"/>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40" name="pt25">
              <a:extLst>
                <a:ext uri="{FF2B5EF4-FFF2-40B4-BE49-F238E27FC236}">
                  <a16:creationId xmlns:a16="http://schemas.microsoft.com/office/drawing/2014/main" id="{766B2590-CC1B-7E76-6E49-EFF298B9540A}"/>
                </a:ext>
              </a:extLst>
            </p:cNvPr>
            <p:cNvSpPr/>
            <p:nvPr/>
          </p:nvSpPr>
          <p:spPr>
            <a:xfrm>
              <a:off x="5501791" y="4679860"/>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41" name="pt26">
              <a:extLst>
                <a:ext uri="{FF2B5EF4-FFF2-40B4-BE49-F238E27FC236}">
                  <a16:creationId xmlns:a16="http://schemas.microsoft.com/office/drawing/2014/main" id="{786674E7-3E39-E01A-BE11-8E1C96549FE7}"/>
                </a:ext>
              </a:extLst>
            </p:cNvPr>
            <p:cNvSpPr/>
            <p:nvPr/>
          </p:nvSpPr>
          <p:spPr>
            <a:xfrm>
              <a:off x="5652840" y="4564981"/>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42" name="pt27">
              <a:extLst>
                <a:ext uri="{FF2B5EF4-FFF2-40B4-BE49-F238E27FC236}">
                  <a16:creationId xmlns:a16="http://schemas.microsoft.com/office/drawing/2014/main" id="{B86DB01B-4634-E8AD-597D-9D21AFB8265D}"/>
                </a:ext>
              </a:extLst>
            </p:cNvPr>
            <p:cNvSpPr/>
            <p:nvPr/>
          </p:nvSpPr>
          <p:spPr>
            <a:xfrm>
              <a:off x="5803889" y="4515400"/>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43" name="pt28">
              <a:extLst>
                <a:ext uri="{FF2B5EF4-FFF2-40B4-BE49-F238E27FC236}">
                  <a16:creationId xmlns:a16="http://schemas.microsoft.com/office/drawing/2014/main" id="{42F58706-0B7F-26B2-4975-AC8A04475B44}"/>
                </a:ext>
              </a:extLst>
            </p:cNvPr>
            <p:cNvSpPr/>
            <p:nvPr/>
          </p:nvSpPr>
          <p:spPr>
            <a:xfrm>
              <a:off x="5954938" y="4435181"/>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44" name="pt29">
              <a:extLst>
                <a:ext uri="{FF2B5EF4-FFF2-40B4-BE49-F238E27FC236}">
                  <a16:creationId xmlns:a16="http://schemas.microsoft.com/office/drawing/2014/main" id="{D5062A6F-0BAF-9E95-F24A-A902DD7CE1E9}"/>
                </a:ext>
              </a:extLst>
            </p:cNvPr>
            <p:cNvSpPr/>
            <p:nvPr/>
          </p:nvSpPr>
          <p:spPr>
            <a:xfrm>
              <a:off x="6257036" y="4397154"/>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45" name="pt30">
              <a:extLst>
                <a:ext uri="{FF2B5EF4-FFF2-40B4-BE49-F238E27FC236}">
                  <a16:creationId xmlns:a16="http://schemas.microsoft.com/office/drawing/2014/main" id="{104FE84D-DD10-8201-982D-80FC014079FC}"/>
                </a:ext>
              </a:extLst>
            </p:cNvPr>
            <p:cNvSpPr/>
            <p:nvPr/>
          </p:nvSpPr>
          <p:spPr>
            <a:xfrm>
              <a:off x="6559134" y="4342124"/>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46" name="pt31">
              <a:extLst>
                <a:ext uri="{FF2B5EF4-FFF2-40B4-BE49-F238E27FC236}">
                  <a16:creationId xmlns:a16="http://schemas.microsoft.com/office/drawing/2014/main" id="{0DF4AC23-AB4F-2022-BB4F-F2C52C90E0F5}"/>
                </a:ext>
              </a:extLst>
            </p:cNvPr>
            <p:cNvSpPr/>
            <p:nvPr/>
          </p:nvSpPr>
          <p:spPr>
            <a:xfrm>
              <a:off x="6861232" y="4308453"/>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47" name="pt32">
              <a:extLst>
                <a:ext uri="{FF2B5EF4-FFF2-40B4-BE49-F238E27FC236}">
                  <a16:creationId xmlns:a16="http://schemas.microsoft.com/office/drawing/2014/main" id="{C088280B-358C-FF6C-7526-CDDB6DC01D3D}"/>
                </a:ext>
              </a:extLst>
            </p:cNvPr>
            <p:cNvSpPr/>
            <p:nvPr/>
          </p:nvSpPr>
          <p:spPr>
            <a:xfrm>
              <a:off x="7163329" y="4357534"/>
              <a:ext cx="36101" cy="36101"/>
            </a:xfrm>
            <a:prstGeom prst="ellipse">
              <a:avLst/>
            </a:prstGeom>
            <a:solidFill>
              <a:srgbClr val="745DAD">
                <a:alpha val="100000"/>
              </a:srgbClr>
            </a:solidFill>
            <a:ln w="9000" cap="rnd">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48" name="pt33">
              <a:extLst>
                <a:ext uri="{FF2B5EF4-FFF2-40B4-BE49-F238E27FC236}">
                  <a16:creationId xmlns:a16="http://schemas.microsoft.com/office/drawing/2014/main" id="{DBB412FA-633B-22EF-261D-85F4C2102F19}"/>
                </a:ext>
              </a:extLst>
            </p:cNvPr>
            <p:cNvSpPr/>
            <p:nvPr/>
          </p:nvSpPr>
          <p:spPr>
            <a:xfrm>
              <a:off x="5350742" y="4391648"/>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49" name="pt34">
              <a:extLst>
                <a:ext uri="{FF2B5EF4-FFF2-40B4-BE49-F238E27FC236}">
                  <a16:creationId xmlns:a16="http://schemas.microsoft.com/office/drawing/2014/main" id="{6FFD241E-6C83-53C2-37DB-DD32DC02843A}"/>
                </a:ext>
              </a:extLst>
            </p:cNvPr>
            <p:cNvSpPr/>
            <p:nvPr/>
          </p:nvSpPr>
          <p:spPr>
            <a:xfrm>
              <a:off x="5501791" y="4671321"/>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50" name="pt35">
              <a:extLst>
                <a:ext uri="{FF2B5EF4-FFF2-40B4-BE49-F238E27FC236}">
                  <a16:creationId xmlns:a16="http://schemas.microsoft.com/office/drawing/2014/main" id="{F8171F60-BE00-8DF0-A1AC-2DA7205C4503}"/>
                </a:ext>
              </a:extLst>
            </p:cNvPr>
            <p:cNvSpPr/>
            <p:nvPr/>
          </p:nvSpPr>
          <p:spPr>
            <a:xfrm>
              <a:off x="5652840" y="4413847"/>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51" name="pt36">
              <a:extLst>
                <a:ext uri="{FF2B5EF4-FFF2-40B4-BE49-F238E27FC236}">
                  <a16:creationId xmlns:a16="http://schemas.microsoft.com/office/drawing/2014/main" id="{6F5ABF7E-AAE4-2E69-5864-7376087CE574}"/>
                </a:ext>
              </a:extLst>
            </p:cNvPr>
            <p:cNvSpPr/>
            <p:nvPr/>
          </p:nvSpPr>
          <p:spPr>
            <a:xfrm>
              <a:off x="5803889" y="4255262"/>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52" name="pt37">
              <a:extLst>
                <a:ext uri="{FF2B5EF4-FFF2-40B4-BE49-F238E27FC236}">
                  <a16:creationId xmlns:a16="http://schemas.microsoft.com/office/drawing/2014/main" id="{1C226E8E-4B63-C159-62E7-BDD960FB8427}"/>
                </a:ext>
              </a:extLst>
            </p:cNvPr>
            <p:cNvSpPr/>
            <p:nvPr/>
          </p:nvSpPr>
          <p:spPr>
            <a:xfrm>
              <a:off x="5954938" y="4161572"/>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53" name="pt38">
              <a:extLst>
                <a:ext uri="{FF2B5EF4-FFF2-40B4-BE49-F238E27FC236}">
                  <a16:creationId xmlns:a16="http://schemas.microsoft.com/office/drawing/2014/main" id="{7B3C4CFB-A76C-38DF-B5AC-9E66F19C221C}"/>
                </a:ext>
              </a:extLst>
            </p:cNvPr>
            <p:cNvSpPr/>
            <p:nvPr/>
          </p:nvSpPr>
          <p:spPr>
            <a:xfrm>
              <a:off x="6257036" y="4026875"/>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54" name="pt39">
              <a:extLst>
                <a:ext uri="{FF2B5EF4-FFF2-40B4-BE49-F238E27FC236}">
                  <a16:creationId xmlns:a16="http://schemas.microsoft.com/office/drawing/2014/main" id="{2600A88A-6C8A-4F16-BE10-15B60C6A2A44}"/>
                </a:ext>
              </a:extLst>
            </p:cNvPr>
            <p:cNvSpPr/>
            <p:nvPr/>
          </p:nvSpPr>
          <p:spPr>
            <a:xfrm>
              <a:off x="6559134" y="3928552"/>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55" name="pt40">
              <a:extLst>
                <a:ext uri="{FF2B5EF4-FFF2-40B4-BE49-F238E27FC236}">
                  <a16:creationId xmlns:a16="http://schemas.microsoft.com/office/drawing/2014/main" id="{804BFCDB-91CA-89EF-CF69-1578DDBC7376}"/>
                </a:ext>
              </a:extLst>
            </p:cNvPr>
            <p:cNvSpPr/>
            <p:nvPr/>
          </p:nvSpPr>
          <p:spPr>
            <a:xfrm>
              <a:off x="6861232" y="3885457"/>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56" name="pt41">
              <a:extLst>
                <a:ext uri="{FF2B5EF4-FFF2-40B4-BE49-F238E27FC236}">
                  <a16:creationId xmlns:a16="http://schemas.microsoft.com/office/drawing/2014/main" id="{942A3573-1338-20FC-2FF9-3ABE9B0CBA00}"/>
                </a:ext>
              </a:extLst>
            </p:cNvPr>
            <p:cNvSpPr/>
            <p:nvPr/>
          </p:nvSpPr>
          <p:spPr>
            <a:xfrm>
              <a:off x="7163329" y="3916549"/>
              <a:ext cx="36101" cy="36101"/>
            </a:xfrm>
            <a:prstGeom prst="ellipse">
              <a:avLst/>
            </a:prstGeom>
            <a:solidFill>
              <a:srgbClr val="2878FF">
                <a:alpha val="100000"/>
              </a:srgbClr>
            </a:solidFill>
            <a:ln w="9000" cap="rnd">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57" name="pt42">
              <a:extLst>
                <a:ext uri="{FF2B5EF4-FFF2-40B4-BE49-F238E27FC236}">
                  <a16:creationId xmlns:a16="http://schemas.microsoft.com/office/drawing/2014/main" id="{4076DCF7-9165-3FA9-EF4D-71AAA5AEF770}"/>
                </a:ext>
              </a:extLst>
            </p:cNvPr>
            <p:cNvSpPr/>
            <p:nvPr/>
          </p:nvSpPr>
          <p:spPr>
            <a:xfrm>
              <a:off x="5350742" y="4391648"/>
              <a:ext cx="36101" cy="36101"/>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58" name="pt43">
              <a:extLst>
                <a:ext uri="{FF2B5EF4-FFF2-40B4-BE49-F238E27FC236}">
                  <a16:creationId xmlns:a16="http://schemas.microsoft.com/office/drawing/2014/main" id="{0744A81F-CC82-703F-1467-C281020BD135}"/>
                </a:ext>
              </a:extLst>
            </p:cNvPr>
            <p:cNvSpPr/>
            <p:nvPr/>
          </p:nvSpPr>
          <p:spPr>
            <a:xfrm>
              <a:off x="5501791" y="4585622"/>
              <a:ext cx="36101" cy="36101"/>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59" name="pt44">
              <a:extLst>
                <a:ext uri="{FF2B5EF4-FFF2-40B4-BE49-F238E27FC236}">
                  <a16:creationId xmlns:a16="http://schemas.microsoft.com/office/drawing/2014/main" id="{378BB01F-DD1E-174B-3DA5-5D4FF4643D9D}"/>
                </a:ext>
              </a:extLst>
            </p:cNvPr>
            <p:cNvSpPr/>
            <p:nvPr/>
          </p:nvSpPr>
          <p:spPr>
            <a:xfrm>
              <a:off x="5652840" y="4532935"/>
              <a:ext cx="36101" cy="36101"/>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60" name="pt45">
              <a:extLst>
                <a:ext uri="{FF2B5EF4-FFF2-40B4-BE49-F238E27FC236}">
                  <a16:creationId xmlns:a16="http://schemas.microsoft.com/office/drawing/2014/main" id="{D8774729-DA7E-07FD-9BEA-72AB19AEB6BC}"/>
                </a:ext>
              </a:extLst>
            </p:cNvPr>
            <p:cNvSpPr/>
            <p:nvPr/>
          </p:nvSpPr>
          <p:spPr>
            <a:xfrm>
              <a:off x="5803889" y="4497758"/>
              <a:ext cx="36101" cy="36101"/>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61" name="pt46">
              <a:extLst>
                <a:ext uri="{FF2B5EF4-FFF2-40B4-BE49-F238E27FC236}">
                  <a16:creationId xmlns:a16="http://schemas.microsoft.com/office/drawing/2014/main" id="{2DCBABAD-B448-97F3-5C35-49E3ACF6D724}"/>
                </a:ext>
              </a:extLst>
            </p:cNvPr>
            <p:cNvSpPr/>
            <p:nvPr/>
          </p:nvSpPr>
          <p:spPr>
            <a:xfrm>
              <a:off x="5954938" y="4338225"/>
              <a:ext cx="36101" cy="36101"/>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62" name="pt47">
              <a:extLst>
                <a:ext uri="{FF2B5EF4-FFF2-40B4-BE49-F238E27FC236}">
                  <a16:creationId xmlns:a16="http://schemas.microsoft.com/office/drawing/2014/main" id="{EEB89E73-B46C-F22D-412D-F8AB1DDB7334}"/>
                </a:ext>
              </a:extLst>
            </p:cNvPr>
            <p:cNvSpPr/>
            <p:nvPr/>
          </p:nvSpPr>
          <p:spPr>
            <a:xfrm>
              <a:off x="6257036" y="4037157"/>
              <a:ext cx="36101" cy="36101"/>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63" name="pt48">
              <a:extLst>
                <a:ext uri="{FF2B5EF4-FFF2-40B4-BE49-F238E27FC236}">
                  <a16:creationId xmlns:a16="http://schemas.microsoft.com/office/drawing/2014/main" id="{0DF7138D-636B-2D01-047A-01F3FEDBB972}"/>
                </a:ext>
              </a:extLst>
            </p:cNvPr>
            <p:cNvSpPr/>
            <p:nvPr/>
          </p:nvSpPr>
          <p:spPr>
            <a:xfrm>
              <a:off x="6559134" y="3930361"/>
              <a:ext cx="36101" cy="36101"/>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64" name="pt49">
              <a:extLst>
                <a:ext uri="{FF2B5EF4-FFF2-40B4-BE49-F238E27FC236}">
                  <a16:creationId xmlns:a16="http://schemas.microsoft.com/office/drawing/2014/main" id="{44D86847-72E3-6B3F-2BF6-A794B0E5D77A}"/>
                </a:ext>
              </a:extLst>
            </p:cNvPr>
            <p:cNvSpPr/>
            <p:nvPr/>
          </p:nvSpPr>
          <p:spPr>
            <a:xfrm>
              <a:off x="6861232" y="3838815"/>
              <a:ext cx="36101" cy="36101"/>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65" name="pt50">
              <a:extLst>
                <a:ext uri="{FF2B5EF4-FFF2-40B4-BE49-F238E27FC236}">
                  <a16:creationId xmlns:a16="http://schemas.microsoft.com/office/drawing/2014/main" id="{C11E1807-8748-46B6-A2CA-2C05164275B8}"/>
                </a:ext>
              </a:extLst>
            </p:cNvPr>
            <p:cNvSpPr/>
            <p:nvPr/>
          </p:nvSpPr>
          <p:spPr>
            <a:xfrm>
              <a:off x="7163329" y="3880157"/>
              <a:ext cx="36101" cy="36101"/>
            </a:xfrm>
            <a:prstGeom prst="ellipse">
              <a:avLst/>
            </a:prstGeom>
            <a:solidFill>
              <a:srgbClr val="E283E6">
                <a:alpha val="100000"/>
              </a:srgbClr>
            </a:solidFill>
            <a:ln w="9000" cap="rnd">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66" name="pl51">
              <a:extLst>
                <a:ext uri="{FF2B5EF4-FFF2-40B4-BE49-F238E27FC236}">
                  <a16:creationId xmlns:a16="http://schemas.microsoft.com/office/drawing/2014/main" id="{3C7255C5-C5C0-AFEB-3AAE-DB45A986958D}"/>
                </a:ext>
              </a:extLst>
            </p:cNvPr>
            <p:cNvSpPr/>
            <p:nvPr/>
          </p:nvSpPr>
          <p:spPr>
            <a:xfrm>
              <a:off x="5368793" y="4206707"/>
              <a:ext cx="1812587" cy="202991"/>
            </a:xfrm>
            <a:custGeom>
              <a:avLst/>
              <a:gdLst/>
              <a:ahLst/>
              <a:cxnLst/>
              <a:rect l="0" t="0" r="0" b="0"/>
              <a:pathLst>
                <a:path w="1812587" h="202991">
                  <a:moveTo>
                    <a:pt x="0" y="202991"/>
                  </a:moveTo>
                  <a:lnTo>
                    <a:pt x="151048" y="108893"/>
                  </a:lnTo>
                  <a:lnTo>
                    <a:pt x="302097" y="95368"/>
                  </a:lnTo>
                  <a:lnTo>
                    <a:pt x="453146" y="93881"/>
                  </a:lnTo>
                  <a:lnTo>
                    <a:pt x="604195" y="47128"/>
                  </a:lnTo>
                  <a:lnTo>
                    <a:pt x="906293" y="19038"/>
                  </a:lnTo>
                  <a:lnTo>
                    <a:pt x="1208391" y="0"/>
                  </a:lnTo>
                  <a:lnTo>
                    <a:pt x="1510489" y="9227"/>
                  </a:lnTo>
                  <a:lnTo>
                    <a:pt x="1812587" y="32097"/>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67" name="pl52">
              <a:extLst>
                <a:ext uri="{FF2B5EF4-FFF2-40B4-BE49-F238E27FC236}">
                  <a16:creationId xmlns:a16="http://schemas.microsoft.com/office/drawing/2014/main" id="{8719C747-FF04-0C80-8966-15BCE3A42980}"/>
                </a:ext>
              </a:extLst>
            </p:cNvPr>
            <p:cNvSpPr/>
            <p:nvPr/>
          </p:nvSpPr>
          <p:spPr>
            <a:xfrm>
              <a:off x="5368793" y="3614873"/>
              <a:ext cx="1812587" cy="794826"/>
            </a:xfrm>
            <a:custGeom>
              <a:avLst/>
              <a:gdLst/>
              <a:ahLst/>
              <a:cxnLst/>
              <a:rect l="0" t="0" r="0" b="0"/>
              <a:pathLst>
                <a:path w="1812587" h="794826">
                  <a:moveTo>
                    <a:pt x="0" y="794826"/>
                  </a:moveTo>
                  <a:lnTo>
                    <a:pt x="151048" y="570969"/>
                  </a:lnTo>
                  <a:lnTo>
                    <a:pt x="302097" y="387653"/>
                  </a:lnTo>
                  <a:lnTo>
                    <a:pt x="453146" y="349290"/>
                  </a:lnTo>
                  <a:lnTo>
                    <a:pt x="604195" y="295604"/>
                  </a:lnTo>
                  <a:lnTo>
                    <a:pt x="906293" y="175904"/>
                  </a:lnTo>
                  <a:lnTo>
                    <a:pt x="1208391" y="116105"/>
                  </a:lnTo>
                  <a:lnTo>
                    <a:pt x="1510489" y="0"/>
                  </a:lnTo>
                  <a:lnTo>
                    <a:pt x="1812587" y="44536"/>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68" name="pl53">
              <a:extLst>
                <a:ext uri="{FF2B5EF4-FFF2-40B4-BE49-F238E27FC236}">
                  <a16:creationId xmlns:a16="http://schemas.microsoft.com/office/drawing/2014/main" id="{49E672DF-DB2A-20A0-F6BF-05915CC00953}"/>
                </a:ext>
              </a:extLst>
            </p:cNvPr>
            <p:cNvSpPr/>
            <p:nvPr/>
          </p:nvSpPr>
          <p:spPr>
            <a:xfrm>
              <a:off x="5368793" y="4326504"/>
              <a:ext cx="1812587" cy="371407"/>
            </a:xfrm>
            <a:custGeom>
              <a:avLst/>
              <a:gdLst/>
              <a:ahLst/>
              <a:cxnLst/>
              <a:rect l="0" t="0" r="0" b="0"/>
              <a:pathLst>
                <a:path w="1812587" h="371407">
                  <a:moveTo>
                    <a:pt x="0" y="83194"/>
                  </a:moveTo>
                  <a:lnTo>
                    <a:pt x="151048" y="371407"/>
                  </a:lnTo>
                  <a:lnTo>
                    <a:pt x="302097" y="256528"/>
                  </a:lnTo>
                  <a:lnTo>
                    <a:pt x="453146" y="206947"/>
                  </a:lnTo>
                  <a:lnTo>
                    <a:pt x="604195" y="126728"/>
                  </a:lnTo>
                  <a:lnTo>
                    <a:pt x="906293" y="88700"/>
                  </a:lnTo>
                  <a:lnTo>
                    <a:pt x="1208391" y="33670"/>
                  </a:lnTo>
                  <a:lnTo>
                    <a:pt x="1510489" y="0"/>
                  </a:lnTo>
                  <a:lnTo>
                    <a:pt x="1812587" y="49081"/>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69" name="pl54">
              <a:extLst>
                <a:ext uri="{FF2B5EF4-FFF2-40B4-BE49-F238E27FC236}">
                  <a16:creationId xmlns:a16="http://schemas.microsoft.com/office/drawing/2014/main" id="{88AD7E64-563D-32E3-01B3-DFAEE044ADA3}"/>
                </a:ext>
              </a:extLst>
            </p:cNvPr>
            <p:cNvSpPr/>
            <p:nvPr/>
          </p:nvSpPr>
          <p:spPr>
            <a:xfrm>
              <a:off x="5368793" y="3903508"/>
              <a:ext cx="1812587" cy="785864"/>
            </a:xfrm>
            <a:custGeom>
              <a:avLst/>
              <a:gdLst/>
              <a:ahLst/>
              <a:cxnLst/>
              <a:rect l="0" t="0" r="0" b="0"/>
              <a:pathLst>
                <a:path w="1812587" h="785864">
                  <a:moveTo>
                    <a:pt x="0" y="506191"/>
                  </a:moveTo>
                  <a:lnTo>
                    <a:pt x="151048" y="785864"/>
                  </a:lnTo>
                  <a:lnTo>
                    <a:pt x="302097" y="528390"/>
                  </a:lnTo>
                  <a:lnTo>
                    <a:pt x="453146" y="369805"/>
                  </a:lnTo>
                  <a:lnTo>
                    <a:pt x="604195" y="276115"/>
                  </a:lnTo>
                  <a:lnTo>
                    <a:pt x="906293" y="141418"/>
                  </a:lnTo>
                  <a:lnTo>
                    <a:pt x="1208391" y="43095"/>
                  </a:lnTo>
                  <a:lnTo>
                    <a:pt x="1510489" y="0"/>
                  </a:lnTo>
                  <a:lnTo>
                    <a:pt x="1812587" y="31091"/>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70" name="pl55">
              <a:extLst>
                <a:ext uri="{FF2B5EF4-FFF2-40B4-BE49-F238E27FC236}">
                  <a16:creationId xmlns:a16="http://schemas.microsoft.com/office/drawing/2014/main" id="{247B9FA8-8E33-ABE0-D34D-5CDFB4A2C211}"/>
                </a:ext>
              </a:extLst>
            </p:cNvPr>
            <p:cNvSpPr/>
            <p:nvPr/>
          </p:nvSpPr>
          <p:spPr>
            <a:xfrm>
              <a:off x="5368793" y="3856866"/>
              <a:ext cx="1812587" cy="746806"/>
            </a:xfrm>
            <a:custGeom>
              <a:avLst/>
              <a:gdLst/>
              <a:ahLst/>
              <a:cxnLst/>
              <a:rect l="0" t="0" r="0" b="0"/>
              <a:pathLst>
                <a:path w="1812587" h="746806">
                  <a:moveTo>
                    <a:pt x="0" y="552832"/>
                  </a:moveTo>
                  <a:lnTo>
                    <a:pt x="151048" y="746806"/>
                  </a:lnTo>
                  <a:lnTo>
                    <a:pt x="302097" y="694119"/>
                  </a:lnTo>
                  <a:lnTo>
                    <a:pt x="453146" y="658942"/>
                  </a:lnTo>
                  <a:lnTo>
                    <a:pt x="604195" y="499409"/>
                  </a:lnTo>
                  <a:lnTo>
                    <a:pt x="906293" y="198342"/>
                  </a:lnTo>
                  <a:lnTo>
                    <a:pt x="1208391" y="91545"/>
                  </a:lnTo>
                  <a:lnTo>
                    <a:pt x="1510489" y="0"/>
                  </a:lnTo>
                  <a:lnTo>
                    <a:pt x="1812587" y="41341"/>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71" name="pl56">
              <a:extLst>
                <a:ext uri="{FF2B5EF4-FFF2-40B4-BE49-F238E27FC236}">
                  <a16:creationId xmlns:a16="http://schemas.microsoft.com/office/drawing/2014/main" id="{FCE9F9FF-1DEF-6CB0-BB11-73BA3FDED559}"/>
                </a:ext>
              </a:extLst>
            </p:cNvPr>
            <p:cNvSpPr/>
            <p:nvPr/>
          </p:nvSpPr>
          <p:spPr>
            <a:xfrm>
              <a:off x="5368793" y="4409699"/>
              <a:ext cx="0" cy="0"/>
            </a:xfrm>
            <a:custGeom>
              <a:avLst/>
              <a:gdLst/>
              <a:ahLst/>
              <a:cxnLst/>
              <a:rect l="0" t="0" r="0" b="0"/>
              <a:pathLst>
                <a:path>
                  <a:moveTo>
                    <a:pt x="0" y="0"/>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72" name="pl57">
              <a:extLst>
                <a:ext uri="{FF2B5EF4-FFF2-40B4-BE49-F238E27FC236}">
                  <a16:creationId xmlns:a16="http://schemas.microsoft.com/office/drawing/2014/main" id="{7F9BC5FE-D97F-0D32-617D-9FE003F02A3E}"/>
                </a:ext>
              </a:extLst>
            </p:cNvPr>
            <p:cNvSpPr/>
            <p:nvPr/>
          </p:nvSpPr>
          <p:spPr>
            <a:xfrm>
              <a:off x="5519842" y="4284234"/>
              <a:ext cx="0" cy="31366"/>
            </a:xfrm>
            <a:custGeom>
              <a:avLst/>
              <a:gdLst/>
              <a:ahLst/>
              <a:cxnLst/>
              <a:rect l="0" t="0" r="0" b="0"/>
              <a:pathLst>
                <a:path h="31366">
                  <a:moveTo>
                    <a:pt x="0" y="31366"/>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73" name="pl58">
              <a:extLst>
                <a:ext uri="{FF2B5EF4-FFF2-40B4-BE49-F238E27FC236}">
                  <a16:creationId xmlns:a16="http://schemas.microsoft.com/office/drawing/2014/main" id="{B605C799-777F-1EAC-1720-E252CF96F5CD}"/>
                </a:ext>
              </a:extLst>
            </p:cNvPr>
            <p:cNvSpPr/>
            <p:nvPr/>
          </p:nvSpPr>
          <p:spPr>
            <a:xfrm>
              <a:off x="5670891" y="4267912"/>
              <a:ext cx="0" cy="34164"/>
            </a:xfrm>
            <a:custGeom>
              <a:avLst/>
              <a:gdLst/>
              <a:ahLst/>
              <a:cxnLst/>
              <a:rect l="0" t="0" r="0" b="0"/>
              <a:pathLst>
                <a:path h="34164">
                  <a:moveTo>
                    <a:pt x="0" y="34164"/>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74" name="pl59">
              <a:extLst>
                <a:ext uri="{FF2B5EF4-FFF2-40B4-BE49-F238E27FC236}">
                  <a16:creationId xmlns:a16="http://schemas.microsoft.com/office/drawing/2014/main" id="{941A5FB9-54D7-59B1-A2A9-2BABB33BB115}"/>
                </a:ext>
              </a:extLst>
            </p:cNvPr>
            <p:cNvSpPr/>
            <p:nvPr/>
          </p:nvSpPr>
          <p:spPr>
            <a:xfrm>
              <a:off x="5821940" y="4264067"/>
              <a:ext cx="0" cy="36521"/>
            </a:xfrm>
            <a:custGeom>
              <a:avLst/>
              <a:gdLst/>
              <a:ahLst/>
              <a:cxnLst/>
              <a:rect l="0" t="0" r="0" b="0"/>
              <a:pathLst>
                <a:path h="36521">
                  <a:moveTo>
                    <a:pt x="0" y="36521"/>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75" name="pl60">
              <a:extLst>
                <a:ext uri="{FF2B5EF4-FFF2-40B4-BE49-F238E27FC236}">
                  <a16:creationId xmlns:a16="http://schemas.microsoft.com/office/drawing/2014/main" id="{C2F58FFC-7591-0A42-9052-CA5D5EDF0DDF}"/>
                </a:ext>
              </a:extLst>
            </p:cNvPr>
            <p:cNvSpPr/>
            <p:nvPr/>
          </p:nvSpPr>
          <p:spPr>
            <a:xfrm>
              <a:off x="5972989" y="4205891"/>
              <a:ext cx="0" cy="47944"/>
            </a:xfrm>
            <a:custGeom>
              <a:avLst/>
              <a:gdLst/>
              <a:ahLst/>
              <a:cxnLst/>
              <a:rect l="0" t="0" r="0" b="0"/>
              <a:pathLst>
                <a:path h="47944">
                  <a:moveTo>
                    <a:pt x="0" y="47944"/>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76" name="pl61">
              <a:extLst>
                <a:ext uri="{FF2B5EF4-FFF2-40B4-BE49-F238E27FC236}">
                  <a16:creationId xmlns:a16="http://schemas.microsoft.com/office/drawing/2014/main" id="{F35A7D49-77FB-93E0-A139-D5DE4667E6A7}"/>
                </a:ext>
              </a:extLst>
            </p:cNvPr>
            <p:cNvSpPr/>
            <p:nvPr/>
          </p:nvSpPr>
          <p:spPr>
            <a:xfrm>
              <a:off x="6275086" y="4173525"/>
              <a:ext cx="0" cy="52220"/>
            </a:xfrm>
            <a:custGeom>
              <a:avLst/>
              <a:gdLst/>
              <a:ahLst/>
              <a:cxnLst/>
              <a:rect l="0" t="0" r="0" b="0"/>
              <a:pathLst>
                <a:path h="52220">
                  <a:moveTo>
                    <a:pt x="0" y="52220"/>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77" name="pl62">
              <a:extLst>
                <a:ext uri="{FF2B5EF4-FFF2-40B4-BE49-F238E27FC236}">
                  <a16:creationId xmlns:a16="http://schemas.microsoft.com/office/drawing/2014/main" id="{F6B1691A-ACA5-2AD3-1737-2FBF68F7296B}"/>
                </a:ext>
              </a:extLst>
            </p:cNvPr>
            <p:cNvSpPr/>
            <p:nvPr/>
          </p:nvSpPr>
          <p:spPr>
            <a:xfrm>
              <a:off x="6577184" y="4141573"/>
              <a:ext cx="0" cy="65134"/>
            </a:xfrm>
            <a:custGeom>
              <a:avLst/>
              <a:gdLst/>
              <a:ahLst/>
              <a:cxnLst/>
              <a:rect l="0" t="0" r="0" b="0"/>
              <a:pathLst>
                <a:path h="65134">
                  <a:moveTo>
                    <a:pt x="0" y="65134"/>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78" name="pl63">
              <a:extLst>
                <a:ext uri="{FF2B5EF4-FFF2-40B4-BE49-F238E27FC236}">
                  <a16:creationId xmlns:a16="http://schemas.microsoft.com/office/drawing/2014/main" id="{46CB189A-C8DE-7E40-11BC-F41454D419D2}"/>
                </a:ext>
              </a:extLst>
            </p:cNvPr>
            <p:cNvSpPr/>
            <p:nvPr/>
          </p:nvSpPr>
          <p:spPr>
            <a:xfrm>
              <a:off x="6879282" y="4158724"/>
              <a:ext cx="0" cy="57210"/>
            </a:xfrm>
            <a:custGeom>
              <a:avLst/>
              <a:gdLst/>
              <a:ahLst/>
              <a:cxnLst/>
              <a:rect l="0" t="0" r="0" b="0"/>
              <a:pathLst>
                <a:path h="57210">
                  <a:moveTo>
                    <a:pt x="0" y="57210"/>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79" name="pl64">
              <a:extLst>
                <a:ext uri="{FF2B5EF4-FFF2-40B4-BE49-F238E27FC236}">
                  <a16:creationId xmlns:a16="http://schemas.microsoft.com/office/drawing/2014/main" id="{AB2233B0-C923-3D2C-CDF9-A0CD0123FB56}"/>
                </a:ext>
              </a:extLst>
            </p:cNvPr>
            <p:cNvSpPr/>
            <p:nvPr/>
          </p:nvSpPr>
          <p:spPr>
            <a:xfrm>
              <a:off x="7181380" y="4173336"/>
              <a:ext cx="0" cy="65468"/>
            </a:xfrm>
            <a:custGeom>
              <a:avLst/>
              <a:gdLst/>
              <a:ahLst/>
              <a:cxnLst/>
              <a:rect l="0" t="0" r="0" b="0"/>
              <a:pathLst>
                <a:path h="65468">
                  <a:moveTo>
                    <a:pt x="0" y="65468"/>
                  </a:moveTo>
                  <a:lnTo>
                    <a:pt x="0" y="0"/>
                  </a:lnTo>
                </a:path>
              </a:pathLst>
            </a:custGeom>
            <a:ln w="5420" cap="flat">
              <a:solidFill>
                <a:srgbClr val="2E2E2E">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80" name="pl65">
              <a:extLst>
                <a:ext uri="{FF2B5EF4-FFF2-40B4-BE49-F238E27FC236}">
                  <a16:creationId xmlns:a16="http://schemas.microsoft.com/office/drawing/2014/main" id="{1D5A8AC7-7568-8EEE-B8D2-4EFD2501EA4E}"/>
                </a:ext>
              </a:extLst>
            </p:cNvPr>
            <p:cNvSpPr/>
            <p:nvPr/>
          </p:nvSpPr>
          <p:spPr>
            <a:xfrm>
              <a:off x="5368793" y="4409699"/>
              <a:ext cx="0" cy="0"/>
            </a:xfrm>
            <a:custGeom>
              <a:avLst/>
              <a:gdLst/>
              <a:ahLst/>
              <a:cxnLst/>
              <a:rect l="0" t="0" r="0" b="0"/>
              <a:pathLst>
                <a:path>
                  <a:moveTo>
                    <a:pt x="0" y="0"/>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81" name="pl66">
              <a:extLst>
                <a:ext uri="{FF2B5EF4-FFF2-40B4-BE49-F238E27FC236}">
                  <a16:creationId xmlns:a16="http://schemas.microsoft.com/office/drawing/2014/main" id="{90F5E523-6089-E6D2-FDDD-E6D294F80EC3}"/>
                </a:ext>
              </a:extLst>
            </p:cNvPr>
            <p:cNvSpPr/>
            <p:nvPr/>
          </p:nvSpPr>
          <p:spPr>
            <a:xfrm>
              <a:off x="5519842" y="4151567"/>
              <a:ext cx="0" cy="34275"/>
            </a:xfrm>
            <a:custGeom>
              <a:avLst/>
              <a:gdLst/>
              <a:ahLst/>
              <a:cxnLst/>
              <a:rect l="0" t="0" r="0" b="0"/>
              <a:pathLst>
                <a:path h="34275">
                  <a:moveTo>
                    <a:pt x="0" y="34275"/>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82" name="pl67">
              <a:extLst>
                <a:ext uri="{FF2B5EF4-FFF2-40B4-BE49-F238E27FC236}">
                  <a16:creationId xmlns:a16="http://schemas.microsoft.com/office/drawing/2014/main" id="{B78129B3-4EAE-B669-FD96-D2DBBE4E9BF3}"/>
                </a:ext>
              </a:extLst>
            </p:cNvPr>
            <p:cNvSpPr/>
            <p:nvPr/>
          </p:nvSpPr>
          <p:spPr>
            <a:xfrm>
              <a:off x="5670891" y="3966702"/>
              <a:ext cx="0" cy="35824"/>
            </a:xfrm>
            <a:custGeom>
              <a:avLst/>
              <a:gdLst/>
              <a:ahLst/>
              <a:cxnLst/>
              <a:rect l="0" t="0" r="0" b="0"/>
              <a:pathLst>
                <a:path h="35824">
                  <a:moveTo>
                    <a:pt x="0" y="35824"/>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83" name="pl68">
              <a:extLst>
                <a:ext uri="{FF2B5EF4-FFF2-40B4-BE49-F238E27FC236}">
                  <a16:creationId xmlns:a16="http://schemas.microsoft.com/office/drawing/2014/main" id="{485A2903-07E2-928D-24D6-949FB5A8E1A5}"/>
                </a:ext>
              </a:extLst>
            </p:cNvPr>
            <p:cNvSpPr/>
            <p:nvPr/>
          </p:nvSpPr>
          <p:spPr>
            <a:xfrm>
              <a:off x="5821940" y="3925202"/>
              <a:ext cx="0" cy="38961"/>
            </a:xfrm>
            <a:custGeom>
              <a:avLst/>
              <a:gdLst/>
              <a:ahLst/>
              <a:cxnLst/>
              <a:rect l="0" t="0" r="0" b="0"/>
              <a:pathLst>
                <a:path h="38961">
                  <a:moveTo>
                    <a:pt x="0" y="38961"/>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84" name="pl69">
              <a:extLst>
                <a:ext uri="{FF2B5EF4-FFF2-40B4-BE49-F238E27FC236}">
                  <a16:creationId xmlns:a16="http://schemas.microsoft.com/office/drawing/2014/main" id="{EF0C7381-F9BB-CF4A-020C-B7F67E892004}"/>
                </a:ext>
              </a:extLst>
            </p:cNvPr>
            <p:cNvSpPr/>
            <p:nvPr/>
          </p:nvSpPr>
          <p:spPr>
            <a:xfrm>
              <a:off x="5972989" y="3868350"/>
              <a:ext cx="0" cy="42127"/>
            </a:xfrm>
            <a:custGeom>
              <a:avLst/>
              <a:gdLst/>
              <a:ahLst/>
              <a:cxnLst/>
              <a:rect l="0" t="0" r="0" b="0"/>
              <a:pathLst>
                <a:path h="42127">
                  <a:moveTo>
                    <a:pt x="0" y="42127"/>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85" name="pl70">
              <a:extLst>
                <a:ext uri="{FF2B5EF4-FFF2-40B4-BE49-F238E27FC236}">
                  <a16:creationId xmlns:a16="http://schemas.microsoft.com/office/drawing/2014/main" id="{A5ED4A8F-31E7-E3F6-7580-DB59815CCAB6}"/>
                </a:ext>
              </a:extLst>
            </p:cNvPr>
            <p:cNvSpPr/>
            <p:nvPr/>
          </p:nvSpPr>
          <p:spPr>
            <a:xfrm>
              <a:off x="6275086" y="3744854"/>
              <a:ext cx="0" cy="45922"/>
            </a:xfrm>
            <a:custGeom>
              <a:avLst/>
              <a:gdLst/>
              <a:ahLst/>
              <a:cxnLst/>
              <a:rect l="0" t="0" r="0" b="0"/>
              <a:pathLst>
                <a:path h="45922">
                  <a:moveTo>
                    <a:pt x="0" y="45922"/>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86" name="pl71">
              <a:extLst>
                <a:ext uri="{FF2B5EF4-FFF2-40B4-BE49-F238E27FC236}">
                  <a16:creationId xmlns:a16="http://schemas.microsoft.com/office/drawing/2014/main" id="{F140E57D-04D8-72C2-6836-676A8EBCA2EE}"/>
                </a:ext>
              </a:extLst>
            </p:cNvPr>
            <p:cNvSpPr/>
            <p:nvPr/>
          </p:nvSpPr>
          <p:spPr>
            <a:xfrm>
              <a:off x="6577184" y="3675335"/>
              <a:ext cx="0" cy="55642"/>
            </a:xfrm>
            <a:custGeom>
              <a:avLst/>
              <a:gdLst/>
              <a:ahLst/>
              <a:cxnLst/>
              <a:rect l="0" t="0" r="0" b="0"/>
              <a:pathLst>
                <a:path h="55642">
                  <a:moveTo>
                    <a:pt x="0" y="55642"/>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87" name="pl72">
              <a:extLst>
                <a:ext uri="{FF2B5EF4-FFF2-40B4-BE49-F238E27FC236}">
                  <a16:creationId xmlns:a16="http://schemas.microsoft.com/office/drawing/2014/main" id="{91B5D813-DFF2-A024-DA03-EF1F1072243A}"/>
                </a:ext>
              </a:extLst>
            </p:cNvPr>
            <p:cNvSpPr/>
            <p:nvPr/>
          </p:nvSpPr>
          <p:spPr>
            <a:xfrm>
              <a:off x="6879282" y="3565745"/>
              <a:ext cx="0" cy="49127"/>
            </a:xfrm>
            <a:custGeom>
              <a:avLst/>
              <a:gdLst/>
              <a:ahLst/>
              <a:cxnLst/>
              <a:rect l="0" t="0" r="0" b="0"/>
              <a:pathLst>
                <a:path h="49127">
                  <a:moveTo>
                    <a:pt x="0" y="49127"/>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88" name="pl73">
              <a:extLst>
                <a:ext uri="{FF2B5EF4-FFF2-40B4-BE49-F238E27FC236}">
                  <a16:creationId xmlns:a16="http://schemas.microsoft.com/office/drawing/2014/main" id="{B2CE4706-75BF-B879-40D1-11E85F47CD6C}"/>
                </a:ext>
              </a:extLst>
            </p:cNvPr>
            <p:cNvSpPr/>
            <p:nvPr/>
          </p:nvSpPr>
          <p:spPr>
            <a:xfrm>
              <a:off x="7181380" y="3598227"/>
              <a:ext cx="0" cy="61181"/>
            </a:xfrm>
            <a:custGeom>
              <a:avLst/>
              <a:gdLst/>
              <a:ahLst/>
              <a:cxnLst/>
              <a:rect l="0" t="0" r="0" b="0"/>
              <a:pathLst>
                <a:path h="61181">
                  <a:moveTo>
                    <a:pt x="0" y="61181"/>
                  </a:moveTo>
                  <a:lnTo>
                    <a:pt x="0" y="0"/>
                  </a:lnTo>
                </a:path>
              </a:pathLst>
            </a:custGeom>
            <a:ln w="5420" cap="flat">
              <a:solidFill>
                <a:srgbClr val="00DF8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89" name="pl74">
              <a:extLst>
                <a:ext uri="{FF2B5EF4-FFF2-40B4-BE49-F238E27FC236}">
                  <a16:creationId xmlns:a16="http://schemas.microsoft.com/office/drawing/2014/main" id="{F1D38032-4F6B-CA67-A7F3-13CD662CF518}"/>
                </a:ext>
              </a:extLst>
            </p:cNvPr>
            <p:cNvSpPr/>
            <p:nvPr/>
          </p:nvSpPr>
          <p:spPr>
            <a:xfrm>
              <a:off x="5368793" y="4409699"/>
              <a:ext cx="0" cy="0"/>
            </a:xfrm>
            <a:custGeom>
              <a:avLst/>
              <a:gdLst/>
              <a:ahLst/>
              <a:cxnLst/>
              <a:rect l="0" t="0" r="0" b="0"/>
              <a:pathLst>
                <a:path>
                  <a:moveTo>
                    <a:pt x="0" y="0"/>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90" name="pl75">
              <a:extLst>
                <a:ext uri="{FF2B5EF4-FFF2-40B4-BE49-F238E27FC236}">
                  <a16:creationId xmlns:a16="http://schemas.microsoft.com/office/drawing/2014/main" id="{E5FCE2CF-DA2C-470E-DAC8-FBC13C0C62EF}"/>
                </a:ext>
              </a:extLst>
            </p:cNvPr>
            <p:cNvSpPr/>
            <p:nvPr/>
          </p:nvSpPr>
          <p:spPr>
            <a:xfrm>
              <a:off x="5519842" y="4657153"/>
              <a:ext cx="0" cy="40757"/>
            </a:xfrm>
            <a:custGeom>
              <a:avLst/>
              <a:gdLst/>
              <a:ahLst/>
              <a:cxnLst/>
              <a:rect l="0" t="0" r="0" b="0"/>
              <a:pathLst>
                <a:path h="40757">
                  <a:moveTo>
                    <a:pt x="0" y="40757"/>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91" name="pl76">
              <a:extLst>
                <a:ext uri="{FF2B5EF4-FFF2-40B4-BE49-F238E27FC236}">
                  <a16:creationId xmlns:a16="http://schemas.microsoft.com/office/drawing/2014/main" id="{4D87C001-8515-9DC7-95A1-98C56E4B0393}"/>
                </a:ext>
              </a:extLst>
            </p:cNvPr>
            <p:cNvSpPr/>
            <p:nvPr/>
          </p:nvSpPr>
          <p:spPr>
            <a:xfrm>
              <a:off x="5670891" y="4549587"/>
              <a:ext cx="0" cy="33444"/>
            </a:xfrm>
            <a:custGeom>
              <a:avLst/>
              <a:gdLst/>
              <a:ahLst/>
              <a:cxnLst/>
              <a:rect l="0" t="0" r="0" b="0"/>
              <a:pathLst>
                <a:path h="33444">
                  <a:moveTo>
                    <a:pt x="0" y="33444"/>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92" name="pl77">
              <a:extLst>
                <a:ext uri="{FF2B5EF4-FFF2-40B4-BE49-F238E27FC236}">
                  <a16:creationId xmlns:a16="http://schemas.microsoft.com/office/drawing/2014/main" id="{6A2A762A-4708-7EA3-6FC4-BB72F8C1D19B}"/>
                </a:ext>
              </a:extLst>
            </p:cNvPr>
            <p:cNvSpPr/>
            <p:nvPr/>
          </p:nvSpPr>
          <p:spPr>
            <a:xfrm>
              <a:off x="5821940" y="4504183"/>
              <a:ext cx="0" cy="29267"/>
            </a:xfrm>
            <a:custGeom>
              <a:avLst/>
              <a:gdLst/>
              <a:ahLst/>
              <a:cxnLst/>
              <a:rect l="0" t="0" r="0" b="0"/>
              <a:pathLst>
                <a:path h="29267">
                  <a:moveTo>
                    <a:pt x="0" y="29267"/>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93" name="pl78">
              <a:extLst>
                <a:ext uri="{FF2B5EF4-FFF2-40B4-BE49-F238E27FC236}">
                  <a16:creationId xmlns:a16="http://schemas.microsoft.com/office/drawing/2014/main" id="{D44FCD31-1FC1-5367-15D5-ADB7542D081D}"/>
                </a:ext>
              </a:extLst>
            </p:cNvPr>
            <p:cNvSpPr/>
            <p:nvPr/>
          </p:nvSpPr>
          <p:spPr>
            <a:xfrm>
              <a:off x="5972989" y="4426635"/>
              <a:ext cx="0" cy="26596"/>
            </a:xfrm>
            <a:custGeom>
              <a:avLst/>
              <a:gdLst/>
              <a:ahLst/>
              <a:cxnLst/>
              <a:rect l="0" t="0" r="0" b="0"/>
              <a:pathLst>
                <a:path h="26596">
                  <a:moveTo>
                    <a:pt x="0" y="26596"/>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94" name="pl79">
              <a:extLst>
                <a:ext uri="{FF2B5EF4-FFF2-40B4-BE49-F238E27FC236}">
                  <a16:creationId xmlns:a16="http://schemas.microsoft.com/office/drawing/2014/main" id="{6CE2C217-4C5B-53D9-F861-0AB9F57DAB1E}"/>
                </a:ext>
              </a:extLst>
            </p:cNvPr>
            <p:cNvSpPr/>
            <p:nvPr/>
          </p:nvSpPr>
          <p:spPr>
            <a:xfrm>
              <a:off x="6275086" y="4385570"/>
              <a:ext cx="0" cy="29633"/>
            </a:xfrm>
            <a:custGeom>
              <a:avLst/>
              <a:gdLst/>
              <a:ahLst/>
              <a:cxnLst/>
              <a:rect l="0" t="0" r="0" b="0"/>
              <a:pathLst>
                <a:path h="29633">
                  <a:moveTo>
                    <a:pt x="0" y="29633"/>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95" name="pl80">
              <a:extLst>
                <a:ext uri="{FF2B5EF4-FFF2-40B4-BE49-F238E27FC236}">
                  <a16:creationId xmlns:a16="http://schemas.microsoft.com/office/drawing/2014/main" id="{C024E529-35FB-6D45-18B2-43985B934AAD}"/>
                </a:ext>
              </a:extLst>
            </p:cNvPr>
            <p:cNvSpPr/>
            <p:nvPr/>
          </p:nvSpPr>
          <p:spPr>
            <a:xfrm>
              <a:off x="6577184" y="4335641"/>
              <a:ext cx="0" cy="24533"/>
            </a:xfrm>
            <a:custGeom>
              <a:avLst/>
              <a:gdLst/>
              <a:ahLst/>
              <a:cxnLst/>
              <a:rect l="0" t="0" r="0" b="0"/>
              <a:pathLst>
                <a:path h="24533">
                  <a:moveTo>
                    <a:pt x="0" y="24533"/>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96" name="pl81">
              <a:extLst>
                <a:ext uri="{FF2B5EF4-FFF2-40B4-BE49-F238E27FC236}">
                  <a16:creationId xmlns:a16="http://schemas.microsoft.com/office/drawing/2014/main" id="{6521D589-3135-E5A1-9CD0-55AF0578E4DA}"/>
                </a:ext>
              </a:extLst>
            </p:cNvPr>
            <p:cNvSpPr/>
            <p:nvPr/>
          </p:nvSpPr>
          <p:spPr>
            <a:xfrm>
              <a:off x="6879282" y="4295128"/>
              <a:ext cx="0" cy="31375"/>
            </a:xfrm>
            <a:custGeom>
              <a:avLst/>
              <a:gdLst/>
              <a:ahLst/>
              <a:cxnLst/>
              <a:rect l="0" t="0" r="0" b="0"/>
              <a:pathLst>
                <a:path h="31375">
                  <a:moveTo>
                    <a:pt x="0" y="31375"/>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97" name="pl82">
              <a:extLst>
                <a:ext uri="{FF2B5EF4-FFF2-40B4-BE49-F238E27FC236}">
                  <a16:creationId xmlns:a16="http://schemas.microsoft.com/office/drawing/2014/main" id="{88DD9984-6F2A-DC10-20F5-120A5E6D5740}"/>
                </a:ext>
              </a:extLst>
            </p:cNvPr>
            <p:cNvSpPr/>
            <p:nvPr/>
          </p:nvSpPr>
          <p:spPr>
            <a:xfrm>
              <a:off x="7181380" y="4346632"/>
              <a:ext cx="0" cy="28953"/>
            </a:xfrm>
            <a:custGeom>
              <a:avLst/>
              <a:gdLst/>
              <a:ahLst/>
              <a:cxnLst/>
              <a:rect l="0" t="0" r="0" b="0"/>
              <a:pathLst>
                <a:path h="28953">
                  <a:moveTo>
                    <a:pt x="0" y="28953"/>
                  </a:moveTo>
                  <a:lnTo>
                    <a:pt x="0" y="0"/>
                  </a:lnTo>
                </a:path>
              </a:pathLst>
            </a:custGeom>
            <a:ln w="5420" cap="flat">
              <a:solidFill>
                <a:srgbClr val="745DAD">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98" name="pl83">
              <a:extLst>
                <a:ext uri="{FF2B5EF4-FFF2-40B4-BE49-F238E27FC236}">
                  <a16:creationId xmlns:a16="http://schemas.microsoft.com/office/drawing/2014/main" id="{FC151602-99D7-5CE0-CFE1-0761B6958499}"/>
                </a:ext>
              </a:extLst>
            </p:cNvPr>
            <p:cNvSpPr/>
            <p:nvPr/>
          </p:nvSpPr>
          <p:spPr>
            <a:xfrm>
              <a:off x="5368793" y="4409699"/>
              <a:ext cx="0" cy="0"/>
            </a:xfrm>
            <a:custGeom>
              <a:avLst/>
              <a:gdLst/>
              <a:ahLst/>
              <a:cxnLst/>
              <a:rect l="0" t="0" r="0" b="0"/>
              <a:pathLst>
                <a:path>
                  <a:moveTo>
                    <a:pt x="0" y="0"/>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0999" name="pl84">
              <a:extLst>
                <a:ext uri="{FF2B5EF4-FFF2-40B4-BE49-F238E27FC236}">
                  <a16:creationId xmlns:a16="http://schemas.microsoft.com/office/drawing/2014/main" id="{5DF5BC7C-36A2-6378-BA95-3A7CD2CD4331}"/>
                </a:ext>
              </a:extLst>
            </p:cNvPr>
            <p:cNvSpPr/>
            <p:nvPr/>
          </p:nvSpPr>
          <p:spPr>
            <a:xfrm>
              <a:off x="5519842" y="4651581"/>
              <a:ext cx="0" cy="37790"/>
            </a:xfrm>
            <a:custGeom>
              <a:avLst/>
              <a:gdLst/>
              <a:ahLst/>
              <a:cxnLst/>
              <a:rect l="0" t="0" r="0" b="0"/>
              <a:pathLst>
                <a:path h="37790">
                  <a:moveTo>
                    <a:pt x="0" y="37790"/>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00" name="pl85">
              <a:extLst>
                <a:ext uri="{FF2B5EF4-FFF2-40B4-BE49-F238E27FC236}">
                  <a16:creationId xmlns:a16="http://schemas.microsoft.com/office/drawing/2014/main" id="{A89103A2-630D-61FB-9EA2-707F4DE7ADBD}"/>
                </a:ext>
              </a:extLst>
            </p:cNvPr>
            <p:cNvSpPr/>
            <p:nvPr/>
          </p:nvSpPr>
          <p:spPr>
            <a:xfrm>
              <a:off x="5670891" y="4404783"/>
              <a:ext cx="0" cy="27114"/>
            </a:xfrm>
            <a:custGeom>
              <a:avLst/>
              <a:gdLst/>
              <a:ahLst/>
              <a:cxnLst/>
              <a:rect l="0" t="0" r="0" b="0"/>
              <a:pathLst>
                <a:path h="27114">
                  <a:moveTo>
                    <a:pt x="0" y="27114"/>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01" name="pl86">
              <a:extLst>
                <a:ext uri="{FF2B5EF4-FFF2-40B4-BE49-F238E27FC236}">
                  <a16:creationId xmlns:a16="http://schemas.microsoft.com/office/drawing/2014/main" id="{E34DCF20-B121-6EED-51F6-C79793FB18D9}"/>
                </a:ext>
              </a:extLst>
            </p:cNvPr>
            <p:cNvSpPr/>
            <p:nvPr/>
          </p:nvSpPr>
          <p:spPr>
            <a:xfrm>
              <a:off x="5821940" y="4241194"/>
              <a:ext cx="0" cy="32119"/>
            </a:xfrm>
            <a:custGeom>
              <a:avLst/>
              <a:gdLst/>
              <a:ahLst/>
              <a:cxnLst/>
              <a:rect l="0" t="0" r="0" b="0"/>
              <a:pathLst>
                <a:path h="32119">
                  <a:moveTo>
                    <a:pt x="0" y="32119"/>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02" name="pl87">
              <a:extLst>
                <a:ext uri="{FF2B5EF4-FFF2-40B4-BE49-F238E27FC236}">
                  <a16:creationId xmlns:a16="http://schemas.microsoft.com/office/drawing/2014/main" id="{B0898E6C-6FA3-B3C2-7AE2-BD471B0E89E5}"/>
                </a:ext>
              </a:extLst>
            </p:cNvPr>
            <p:cNvSpPr/>
            <p:nvPr/>
          </p:nvSpPr>
          <p:spPr>
            <a:xfrm>
              <a:off x="5972989" y="4139595"/>
              <a:ext cx="0" cy="40028"/>
            </a:xfrm>
            <a:custGeom>
              <a:avLst/>
              <a:gdLst/>
              <a:ahLst/>
              <a:cxnLst/>
              <a:rect l="0" t="0" r="0" b="0"/>
              <a:pathLst>
                <a:path h="40028">
                  <a:moveTo>
                    <a:pt x="0" y="40028"/>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03" name="pl88">
              <a:extLst>
                <a:ext uri="{FF2B5EF4-FFF2-40B4-BE49-F238E27FC236}">
                  <a16:creationId xmlns:a16="http://schemas.microsoft.com/office/drawing/2014/main" id="{F54A9A59-84BF-C74D-1818-8B900D64E676}"/>
                </a:ext>
              </a:extLst>
            </p:cNvPr>
            <p:cNvSpPr/>
            <p:nvPr/>
          </p:nvSpPr>
          <p:spPr>
            <a:xfrm>
              <a:off x="6275086" y="3995117"/>
              <a:ext cx="0" cy="49809"/>
            </a:xfrm>
            <a:custGeom>
              <a:avLst/>
              <a:gdLst/>
              <a:ahLst/>
              <a:cxnLst/>
              <a:rect l="0" t="0" r="0" b="0"/>
              <a:pathLst>
                <a:path h="49809">
                  <a:moveTo>
                    <a:pt x="0" y="49809"/>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04" name="pl89">
              <a:extLst>
                <a:ext uri="{FF2B5EF4-FFF2-40B4-BE49-F238E27FC236}">
                  <a16:creationId xmlns:a16="http://schemas.microsoft.com/office/drawing/2014/main" id="{456F13D7-68DB-896B-3860-E884B090762C}"/>
                </a:ext>
              </a:extLst>
            </p:cNvPr>
            <p:cNvSpPr/>
            <p:nvPr/>
          </p:nvSpPr>
          <p:spPr>
            <a:xfrm>
              <a:off x="6577184" y="3891583"/>
              <a:ext cx="0" cy="55020"/>
            </a:xfrm>
            <a:custGeom>
              <a:avLst/>
              <a:gdLst/>
              <a:ahLst/>
              <a:cxnLst/>
              <a:rect l="0" t="0" r="0" b="0"/>
              <a:pathLst>
                <a:path h="55020">
                  <a:moveTo>
                    <a:pt x="0" y="55020"/>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05" name="pl90">
              <a:extLst>
                <a:ext uri="{FF2B5EF4-FFF2-40B4-BE49-F238E27FC236}">
                  <a16:creationId xmlns:a16="http://schemas.microsoft.com/office/drawing/2014/main" id="{C7E0C1B7-9B3E-8AF2-DDE6-177B763F4215}"/>
                </a:ext>
              </a:extLst>
            </p:cNvPr>
            <p:cNvSpPr/>
            <p:nvPr/>
          </p:nvSpPr>
          <p:spPr>
            <a:xfrm>
              <a:off x="6879282" y="3850559"/>
              <a:ext cx="0" cy="52948"/>
            </a:xfrm>
            <a:custGeom>
              <a:avLst/>
              <a:gdLst/>
              <a:ahLst/>
              <a:cxnLst/>
              <a:rect l="0" t="0" r="0" b="0"/>
              <a:pathLst>
                <a:path h="52948">
                  <a:moveTo>
                    <a:pt x="0" y="52948"/>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06" name="pl91">
              <a:extLst>
                <a:ext uri="{FF2B5EF4-FFF2-40B4-BE49-F238E27FC236}">
                  <a16:creationId xmlns:a16="http://schemas.microsoft.com/office/drawing/2014/main" id="{28DBC5F6-A031-3DB2-DE0E-C93FFE912D99}"/>
                </a:ext>
              </a:extLst>
            </p:cNvPr>
            <p:cNvSpPr/>
            <p:nvPr/>
          </p:nvSpPr>
          <p:spPr>
            <a:xfrm>
              <a:off x="7181380" y="3881598"/>
              <a:ext cx="0" cy="53001"/>
            </a:xfrm>
            <a:custGeom>
              <a:avLst/>
              <a:gdLst/>
              <a:ahLst/>
              <a:cxnLst/>
              <a:rect l="0" t="0" r="0" b="0"/>
              <a:pathLst>
                <a:path h="53001">
                  <a:moveTo>
                    <a:pt x="0" y="53001"/>
                  </a:moveTo>
                  <a:lnTo>
                    <a:pt x="0" y="0"/>
                  </a:lnTo>
                </a:path>
              </a:pathLst>
            </a:custGeom>
            <a:ln w="5420" cap="flat">
              <a:solidFill>
                <a:srgbClr val="2878FF">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07" name="pl92">
              <a:extLst>
                <a:ext uri="{FF2B5EF4-FFF2-40B4-BE49-F238E27FC236}">
                  <a16:creationId xmlns:a16="http://schemas.microsoft.com/office/drawing/2014/main" id="{4E1F8549-45C9-BCA6-810D-8F92911FF717}"/>
                </a:ext>
              </a:extLst>
            </p:cNvPr>
            <p:cNvSpPr/>
            <p:nvPr/>
          </p:nvSpPr>
          <p:spPr>
            <a:xfrm>
              <a:off x="5368793" y="4409699"/>
              <a:ext cx="0" cy="0"/>
            </a:xfrm>
            <a:custGeom>
              <a:avLst/>
              <a:gdLst/>
              <a:ahLst/>
              <a:cxnLst/>
              <a:rect l="0" t="0" r="0" b="0"/>
              <a:pathLst>
                <a:path>
                  <a:moveTo>
                    <a:pt x="0" y="0"/>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08" name="pl93">
              <a:extLst>
                <a:ext uri="{FF2B5EF4-FFF2-40B4-BE49-F238E27FC236}">
                  <a16:creationId xmlns:a16="http://schemas.microsoft.com/office/drawing/2014/main" id="{0EEA6317-A49C-94BA-C9C3-A7E7B8C85964}"/>
                </a:ext>
              </a:extLst>
            </p:cNvPr>
            <p:cNvSpPr/>
            <p:nvPr/>
          </p:nvSpPr>
          <p:spPr>
            <a:xfrm>
              <a:off x="5519842" y="4567578"/>
              <a:ext cx="0" cy="36094"/>
            </a:xfrm>
            <a:custGeom>
              <a:avLst/>
              <a:gdLst/>
              <a:ahLst/>
              <a:cxnLst/>
              <a:rect l="0" t="0" r="0" b="0"/>
              <a:pathLst>
                <a:path h="36094">
                  <a:moveTo>
                    <a:pt x="0" y="36094"/>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09" name="pl94">
              <a:extLst>
                <a:ext uri="{FF2B5EF4-FFF2-40B4-BE49-F238E27FC236}">
                  <a16:creationId xmlns:a16="http://schemas.microsoft.com/office/drawing/2014/main" id="{067154E5-FC74-83C2-B307-3A0F57C941BB}"/>
                </a:ext>
              </a:extLst>
            </p:cNvPr>
            <p:cNvSpPr/>
            <p:nvPr/>
          </p:nvSpPr>
          <p:spPr>
            <a:xfrm>
              <a:off x="5670891" y="4522166"/>
              <a:ext cx="0" cy="28819"/>
            </a:xfrm>
            <a:custGeom>
              <a:avLst/>
              <a:gdLst/>
              <a:ahLst/>
              <a:cxnLst/>
              <a:rect l="0" t="0" r="0" b="0"/>
              <a:pathLst>
                <a:path h="28819">
                  <a:moveTo>
                    <a:pt x="0" y="28819"/>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10" name="pl95">
              <a:extLst>
                <a:ext uri="{FF2B5EF4-FFF2-40B4-BE49-F238E27FC236}">
                  <a16:creationId xmlns:a16="http://schemas.microsoft.com/office/drawing/2014/main" id="{AB6D0D7C-E5C1-4F1D-F299-5A665500AB89}"/>
                </a:ext>
              </a:extLst>
            </p:cNvPr>
            <p:cNvSpPr/>
            <p:nvPr/>
          </p:nvSpPr>
          <p:spPr>
            <a:xfrm>
              <a:off x="5821940" y="4479551"/>
              <a:ext cx="0" cy="36256"/>
            </a:xfrm>
            <a:custGeom>
              <a:avLst/>
              <a:gdLst/>
              <a:ahLst/>
              <a:cxnLst/>
              <a:rect l="0" t="0" r="0" b="0"/>
              <a:pathLst>
                <a:path h="36256">
                  <a:moveTo>
                    <a:pt x="0" y="36256"/>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11" name="pl96">
              <a:extLst>
                <a:ext uri="{FF2B5EF4-FFF2-40B4-BE49-F238E27FC236}">
                  <a16:creationId xmlns:a16="http://schemas.microsoft.com/office/drawing/2014/main" id="{D0F1D133-8D4E-6D24-F6B7-0F33AF5B6348}"/>
                </a:ext>
              </a:extLst>
            </p:cNvPr>
            <p:cNvSpPr/>
            <p:nvPr/>
          </p:nvSpPr>
          <p:spPr>
            <a:xfrm>
              <a:off x="5972989" y="4322399"/>
              <a:ext cx="0" cy="33876"/>
            </a:xfrm>
            <a:custGeom>
              <a:avLst/>
              <a:gdLst/>
              <a:ahLst/>
              <a:cxnLst/>
              <a:rect l="0" t="0" r="0" b="0"/>
              <a:pathLst>
                <a:path h="33876">
                  <a:moveTo>
                    <a:pt x="0" y="33876"/>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12" name="pl97">
              <a:extLst>
                <a:ext uri="{FF2B5EF4-FFF2-40B4-BE49-F238E27FC236}">
                  <a16:creationId xmlns:a16="http://schemas.microsoft.com/office/drawing/2014/main" id="{272C3AE6-3F71-7F2A-D8F6-658B8D796642}"/>
                </a:ext>
              </a:extLst>
            </p:cNvPr>
            <p:cNvSpPr/>
            <p:nvPr/>
          </p:nvSpPr>
          <p:spPr>
            <a:xfrm>
              <a:off x="6275086" y="4024720"/>
              <a:ext cx="0" cy="30488"/>
            </a:xfrm>
            <a:custGeom>
              <a:avLst/>
              <a:gdLst/>
              <a:ahLst/>
              <a:cxnLst/>
              <a:rect l="0" t="0" r="0" b="0"/>
              <a:pathLst>
                <a:path h="30488">
                  <a:moveTo>
                    <a:pt x="0" y="30488"/>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13" name="pl98">
              <a:extLst>
                <a:ext uri="{FF2B5EF4-FFF2-40B4-BE49-F238E27FC236}">
                  <a16:creationId xmlns:a16="http://schemas.microsoft.com/office/drawing/2014/main" id="{BA8DB2F5-5047-1DEB-FF43-8B3B6D3F5C41}"/>
                </a:ext>
              </a:extLst>
            </p:cNvPr>
            <p:cNvSpPr/>
            <p:nvPr/>
          </p:nvSpPr>
          <p:spPr>
            <a:xfrm>
              <a:off x="6577184" y="3923869"/>
              <a:ext cx="0" cy="24542"/>
            </a:xfrm>
            <a:custGeom>
              <a:avLst/>
              <a:gdLst/>
              <a:ahLst/>
              <a:cxnLst/>
              <a:rect l="0" t="0" r="0" b="0"/>
              <a:pathLst>
                <a:path h="24542">
                  <a:moveTo>
                    <a:pt x="0" y="24542"/>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14" name="pl99">
              <a:extLst>
                <a:ext uri="{FF2B5EF4-FFF2-40B4-BE49-F238E27FC236}">
                  <a16:creationId xmlns:a16="http://schemas.microsoft.com/office/drawing/2014/main" id="{C9624CC4-D83A-4E06-BD86-0BD2382AF9A7}"/>
                </a:ext>
              </a:extLst>
            </p:cNvPr>
            <p:cNvSpPr/>
            <p:nvPr/>
          </p:nvSpPr>
          <p:spPr>
            <a:xfrm>
              <a:off x="6879282" y="3830528"/>
              <a:ext cx="0" cy="26337"/>
            </a:xfrm>
            <a:custGeom>
              <a:avLst/>
              <a:gdLst/>
              <a:ahLst/>
              <a:cxnLst/>
              <a:rect l="0" t="0" r="0" b="0"/>
              <a:pathLst>
                <a:path h="26337">
                  <a:moveTo>
                    <a:pt x="0" y="26337"/>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15" name="pl100">
              <a:extLst>
                <a:ext uri="{FF2B5EF4-FFF2-40B4-BE49-F238E27FC236}">
                  <a16:creationId xmlns:a16="http://schemas.microsoft.com/office/drawing/2014/main" id="{4245C2BB-A8C3-6393-3318-CF49EE0599F2}"/>
                </a:ext>
              </a:extLst>
            </p:cNvPr>
            <p:cNvSpPr/>
            <p:nvPr/>
          </p:nvSpPr>
          <p:spPr>
            <a:xfrm>
              <a:off x="7181380" y="3862763"/>
              <a:ext cx="0" cy="35444"/>
            </a:xfrm>
            <a:custGeom>
              <a:avLst/>
              <a:gdLst/>
              <a:ahLst/>
              <a:cxnLst/>
              <a:rect l="0" t="0" r="0" b="0"/>
              <a:pathLst>
                <a:path h="35444">
                  <a:moveTo>
                    <a:pt x="0" y="35444"/>
                  </a:moveTo>
                  <a:lnTo>
                    <a:pt x="0" y="0"/>
                  </a:lnTo>
                </a:path>
              </a:pathLst>
            </a:custGeom>
            <a:ln w="5420" cap="flat">
              <a:solidFill>
                <a:srgbClr val="E283E6">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16" name="pl101">
              <a:extLst>
                <a:ext uri="{FF2B5EF4-FFF2-40B4-BE49-F238E27FC236}">
                  <a16:creationId xmlns:a16="http://schemas.microsoft.com/office/drawing/2014/main" id="{D1B3F6C5-1BB0-A377-9C27-3117BF0AB6EA}"/>
                </a:ext>
              </a:extLst>
            </p:cNvPr>
            <p:cNvSpPr/>
            <p:nvPr/>
          </p:nvSpPr>
          <p:spPr>
            <a:xfrm>
              <a:off x="5270611" y="3381127"/>
              <a:ext cx="0" cy="1439999"/>
            </a:xfrm>
            <a:custGeom>
              <a:avLst/>
              <a:gdLst/>
              <a:ahLst/>
              <a:cxnLst/>
              <a:rect l="0" t="0" r="0" b="0"/>
              <a:pathLst>
                <a:path h="1439999">
                  <a:moveTo>
                    <a:pt x="0" y="1439999"/>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17" name="tx102">
              <a:extLst>
                <a:ext uri="{FF2B5EF4-FFF2-40B4-BE49-F238E27FC236}">
                  <a16:creationId xmlns:a16="http://schemas.microsoft.com/office/drawing/2014/main" id="{B9993248-F00A-6F5A-211F-010E4DCF9BFA}"/>
                </a:ext>
              </a:extLst>
            </p:cNvPr>
            <p:cNvSpPr/>
            <p:nvPr/>
          </p:nvSpPr>
          <p:spPr>
            <a:xfrm>
              <a:off x="5049242" y="4785466"/>
              <a:ext cx="135331" cy="68031"/>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0</a:t>
              </a:r>
            </a:p>
          </p:txBody>
        </p:sp>
        <p:sp>
          <p:nvSpPr>
            <p:cNvPr id="11018" name="tx103">
              <a:extLst>
                <a:ext uri="{FF2B5EF4-FFF2-40B4-BE49-F238E27FC236}">
                  <a16:creationId xmlns:a16="http://schemas.microsoft.com/office/drawing/2014/main" id="{31CEE872-F64A-32CF-F649-876293CB2F3D}"/>
                </a:ext>
              </a:extLst>
            </p:cNvPr>
            <p:cNvSpPr/>
            <p:nvPr/>
          </p:nvSpPr>
          <p:spPr>
            <a:xfrm>
              <a:off x="5102278" y="4581397"/>
              <a:ext cx="82296" cy="66385"/>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5</a:t>
              </a:r>
            </a:p>
          </p:txBody>
        </p:sp>
        <p:sp>
          <p:nvSpPr>
            <p:cNvPr id="11019" name="tx104">
              <a:extLst>
                <a:ext uri="{FF2B5EF4-FFF2-40B4-BE49-F238E27FC236}">
                  <a16:creationId xmlns:a16="http://schemas.microsoft.com/office/drawing/2014/main" id="{2D03C727-0625-3685-73E4-8A74518440BE}"/>
                </a:ext>
              </a:extLst>
            </p:cNvPr>
            <p:cNvSpPr/>
            <p:nvPr/>
          </p:nvSpPr>
          <p:spPr>
            <a:xfrm>
              <a:off x="5131538" y="4374037"/>
              <a:ext cx="53035" cy="68031"/>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0</a:t>
              </a:r>
            </a:p>
          </p:txBody>
        </p:sp>
        <p:sp>
          <p:nvSpPr>
            <p:cNvPr id="11020" name="tx105">
              <a:extLst>
                <a:ext uri="{FF2B5EF4-FFF2-40B4-BE49-F238E27FC236}">
                  <a16:creationId xmlns:a16="http://schemas.microsoft.com/office/drawing/2014/main" id="{D5D9E89D-FDA7-9C9C-5672-C7EE5B9BD0C7}"/>
                </a:ext>
              </a:extLst>
            </p:cNvPr>
            <p:cNvSpPr/>
            <p:nvPr/>
          </p:nvSpPr>
          <p:spPr>
            <a:xfrm>
              <a:off x="5131538" y="4169969"/>
              <a:ext cx="53035" cy="66385"/>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5</a:t>
              </a:r>
            </a:p>
          </p:txBody>
        </p:sp>
        <p:sp>
          <p:nvSpPr>
            <p:cNvPr id="11021" name="tx106">
              <a:extLst>
                <a:ext uri="{FF2B5EF4-FFF2-40B4-BE49-F238E27FC236}">
                  <a16:creationId xmlns:a16="http://schemas.microsoft.com/office/drawing/2014/main" id="{0B75549D-F2FA-F9AB-8BFD-6DF1602A0922}"/>
                </a:ext>
              </a:extLst>
            </p:cNvPr>
            <p:cNvSpPr/>
            <p:nvPr/>
          </p:nvSpPr>
          <p:spPr>
            <a:xfrm>
              <a:off x="5078503" y="3962608"/>
              <a:ext cx="106070" cy="68031"/>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0</a:t>
              </a:r>
            </a:p>
          </p:txBody>
        </p:sp>
        <p:sp>
          <p:nvSpPr>
            <p:cNvPr id="11022" name="tx107">
              <a:extLst>
                <a:ext uri="{FF2B5EF4-FFF2-40B4-BE49-F238E27FC236}">
                  <a16:creationId xmlns:a16="http://schemas.microsoft.com/office/drawing/2014/main" id="{45A99308-E4E9-B61F-90BD-8942B6FBFAB6}"/>
                </a:ext>
              </a:extLst>
            </p:cNvPr>
            <p:cNvSpPr/>
            <p:nvPr/>
          </p:nvSpPr>
          <p:spPr>
            <a:xfrm>
              <a:off x="5078503" y="3758540"/>
              <a:ext cx="106070" cy="66385"/>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5</a:t>
              </a:r>
            </a:p>
          </p:txBody>
        </p:sp>
        <p:sp>
          <p:nvSpPr>
            <p:cNvPr id="11023" name="tx108">
              <a:extLst>
                <a:ext uri="{FF2B5EF4-FFF2-40B4-BE49-F238E27FC236}">
                  <a16:creationId xmlns:a16="http://schemas.microsoft.com/office/drawing/2014/main" id="{DF92949C-CDB8-3E96-A7D2-6AB3DEAC9BCE}"/>
                </a:ext>
              </a:extLst>
            </p:cNvPr>
            <p:cNvSpPr/>
            <p:nvPr/>
          </p:nvSpPr>
          <p:spPr>
            <a:xfrm>
              <a:off x="5078503" y="3551180"/>
              <a:ext cx="106070" cy="68031"/>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20</a:t>
              </a:r>
            </a:p>
          </p:txBody>
        </p:sp>
        <p:sp>
          <p:nvSpPr>
            <p:cNvPr id="11024" name="tx109">
              <a:extLst>
                <a:ext uri="{FF2B5EF4-FFF2-40B4-BE49-F238E27FC236}">
                  <a16:creationId xmlns:a16="http://schemas.microsoft.com/office/drawing/2014/main" id="{07239871-C9D0-EFBE-14AB-6974D1AA7DD3}"/>
                </a:ext>
              </a:extLst>
            </p:cNvPr>
            <p:cNvSpPr/>
            <p:nvPr/>
          </p:nvSpPr>
          <p:spPr>
            <a:xfrm>
              <a:off x="5078503" y="3345466"/>
              <a:ext cx="106070" cy="68031"/>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25</a:t>
              </a:r>
            </a:p>
          </p:txBody>
        </p:sp>
        <p:sp>
          <p:nvSpPr>
            <p:cNvPr id="11025" name="pl110">
              <a:extLst>
                <a:ext uri="{FF2B5EF4-FFF2-40B4-BE49-F238E27FC236}">
                  <a16:creationId xmlns:a16="http://schemas.microsoft.com/office/drawing/2014/main" id="{4F36E470-7327-6475-AEB9-8A2FCC2EF90A}"/>
                </a:ext>
              </a:extLst>
            </p:cNvPr>
            <p:cNvSpPr/>
            <p:nvPr/>
          </p:nvSpPr>
          <p:spPr>
            <a:xfrm>
              <a:off x="5207348" y="4821127"/>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26" name="pl111">
              <a:extLst>
                <a:ext uri="{FF2B5EF4-FFF2-40B4-BE49-F238E27FC236}">
                  <a16:creationId xmlns:a16="http://schemas.microsoft.com/office/drawing/2014/main" id="{E535555A-78A9-5F30-A803-0D4F8202913F}"/>
                </a:ext>
              </a:extLst>
            </p:cNvPr>
            <p:cNvSpPr/>
            <p:nvPr/>
          </p:nvSpPr>
          <p:spPr>
            <a:xfrm>
              <a:off x="5207348" y="4615413"/>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27" name="pl112">
              <a:extLst>
                <a:ext uri="{FF2B5EF4-FFF2-40B4-BE49-F238E27FC236}">
                  <a16:creationId xmlns:a16="http://schemas.microsoft.com/office/drawing/2014/main" id="{FBAC9157-1F12-FA53-2386-547CB2B191A8}"/>
                </a:ext>
              </a:extLst>
            </p:cNvPr>
            <p:cNvSpPr/>
            <p:nvPr/>
          </p:nvSpPr>
          <p:spPr>
            <a:xfrm>
              <a:off x="5207348" y="4409699"/>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28" name="pl113">
              <a:extLst>
                <a:ext uri="{FF2B5EF4-FFF2-40B4-BE49-F238E27FC236}">
                  <a16:creationId xmlns:a16="http://schemas.microsoft.com/office/drawing/2014/main" id="{5B05791C-3AFD-E6E3-4FDC-9DEB1B325CA3}"/>
                </a:ext>
              </a:extLst>
            </p:cNvPr>
            <p:cNvSpPr/>
            <p:nvPr/>
          </p:nvSpPr>
          <p:spPr>
            <a:xfrm>
              <a:off x="5207348" y="4203984"/>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29" name="pl114">
              <a:extLst>
                <a:ext uri="{FF2B5EF4-FFF2-40B4-BE49-F238E27FC236}">
                  <a16:creationId xmlns:a16="http://schemas.microsoft.com/office/drawing/2014/main" id="{A65B67D0-E0CB-3115-6D7A-21F437BF63FF}"/>
                </a:ext>
              </a:extLst>
            </p:cNvPr>
            <p:cNvSpPr/>
            <p:nvPr/>
          </p:nvSpPr>
          <p:spPr>
            <a:xfrm>
              <a:off x="5207348" y="3998270"/>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30" name="pl115">
              <a:extLst>
                <a:ext uri="{FF2B5EF4-FFF2-40B4-BE49-F238E27FC236}">
                  <a16:creationId xmlns:a16="http://schemas.microsoft.com/office/drawing/2014/main" id="{6CE8E3E9-3FA0-F2B5-59F2-BB10A646256D}"/>
                </a:ext>
              </a:extLst>
            </p:cNvPr>
            <p:cNvSpPr/>
            <p:nvPr/>
          </p:nvSpPr>
          <p:spPr>
            <a:xfrm>
              <a:off x="5207348" y="3792556"/>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31" name="pl116">
              <a:extLst>
                <a:ext uri="{FF2B5EF4-FFF2-40B4-BE49-F238E27FC236}">
                  <a16:creationId xmlns:a16="http://schemas.microsoft.com/office/drawing/2014/main" id="{6A57C19C-2410-D07A-0192-908DD10C77C1}"/>
                </a:ext>
              </a:extLst>
            </p:cNvPr>
            <p:cNvSpPr/>
            <p:nvPr/>
          </p:nvSpPr>
          <p:spPr>
            <a:xfrm>
              <a:off x="5207348" y="3586841"/>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32" name="pl117">
              <a:extLst>
                <a:ext uri="{FF2B5EF4-FFF2-40B4-BE49-F238E27FC236}">
                  <a16:creationId xmlns:a16="http://schemas.microsoft.com/office/drawing/2014/main" id="{C86122DA-8147-AEFA-0FE9-D7E5F350C624}"/>
                </a:ext>
              </a:extLst>
            </p:cNvPr>
            <p:cNvSpPr/>
            <p:nvPr/>
          </p:nvSpPr>
          <p:spPr>
            <a:xfrm>
              <a:off x="5207348" y="3381127"/>
              <a:ext cx="63262" cy="0"/>
            </a:xfrm>
            <a:custGeom>
              <a:avLst/>
              <a:gdLst/>
              <a:ahLst/>
              <a:cxnLst/>
              <a:rect l="0" t="0" r="0" b="0"/>
              <a:pathLst>
                <a:path w="63262">
                  <a:moveTo>
                    <a:pt x="0" y="0"/>
                  </a:moveTo>
                  <a:lnTo>
                    <a:pt x="63262"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33" name="pl118">
              <a:extLst>
                <a:ext uri="{FF2B5EF4-FFF2-40B4-BE49-F238E27FC236}">
                  <a16:creationId xmlns:a16="http://schemas.microsoft.com/office/drawing/2014/main" id="{C68523C5-7D09-54C0-03DC-D8CCAC9B6494}"/>
                </a:ext>
              </a:extLst>
            </p:cNvPr>
            <p:cNvSpPr/>
            <p:nvPr/>
          </p:nvSpPr>
          <p:spPr>
            <a:xfrm flipV="1">
              <a:off x="5270611" y="4775408"/>
              <a:ext cx="2035064" cy="45719"/>
            </a:xfrm>
            <a:custGeom>
              <a:avLst/>
              <a:gdLst/>
              <a:ahLst/>
              <a:cxnLst/>
              <a:rect l="0" t="0" r="0" b="0"/>
              <a:pathLst>
                <a:path w="2160000">
                  <a:moveTo>
                    <a:pt x="0" y="0"/>
                  </a:moveTo>
                  <a:lnTo>
                    <a:pt x="216000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34" name="pl119">
              <a:extLst>
                <a:ext uri="{FF2B5EF4-FFF2-40B4-BE49-F238E27FC236}">
                  <a16:creationId xmlns:a16="http://schemas.microsoft.com/office/drawing/2014/main" id="{CAC54165-6886-9B50-8309-8A7D9C764D56}"/>
                </a:ext>
              </a:extLst>
            </p:cNvPr>
            <p:cNvSpPr/>
            <p:nvPr/>
          </p:nvSpPr>
          <p:spPr>
            <a:xfrm>
              <a:off x="5368793" y="4821127"/>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35" name="pl120">
              <a:extLst>
                <a:ext uri="{FF2B5EF4-FFF2-40B4-BE49-F238E27FC236}">
                  <a16:creationId xmlns:a16="http://schemas.microsoft.com/office/drawing/2014/main" id="{2E51E284-F1F9-964C-3BC1-CFCA3A13B56B}"/>
                </a:ext>
              </a:extLst>
            </p:cNvPr>
            <p:cNvSpPr/>
            <p:nvPr/>
          </p:nvSpPr>
          <p:spPr>
            <a:xfrm>
              <a:off x="5519842" y="4821127"/>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36" name="pl121">
              <a:extLst>
                <a:ext uri="{FF2B5EF4-FFF2-40B4-BE49-F238E27FC236}">
                  <a16:creationId xmlns:a16="http://schemas.microsoft.com/office/drawing/2014/main" id="{FD47B7EB-23D5-D01B-4060-02F19DCE27C7}"/>
                </a:ext>
              </a:extLst>
            </p:cNvPr>
            <p:cNvSpPr/>
            <p:nvPr/>
          </p:nvSpPr>
          <p:spPr>
            <a:xfrm>
              <a:off x="5670891" y="4821127"/>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37" name="pl122">
              <a:extLst>
                <a:ext uri="{FF2B5EF4-FFF2-40B4-BE49-F238E27FC236}">
                  <a16:creationId xmlns:a16="http://schemas.microsoft.com/office/drawing/2014/main" id="{8EAFA5BC-3816-EF28-8982-0F42931C62EF}"/>
                </a:ext>
              </a:extLst>
            </p:cNvPr>
            <p:cNvSpPr/>
            <p:nvPr/>
          </p:nvSpPr>
          <p:spPr>
            <a:xfrm>
              <a:off x="5821940" y="4821127"/>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38" name="pl123">
              <a:extLst>
                <a:ext uri="{FF2B5EF4-FFF2-40B4-BE49-F238E27FC236}">
                  <a16:creationId xmlns:a16="http://schemas.microsoft.com/office/drawing/2014/main" id="{C7BA734E-6569-454C-614A-56810AAF8A7D}"/>
                </a:ext>
              </a:extLst>
            </p:cNvPr>
            <p:cNvSpPr/>
            <p:nvPr/>
          </p:nvSpPr>
          <p:spPr>
            <a:xfrm>
              <a:off x="5972989" y="4821127"/>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39" name="pl124">
              <a:extLst>
                <a:ext uri="{FF2B5EF4-FFF2-40B4-BE49-F238E27FC236}">
                  <a16:creationId xmlns:a16="http://schemas.microsoft.com/office/drawing/2014/main" id="{2E870E7B-C07D-E98E-C12B-8F9DC9F0ADA7}"/>
                </a:ext>
              </a:extLst>
            </p:cNvPr>
            <p:cNvSpPr/>
            <p:nvPr/>
          </p:nvSpPr>
          <p:spPr>
            <a:xfrm>
              <a:off x="6124037" y="4821127"/>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40" name="pl125">
              <a:extLst>
                <a:ext uri="{FF2B5EF4-FFF2-40B4-BE49-F238E27FC236}">
                  <a16:creationId xmlns:a16="http://schemas.microsoft.com/office/drawing/2014/main" id="{79F0DF15-C3BC-4DFB-2E6B-75D4F2E32C08}"/>
                </a:ext>
              </a:extLst>
            </p:cNvPr>
            <p:cNvSpPr/>
            <p:nvPr/>
          </p:nvSpPr>
          <p:spPr>
            <a:xfrm>
              <a:off x="6275086" y="4821127"/>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41" name="pl126">
              <a:extLst>
                <a:ext uri="{FF2B5EF4-FFF2-40B4-BE49-F238E27FC236}">
                  <a16:creationId xmlns:a16="http://schemas.microsoft.com/office/drawing/2014/main" id="{4BE68CFB-E3CF-DBBB-8F11-0C207B773A34}"/>
                </a:ext>
              </a:extLst>
            </p:cNvPr>
            <p:cNvSpPr/>
            <p:nvPr/>
          </p:nvSpPr>
          <p:spPr>
            <a:xfrm>
              <a:off x="6426135" y="4821127"/>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42" name="pl127">
              <a:extLst>
                <a:ext uri="{FF2B5EF4-FFF2-40B4-BE49-F238E27FC236}">
                  <a16:creationId xmlns:a16="http://schemas.microsoft.com/office/drawing/2014/main" id="{34E8FF5E-CC70-88A9-FD2C-605A2F34AC9C}"/>
                </a:ext>
              </a:extLst>
            </p:cNvPr>
            <p:cNvSpPr/>
            <p:nvPr/>
          </p:nvSpPr>
          <p:spPr>
            <a:xfrm>
              <a:off x="6577184" y="4821127"/>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43" name="pl128">
              <a:extLst>
                <a:ext uri="{FF2B5EF4-FFF2-40B4-BE49-F238E27FC236}">
                  <a16:creationId xmlns:a16="http://schemas.microsoft.com/office/drawing/2014/main" id="{708B06FC-A611-2250-D408-8E55ED92FF90}"/>
                </a:ext>
              </a:extLst>
            </p:cNvPr>
            <p:cNvSpPr/>
            <p:nvPr/>
          </p:nvSpPr>
          <p:spPr>
            <a:xfrm>
              <a:off x="6728233" y="4821127"/>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44" name="pl129">
              <a:extLst>
                <a:ext uri="{FF2B5EF4-FFF2-40B4-BE49-F238E27FC236}">
                  <a16:creationId xmlns:a16="http://schemas.microsoft.com/office/drawing/2014/main" id="{02F4DFCF-716E-5E8F-B338-9FA829FC18D0}"/>
                </a:ext>
              </a:extLst>
            </p:cNvPr>
            <p:cNvSpPr/>
            <p:nvPr/>
          </p:nvSpPr>
          <p:spPr>
            <a:xfrm>
              <a:off x="6879282" y="4821127"/>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45" name="pl130">
              <a:extLst>
                <a:ext uri="{FF2B5EF4-FFF2-40B4-BE49-F238E27FC236}">
                  <a16:creationId xmlns:a16="http://schemas.microsoft.com/office/drawing/2014/main" id="{52CD974B-D4CB-B9A7-2D32-F290549F9B91}"/>
                </a:ext>
              </a:extLst>
            </p:cNvPr>
            <p:cNvSpPr/>
            <p:nvPr/>
          </p:nvSpPr>
          <p:spPr>
            <a:xfrm>
              <a:off x="7030331" y="4821127"/>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46" name="pl131">
              <a:extLst>
                <a:ext uri="{FF2B5EF4-FFF2-40B4-BE49-F238E27FC236}">
                  <a16:creationId xmlns:a16="http://schemas.microsoft.com/office/drawing/2014/main" id="{672E625B-C46E-48E3-57F3-0E9C83739531}"/>
                </a:ext>
              </a:extLst>
            </p:cNvPr>
            <p:cNvSpPr/>
            <p:nvPr/>
          </p:nvSpPr>
          <p:spPr>
            <a:xfrm>
              <a:off x="7181380" y="4821127"/>
              <a:ext cx="0" cy="63262"/>
            </a:xfrm>
            <a:custGeom>
              <a:avLst/>
              <a:gdLst/>
              <a:ahLst/>
              <a:cxnLst/>
              <a:rect l="0" t="0" r="0" b="0"/>
              <a:pathLst>
                <a:path h="63262">
                  <a:moveTo>
                    <a:pt x="0" y="63262"/>
                  </a:moveTo>
                  <a:lnTo>
                    <a:pt x="0" y="0"/>
                  </a:lnTo>
                </a:path>
              </a:pathLst>
            </a:custGeom>
            <a:ln w="11086" cap="flat">
              <a:solidFill>
                <a:srgbClr val="001965">
                  <a:alpha val="100000"/>
                </a:srgbClr>
              </a:solidFill>
              <a:prstDash val="solid"/>
              <a:round/>
            </a:ln>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11047" name="tx132">
              <a:extLst>
                <a:ext uri="{FF2B5EF4-FFF2-40B4-BE49-F238E27FC236}">
                  <a16:creationId xmlns:a16="http://schemas.microsoft.com/office/drawing/2014/main" id="{CA33AB4B-F189-881D-209F-4FDF67173FAA}"/>
                </a:ext>
              </a:extLst>
            </p:cNvPr>
            <p:cNvSpPr/>
            <p:nvPr/>
          </p:nvSpPr>
          <p:spPr>
            <a:xfrm>
              <a:off x="5334713" y="4945265"/>
              <a:ext cx="82296" cy="64739"/>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lang="en-GB"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First </a:t>
              </a:r>
            </a:p>
            <a:p>
              <a:pPr marL="0" marR="0" lvl="0" indent="0" algn="l" defTabSz="914446" rtl="0" eaLnBrk="1" fontAlgn="auto" latinLnBrk="0" hangingPunct="1">
                <a:lnSpc>
                  <a:spcPts val="720"/>
                </a:lnSpc>
                <a:spcBef>
                  <a:spcPts val="0"/>
                </a:spcBef>
                <a:spcAft>
                  <a:spcPts val="0"/>
                </a:spcAft>
                <a:buClrTx/>
                <a:buSzTx/>
                <a:buFontTx/>
                <a:buNone/>
                <a:tabLst/>
                <a:defRPr/>
              </a:pPr>
              <a:r>
                <a:rPr kumimoji="0" lang="en-GB"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dose</a:t>
              </a:r>
              <a:endPar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endParaRPr>
            </a:p>
          </p:txBody>
        </p:sp>
        <p:sp>
          <p:nvSpPr>
            <p:cNvPr id="11048" name="tx133">
              <a:extLst>
                <a:ext uri="{FF2B5EF4-FFF2-40B4-BE49-F238E27FC236}">
                  <a16:creationId xmlns:a16="http://schemas.microsoft.com/office/drawing/2014/main" id="{B75AC642-BD57-74C9-D8CE-5B4D28179E20}"/>
                </a:ext>
              </a:extLst>
            </p:cNvPr>
            <p:cNvSpPr/>
            <p:nvPr/>
          </p:nvSpPr>
          <p:spPr>
            <a:xfrm>
              <a:off x="5493324" y="4907165"/>
              <a:ext cx="53035" cy="64739"/>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a:t>
              </a:r>
            </a:p>
          </p:txBody>
        </p:sp>
        <p:sp>
          <p:nvSpPr>
            <p:cNvPr id="11049" name="tx134">
              <a:extLst>
                <a:ext uri="{FF2B5EF4-FFF2-40B4-BE49-F238E27FC236}">
                  <a16:creationId xmlns:a16="http://schemas.microsoft.com/office/drawing/2014/main" id="{A1FD73B9-4180-2EA2-7E82-4BF0B53DCE53}"/>
                </a:ext>
              </a:extLst>
            </p:cNvPr>
            <p:cNvSpPr/>
            <p:nvPr/>
          </p:nvSpPr>
          <p:spPr>
            <a:xfrm>
              <a:off x="5644373" y="4905519"/>
              <a:ext cx="53035" cy="66385"/>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2</a:t>
              </a:r>
            </a:p>
          </p:txBody>
        </p:sp>
        <p:sp>
          <p:nvSpPr>
            <p:cNvPr id="11050" name="tx135">
              <a:extLst>
                <a:ext uri="{FF2B5EF4-FFF2-40B4-BE49-F238E27FC236}">
                  <a16:creationId xmlns:a16="http://schemas.microsoft.com/office/drawing/2014/main" id="{3433A177-0523-80C6-CA0E-06DBCEECB0CB}"/>
                </a:ext>
              </a:extLst>
            </p:cNvPr>
            <p:cNvSpPr/>
            <p:nvPr/>
          </p:nvSpPr>
          <p:spPr>
            <a:xfrm>
              <a:off x="5795422" y="4903873"/>
              <a:ext cx="53035" cy="68031"/>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3</a:t>
              </a:r>
            </a:p>
          </p:txBody>
        </p:sp>
        <p:sp>
          <p:nvSpPr>
            <p:cNvPr id="11051" name="tx136">
              <a:extLst>
                <a:ext uri="{FF2B5EF4-FFF2-40B4-BE49-F238E27FC236}">
                  <a16:creationId xmlns:a16="http://schemas.microsoft.com/office/drawing/2014/main" id="{6BAF02AA-3D80-7B69-FF27-01A42DC47323}"/>
                </a:ext>
              </a:extLst>
            </p:cNvPr>
            <p:cNvSpPr/>
            <p:nvPr/>
          </p:nvSpPr>
          <p:spPr>
            <a:xfrm>
              <a:off x="5946471" y="4907165"/>
              <a:ext cx="53035" cy="64739"/>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4</a:t>
              </a:r>
            </a:p>
          </p:txBody>
        </p:sp>
        <p:sp>
          <p:nvSpPr>
            <p:cNvPr id="11052" name="tx137">
              <a:extLst>
                <a:ext uri="{FF2B5EF4-FFF2-40B4-BE49-F238E27FC236}">
                  <a16:creationId xmlns:a16="http://schemas.microsoft.com/office/drawing/2014/main" id="{82790FD4-C25E-2113-A1B6-ED1343131A2A}"/>
                </a:ext>
              </a:extLst>
            </p:cNvPr>
            <p:cNvSpPr/>
            <p:nvPr/>
          </p:nvSpPr>
          <p:spPr>
            <a:xfrm>
              <a:off x="6097520" y="4905519"/>
              <a:ext cx="53035" cy="66385"/>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5</a:t>
              </a:r>
            </a:p>
          </p:txBody>
        </p:sp>
        <p:sp>
          <p:nvSpPr>
            <p:cNvPr id="11053" name="tx138">
              <a:extLst>
                <a:ext uri="{FF2B5EF4-FFF2-40B4-BE49-F238E27FC236}">
                  <a16:creationId xmlns:a16="http://schemas.microsoft.com/office/drawing/2014/main" id="{7A7B21E8-A5E8-4096-E9CA-76C05622BD6B}"/>
                </a:ext>
              </a:extLst>
            </p:cNvPr>
            <p:cNvSpPr/>
            <p:nvPr/>
          </p:nvSpPr>
          <p:spPr>
            <a:xfrm>
              <a:off x="6248569" y="4905519"/>
              <a:ext cx="53035" cy="66385"/>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6</a:t>
              </a:r>
            </a:p>
          </p:txBody>
        </p:sp>
        <p:sp>
          <p:nvSpPr>
            <p:cNvPr id="11054" name="tx139">
              <a:extLst>
                <a:ext uri="{FF2B5EF4-FFF2-40B4-BE49-F238E27FC236}">
                  <a16:creationId xmlns:a16="http://schemas.microsoft.com/office/drawing/2014/main" id="{477378AA-2D36-659B-FBB8-5F87EB4925C5}"/>
                </a:ext>
              </a:extLst>
            </p:cNvPr>
            <p:cNvSpPr/>
            <p:nvPr/>
          </p:nvSpPr>
          <p:spPr>
            <a:xfrm>
              <a:off x="6399618" y="4907165"/>
              <a:ext cx="53035" cy="64739"/>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7</a:t>
              </a:r>
            </a:p>
          </p:txBody>
        </p:sp>
        <p:sp>
          <p:nvSpPr>
            <p:cNvPr id="11055" name="tx140">
              <a:extLst>
                <a:ext uri="{FF2B5EF4-FFF2-40B4-BE49-F238E27FC236}">
                  <a16:creationId xmlns:a16="http://schemas.microsoft.com/office/drawing/2014/main" id="{8832A58C-AEF7-3A0F-D055-71F0D79B35AD}"/>
                </a:ext>
              </a:extLst>
            </p:cNvPr>
            <p:cNvSpPr/>
            <p:nvPr/>
          </p:nvSpPr>
          <p:spPr>
            <a:xfrm>
              <a:off x="6550667" y="4903873"/>
              <a:ext cx="53035" cy="68031"/>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8</a:t>
              </a:r>
            </a:p>
          </p:txBody>
        </p:sp>
        <p:sp>
          <p:nvSpPr>
            <p:cNvPr id="11056" name="tx141">
              <a:extLst>
                <a:ext uri="{FF2B5EF4-FFF2-40B4-BE49-F238E27FC236}">
                  <a16:creationId xmlns:a16="http://schemas.microsoft.com/office/drawing/2014/main" id="{5676B62B-D289-86B1-889D-FCF85866F019}"/>
                </a:ext>
              </a:extLst>
            </p:cNvPr>
            <p:cNvSpPr/>
            <p:nvPr/>
          </p:nvSpPr>
          <p:spPr>
            <a:xfrm>
              <a:off x="6701716" y="4905519"/>
              <a:ext cx="53035" cy="66385"/>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9</a:t>
              </a:r>
            </a:p>
          </p:txBody>
        </p:sp>
        <p:sp>
          <p:nvSpPr>
            <p:cNvPr id="11057" name="tx142">
              <a:extLst>
                <a:ext uri="{FF2B5EF4-FFF2-40B4-BE49-F238E27FC236}">
                  <a16:creationId xmlns:a16="http://schemas.microsoft.com/office/drawing/2014/main" id="{369D50E0-54D8-A569-8EEE-85AA22C4F5C2}"/>
                </a:ext>
              </a:extLst>
            </p:cNvPr>
            <p:cNvSpPr/>
            <p:nvPr/>
          </p:nvSpPr>
          <p:spPr>
            <a:xfrm>
              <a:off x="6826247" y="4903873"/>
              <a:ext cx="106070" cy="68031"/>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0</a:t>
              </a:r>
            </a:p>
          </p:txBody>
        </p:sp>
        <p:sp>
          <p:nvSpPr>
            <p:cNvPr id="11058" name="tx143">
              <a:extLst>
                <a:ext uri="{FF2B5EF4-FFF2-40B4-BE49-F238E27FC236}">
                  <a16:creationId xmlns:a16="http://schemas.microsoft.com/office/drawing/2014/main" id="{60402EA9-ACC7-98A2-82B5-DD1769C33CA7}"/>
                </a:ext>
              </a:extLst>
            </p:cNvPr>
            <p:cNvSpPr/>
            <p:nvPr/>
          </p:nvSpPr>
          <p:spPr>
            <a:xfrm>
              <a:off x="6977296" y="4907165"/>
              <a:ext cx="106070" cy="64739"/>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1</a:t>
              </a:r>
            </a:p>
          </p:txBody>
        </p:sp>
        <p:sp>
          <p:nvSpPr>
            <p:cNvPr id="11059" name="tx144">
              <a:extLst>
                <a:ext uri="{FF2B5EF4-FFF2-40B4-BE49-F238E27FC236}">
                  <a16:creationId xmlns:a16="http://schemas.microsoft.com/office/drawing/2014/main" id="{015C14FC-35F8-3DAE-43A3-C2FE8F360AF5}"/>
                </a:ext>
              </a:extLst>
            </p:cNvPr>
            <p:cNvSpPr/>
            <p:nvPr/>
          </p:nvSpPr>
          <p:spPr>
            <a:xfrm>
              <a:off x="7128345" y="4905519"/>
              <a:ext cx="106070" cy="66385"/>
            </a:xfrm>
            <a:prstGeom prst="rect">
              <a:avLst/>
            </a:prstGeom>
            <a:noFill/>
          </p:spPr>
          <p:txBody>
            <a:bodyPr wrap="none" lIns="0" tIns="0" rIns="0" bIns="0" anchor="ctr" anchorCtr="1"/>
            <a:lstStyle/>
            <a:p>
              <a:pPr marL="0" marR="0" lvl="0" indent="0" algn="l" defTabSz="914446" rtl="0" eaLnBrk="1" fontAlgn="auto" latinLnBrk="0" hangingPunct="1">
                <a:lnSpc>
                  <a:spcPts val="720"/>
                </a:lnSpc>
                <a:spcBef>
                  <a:spcPts val="0"/>
                </a:spcBef>
                <a:spcAft>
                  <a:spcPts val="0"/>
                </a:spcAft>
                <a:buClrTx/>
                <a:buSzTx/>
                <a:buFontTx/>
                <a:buNone/>
                <a:tabLst/>
                <a:defRPr/>
              </a:pPr>
              <a:r>
                <a:rPr kumimoji="0" sz="720" b="0" i="0" u="none" strike="noStrike" kern="1200" cap="none" spc="0" normalizeH="0" baseline="0" noProof="0">
                  <a:ln>
                    <a:noFill/>
                  </a:ln>
                  <a:solidFill>
                    <a:srgbClr val="001965">
                      <a:alpha val="100000"/>
                    </a:srgbClr>
                  </a:solidFill>
                  <a:effectLst/>
                  <a:uLnTx/>
                  <a:uFillTx/>
                  <a:latin typeface="Avenir Next LT Pro"/>
                  <a:ea typeface="+mn-ea"/>
                  <a:cs typeface="Avenir Next LT Pro"/>
                </a:rPr>
                <a:t>12</a:t>
              </a:r>
            </a:p>
          </p:txBody>
        </p:sp>
        <p:sp>
          <p:nvSpPr>
            <p:cNvPr id="11060" name="tx145">
              <a:extLst>
                <a:ext uri="{FF2B5EF4-FFF2-40B4-BE49-F238E27FC236}">
                  <a16:creationId xmlns:a16="http://schemas.microsoft.com/office/drawing/2014/main" id="{94D5E173-96FF-4AF5-A649-E03C3017BD06}"/>
                </a:ext>
              </a:extLst>
            </p:cNvPr>
            <p:cNvSpPr/>
            <p:nvPr/>
          </p:nvSpPr>
          <p:spPr>
            <a:xfrm>
              <a:off x="6001225" y="4998712"/>
              <a:ext cx="308038" cy="88011"/>
            </a:xfrm>
            <a:prstGeom prst="rect">
              <a:avLst/>
            </a:prstGeom>
            <a:noFill/>
          </p:spPr>
          <p:txBody>
            <a:bodyPr wrap="none" lIns="0" tIns="0" rIns="0" bIns="0" anchor="ctr" anchorCtr="1"/>
            <a:lstStyle/>
            <a:p>
              <a:pPr marL="0" marR="0" lvl="0" indent="0" algn="l" defTabSz="914446" rtl="0" eaLnBrk="1" fontAlgn="auto" latinLnBrk="0" hangingPunct="1">
                <a:lnSpc>
                  <a:spcPts val="900"/>
                </a:lnSpc>
                <a:spcBef>
                  <a:spcPts val="0"/>
                </a:spcBef>
                <a:spcAft>
                  <a:spcPts val="0"/>
                </a:spcAft>
                <a:buClrTx/>
                <a:buSzTx/>
                <a:buFontTx/>
                <a:buNone/>
                <a:tabLst/>
                <a:defRPr/>
              </a:pPr>
              <a:r>
                <a:rPr kumimoji="0" lang="en-GB" sz="900" b="1" i="0" u="none" strike="noStrike" kern="1200" cap="none" spc="0" normalizeH="0" baseline="0" noProof="0">
                  <a:ln>
                    <a:noFill/>
                  </a:ln>
                  <a:solidFill>
                    <a:srgbClr val="001965">
                      <a:alpha val="100000"/>
                    </a:srgbClr>
                  </a:solidFill>
                  <a:effectLst/>
                  <a:uLnTx/>
                  <a:uFillTx/>
                  <a:latin typeface="Avenir Next LT Pro Demi" panose="020B0704020202020204" pitchFamily="34" charset="0"/>
                  <a:ea typeface="+mn-ea"/>
                  <a:cs typeface="Avenir Next LT Pro"/>
                </a:rPr>
                <a:t>Study w</a:t>
              </a:r>
              <a:r>
                <a:rPr kumimoji="0" sz="900" b="1" i="0" u="none" strike="noStrike" kern="1200" cap="none" spc="0" normalizeH="0" baseline="0" noProof="0">
                  <a:ln>
                    <a:noFill/>
                  </a:ln>
                  <a:solidFill>
                    <a:srgbClr val="001965">
                      <a:alpha val="100000"/>
                    </a:srgbClr>
                  </a:solidFill>
                  <a:effectLst/>
                  <a:uLnTx/>
                  <a:uFillTx/>
                  <a:latin typeface="Avenir Next LT Pro Demi" panose="020B0704020202020204" pitchFamily="34" charset="0"/>
                  <a:ea typeface="+mn-ea"/>
                  <a:cs typeface="Avenir Next LT Pro"/>
                </a:rPr>
                <a:t>eek</a:t>
              </a:r>
            </a:p>
          </p:txBody>
        </p:sp>
        <p:sp>
          <p:nvSpPr>
            <p:cNvPr id="11061" name="tx146">
              <a:extLst>
                <a:ext uri="{FF2B5EF4-FFF2-40B4-BE49-F238E27FC236}">
                  <a16:creationId xmlns:a16="http://schemas.microsoft.com/office/drawing/2014/main" id="{B504B721-06F4-41CB-37EC-E2CBF7DB6D94}"/>
                </a:ext>
              </a:extLst>
            </p:cNvPr>
            <p:cNvSpPr/>
            <p:nvPr/>
          </p:nvSpPr>
          <p:spPr>
            <a:xfrm rot="16200000">
              <a:off x="4416597" y="4037717"/>
              <a:ext cx="1257651" cy="143352"/>
            </a:xfrm>
            <a:prstGeom prst="rect">
              <a:avLst/>
            </a:prstGeom>
            <a:noFill/>
          </p:spPr>
          <p:txBody>
            <a:bodyPr wrap="none" lIns="0" tIns="0" rIns="0" bIns="0" anchor="ctr" anchorCtr="1"/>
            <a:lstStyle/>
            <a:p>
              <a:pPr marL="0" marR="0" lvl="0" indent="0" algn="l" defTabSz="914446" rtl="0" eaLnBrk="1" fontAlgn="auto" latinLnBrk="0" hangingPunct="1">
                <a:lnSpc>
                  <a:spcPts val="900"/>
                </a:lnSpc>
                <a:spcBef>
                  <a:spcPts val="0"/>
                </a:spcBef>
                <a:spcAft>
                  <a:spcPts val="0"/>
                </a:spcAft>
                <a:buClrTx/>
                <a:buSzTx/>
                <a:buFontTx/>
                <a:buNone/>
                <a:tabLst/>
                <a:defRPr/>
              </a:pPr>
              <a:r>
                <a:rPr kumimoji="0" sz="900" b="1" i="0" u="none" strike="noStrike" kern="1200" cap="none" spc="0" normalizeH="0" baseline="0" noProof="0">
                  <a:ln>
                    <a:noFill/>
                  </a:ln>
                  <a:solidFill>
                    <a:srgbClr val="001965">
                      <a:alpha val="100000"/>
                    </a:srgbClr>
                  </a:solidFill>
                  <a:effectLst/>
                  <a:uLnTx/>
                  <a:uFillTx/>
                  <a:latin typeface="Avenir Next LT Pro Demi" panose="020B0704020202020204" pitchFamily="34" charset="0"/>
                  <a:ea typeface="+mn-ea"/>
                  <a:cs typeface="Avenir Next LT Pro"/>
                </a:rPr>
                <a:t>Lean mass change (%)</a:t>
              </a:r>
            </a:p>
          </p:txBody>
        </p:sp>
      </p:grpSp>
    </p:spTree>
    <p:extLst>
      <p:ext uri="{BB962C8B-B14F-4D97-AF65-F5344CB8AC3E}">
        <p14:creationId xmlns:p14="http://schemas.microsoft.com/office/powerpoint/2010/main" val="3444173768"/>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58" name="Group 1057">
            <a:extLst>
              <a:ext uri="{FF2B5EF4-FFF2-40B4-BE49-F238E27FC236}">
                <a16:creationId xmlns:a16="http://schemas.microsoft.com/office/drawing/2014/main" id="{05CE531D-4F62-F065-1AD6-7A28EE7191A9}"/>
              </a:ext>
            </a:extLst>
          </p:cNvPr>
          <p:cNvGrpSpPr/>
          <p:nvPr/>
        </p:nvGrpSpPr>
        <p:grpSpPr>
          <a:xfrm rot="10800000">
            <a:off x="8074964" y="3809893"/>
            <a:ext cx="1273985" cy="1668308"/>
            <a:chOff x="4354869" y="2147285"/>
            <a:chExt cx="1273985" cy="1668308"/>
          </a:xfrm>
        </p:grpSpPr>
        <p:grpSp>
          <p:nvGrpSpPr>
            <p:cNvPr id="1059" name="Graphic 6">
              <a:extLst>
                <a:ext uri="{FF2B5EF4-FFF2-40B4-BE49-F238E27FC236}">
                  <a16:creationId xmlns:a16="http://schemas.microsoft.com/office/drawing/2014/main" id="{4DC878E5-2071-9631-EA98-FF8A1672DD3C}"/>
                </a:ext>
              </a:extLst>
            </p:cNvPr>
            <p:cNvGrpSpPr/>
            <p:nvPr/>
          </p:nvGrpSpPr>
          <p:grpSpPr>
            <a:xfrm>
              <a:off x="4354869" y="2147285"/>
              <a:ext cx="1273985" cy="1492653"/>
              <a:chOff x="4348948" y="2130079"/>
              <a:chExt cx="1273985" cy="1492653"/>
            </a:xfrm>
          </p:grpSpPr>
          <p:sp>
            <p:nvSpPr>
              <p:cNvPr id="1061" name="Freeform 1060">
                <a:extLst>
                  <a:ext uri="{FF2B5EF4-FFF2-40B4-BE49-F238E27FC236}">
                    <a16:creationId xmlns:a16="http://schemas.microsoft.com/office/drawing/2014/main" id="{989D698E-1CB0-C561-6F02-1282139D07E6}"/>
                  </a:ext>
                </a:extLst>
              </p:cNvPr>
              <p:cNvSpPr/>
              <p:nvPr/>
            </p:nvSpPr>
            <p:spPr>
              <a:xfrm>
                <a:off x="4804243" y="2130079"/>
                <a:ext cx="338772" cy="410717"/>
              </a:xfrm>
              <a:custGeom>
                <a:avLst/>
                <a:gdLst>
                  <a:gd name="connsiteX0" fmla="*/ 0 w 338772"/>
                  <a:gd name="connsiteY0" fmla="*/ 240870 h 410717"/>
                  <a:gd name="connsiteX1" fmla="*/ 169584 w 338772"/>
                  <a:gd name="connsiteY1" fmla="*/ 410717 h 410717"/>
                  <a:gd name="connsiteX2" fmla="*/ 338773 w 338772"/>
                  <a:gd name="connsiteY2" fmla="*/ 241397 h 410717"/>
                  <a:gd name="connsiteX3" fmla="*/ 169189 w 338772"/>
                  <a:gd name="connsiteY3" fmla="*/ 0 h 410717"/>
                  <a:gd name="connsiteX4" fmla="*/ 0 w 338772"/>
                  <a:gd name="connsiteY4" fmla="*/ 240870 h 410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772" h="410717">
                    <a:moveTo>
                      <a:pt x="0" y="240870"/>
                    </a:moveTo>
                    <a:lnTo>
                      <a:pt x="169584" y="410717"/>
                    </a:lnTo>
                    <a:lnTo>
                      <a:pt x="338773" y="241397"/>
                    </a:lnTo>
                    <a:lnTo>
                      <a:pt x="169189" y="0"/>
                    </a:lnTo>
                    <a:lnTo>
                      <a:pt x="0" y="240870"/>
                    </a:lnTo>
                    <a:close/>
                  </a:path>
                </a:pathLst>
              </a:custGeom>
              <a:solidFill>
                <a:srgbClr val="2878FF">
                  <a:alpha val="49872"/>
                </a:srgbClr>
              </a:solidFill>
              <a:ln w="13166" cap="flat">
                <a:noFill/>
                <a:prstDash val="solid"/>
                <a:miter/>
              </a:ln>
            </p:spPr>
            <p:txBody>
              <a:bodyPr rtlCol="0" anchor="ctr"/>
              <a:lstStyle/>
              <a:p>
                <a:endParaRPr lang="en-DK"/>
              </a:p>
            </p:txBody>
          </p:sp>
          <p:sp>
            <p:nvSpPr>
              <p:cNvPr id="1062" name="Freeform 1061">
                <a:extLst>
                  <a:ext uri="{FF2B5EF4-FFF2-40B4-BE49-F238E27FC236}">
                    <a16:creationId xmlns:a16="http://schemas.microsoft.com/office/drawing/2014/main" id="{9854F28E-E3FF-DD1C-1F5D-62C412A54413}"/>
                  </a:ext>
                </a:extLst>
              </p:cNvPr>
              <p:cNvSpPr/>
              <p:nvPr/>
            </p:nvSpPr>
            <p:spPr>
              <a:xfrm>
                <a:off x="4362114" y="2360934"/>
                <a:ext cx="1247652" cy="1248622"/>
              </a:xfrm>
              <a:custGeom>
                <a:avLst/>
                <a:gdLst>
                  <a:gd name="connsiteX0" fmla="*/ 1247652 w 1247652"/>
                  <a:gd name="connsiteY0" fmla="*/ 624311 h 1248622"/>
                  <a:gd name="connsiteX1" fmla="*/ 623826 w 1247652"/>
                  <a:gd name="connsiteY1" fmla="*/ 0 h 1248622"/>
                  <a:gd name="connsiteX2" fmla="*/ 0 w 1247652"/>
                  <a:gd name="connsiteY2" fmla="*/ 624311 h 1248622"/>
                  <a:gd name="connsiteX3" fmla="*/ 623826 w 1247652"/>
                  <a:gd name="connsiteY3" fmla="*/ 1248622 h 1248622"/>
                  <a:gd name="connsiteX4" fmla="*/ 1247652 w 1247652"/>
                  <a:gd name="connsiteY4" fmla="*/ 624311 h 1248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7652" h="1248622">
                    <a:moveTo>
                      <a:pt x="1247652" y="624311"/>
                    </a:moveTo>
                    <a:cubicBezTo>
                      <a:pt x="1247652" y="279477"/>
                      <a:pt x="968392" y="0"/>
                      <a:pt x="623826" y="0"/>
                    </a:cubicBezTo>
                    <a:cubicBezTo>
                      <a:pt x="279260" y="0"/>
                      <a:pt x="0" y="279477"/>
                      <a:pt x="0" y="624311"/>
                    </a:cubicBezTo>
                    <a:cubicBezTo>
                      <a:pt x="0" y="969145"/>
                      <a:pt x="279260" y="1248622"/>
                      <a:pt x="623826" y="1248622"/>
                    </a:cubicBezTo>
                    <a:cubicBezTo>
                      <a:pt x="968392" y="1248622"/>
                      <a:pt x="1247652" y="969145"/>
                      <a:pt x="1247652" y="624311"/>
                    </a:cubicBezTo>
                  </a:path>
                </a:pathLst>
              </a:custGeom>
              <a:solidFill>
                <a:srgbClr val="001965"/>
              </a:solidFill>
              <a:ln w="13166" cap="flat">
                <a:noFill/>
                <a:prstDash val="solid"/>
                <a:miter/>
              </a:ln>
            </p:spPr>
            <p:txBody>
              <a:bodyPr rtlCol="0" anchor="ctr"/>
              <a:lstStyle/>
              <a:p>
                <a:endParaRPr lang="en-DK"/>
              </a:p>
            </p:txBody>
          </p:sp>
          <p:sp>
            <p:nvSpPr>
              <p:cNvPr id="1063" name="Freeform 1062">
                <a:extLst>
                  <a:ext uri="{FF2B5EF4-FFF2-40B4-BE49-F238E27FC236}">
                    <a16:creationId xmlns:a16="http://schemas.microsoft.com/office/drawing/2014/main" id="{987F60C6-BB5D-1CC3-4997-C42816B7B809}"/>
                  </a:ext>
                </a:extLst>
              </p:cNvPr>
              <p:cNvSpPr/>
              <p:nvPr/>
            </p:nvSpPr>
            <p:spPr>
              <a:xfrm>
                <a:off x="4348948" y="2347757"/>
                <a:ext cx="1273985" cy="1274975"/>
              </a:xfrm>
              <a:custGeom>
                <a:avLst/>
                <a:gdLst>
                  <a:gd name="connsiteX0" fmla="*/ 1260819 w 1273985"/>
                  <a:gd name="connsiteY0" fmla="*/ 637488 h 1274975"/>
                  <a:gd name="connsiteX1" fmla="*/ 1247652 w 1273985"/>
                  <a:gd name="connsiteY1" fmla="*/ 637488 h 1274975"/>
                  <a:gd name="connsiteX2" fmla="*/ 636993 w 1273985"/>
                  <a:gd name="connsiteY2" fmla="*/ 26353 h 1274975"/>
                  <a:gd name="connsiteX3" fmla="*/ 26333 w 1273985"/>
                  <a:gd name="connsiteY3" fmla="*/ 637488 h 1274975"/>
                  <a:gd name="connsiteX4" fmla="*/ 636993 w 1273985"/>
                  <a:gd name="connsiteY4" fmla="*/ 1248622 h 1274975"/>
                  <a:gd name="connsiteX5" fmla="*/ 1247652 w 1273985"/>
                  <a:gd name="connsiteY5" fmla="*/ 637488 h 1274975"/>
                  <a:gd name="connsiteX6" fmla="*/ 1273985 w 1273985"/>
                  <a:gd name="connsiteY6" fmla="*/ 637488 h 1274975"/>
                  <a:gd name="connsiteX7" fmla="*/ 636993 w 1273985"/>
                  <a:gd name="connsiteY7" fmla="*/ 1274976 h 1274975"/>
                  <a:gd name="connsiteX8" fmla="*/ 0 w 1273985"/>
                  <a:gd name="connsiteY8" fmla="*/ 637488 h 1274975"/>
                  <a:gd name="connsiteX9" fmla="*/ 636993 w 1273985"/>
                  <a:gd name="connsiteY9" fmla="*/ 0 h 1274975"/>
                  <a:gd name="connsiteX10" fmla="*/ 1273985 w 1273985"/>
                  <a:gd name="connsiteY10" fmla="*/ 637488 h 1274975"/>
                  <a:gd name="connsiteX11" fmla="*/ 1260819 w 1273985"/>
                  <a:gd name="connsiteY11" fmla="*/ 637488 h 127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3985" h="1274975">
                    <a:moveTo>
                      <a:pt x="1260819" y="637488"/>
                    </a:moveTo>
                    <a:lnTo>
                      <a:pt x="1247652" y="637488"/>
                    </a:lnTo>
                    <a:cubicBezTo>
                      <a:pt x="1246994" y="300033"/>
                      <a:pt x="974317" y="27012"/>
                      <a:pt x="636993" y="26353"/>
                    </a:cubicBezTo>
                    <a:cubicBezTo>
                      <a:pt x="299800" y="27012"/>
                      <a:pt x="26991" y="299901"/>
                      <a:pt x="26333" y="637488"/>
                    </a:cubicBezTo>
                    <a:cubicBezTo>
                      <a:pt x="26991" y="974943"/>
                      <a:pt x="299668" y="1247963"/>
                      <a:pt x="636993" y="1248622"/>
                    </a:cubicBezTo>
                    <a:cubicBezTo>
                      <a:pt x="974185" y="1247963"/>
                      <a:pt x="1246994" y="975074"/>
                      <a:pt x="1247652" y="637488"/>
                    </a:cubicBezTo>
                    <a:lnTo>
                      <a:pt x="1273985" y="637488"/>
                    </a:lnTo>
                    <a:cubicBezTo>
                      <a:pt x="1273985" y="989569"/>
                      <a:pt x="988800" y="1274976"/>
                      <a:pt x="636993" y="1274976"/>
                    </a:cubicBezTo>
                    <a:cubicBezTo>
                      <a:pt x="285185" y="1274976"/>
                      <a:pt x="0" y="989569"/>
                      <a:pt x="0" y="637488"/>
                    </a:cubicBezTo>
                    <a:cubicBezTo>
                      <a:pt x="0" y="285407"/>
                      <a:pt x="285185" y="0"/>
                      <a:pt x="636993" y="0"/>
                    </a:cubicBezTo>
                    <a:cubicBezTo>
                      <a:pt x="988800" y="0"/>
                      <a:pt x="1273985" y="285407"/>
                      <a:pt x="1273985" y="637488"/>
                    </a:cubicBezTo>
                    <a:lnTo>
                      <a:pt x="1260819" y="637488"/>
                    </a:lnTo>
                    <a:close/>
                  </a:path>
                </a:pathLst>
              </a:custGeom>
              <a:gradFill>
                <a:gsLst>
                  <a:gs pos="0">
                    <a:srgbClr val="F3E700"/>
                  </a:gs>
                  <a:gs pos="33000">
                    <a:srgbClr val="8CC3CA"/>
                  </a:gs>
                  <a:gs pos="67000">
                    <a:srgbClr val="2878FF"/>
                  </a:gs>
                  <a:gs pos="100000">
                    <a:srgbClr val="E229E2"/>
                  </a:gs>
                </a:gsLst>
                <a:lin ang="16200000" scaled="1"/>
              </a:gradFill>
              <a:ln w="13166" cap="flat">
                <a:noFill/>
                <a:prstDash val="solid"/>
                <a:miter/>
              </a:ln>
            </p:spPr>
            <p:txBody>
              <a:bodyPr rtlCol="0" anchor="ctr"/>
              <a:lstStyle/>
              <a:p>
                <a:endParaRPr lang="en-DK"/>
              </a:p>
            </p:txBody>
          </p:sp>
        </p:grpSp>
        <p:sp>
          <p:nvSpPr>
            <p:cNvPr id="1060" name="Freeform 1059">
              <a:extLst>
                <a:ext uri="{FF2B5EF4-FFF2-40B4-BE49-F238E27FC236}">
                  <a16:creationId xmlns:a16="http://schemas.microsoft.com/office/drawing/2014/main" id="{3F472628-DB55-F9DC-DB30-8ED39BE4C1D2}"/>
                </a:ext>
              </a:extLst>
            </p:cNvPr>
            <p:cNvSpPr/>
            <p:nvPr/>
          </p:nvSpPr>
          <p:spPr>
            <a:xfrm>
              <a:off x="4982134" y="3637577"/>
              <a:ext cx="13166" cy="178016"/>
            </a:xfrm>
            <a:custGeom>
              <a:avLst/>
              <a:gdLst>
                <a:gd name="connsiteX0" fmla="*/ 6583 w 13166"/>
                <a:gd name="connsiteY0" fmla="*/ 178017 h 178016"/>
                <a:gd name="connsiteX1" fmla="*/ 0 w 13166"/>
                <a:gd name="connsiteY1" fmla="*/ 171429 h 178016"/>
                <a:gd name="connsiteX2" fmla="*/ 0 w 13166"/>
                <a:gd name="connsiteY2" fmla="*/ 6588 h 178016"/>
                <a:gd name="connsiteX3" fmla="*/ 6583 w 13166"/>
                <a:gd name="connsiteY3" fmla="*/ 0 h 178016"/>
                <a:gd name="connsiteX4" fmla="*/ 13166 w 13166"/>
                <a:gd name="connsiteY4" fmla="*/ 6588 h 178016"/>
                <a:gd name="connsiteX5" fmla="*/ 13166 w 13166"/>
                <a:gd name="connsiteY5" fmla="*/ 171429 h 178016"/>
                <a:gd name="connsiteX6" fmla="*/ 6583 w 13166"/>
                <a:gd name="connsiteY6" fmla="*/ 178017 h 17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66" h="178016">
                  <a:moveTo>
                    <a:pt x="6583" y="178017"/>
                  </a:moveTo>
                  <a:cubicBezTo>
                    <a:pt x="2897" y="178017"/>
                    <a:pt x="0" y="175118"/>
                    <a:pt x="0" y="171429"/>
                  </a:cubicBezTo>
                  <a:lnTo>
                    <a:pt x="0" y="6588"/>
                  </a:lnTo>
                  <a:cubicBezTo>
                    <a:pt x="0" y="2899"/>
                    <a:pt x="2897" y="0"/>
                    <a:pt x="6583" y="0"/>
                  </a:cubicBezTo>
                  <a:cubicBezTo>
                    <a:pt x="10270" y="0"/>
                    <a:pt x="13166" y="2899"/>
                    <a:pt x="13166" y="6588"/>
                  </a:cubicBezTo>
                  <a:lnTo>
                    <a:pt x="13166" y="171429"/>
                  </a:lnTo>
                  <a:cubicBezTo>
                    <a:pt x="13166" y="175118"/>
                    <a:pt x="10270" y="178017"/>
                    <a:pt x="6583" y="178017"/>
                  </a:cubicBezTo>
                  <a:close/>
                </a:path>
              </a:pathLst>
            </a:custGeom>
            <a:solidFill>
              <a:srgbClr val="FFFFFF"/>
            </a:solidFill>
            <a:ln w="13166" cap="flat">
              <a:noFill/>
              <a:prstDash val="solid"/>
              <a:miter/>
            </a:ln>
          </p:spPr>
          <p:txBody>
            <a:bodyPr rtlCol="0" anchor="ctr"/>
            <a:lstStyle/>
            <a:p>
              <a:endParaRPr lang="en-DK"/>
            </a:p>
          </p:txBody>
        </p:sp>
      </p:grpSp>
      <p:grpSp>
        <p:nvGrpSpPr>
          <p:cNvPr id="1064" name="Group 1063">
            <a:extLst>
              <a:ext uri="{FF2B5EF4-FFF2-40B4-BE49-F238E27FC236}">
                <a16:creationId xmlns:a16="http://schemas.microsoft.com/office/drawing/2014/main" id="{CC9E9A54-389D-6DE6-8D40-63873AE70C4E}"/>
              </a:ext>
            </a:extLst>
          </p:cNvPr>
          <p:cNvGrpSpPr/>
          <p:nvPr/>
        </p:nvGrpSpPr>
        <p:grpSpPr>
          <a:xfrm rot="10800000">
            <a:off x="5220375" y="3809893"/>
            <a:ext cx="1273985" cy="1668308"/>
            <a:chOff x="4354869" y="2147285"/>
            <a:chExt cx="1273985" cy="1668308"/>
          </a:xfrm>
        </p:grpSpPr>
        <p:grpSp>
          <p:nvGrpSpPr>
            <p:cNvPr id="1065" name="Graphic 6">
              <a:extLst>
                <a:ext uri="{FF2B5EF4-FFF2-40B4-BE49-F238E27FC236}">
                  <a16:creationId xmlns:a16="http://schemas.microsoft.com/office/drawing/2014/main" id="{66C8D849-8A35-5944-7CC7-181E8B68F205}"/>
                </a:ext>
              </a:extLst>
            </p:cNvPr>
            <p:cNvGrpSpPr/>
            <p:nvPr/>
          </p:nvGrpSpPr>
          <p:grpSpPr>
            <a:xfrm>
              <a:off x="4354869" y="2147285"/>
              <a:ext cx="1273985" cy="1492653"/>
              <a:chOff x="4348948" y="2130079"/>
              <a:chExt cx="1273985" cy="1492653"/>
            </a:xfrm>
          </p:grpSpPr>
          <p:sp>
            <p:nvSpPr>
              <p:cNvPr id="1067" name="Freeform 1066">
                <a:extLst>
                  <a:ext uri="{FF2B5EF4-FFF2-40B4-BE49-F238E27FC236}">
                    <a16:creationId xmlns:a16="http://schemas.microsoft.com/office/drawing/2014/main" id="{D39BD176-CD9A-4C3E-4D80-6FC6C471EB77}"/>
                  </a:ext>
                </a:extLst>
              </p:cNvPr>
              <p:cNvSpPr/>
              <p:nvPr/>
            </p:nvSpPr>
            <p:spPr>
              <a:xfrm>
                <a:off x="4804243" y="2130079"/>
                <a:ext cx="338772" cy="410717"/>
              </a:xfrm>
              <a:custGeom>
                <a:avLst/>
                <a:gdLst>
                  <a:gd name="connsiteX0" fmla="*/ 0 w 338772"/>
                  <a:gd name="connsiteY0" fmla="*/ 240870 h 410717"/>
                  <a:gd name="connsiteX1" fmla="*/ 169584 w 338772"/>
                  <a:gd name="connsiteY1" fmla="*/ 410717 h 410717"/>
                  <a:gd name="connsiteX2" fmla="*/ 338773 w 338772"/>
                  <a:gd name="connsiteY2" fmla="*/ 241397 h 410717"/>
                  <a:gd name="connsiteX3" fmla="*/ 169189 w 338772"/>
                  <a:gd name="connsiteY3" fmla="*/ 0 h 410717"/>
                  <a:gd name="connsiteX4" fmla="*/ 0 w 338772"/>
                  <a:gd name="connsiteY4" fmla="*/ 240870 h 410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772" h="410717">
                    <a:moveTo>
                      <a:pt x="0" y="240870"/>
                    </a:moveTo>
                    <a:lnTo>
                      <a:pt x="169584" y="410717"/>
                    </a:lnTo>
                    <a:lnTo>
                      <a:pt x="338773" y="241397"/>
                    </a:lnTo>
                    <a:lnTo>
                      <a:pt x="169189" y="0"/>
                    </a:lnTo>
                    <a:lnTo>
                      <a:pt x="0" y="240870"/>
                    </a:lnTo>
                    <a:close/>
                  </a:path>
                </a:pathLst>
              </a:custGeom>
              <a:solidFill>
                <a:srgbClr val="2878FF">
                  <a:alpha val="49872"/>
                </a:srgbClr>
              </a:solidFill>
              <a:ln w="13166" cap="flat">
                <a:noFill/>
                <a:prstDash val="solid"/>
                <a:miter/>
              </a:ln>
            </p:spPr>
            <p:txBody>
              <a:bodyPr rtlCol="0" anchor="ctr"/>
              <a:lstStyle/>
              <a:p>
                <a:endParaRPr lang="en-DK"/>
              </a:p>
            </p:txBody>
          </p:sp>
          <p:sp>
            <p:nvSpPr>
              <p:cNvPr id="1068" name="Freeform 1067">
                <a:extLst>
                  <a:ext uri="{FF2B5EF4-FFF2-40B4-BE49-F238E27FC236}">
                    <a16:creationId xmlns:a16="http://schemas.microsoft.com/office/drawing/2014/main" id="{1169F934-7D16-2766-B773-A15A7E94978E}"/>
                  </a:ext>
                </a:extLst>
              </p:cNvPr>
              <p:cNvSpPr/>
              <p:nvPr/>
            </p:nvSpPr>
            <p:spPr>
              <a:xfrm>
                <a:off x="4362114" y="2360934"/>
                <a:ext cx="1247652" cy="1248622"/>
              </a:xfrm>
              <a:custGeom>
                <a:avLst/>
                <a:gdLst>
                  <a:gd name="connsiteX0" fmla="*/ 1247652 w 1247652"/>
                  <a:gd name="connsiteY0" fmla="*/ 624311 h 1248622"/>
                  <a:gd name="connsiteX1" fmla="*/ 623826 w 1247652"/>
                  <a:gd name="connsiteY1" fmla="*/ 0 h 1248622"/>
                  <a:gd name="connsiteX2" fmla="*/ 0 w 1247652"/>
                  <a:gd name="connsiteY2" fmla="*/ 624311 h 1248622"/>
                  <a:gd name="connsiteX3" fmla="*/ 623826 w 1247652"/>
                  <a:gd name="connsiteY3" fmla="*/ 1248622 h 1248622"/>
                  <a:gd name="connsiteX4" fmla="*/ 1247652 w 1247652"/>
                  <a:gd name="connsiteY4" fmla="*/ 624311 h 1248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7652" h="1248622">
                    <a:moveTo>
                      <a:pt x="1247652" y="624311"/>
                    </a:moveTo>
                    <a:cubicBezTo>
                      <a:pt x="1247652" y="279477"/>
                      <a:pt x="968392" y="0"/>
                      <a:pt x="623826" y="0"/>
                    </a:cubicBezTo>
                    <a:cubicBezTo>
                      <a:pt x="279260" y="0"/>
                      <a:pt x="0" y="279477"/>
                      <a:pt x="0" y="624311"/>
                    </a:cubicBezTo>
                    <a:cubicBezTo>
                      <a:pt x="0" y="969145"/>
                      <a:pt x="279260" y="1248622"/>
                      <a:pt x="623826" y="1248622"/>
                    </a:cubicBezTo>
                    <a:cubicBezTo>
                      <a:pt x="968392" y="1248622"/>
                      <a:pt x="1247652" y="969145"/>
                      <a:pt x="1247652" y="624311"/>
                    </a:cubicBezTo>
                  </a:path>
                </a:pathLst>
              </a:custGeom>
              <a:solidFill>
                <a:srgbClr val="001965"/>
              </a:solidFill>
              <a:ln w="13166" cap="flat">
                <a:noFill/>
                <a:prstDash val="solid"/>
                <a:miter/>
              </a:ln>
            </p:spPr>
            <p:txBody>
              <a:bodyPr rtlCol="0" anchor="ctr"/>
              <a:lstStyle/>
              <a:p>
                <a:endParaRPr lang="en-DK"/>
              </a:p>
            </p:txBody>
          </p:sp>
          <p:sp>
            <p:nvSpPr>
              <p:cNvPr id="1069" name="Freeform 1068">
                <a:extLst>
                  <a:ext uri="{FF2B5EF4-FFF2-40B4-BE49-F238E27FC236}">
                    <a16:creationId xmlns:a16="http://schemas.microsoft.com/office/drawing/2014/main" id="{62F225F4-301A-29E4-2738-4E2E6993E1D7}"/>
                  </a:ext>
                </a:extLst>
              </p:cNvPr>
              <p:cNvSpPr/>
              <p:nvPr/>
            </p:nvSpPr>
            <p:spPr>
              <a:xfrm>
                <a:off x="4348948" y="2347757"/>
                <a:ext cx="1273985" cy="1274975"/>
              </a:xfrm>
              <a:custGeom>
                <a:avLst/>
                <a:gdLst>
                  <a:gd name="connsiteX0" fmla="*/ 1260819 w 1273985"/>
                  <a:gd name="connsiteY0" fmla="*/ 637488 h 1274975"/>
                  <a:gd name="connsiteX1" fmla="*/ 1247652 w 1273985"/>
                  <a:gd name="connsiteY1" fmla="*/ 637488 h 1274975"/>
                  <a:gd name="connsiteX2" fmla="*/ 636993 w 1273985"/>
                  <a:gd name="connsiteY2" fmla="*/ 26353 h 1274975"/>
                  <a:gd name="connsiteX3" fmla="*/ 26333 w 1273985"/>
                  <a:gd name="connsiteY3" fmla="*/ 637488 h 1274975"/>
                  <a:gd name="connsiteX4" fmla="*/ 636993 w 1273985"/>
                  <a:gd name="connsiteY4" fmla="*/ 1248622 h 1274975"/>
                  <a:gd name="connsiteX5" fmla="*/ 1247652 w 1273985"/>
                  <a:gd name="connsiteY5" fmla="*/ 637488 h 1274975"/>
                  <a:gd name="connsiteX6" fmla="*/ 1273985 w 1273985"/>
                  <a:gd name="connsiteY6" fmla="*/ 637488 h 1274975"/>
                  <a:gd name="connsiteX7" fmla="*/ 636993 w 1273985"/>
                  <a:gd name="connsiteY7" fmla="*/ 1274976 h 1274975"/>
                  <a:gd name="connsiteX8" fmla="*/ 0 w 1273985"/>
                  <a:gd name="connsiteY8" fmla="*/ 637488 h 1274975"/>
                  <a:gd name="connsiteX9" fmla="*/ 636993 w 1273985"/>
                  <a:gd name="connsiteY9" fmla="*/ 0 h 1274975"/>
                  <a:gd name="connsiteX10" fmla="*/ 1273985 w 1273985"/>
                  <a:gd name="connsiteY10" fmla="*/ 637488 h 1274975"/>
                  <a:gd name="connsiteX11" fmla="*/ 1260819 w 1273985"/>
                  <a:gd name="connsiteY11" fmla="*/ 637488 h 127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3985" h="1274975">
                    <a:moveTo>
                      <a:pt x="1260819" y="637488"/>
                    </a:moveTo>
                    <a:lnTo>
                      <a:pt x="1247652" y="637488"/>
                    </a:lnTo>
                    <a:cubicBezTo>
                      <a:pt x="1246994" y="300033"/>
                      <a:pt x="974317" y="27012"/>
                      <a:pt x="636993" y="26353"/>
                    </a:cubicBezTo>
                    <a:cubicBezTo>
                      <a:pt x="299800" y="27012"/>
                      <a:pt x="26991" y="299901"/>
                      <a:pt x="26333" y="637488"/>
                    </a:cubicBezTo>
                    <a:cubicBezTo>
                      <a:pt x="26991" y="974943"/>
                      <a:pt x="299668" y="1247963"/>
                      <a:pt x="636993" y="1248622"/>
                    </a:cubicBezTo>
                    <a:cubicBezTo>
                      <a:pt x="974185" y="1247963"/>
                      <a:pt x="1246994" y="975074"/>
                      <a:pt x="1247652" y="637488"/>
                    </a:cubicBezTo>
                    <a:lnTo>
                      <a:pt x="1273985" y="637488"/>
                    </a:lnTo>
                    <a:cubicBezTo>
                      <a:pt x="1273985" y="989569"/>
                      <a:pt x="988800" y="1274976"/>
                      <a:pt x="636993" y="1274976"/>
                    </a:cubicBezTo>
                    <a:cubicBezTo>
                      <a:pt x="285185" y="1274976"/>
                      <a:pt x="0" y="989569"/>
                      <a:pt x="0" y="637488"/>
                    </a:cubicBezTo>
                    <a:cubicBezTo>
                      <a:pt x="0" y="285407"/>
                      <a:pt x="285185" y="0"/>
                      <a:pt x="636993" y="0"/>
                    </a:cubicBezTo>
                    <a:cubicBezTo>
                      <a:pt x="988800" y="0"/>
                      <a:pt x="1273985" y="285407"/>
                      <a:pt x="1273985" y="637488"/>
                    </a:cubicBezTo>
                    <a:lnTo>
                      <a:pt x="1260819" y="637488"/>
                    </a:lnTo>
                    <a:close/>
                  </a:path>
                </a:pathLst>
              </a:custGeom>
              <a:gradFill>
                <a:gsLst>
                  <a:gs pos="0">
                    <a:srgbClr val="F3E700"/>
                  </a:gs>
                  <a:gs pos="33000">
                    <a:srgbClr val="8CC3CA"/>
                  </a:gs>
                  <a:gs pos="67000">
                    <a:srgbClr val="2878FF"/>
                  </a:gs>
                  <a:gs pos="100000">
                    <a:srgbClr val="E229E2"/>
                  </a:gs>
                </a:gsLst>
                <a:lin ang="16200000" scaled="1"/>
              </a:gradFill>
              <a:ln w="13166" cap="flat">
                <a:noFill/>
                <a:prstDash val="solid"/>
                <a:miter/>
              </a:ln>
            </p:spPr>
            <p:txBody>
              <a:bodyPr rtlCol="0" anchor="ctr"/>
              <a:lstStyle/>
              <a:p>
                <a:endParaRPr lang="en-DK"/>
              </a:p>
            </p:txBody>
          </p:sp>
        </p:grpSp>
        <p:sp>
          <p:nvSpPr>
            <p:cNvPr id="1066" name="Freeform 1065">
              <a:extLst>
                <a:ext uri="{FF2B5EF4-FFF2-40B4-BE49-F238E27FC236}">
                  <a16:creationId xmlns:a16="http://schemas.microsoft.com/office/drawing/2014/main" id="{832607EE-2BF4-B891-D4F9-0E9C0688CB72}"/>
                </a:ext>
              </a:extLst>
            </p:cNvPr>
            <p:cNvSpPr/>
            <p:nvPr/>
          </p:nvSpPr>
          <p:spPr>
            <a:xfrm>
              <a:off x="4982134" y="3637577"/>
              <a:ext cx="13166" cy="178016"/>
            </a:xfrm>
            <a:custGeom>
              <a:avLst/>
              <a:gdLst>
                <a:gd name="connsiteX0" fmla="*/ 6583 w 13166"/>
                <a:gd name="connsiteY0" fmla="*/ 178017 h 178016"/>
                <a:gd name="connsiteX1" fmla="*/ 0 w 13166"/>
                <a:gd name="connsiteY1" fmla="*/ 171429 h 178016"/>
                <a:gd name="connsiteX2" fmla="*/ 0 w 13166"/>
                <a:gd name="connsiteY2" fmla="*/ 6588 h 178016"/>
                <a:gd name="connsiteX3" fmla="*/ 6583 w 13166"/>
                <a:gd name="connsiteY3" fmla="*/ 0 h 178016"/>
                <a:gd name="connsiteX4" fmla="*/ 13166 w 13166"/>
                <a:gd name="connsiteY4" fmla="*/ 6588 h 178016"/>
                <a:gd name="connsiteX5" fmla="*/ 13166 w 13166"/>
                <a:gd name="connsiteY5" fmla="*/ 171429 h 178016"/>
                <a:gd name="connsiteX6" fmla="*/ 6583 w 13166"/>
                <a:gd name="connsiteY6" fmla="*/ 178017 h 17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66" h="178016">
                  <a:moveTo>
                    <a:pt x="6583" y="178017"/>
                  </a:moveTo>
                  <a:cubicBezTo>
                    <a:pt x="2897" y="178017"/>
                    <a:pt x="0" y="175118"/>
                    <a:pt x="0" y="171429"/>
                  </a:cubicBezTo>
                  <a:lnTo>
                    <a:pt x="0" y="6588"/>
                  </a:lnTo>
                  <a:cubicBezTo>
                    <a:pt x="0" y="2899"/>
                    <a:pt x="2897" y="0"/>
                    <a:pt x="6583" y="0"/>
                  </a:cubicBezTo>
                  <a:cubicBezTo>
                    <a:pt x="10270" y="0"/>
                    <a:pt x="13166" y="2899"/>
                    <a:pt x="13166" y="6588"/>
                  </a:cubicBezTo>
                  <a:lnTo>
                    <a:pt x="13166" y="171429"/>
                  </a:lnTo>
                  <a:cubicBezTo>
                    <a:pt x="13166" y="175118"/>
                    <a:pt x="10270" y="178017"/>
                    <a:pt x="6583" y="178017"/>
                  </a:cubicBezTo>
                  <a:close/>
                </a:path>
              </a:pathLst>
            </a:custGeom>
            <a:solidFill>
              <a:srgbClr val="FFFFFF"/>
            </a:solidFill>
            <a:ln w="13166" cap="flat">
              <a:noFill/>
              <a:prstDash val="solid"/>
              <a:miter/>
            </a:ln>
          </p:spPr>
          <p:txBody>
            <a:bodyPr rtlCol="0" anchor="ctr"/>
            <a:lstStyle/>
            <a:p>
              <a:endParaRPr lang="en-DK"/>
            </a:p>
          </p:txBody>
        </p:sp>
      </p:grpSp>
      <p:grpSp>
        <p:nvGrpSpPr>
          <p:cNvPr id="1028" name="Group 1027">
            <a:extLst>
              <a:ext uri="{FF2B5EF4-FFF2-40B4-BE49-F238E27FC236}">
                <a16:creationId xmlns:a16="http://schemas.microsoft.com/office/drawing/2014/main" id="{CD8D52AF-47A2-E857-9E04-545221FFDEDF}"/>
              </a:ext>
            </a:extLst>
          </p:cNvPr>
          <p:cNvGrpSpPr/>
          <p:nvPr/>
        </p:nvGrpSpPr>
        <p:grpSpPr>
          <a:xfrm>
            <a:off x="6625217" y="2147285"/>
            <a:ext cx="1273985" cy="1668308"/>
            <a:chOff x="4354869" y="2147285"/>
            <a:chExt cx="1273985" cy="1668308"/>
          </a:xfrm>
        </p:grpSpPr>
        <p:grpSp>
          <p:nvGrpSpPr>
            <p:cNvPr id="1029" name="Graphic 6">
              <a:extLst>
                <a:ext uri="{FF2B5EF4-FFF2-40B4-BE49-F238E27FC236}">
                  <a16:creationId xmlns:a16="http://schemas.microsoft.com/office/drawing/2014/main" id="{30C0CABC-BD1F-1345-B0DF-D89415F9126C}"/>
                </a:ext>
              </a:extLst>
            </p:cNvPr>
            <p:cNvGrpSpPr/>
            <p:nvPr/>
          </p:nvGrpSpPr>
          <p:grpSpPr>
            <a:xfrm>
              <a:off x="4354869" y="2147285"/>
              <a:ext cx="1273985" cy="1492653"/>
              <a:chOff x="4348948" y="2130079"/>
              <a:chExt cx="1273985" cy="1492653"/>
            </a:xfrm>
          </p:grpSpPr>
          <p:sp>
            <p:nvSpPr>
              <p:cNvPr id="1031" name="Freeform 1030">
                <a:extLst>
                  <a:ext uri="{FF2B5EF4-FFF2-40B4-BE49-F238E27FC236}">
                    <a16:creationId xmlns:a16="http://schemas.microsoft.com/office/drawing/2014/main" id="{80AA9659-27EE-C604-E833-34ADCBDACAF5}"/>
                  </a:ext>
                </a:extLst>
              </p:cNvPr>
              <p:cNvSpPr/>
              <p:nvPr/>
            </p:nvSpPr>
            <p:spPr>
              <a:xfrm>
                <a:off x="4804243" y="2130079"/>
                <a:ext cx="338772" cy="410717"/>
              </a:xfrm>
              <a:custGeom>
                <a:avLst/>
                <a:gdLst>
                  <a:gd name="connsiteX0" fmla="*/ 0 w 338772"/>
                  <a:gd name="connsiteY0" fmla="*/ 240870 h 410717"/>
                  <a:gd name="connsiteX1" fmla="*/ 169584 w 338772"/>
                  <a:gd name="connsiteY1" fmla="*/ 410717 h 410717"/>
                  <a:gd name="connsiteX2" fmla="*/ 338773 w 338772"/>
                  <a:gd name="connsiteY2" fmla="*/ 241397 h 410717"/>
                  <a:gd name="connsiteX3" fmla="*/ 169189 w 338772"/>
                  <a:gd name="connsiteY3" fmla="*/ 0 h 410717"/>
                  <a:gd name="connsiteX4" fmla="*/ 0 w 338772"/>
                  <a:gd name="connsiteY4" fmla="*/ 240870 h 410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772" h="410717">
                    <a:moveTo>
                      <a:pt x="0" y="240870"/>
                    </a:moveTo>
                    <a:lnTo>
                      <a:pt x="169584" y="410717"/>
                    </a:lnTo>
                    <a:lnTo>
                      <a:pt x="338773" y="241397"/>
                    </a:lnTo>
                    <a:lnTo>
                      <a:pt x="169189" y="0"/>
                    </a:lnTo>
                    <a:lnTo>
                      <a:pt x="0" y="240870"/>
                    </a:lnTo>
                    <a:close/>
                  </a:path>
                </a:pathLst>
              </a:custGeom>
              <a:solidFill>
                <a:srgbClr val="2878FF">
                  <a:alpha val="49872"/>
                </a:srgbClr>
              </a:solidFill>
              <a:ln w="13166" cap="flat">
                <a:noFill/>
                <a:prstDash val="solid"/>
                <a:miter/>
              </a:ln>
            </p:spPr>
            <p:txBody>
              <a:bodyPr rtlCol="0" anchor="ctr"/>
              <a:lstStyle/>
              <a:p>
                <a:endParaRPr lang="en-DK"/>
              </a:p>
            </p:txBody>
          </p:sp>
          <p:sp>
            <p:nvSpPr>
              <p:cNvPr id="1032" name="Freeform 1031">
                <a:extLst>
                  <a:ext uri="{FF2B5EF4-FFF2-40B4-BE49-F238E27FC236}">
                    <a16:creationId xmlns:a16="http://schemas.microsoft.com/office/drawing/2014/main" id="{B57931CA-3FD5-282B-7E82-D5873BBD2333}"/>
                  </a:ext>
                </a:extLst>
              </p:cNvPr>
              <p:cNvSpPr/>
              <p:nvPr/>
            </p:nvSpPr>
            <p:spPr>
              <a:xfrm>
                <a:off x="4362114" y="2360934"/>
                <a:ext cx="1247652" cy="1248622"/>
              </a:xfrm>
              <a:custGeom>
                <a:avLst/>
                <a:gdLst>
                  <a:gd name="connsiteX0" fmla="*/ 1247652 w 1247652"/>
                  <a:gd name="connsiteY0" fmla="*/ 624311 h 1248622"/>
                  <a:gd name="connsiteX1" fmla="*/ 623826 w 1247652"/>
                  <a:gd name="connsiteY1" fmla="*/ 0 h 1248622"/>
                  <a:gd name="connsiteX2" fmla="*/ 0 w 1247652"/>
                  <a:gd name="connsiteY2" fmla="*/ 624311 h 1248622"/>
                  <a:gd name="connsiteX3" fmla="*/ 623826 w 1247652"/>
                  <a:gd name="connsiteY3" fmla="*/ 1248622 h 1248622"/>
                  <a:gd name="connsiteX4" fmla="*/ 1247652 w 1247652"/>
                  <a:gd name="connsiteY4" fmla="*/ 624311 h 1248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7652" h="1248622">
                    <a:moveTo>
                      <a:pt x="1247652" y="624311"/>
                    </a:moveTo>
                    <a:cubicBezTo>
                      <a:pt x="1247652" y="279477"/>
                      <a:pt x="968392" y="0"/>
                      <a:pt x="623826" y="0"/>
                    </a:cubicBezTo>
                    <a:cubicBezTo>
                      <a:pt x="279260" y="0"/>
                      <a:pt x="0" y="279477"/>
                      <a:pt x="0" y="624311"/>
                    </a:cubicBezTo>
                    <a:cubicBezTo>
                      <a:pt x="0" y="969145"/>
                      <a:pt x="279260" y="1248622"/>
                      <a:pt x="623826" y="1248622"/>
                    </a:cubicBezTo>
                    <a:cubicBezTo>
                      <a:pt x="968392" y="1248622"/>
                      <a:pt x="1247652" y="969145"/>
                      <a:pt x="1247652" y="624311"/>
                    </a:cubicBezTo>
                  </a:path>
                </a:pathLst>
              </a:custGeom>
              <a:solidFill>
                <a:srgbClr val="001965"/>
              </a:solidFill>
              <a:ln w="13166" cap="flat">
                <a:noFill/>
                <a:prstDash val="solid"/>
                <a:miter/>
              </a:ln>
            </p:spPr>
            <p:txBody>
              <a:bodyPr rtlCol="0" anchor="ctr"/>
              <a:lstStyle/>
              <a:p>
                <a:endParaRPr lang="en-DK"/>
              </a:p>
            </p:txBody>
          </p:sp>
          <p:sp>
            <p:nvSpPr>
              <p:cNvPr id="1033" name="Freeform 1032">
                <a:extLst>
                  <a:ext uri="{FF2B5EF4-FFF2-40B4-BE49-F238E27FC236}">
                    <a16:creationId xmlns:a16="http://schemas.microsoft.com/office/drawing/2014/main" id="{40C999B1-7117-2633-F019-D8D1C79BE05D}"/>
                  </a:ext>
                </a:extLst>
              </p:cNvPr>
              <p:cNvSpPr/>
              <p:nvPr/>
            </p:nvSpPr>
            <p:spPr>
              <a:xfrm>
                <a:off x="4348948" y="2347757"/>
                <a:ext cx="1273985" cy="1274975"/>
              </a:xfrm>
              <a:custGeom>
                <a:avLst/>
                <a:gdLst>
                  <a:gd name="connsiteX0" fmla="*/ 1260819 w 1273985"/>
                  <a:gd name="connsiteY0" fmla="*/ 637488 h 1274975"/>
                  <a:gd name="connsiteX1" fmla="*/ 1247652 w 1273985"/>
                  <a:gd name="connsiteY1" fmla="*/ 637488 h 1274975"/>
                  <a:gd name="connsiteX2" fmla="*/ 636993 w 1273985"/>
                  <a:gd name="connsiteY2" fmla="*/ 26353 h 1274975"/>
                  <a:gd name="connsiteX3" fmla="*/ 26333 w 1273985"/>
                  <a:gd name="connsiteY3" fmla="*/ 637488 h 1274975"/>
                  <a:gd name="connsiteX4" fmla="*/ 636993 w 1273985"/>
                  <a:gd name="connsiteY4" fmla="*/ 1248622 h 1274975"/>
                  <a:gd name="connsiteX5" fmla="*/ 1247652 w 1273985"/>
                  <a:gd name="connsiteY5" fmla="*/ 637488 h 1274975"/>
                  <a:gd name="connsiteX6" fmla="*/ 1273985 w 1273985"/>
                  <a:gd name="connsiteY6" fmla="*/ 637488 h 1274975"/>
                  <a:gd name="connsiteX7" fmla="*/ 636993 w 1273985"/>
                  <a:gd name="connsiteY7" fmla="*/ 1274976 h 1274975"/>
                  <a:gd name="connsiteX8" fmla="*/ 0 w 1273985"/>
                  <a:gd name="connsiteY8" fmla="*/ 637488 h 1274975"/>
                  <a:gd name="connsiteX9" fmla="*/ 636993 w 1273985"/>
                  <a:gd name="connsiteY9" fmla="*/ 0 h 1274975"/>
                  <a:gd name="connsiteX10" fmla="*/ 1273985 w 1273985"/>
                  <a:gd name="connsiteY10" fmla="*/ 637488 h 1274975"/>
                  <a:gd name="connsiteX11" fmla="*/ 1260819 w 1273985"/>
                  <a:gd name="connsiteY11" fmla="*/ 637488 h 127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3985" h="1274975">
                    <a:moveTo>
                      <a:pt x="1260819" y="637488"/>
                    </a:moveTo>
                    <a:lnTo>
                      <a:pt x="1247652" y="637488"/>
                    </a:lnTo>
                    <a:cubicBezTo>
                      <a:pt x="1246994" y="300033"/>
                      <a:pt x="974317" y="27012"/>
                      <a:pt x="636993" y="26353"/>
                    </a:cubicBezTo>
                    <a:cubicBezTo>
                      <a:pt x="299800" y="27012"/>
                      <a:pt x="26991" y="299901"/>
                      <a:pt x="26333" y="637488"/>
                    </a:cubicBezTo>
                    <a:cubicBezTo>
                      <a:pt x="26991" y="974943"/>
                      <a:pt x="299668" y="1247963"/>
                      <a:pt x="636993" y="1248622"/>
                    </a:cubicBezTo>
                    <a:cubicBezTo>
                      <a:pt x="974185" y="1247963"/>
                      <a:pt x="1246994" y="975074"/>
                      <a:pt x="1247652" y="637488"/>
                    </a:cubicBezTo>
                    <a:lnTo>
                      <a:pt x="1273985" y="637488"/>
                    </a:lnTo>
                    <a:cubicBezTo>
                      <a:pt x="1273985" y="989569"/>
                      <a:pt x="988800" y="1274976"/>
                      <a:pt x="636993" y="1274976"/>
                    </a:cubicBezTo>
                    <a:cubicBezTo>
                      <a:pt x="285185" y="1274976"/>
                      <a:pt x="0" y="989569"/>
                      <a:pt x="0" y="637488"/>
                    </a:cubicBezTo>
                    <a:cubicBezTo>
                      <a:pt x="0" y="285407"/>
                      <a:pt x="285185" y="0"/>
                      <a:pt x="636993" y="0"/>
                    </a:cubicBezTo>
                    <a:cubicBezTo>
                      <a:pt x="988800" y="0"/>
                      <a:pt x="1273985" y="285407"/>
                      <a:pt x="1273985" y="637488"/>
                    </a:cubicBezTo>
                    <a:lnTo>
                      <a:pt x="1260819" y="637488"/>
                    </a:lnTo>
                    <a:close/>
                  </a:path>
                </a:pathLst>
              </a:custGeom>
              <a:gradFill>
                <a:gsLst>
                  <a:gs pos="0">
                    <a:srgbClr val="F3E700"/>
                  </a:gs>
                  <a:gs pos="33000">
                    <a:srgbClr val="8CC3CA"/>
                  </a:gs>
                  <a:gs pos="67000">
                    <a:srgbClr val="2878FF"/>
                  </a:gs>
                  <a:gs pos="100000">
                    <a:srgbClr val="E229E2"/>
                  </a:gs>
                </a:gsLst>
                <a:lin ang="16200000" scaled="1"/>
              </a:gradFill>
              <a:ln w="13166" cap="flat">
                <a:noFill/>
                <a:prstDash val="solid"/>
                <a:miter/>
              </a:ln>
            </p:spPr>
            <p:txBody>
              <a:bodyPr rtlCol="0" anchor="ctr"/>
              <a:lstStyle/>
              <a:p>
                <a:endParaRPr lang="en-DK"/>
              </a:p>
            </p:txBody>
          </p:sp>
        </p:grpSp>
        <p:sp>
          <p:nvSpPr>
            <p:cNvPr id="1030" name="Freeform 1029">
              <a:extLst>
                <a:ext uri="{FF2B5EF4-FFF2-40B4-BE49-F238E27FC236}">
                  <a16:creationId xmlns:a16="http://schemas.microsoft.com/office/drawing/2014/main" id="{DBE6BD96-413D-0E21-C14A-0035F20531AA}"/>
                </a:ext>
              </a:extLst>
            </p:cNvPr>
            <p:cNvSpPr/>
            <p:nvPr/>
          </p:nvSpPr>
          <p:spPr>
            <a:xfrm>
              <a:off x="4982134" y="3637577"/>
              <a:ext cx="13166" cy="178016"/>
            </a:xfrm>
            <a:custGeom>
              <a:avLst/>
              <a:gdLst>
                <a:gd name="connsiteX0" fmla="*/ 6583 w 13166"/>
                <a:gd name="connsiteY0" fmla="*/ 178017 h 178016"/>
                <a:gd name="connsiteX1" fmla="*/ 0 w 13166"/>
                <a:gd name="connsiteY1" fmla="*/ 171429 h 178016"/>
                <a:gd name="connsiteX2" fmla="*/ 0 w 13166"/>
                <a:gd name="connsiteY2" fmla="*/ 6588 h 178016"/>
                <a:gd name="connsiteX3" fmla="*/ 6583 w 13166"/>
                <a:gd name="connsiteY3" fmla="*/ 0 h 178016"/>
                <a:gd name="connsiteX4" fmla="*/ 13166 w 13166"/>
                <a:gd name="connsiteY4" fmla="*/ 6588 h 178016"/>
                <a:gd name="connsiteX5" fmla="*/ 13166 w 13166"/>
                <a:gd name="connsiteY5" fmla="*/ 171429 h 178016"/>
                <a:gd name="connsiteX6" fmla="*/ 6583 w 13166"/>
                <a:gd name="connsiteY6" fmla="*/ 178017 h 17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66" h="178016">
                  <a:moveTo>
                    <a:pt x="6583" y="178017"/>
                  </a:moveTo>
                  <a:cubicBezTo>
                    <a:pt x="2897" y="178017"/>
                    <a:pt x="0" y="175118"/>
                    <a:pt x="0" y="171429"/>
                  </a:cubicBezTo>
                  <a:lnTo>
                    <a:pt x="0" y="6588"/>
                  </a:lnTo>
                  <a:cubicBezTo>
                    <a:pt x="0" y="2899"/>
                    <a:pt x="2897" y="0"/>
                    <a:pt x="6583" y="0"/>
                  </a:cubicBezTo>
                  <a:cubicBezTo>
                    <a:pt x="10270" y="0"/>
                    <a:pt x="13166" y="2899"/>
                    <a:pt x="13166" y="6588"/>
                  </a:cubicBezTo>
                  <a:lnTo>
                    <a:pt x="13166" y="171429"/>
                  </a:lnTo>
                  <a:cubicBezTo>
                    <a:pt x="13166" y="175118"/>
                    <a:pt x="10270" y="178017"/>
                    <a:pt x="6583" y="178017"/>
                  </a:cubicBezTo>
                  <a:close/>
                </a:path>
              </a:pathLst>
            </a:custGeom>
            <a:solidFill>
              <a:srgbClr val="FFFFFF"/>
            </a:solidFill>
            <a:ln w="13166" cap="flat">
              <a:noFill/>
              <a:prstDash val="solid"/>
              <a:miter/>
            </a:ln>
          </p:spPr>
          <p:txBody>
            <a:bodyPr rtlCol="0" anchor="ctr"/>
            <a:lstStyle/>
            <a:p>
              <a:endParaRPr lang="en-DK"/>
            </a:p>
          </p:txBody>
        </p:sp>
      </p:grpSp>
      <p:grpSp>
        <p:nvGrpSpPr>
          <p:cNvPr id="1027" name="Group 1026">
            <a:extLst>
              <a:ext uri="{FF2B5EF4-FFF2-40B4-BE49-F238E27FC236}">
                <a16:creationId xmlns:a16="http://schemas.microsoft.com/office/drawing/2014/main" id="{84AA676E-9F67-B98E-7DD1-3D8E78FD18E3}"/>
              </a:ext>
            </a:extLst>
          </p:cNvPr>
          <p:cNvGrpSpPr/>
          <p:nvPr/>
        </p:nvGrpSpPr>
        <p:grpSpPr>
          <a:xfrm>
            <a:off x="3719432" y="2147285"/>
            <a:ext cx="1273985" cy="1668308"/>
            <a:chOff x="4354869" y="2147285"/>
            <a:chExt cx="1273985" cy="1668308"/>
          </a:xfrm>
        </p:grpSpPr>
        <p:grpSp>
          <p:nvGrpSpPr>
            <p:cNvPr id="1022" name="Graphic 6">
              <a:extLst>
                <a:ext uri="{FF2B5EF4-FFF2-40B4-BE49-F238E27FC236}">
                  <a16:creationId xmlns:a16="http://schemas.microsoft.com/office/drawing/2014/main" id="{71ADE770-6A9C-0776-E2DF-4D079C8CDDF3}"/>
                </a:ext>
              </a:extLst>
            </p:cNvPr>
            <p:cNvGrpSpPr/>
            <p:nvPr/>
          </p:nvGrpSpPr>
          <p:grpSpPr>
            <a:xfrm>
              <a:off x="4354869" y="2147285"/>
              <a:ext cx="1273985" cy="1492653"/>
              <a:chOff x="4348948" y="2130079"/>
              <a:chExt cx="1273985" cy="1492653"/>
            </a:xfrm>
          </p:grpSpPr>
          <p:sp>
            <p:nvSpPr>
              <p:cNvPr id="1023" name="Freeform 1022">
                <a:extLst>
                  <a:ext uri="{FF2B5EF4-FFF2-40B4-BE49-F238E27FC236}">
                    <a16:creationId xmlns:a16="http://schemas.microsoft.com/office/drawing/2014/main" id="{06AF824D-6583-4E47-B573-BA8D8CE5C429}"/>
                  </a:ext>
                </a:extLst>
              </p:cNvPr>
              <p:cNvSpPr/>
              <p:nvPr/>
            </p:nvSpPr>
            <p:spPr>
              <a:xfrm>
                <a:off x="4804243" y="2130079"/>
                <a:ext cx="338772" cy="410717"/>
              </a:xfrm>
              <a:custGeom>
                <a:avLst/>
                <a:gdLst>
                  <a:gd name="connsiteX0" fmla="*/ 0 w 338772"/>
                  <a:gd name="connsiteY0" fmla="*/ 240870 h 410717"/>
                  <a:gd name="connsiteX1" fmla="*/ 169584 w 338772"/>
                  <a:gd name="connsiteY1" fmla="*/ 410717 h 410717"/>
                  <a:gd name="connsiteX2" fmla="*/ 338773 w 338772"/>
                  <a:gd name="connsiteY2" fmla="*/ 241397 h 410717"/>
                  <a:gd name="connsiteX3" fmla="*/ 169189 w 338772"/>
                  <a:gd name="connsiteY3" fmla="*/ 0 h 410717"/>
                  <a:gd name="connsiteX4" fmla="*/ 0 w 338772"/>
                  <a:gd name="connsiteY4" fmla="*/ 240870 h 410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772" h="410717">
                    <a:moveTo>
                      <a:pt x="0" y="240870"/>
                    </a:moveTo>
                    <a:lnTo>
                      <a:pt x="169584" y="410717"/>
                    </a:lnTo>
                    <a:lnTo>
                      <a:pt x="338773" y="241397"/>
                    </a:lnTo>
                    <a:lnTo>
                      <a:pt x="169189" y="0"/>
                    </a:lnTo>
                    <a:lnTo>
                      <a:pt x="0" y="240870"/>
                    </a:lnTo>
                    <a:close/>
                  </a:path>
                </a:pathLst>
              </a:custGeom>
              <a:solidFill>
                <a:srgbClr val="2878FF">
                  <a:alpha val="49872"/>
                </a:srgbClr>
              </a:solidFill>
              <a:ln w="13166" cap="flat">
                <a:noFill/>
                <a:prstDash val="solid"/>
                <a:miter/>
              </a:ln>
            </p:spPr>
            <p:txBody>
              <a:bodyPr rtlCol="0" anchor="ctr"/>
              <a:lstStyle/>
              <a:p>
                <a:endParaRPr lang="en-DK"/>
              </a:p>
            </p:txBody>
          </p:sp>
          <p:sp>
            <p:nvSpPr>
              <p:cNvPr id="1024" name="Freeform 1023">
                <a:extLst>
                  <a:ext uri="{FF2B5EF4-FFF2-40B4-BE49-F238E27FC236}">
                    <a16:creationId xmlns:a16="http://schemas.microsoft.com/office/drawing/2014/main" id="{58D0FADF-37BA-391E-0CF1-1BCDEAC1F166}"/>
                  </a:ext>
                </a:extLst>
              </p:cNvPr>
              <p:cNvSpPr/>
              <p:nvPr/>
            </p:nvSpPr>
            <p:spPr>
              <a:xfrm>
                <a:off x="4362114" y="2360934"/>
                <a:ext cx="1247652" cy="1248622"/>
              </a:xfrm>
              <a:custGeom>
                <a:avLst/>
                <a:gdLst>
                  <a:gd name="connsiteX0" fmla="*/ 1247652 w 1247652"/>
                  <a:gd name="connsiteY0" fmla="*/ 624311 h 1248622"/>
                  <a:gd name="connsiteX1" fmla="*/ 623826 w 1247652"/>
                  <a:gd name="connsiteY1" fmla="*/ 0 h 1248622"/>
                  <a:gd name="connsiteX2" fmla="*/ 0 w 1247652"/>
                  <a:gd name="connsiteY2" fmla="*/ 624311 h 1248622"/>
                  <a:gd name="connsiteX3" fmla="*/ 623826 w 1247652"/>
                  <a:gd name="connsiteY3" fmla="*/ 1248622 h 1248622"/>
                  <a:gd name="connsiteX4" fmla="*/ 1247652 w 1247652"/>
                  <a:gd name="connsiteY4" fmla="*/ 624311 h 1248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7652" h="1248622">
                    <a:moveTo>
                      <a:pt x="1247652" y="624311"/>
                    </a:moveTo>
                    <a:cubicBezTo>
                      <a:pt x="1247652" y="279477"/>
                      <a:pt x="968392" y="0"/>
                      <a:pt x="623826" y="0"/>
                    </a:cubicBezTo>
                    <a:cubicBezTo>
                      <a:pt x="279260" y="0"/>
                      <a:pt x="0" y="279477"/>
                      <a:pt x="0" y="624311"/>
                    </a:cubicBezTo>
                    <a:cubicBezTo>
                      <a:pt x="0" y="969145"/>
                      <a:pt x="279260" y="1248622"/>
                      <a:pt x="623826" y="1248622"/>
                    </a:cubicBezTo>
                    <a:cubicBezTo>
                      <a:pt x="968392" y="1248622"/>
                      <a:pt x="1247652" y="969145"/>
                      <a:pt x="1247652" y="624311"/>
                    </a:cubicBezTo>
                  </a:path>
                </a:pathLst>
              </a:custGeom>
              <a:solidFill>
                <a:srgbClr val="001965"/>
              </a:solidFill>
              <a:ln w="13166" cap="flat">
                <a:noFill/>
                <a:prstDash val="solid"/>
                <a:miter/>
              </a:ln>
            </p:spPr>
            <p:txBody>
              <a:bodyPr rtlCol="0" anchor="ctr"/>
              <a:lstStyle/>
              <a:p>
                <a:endParaRPr lang="en-DK"/>
              </a:p>
            </p:txBody>
          </p:sp>
          <p:sp>
            <p:nvSpPr>
              <p:cNvPr id="1025" name="Freeform 1024">
                <a:extLst>
                  <a:ext uri="{FF2B5EF4-FFF2-40B4-BE49-F238E27FC236}">
                    <a16:creationId xmlns:a16="http://schemas.microsoft.com/office/drawing/2014/main" id="{9D99F887-57F5-6FDE-191D-9A5ED5C58913}"/>
                  </a:ext>
                </a:extLst>
              </p:cNvPr>
              <p:cNvSpPr/>
              <p:nvPr/>
            </p:nvSpPr>
            <p:spPr>
              <a:xfrm>
                <a:off x="4348948" y="2347757"/>
                <a:ext cx="1273985" cy="1274975"/>
              </a:xfrm>
              <a:custGeom>
                <a:avLst/>
                <a:gdLst>
                  <a:gd name="connsiteX0" fmla="*/ 1260819 w 1273985"/>
                  <a:gd name="connsiteY0" fmla="*/ 637488 h 1274975"/>
                  <a:gd name="connsiteX1" fmla="*/ 1247652 w 1273985"/>
                  <a:gd name="connsiteY1" fmla="*/ 637488 h 1274975"/>
                  <a:gd name="connsiteX2" fmla="*/ 636993 w 1273985"/>
                  <a:gd name="connsiteY2" fmla="*/ 26353 h 1274975"/>
                  <a:gd name="connsiteX3" fmla="*/ 26333 w 1273985"/>
                  <a:gd name="connsiteY3" fmla="*/ 637488 h 1274975"/>
                  <a:gd name="connsiteX4" fmla="*/ 636993 w 1273985"/>
                  <a:gd name="connsiteY4" fmla="*/ 1248622 h 1274975"/>
                  <a:gd name="connsiteX5" fmla="*/ 1247652 w 1273985"/>
                  <a:gd name="connsiteY5" fmla="*/ 637488 h 1274975"/>
                  <a:gd name="connsiteX6" fmla="*/ 1273985 w 1273985"/>
                  <a:gd name="connsiteY6" fmla="*/ 637488 h 1274975"/>
                  <a:gd name="connsiteX7" fmla="*/ 636993 w 1273985"/>
                  <a:gd name="connsiteY7" fmla="*/ 1274976 h 1274975"/>
                  <a:gd name="connsiteX8" fmla="*/ 0 w 1273985"/>
                  <a:gd name="connsiteY8" fmla="*/ 637488 h 1274975"/>
                  <a:gd name="connsiteX9" fmla="*/ 636993 w 1273985"/>
                  <a:gd name="connsiteY9" fmla="*/ 0 h 1274975"/>
                  <a:gd name="connsiteX10" fmla="*/ 1273985 w 1273985"/>
                  <a:gd name="connsiteY10" fmla="*/ 637488 h 1274975"/>
                  <a:gd name="connsiteX11" fmla="*/ 1260819 w 1273985"/>
                  <a:gd name="connsiteY11" fmla="*/ 637488 h 127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3985" h="1274975">
                    <a:moveTo>
                      <a:pt x="1260819" y="637488"/>
                    </a:moveTo>
                    <a:lnTo>
                      <a:pt x="1247652" y="637488"/>
                    </a:lnTo>
                    <a:cubicBezTo>
                      <a:pt x="1246994" y="300033"/>
                      <a:pt x="974317" y="27012"/>
                      <a:pt x="636993" y="26353"/>
                    </a:cubicBezTo>
                    <a:cubicBezTo>
                      <a:pt x="299800" y="27012"/>
                      <a:pt x="26991" y="299901"/>
                      <a:pt x="26333" y="637488"/>
                    </a:cubicBezTo>
                    <a:cubicBezTo>
                      <a:pt x="26991" y="974943"/>
                      <a:pt x="299668" y="1247963"/>
                      <a:pt x="636993" y="1248622"/>
                    </a:cubicBezTo>
                    <a:cubicBezTo>
                      <a:pt x="974185" y="1247963"/>
                      <a:pt x="1246994" y="975074"/>
                      <a:pt x="1247652" y="637488"/>
                    </a:cubicBezTo>
                    <a:lnTo>
                      <a:pt x="1273985" y="637488"/>
                    </a:lnTo>
                    <a:cubicBezTo>
                      <a:pt x="1273985" y="989569"/>
                      <a:pt x="988800" y="1274976"/>
                      <a:pt x="636993" y="1274976"/>
                    </a:cubicBezTo>
                    <a:cubicBezTo>
                      <a:pt x="285185" y="1274976"/>
                      <a:pt x="0" y="989569"/>
                      <a:pt x="0" y="637488"/>
                    </a:cubicBezTo>
                    <a:cubicBezTo>
                      <a:pt x="0" y="285407"/>
                      <a:pt x="285185" y="0"/>
                      <a:pt x="636993" y="0"/>
                    </a:cubicBezTo>
                    <a:cubicBezTo>
                      <a:pt x="988800" y="0"/>
                      <a:pt x="1273985" y="285407"/>
                      <a:pt x="1273985" y="637488"/>
                    </a:cubicBezTo>
                    <a:lnTo>
                      <a:pt x="1260819" y="637488"/>
                    </a:lnTo>
                    <a:close/>
                  </a:path>
                </a:pathLst>
              </a:custGeom>
              <a:gradFill>
                <a:gsLst>
                  <a:gs pos="0">
                    <a:srgbClr val="F3E700"/>
                  </a:gs>
                  <a:gs pos="33000">
                    <a:srgbClr val="8CC3CA"/>
                  </a:gs>
                  <a:gs pos="67000">
                    <a:srgbClr val="2878FF"/>
                  </a:gs>
                  <a:gs pos="100000">
                    <a:srgbClr val="E229E2"/>
                  </a:gs>
                </a:gsLst>
                <a:lin ang="16200000" scaled="1"/>
              </a:gradFill>
              <a:ln w="13166" cap="flat">
                <a:noFill/>
                <a:prstDash val="solid"/>
                <a:miter/>
              </a:ln>
            </p:spPr>
            <p:txBody>
              <a:bodyPr rtlCol="0" anchor="ctr"/>
              <a:lstStyle/>
              <a:p>
                <a:endParaRPr lang="en-DK"/>
              </a:p>
            </p:txBody>
          </p:sp>
        </p:grpSp>
        <p:sp>
          <p:nvSpPr>
            <p:cNvPr id="1026" name="Freeform 1025">
              <a:extLst>
                <a:ext uri="{FF2B5EF4-FFF2-40B4-BE49-F238E27FC236}">
                  <a16:creationId xmlns:a16="http://schemas.microsoft.com/office/drawing/2014/main" id="{193E557F-4151-0366-DA18-E40B7FB6AA31}"/>
                </a:ext>
              </a:extLst>
            </p:cNvPr>
            <p:cNvSpPr/>
            <p:nvPr/>
          </p:nvSpPr>
          <p:spPr>
            <a:xfrm>
              <a:off x="4982134" y="3637577"/>
              <a:ext cx="13166" cy="178016"/>
            </a:xfrm>
            <a:custGeom>
              <a:avLst/>
              <a:gdLst>
                <a:gd name="connsiteX0" fmla="*/ 6583 w 13166"/>
                <a:gd name="connsiteY0" fmla="*/ 178017 h 178016"/>
                <a:gd name="connsiteX1" fmla="*/ 0 w 13166"/>
                <a:gd name="connsiteY1" fmla="*/ 171429 h 178016"/>
                <a:gd name="connsiteX2" fmla="*/ 0 w 13166"/>
                <a:gd name="connsiteY2" fmla="*/ 6588 h 178016"/>
                <a:gd name="connsiteX3" fmla="*/ 6583 w 13166"/>
                <a:gd name="connsiteY3" fmla="*/ 0 h 178016"/>
                <a:gd name="connsiteX4" fmla="*/ 13166 w 13166"/>
                <a:gd name="connsiteY4" fmla="*/ 6588 h 178016"/>
                <a:gd name="connsiteX5" fmla="*/ 13166 w 13166"/>
                <a:gd name="connsiteY5" fmla="*/ 171429 h 178016"/>
                <a:gd name="connsiteX6" fmla="*/ 6583 w 13166"/>
                <a:gd name="connsiteY6" fmla="*/ 178017 h 17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66" h="178016">
                  <a:moveTo>
                    <a:pt x="6583" y="178017"/>
                  </a:moveTo>
                  <a:cubicBezTo>
                    <a:pt x="2897" y="178017"/>
                    <a:pt x="0" y="175118"/>
                    <a:pt x="0" y="171429"/>
                  </a:cubicBezTo>
                  <a:lnTo>
                    <a:pt x="0" y="6588"/>
                  </a:lnTo>
                  <a:cubicBezTo>
                    <a:pt x="0" y="2899"/>
                    <a:pt x="2897" y="0"/>
                    <a:pt x="6583" y="0"/>
                  </a:cubicBezTo>
                  <a:cubicBezTo>
                    <a:pt x="10270" y="0"/>
                    <a:pt x="13166" y="2899"/>
                    <a:pt x="13166" y="6588"/>
                  </a:cubicBezTo>
                  <a:lnTo>
                    <a:pt x="13166" y="171429"/>
                  </a:lnTo>
                  <a:cubicBezTo>
                    <a:pt x="13166" y="175118"/>
                    <a:pt x="10270" y="178017"/>
                    <a:pt x="6583" y="178017"/>
                  </a:cubicBezTo>
                  <a:close/>
                </a:path>
              </a:pathLst>
            </a:custGeom>
            <a:solidFill>
              <a:srgbClr val="FFFFFF"/>
            </a:solidFill>
            <a:ln w="13166" cap="flat">
              <a:noFill/>
              <a:prstDash val="solid"/>
              <a:miter/>
            </a:ln>
          </p:spPr>
          <p:txBody>
            <a:bodyPr rtlCol="0" anchor="ctr"/>
            <a:lstStyle/>
            <a:p>
              <a:endParaRPr lang="en-DK"/>
            </a:p>
          </p:txBody>
        </p:sp>
      </p:grpSp>
      <p:grpSp>
        <p:nvGrpSpPr>
          <p:cNvPr id="929" name="Graphic 6">
            <a:extLst>
              <a:ext uri="{FF2B5EF4-FFF2-40B4-BE49-F238E27FC236}">
                <a16:creationId xmlns:a16="http://schemas.microsoft.com/office/drawing/2014/main" id="{9267B5A6-257E-67BA-6098-0EB35198613B}"/>
              </a:ext>
            </a:extLst>
          </p:cNvPr>
          <p:cNvGrpSpPr/>
          <p:nvPr/>
        </p:nvGrpSpPr>
        <p:grpSpPr>
          <a:xfrm>
            <a:off x="813647" y="2147285"/>
            <a:ext cx="1273985" cy="1492653"/>
            <a:chOff x="4348948" y="2130079"/>
            <a:chExt cx="1273985" cy="1492653"/>
          </a:xfrm>
        </p:grpSpPr>
        <p:sp>
          <p:nvSpPr>
            <p:cNvPr id="930" name="Freeform 929">
              <a:extLst>
                <a:ext uri="{FF2B5EF4-FFF2-40B4-BE49-F238E27FC236}">
                  <a16:creationId xmlns:a16="http://schemas.microsoft.com/office/drawing/2014/main" id="{F4EC0F3B-593D-6CD6-1110-52F0BE6A0C22}"/>
                </a:ext>
              </a:extLst>
            </p:cNvPr>
            <p:cNvSpPr/>
            <p:nvPr/>
          </p:nvSpPr>
          <p:spPr>
            <a:xfrm>
              <a:off x="4804243" y="2130079"/>
              <a:ext cx="338772" cy="410717"/>
            </a:xfrm>
            <a:custGeom>
              <a:avLst/>
              <a:gdLst>
                <a:gd name="connsiteX0" fmla="*/ 0 w 338772"/>
                <a:gd name="connsiteY0" fmla="*/ 240870 h 410717"/>
                <a:gd name="connsiteX1" fmla="*/ 169584 w 338772"/>
                <a:gd name="connsiteY1" fmla="*/ 410717 h 410717"/>
                <a:gd name="connsiteX2" fmla="*/ 338773 w 338772"/>
                <a:gd name="connsiteY2" fmla="*/ 241397 h 410717"/>
                <a:gd name="connsiteX3" fmla="*/ 169189 w 338772"/>
                <a:gd name="connsiteY3" fmla="*/ 0 h 410717"/>
                <a:gd name="connsiteX4" fmla="*/ 0 w 338772"/>
                <a:gd name="connsiteY4" fmla="*/ 240870 h 410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772" h="410717">
                  <a:moveTo>
                    <a:pt x="0" y="240870"/>
                  </a:moveTo>
                  <a:lnTo>
                    <a:pt x="169584" y="410717"/>
                  </a:lnTo>
                  <a:lnTo>
                    <a:pt x="338773" y="241397"/>
                  </a:lnTo>
                  <a:lnTo>
                    <a:pt x="169189" y="0"/>
                  </a:lnTo>
                  <a:lnTo>
                    <a:pt x="0" y="240870"/>
                  </a:lnTo>
                  <a:close/>
                </a:path>
              </a:pathLst>
            </a:custGeom>
            <a:solidFill>
              <a:srgbClr val="2878FF">
                <a:alpha val="49872"/>
              </a:srgbClr>
            </a:solidFill>
            <a:ln w="13166" cap="flat">
              <a:noFill/>
              <a:prstDash val="solid"/>
              <a:miter/>
            </a:ln>
          </p:spPr>
          <p:txBody>
            <a:bodyPr rtlCol="0" anchor="ctr"/>
            <a:lstStyle/>
            <a:p>
              <a:endParaRPr lang="en-DK"/>
            </a:p>
          </p:txBody>
        </p:sp>
        <p:sp>
          <p:nvSpPr>
            <p:cNvPr id="931" name="Freeform 930">
              <a:extLst>
                <a:ext uri="{FF2B5EF4-FFF2-40B4-BE49-F238E27FC236}">
                  <a16:creationId xmlns:a16="http://schemas.microsoft.com/office/drawing/2014/main" id="{825F877D-DE6D-68F7-303B-661C35336BFD}"/>
                </a:ext>
              </a:extLst>
            </p:cNvPr>
            <p:cNvSpPr/>
            <p:nvPr/>
          </p:nvSpPr>
          <p:spPr>
            <a:xfrm>
              <a:off x="4362114" y="2360934"/>
              <a:ext cx="1247652" cy="1248622"/>
            </a:xfrm>
            <a:custGeom>
              <a:avLst/>
              <a:gdLst>
                <a:gd name="connsiteX0" fmla="*/ 1247652 w 1247652"/>
                <a:gd name="connsiteY0" fmla="*/ 624311 h 1248622"/>
                <a:gd name="connsiteX1" fmla="*/ 623826 w 1247652"/>
                <a:gd name="connsiteY1" fmla="*/ 0 h 1248622"/>
                <a:gd name="connsiteX2" fmla="*/ 0 w 1247652"/>
                <a:gd name="connsiteY2" fmla="*/ 624311 h 1248622"/>
                <a:gd name="connsiteX3" fmla="*/ 623826 w 1247652"/>
                <a:gd name="connsiteY3" fmla="*/ 1248622 h 1248622"/>
                <a:gd name="connsiteX4" fmla="*/ 1247652 w 1247652"/>
                <a:gd name="connsiteY4" fmla="*/ 624311 h 1248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7652" h="1248622">
                  <a:moveTo>
                    <a:pt x="1247652" y="624311"/>
                  </a:moveTo>
                  <a:cubicBezTo>
                    <a:pt x="1247652" y="279477"/>
                    <a:pt x="968392" y="0"/>
                    <a:pt x="623826" y="0"/>
                  </a:cubicBezTo>
                  <a:cubicBezTo>
                    <a:pt x="279260" y="0"/>
                    <a:pt x="0" y="279477"/>
                    <a:pt x="0" y="624311"/>
                  </a:cubicBezTo>
                  <a:cubicBezTo>
                    <a:pt x="0" y="969145"/>
                    <a:pt x="279260" y="1248622"/>
                    <a:pt x="623826" y="1248622"/>
                  </a:cubicBezTo>
                  <a:cubicBezTo>
                    <a:pt x="968392" y="1248622"/>
                    <a:pt x="1247652" y="969145"/>
                    <a:pt x="1247652" y="624311"/>
                  </a:cubicBezTo>
                </a:path>
              </a:pathLst>
            </a:custGeom>
            <a:solidFill>
              <a:srgbClr val="001965"/>
            </a:solidFill>
            <a:ln w="13166" cap="flat">
              <a:noFill/>
              <a:prstDash val="solid"/>
              <a:miter/>
            </a:ln>
          </p:spPr>
          <p:txBody>
            <a:bodyPr rtlCol="0" anchor="ctr"/>
            <a:lstStyle/>
            <a:p>
              <a:endParaRPr lang="en-DK"/>
            </a:p>
          </p:txBody>
        </p:sp>
        <p:sp>
          <p:nvSpPr>
            <p:cNvPr id="932" name="Freeform 931">
              <a:extLst>
                <a:ext uri="{FF2B5EF4-FFF2-40B4-BE49-F238E27FC236}">
                  <a16:creationId xmlns:a16="http://schemas.microsoft.com/office/drawing/2014/main" id="{75E9D77B-A3AA-CB22-ABFE-31F1CBABBC52}"/>
                </a:ext>
              </a:extLst>
            </p:cNvPr>
            <p:cNvSpPr/>
            <p:nvPr/>
          </p:nvSpPr>
          <p:spPr>
            <a:xfrm>
              <a:off x="4348948" y="2347757"/>
              <a:ext cx="1273985" cy="1274975"/>
            </a:xfrm>
            <a:custGeom>
              <a:avLst/>
              <a:gdLst>
                <a:gd name="connsiteX0" fmla="*/ 1260819 w 1273985"/>
                <a:gd name="connsiteY0" fmla="*/ 637488 h 1274975"/>
                <a:gd name="connsiteX1" fmla="*/ 1247652 w 1273985"/>
                <a:gd name="connsiteY1" fmla="*/ 637488 h 1274975"/>
                <a:gd name="connsiteX2" fmla="*/ 636993 w 1273985"/>
                <a:gd name="connsiteY2" fmla="*/ 26353 h 1274975"/>
                <a:gd name="connsiteX3" fmla="*/ 26333 w 1273985"/>
                <a:gd name="connsiteY3" fmla="*/ 637488 h 1274975"/>
                <a:gd name="connsiteX4" fmla="*/ 636993 w 1273985"/>
                <a:gd name="connsiteY4" fmla="*/ 1248622 h 1274975"/>
                <a:gd name="connsiteX5" fmla="*/ 1247652 w 1273985"/>
                <a:gd name="connsiteY5" fmla="*/ 637488 h 1274975"/>
                <a:gd name="connsiteX6" fmla="*/ 1273985 w 1273985"/>
                <a:gd name="connsiteY6" fmla="*/ 637488 h 1274975"/>
                <a:gd name="connsiteX7" fmla="*/ 636993 w 1273985"/>
                <a:gd name="connsiteY7" fmla="*/ 1274976 h 1274975"/>
                <a:gd name="connsiteX8" fmla="*/ 0 w 1273985"/>
                <a:gd name="connsiteY8" fmla="*/ 637488 h 1274975"/>
                <a:gd name="connsiteX9" fmla="*/ 636993 w 1273985"/>
                <a:gd name="connsiteY9" fmla="*/ 0 h 1274975"/>
                <a:gd name="connsiteX10" fmla="*/ 1273985 w 1273985"/>
                <a:gd name="connsiteY10" fmla="*/ 637488 h 1274975"/>
                <a:gd name="connsiteX11" fmla="*/ 1260819 w 1273985"/>
                <a:gd name="connsiteY11" fmla="*/ 637488 h 127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3985" h="1274975">
                  <a:moveTo>
                    <a:pt x="1260819" y="637488"/>
                  </a:moveTo>
                  <a:lnTo>
                    <a:pt x="1247652" y="637488"/>
                  </a:lnTo>
                  <a:cubicBezTo>
                    <a:pt x="1246994" y="300033"/>
                    <a:pt x="974317" y="27012"/>
                    <a:pt x="636993" y="26353"/>
                  </a:cubicBezTo>
                  <a:cubicBezTo>
                    <a:pt x="299800" y="27012"/>
                    <a:pt x="26991" y="299901"/>
                    <a:pt x="26333" y="637488"/>
                  </a:cubicBezTo>
                  <a:cubicBezTo>
                    <a:pt x="26991" y="974943"/>
                    <a:pt x="299668" y="1247963"/>
                    <a:pt x="636993" y="1248622"/>
                  </a:cubicBezTo>
                  <a:cubicBezTo>
                    <a:pt x="974185" y="1247963"/>
                    <a:pt x="1246994" y="975074"/>
                    <a:pt x="1247652" y="637488"/>
                  </a:cubicBezTo>
                  <a:lnTo>
                    <a:pt x="1273985" y="637488"/>
                  </a:lnTo>
                  <a:cubicBezTo>
                    <a:pt x="1273985" y="989569"/>
                    <a:pt x="988800" y="1274976"/>
                    <a:pt x="636993" y="1274976"/>
                  </a:cubicBezTo>
                  <a:cubicBezTo>
                    <a:pt x="285185" y="1274976"/>
                    <a:pt x="0" y="989569"/>
                    <a:pt x="0" y="637488"/>
                  </a:cubicBezTo>
                  <a:cubicBezTo>
                    <a:pt x="0" y="285407"/>
                    <a:pt x="285185" y="0"/>
                    <a:pt x="636993" y="0"/>
                  </a:cubicBezTo>
                  <a:cubicBezTo>
                    <a:pt x="988800" y="0"/>
                    <a:pt x="1273985" y="285407"/>
                    <a:pt x="1273985" y="637488"/>
                  </a:cubicBezTo>
                  <a:lnTo>
                    <a:pt x="1260819" y="637488"/>
                  </a:lnTo>
                  <a:close/>
                </a:path>
              </a:pathLst>
            </a:custGeom>
            <a:gradFill>
              <a:gsLst>
                <a:gs pos="0">
                  <a:srgbClr val="F3E700"/>
                </a:gs>
                <a:gs pos="33000">
                  <a:srgbClr val="8CC3CA"/>
                </a:gs>
                <a:gs pos="67000">
                  <a:srgbClr val="2878FF"/>
                </a:gs>
                <a:gs pos="100000">
                  <a:srgbClr val="E229E2"/>
                </a:gs>
              </a:gsLst>
              <a:lin ang="16200000" scaled="1"/>
            </a:gradFill>
            <a:ln w="13166" cap="flat">
              <a:noFill/>
              <a:prstDash val="solid"/>
              <a:miter/>
            </a:ln>
          </p:spPr>
          <p:txBody>
            <a:bodyPr rtlCol="0" anchor="ctr"/>
            <a:lstStyle/>
            <a:p>
              <a:endParaRPr lang="en-DK"/>
            </a:p>
          </p:txBody>
        </p:sp>
      </p:grpSp>
      <p:graphicFrame>
        <p:nvGraphicFramePr>
          <p:cNvPr id="2" name="think-cell data - do not delete" hidden="1">
            <a:extLst>
              <a:ext uri="{FF2B5EF4-FFF2-40B4-BE49-F238E27FC236}">
                <a16:creationId xmlns:a16="http://schemas.microsoft.com/office/drawing/2014/main" id="{32DDAAD1-BD18-C497-F5ED-2C257A7A505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32DDAAD1-BD18-C497-F5ED-2C257A7A50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4" name="Title 23">
            <a:extLst>
              <a:ext uri="{FF2B5EF4-FFF2-40B4-BE49-F238E27FC236}">
                <a16:creationId xmlns:a16="http://schemas.microsoft.com/office/drawing/2014/main" id="{7428EC0D-4B29-185A-F7F3-5D17515B4A51}"/>
              </a:ext>
            </a:extLst>
          </p:cNvPr>
          <p:cNvSpPr>
            <a:spLocks noGrp="1"/>
          </p:cNvSpPr>
          <p:nvPr>
            <p:ph type="title"/>
          </p:nvPr>
        </p:nvSpPr>
        <p:spPr>
          <a:xfrm>
            <a:off x="565459" y="552715"/>
            <a:ext cx="10017711" cy="337465"/>
          </a:xfrm>
        </p:spPr>
        <p:txBody>
          <a:bodyPr vert="horz"/>
          <a:lstStyle/>
          <a:p>
            <a:pPr>
              <a:lnSpc>
                <a:spcPts val="2550"/>
              </a:lnSpc>
            </a:pPr>
            <a:r>
              <a:rPr lang="en-DK" sz="2600"/>
              <a:t>Recent events</a:t>
            </a:r>
            <a:endParaRPr lang="en-GB" sz="2600">
              <a:effectLst/>
            </a:endParaRPr>
          </a:p>
        </p:txBody>
      </p:sp>
      <p:cxnSp>
        <p:nvCxnSpPr>
          <p:cNvPr id="555" name="Straight Connector 554">
            <a:extLst>
              <a:ext uri="{FF2B5EF4-FFF2-40B4-BE49-F238E27FC236}">
                <a16:creationId xmlns:a16="http://schemas.microsoft.com/office/drawing/2014/main" id="{CA2A529D-2EF9-636F-1339-A74428CA254D}"/>
              </a:ext>
            </a:extLst>
          </p:cNvPr>
          <p:cNvCxnSpPr>
            <a:cxnSpLocks/>
          </p:cNvCxnSpPr>
          <p:nvPr/>
        </p:nvCxnSpPr>
        <p:spPr>
          <a:xfrm>
            <a:off x="565459" y="1078523"/>
            <a:ext cx="5508000" cy="0"/>
          </a:xfrm>
          <a:prstGeom prst="line">
            <a:avLst/>
          </a:prstGeom>
          <a:ln w="38100">
            <a:gradFill>
              <a:gsLst>
                <a:gs pos="0">
                  <a:schemeClr val="accent5"/>
                </a:gs>
                <a:gs pos="34000">
                  <a:schemeClr val="bg2"/>
                </a:gs>
                <a:gs pos="67000">
                  <a:schemeClr val="tx2"/>
                </a:gs>
                <a:gs pos="100000">
                  <a:schemeClr val="accent1"/>
                </a:gs>
              </a:gsLst>
              <a:lin ang="2700000" scaled="0"/>
            </a:gradFill>
          </a:ln>
        </p:spPr>
        <p:style>
          <a:lnRef idx="1">
            <a:schemeClr val="accent1"/>
          </a:lnRef>
          <a:fillRef idx="0">
            <a:schemeClr val="accent1"/>
          </a:fillRef>
          <a:effectRef idx="0">
            <a:schemeClr val="accent1"/>
          </a:effectRef>
          <a:fontRef idx="minor">
            <a:schemeClr val="tx1"/>
          </a:fontRef>
        </p:style>
      </p:cxnSp>
      <p:sp>
        <p:nvSpPr>
          <p:cNvPr id="556" name="TextBox 555">
            <a:extLst>
              <a:ext uri="{FF2B5EF4-FFF2-40B4-BE49-F238E27FC236}">
                <a16:creationId xmlns:a16="http://schemas.microsoft.com/office/drawing/2014/main" id="{B21F7511-42A3-0D81-9664-EEB67B21FBDB}"/>
              </a:ext>
            </a:extLst>
          </p:cNvPr>
          <p:cNvSpPr txBox="1"/>
          <p:nvPr/>
        </p:nvSpPr>
        <p:spPr>
          <a:xfrm>
            <a:off x="367461" y="1290950"/>
            <a:ext cx="2169145" cy="830997"/>
          </a:xfrm>
          <a:prstGeom prst="rect">
            <a:avLst/>
          </a:prstGeom>
          <a:solidFill>
            <a:schemeClr val="tx1"/>
          </a:solidFill>
        </p:spPr>
        <p:txBody>
          <a:bodyPr wrap="square" rtlCol="0">
            <a:spAutoFit/>
          </a:bodyPr>
          <a:lstStyle/>
          <a:p>
            <a:pPr algn="ctr"/>
            <a:r>
              <a:rPr lang="en-US" sz="1200">
                <a:solidFill>
                  <a:schemeClr val="bg1"/>
                </a:solidFill>
                <a:latin typeface="Avenir Next LT Pro" panose="020B0504020202020204" pitchFamily="34" charset="77"/>
              </a:rPr>
              <a:t>Significant expansion of lab and office facilities at DTU Science Park and offices in Basel and Boston</a:t>
            </a:r>
            <a:endParaRPr lang="en-GB" sz="1200">
              <a:solidFill>
                <a:schemeClr val="bg1"/>
              </a:solidFill>
              <a:latin typeface="Avenir Next LT Pro" panose="020B0504020202020204" pitchFamily="34" charset="77"/>
            </a:endParaRPr>
          </a:p>
        </p:txBody>
      </p:sp>
      <p:sp>
        <p:nvSpPr>
          <p:cNvPr id="557" name="TextBox 556">
            <a:extLst>
              <a:ext uri="{FF2B5EF4-FFF2-40B4-BE49-F238E27FC236}">
                <a16:creationId xmlns:a16="http://schemas.microsoft.com/office/drawing/2014/main" id="{9F66F0A2-1E74-6BD8-AD82-83E82FF91DEC}"/>
              </a:ext>
            </a:extLst>
          </p:cNvPr>
          <p:cNvSpPr txBox="1"/>
          <p:nvPr/>
        </p:nvSpPr>
        <p:spPr>
          <a:xfrm>
            <a:off x="3280992" y="1290950"/>
            <a:ext cx="2169145" cy="830997"/>
          </a:xfrm>
          <a:prstGeom prst="rect">
            <a:avLst/>
          </a:prstGeom>
          <a:solidFill>
            <a:schemeClr val="tx1"/>
          </a:solidFill>
        </p:spPr>
        <p:txBody>
          <a:bodyPr wrap="square" rtlCol="0">
            <a:spAutoFit/>
          </a:bodyPr>
          <a:lstStyle/>
          <a:p>
            <a:pPr algn="ctr"/>
            <a:r>
              <a:rPr lang="en-US" sz="1200">
                <a:solidFill>
                  <a:schemeClr val="bg1"/>
                </a:solidFill>
                <a:latin typeface="Avenir Next LT Pro" panose="020B0504020202020204" pitchFamily="34" charset="77"/>
              </a:rPr>
              <a:t>Partner </a:t>
            </a:r>
            <a:r>
              <a:rPr lang="en-US" sz="1200" err="1">
                <a:solidFill>
                  <a:schemeClr val="bg1"/>
                </a:solidFill>
                <a:latin typeface="Avenir Next LT Pro" panose="020B0504020202020204" pitchFamily="34" charset="77"/>
              </a:rPr>
              <a:t>Amylyx</a:t>
            </a:r>
            <a:r>
              <a:rPr lang="en-US" sz="1200">
                <a:solidFill>
                  <a:schemeClr val="bg1"/>
                </a:solidFill>
                <a:latin typeface="Avenir Next LT Pro" panose="020B0504020202020204" pitchFamily="34" charset="77"/>
              </a:rPr>
              <a:t> selected AMX0318</a:t>
            </a:r>
            <a:r>
              <a:rPr lang="en-DK" sz="1200" baseline="30000">
                <a:solidFill>
                  <a:schemeClr val="bg1"/>
                </a:solidFill>
                <a:latin typeface="Avenir Next LT Pro" panose="020B0504020202020204" pitchFamily="34" charset="77"/>
              </a:rPr>
              <a:t>1</a:t>
            </a:r>
            <a:r>
              <a:rPr lang="en-US" sz="1200">
                <a:solidFill>
                  <a:schemeClr val="bg1"/>
                </a:solidFill>
                <a:latin typeface="Avenir Next LT Pro" panose="020B0504020202020204" pitchFamily="34" charset="77"/>
              </a:rPr>
              <a:t> as </a:t>
            </a:r>
            <a:r>
              <a:rPr lang="en-DK" sz="1200">
                <a:solidFill>
                  <a:schemeClr val="bg1"/>
                </a:solidFill>
                <a:latin typeface="Avenir Next LT Pro" panose="020B0504020202020204" pitchFamily="34" charset="77"/>
              </a:rPr>
              <a:t>DDC</a:t>
            </a:r>
            <a:r>
              <a:rPr lang="en-US" sz="1200">
                <a:solidFill>
                  <a:schemeClr val="bg1"/>
                </a:solidFill>
                <a:latin typeface="Avenir Next LT Pro" panose="020B0504020202020204" pitchFamily="34" charset="77"/>
              </a:rPr>
              <a:t> for PBH and other rare diseases</a:t>
            </a:r>
            <a:r>
              <a:rPr lang="en-DK" sz="1200">
                <a:solidFill>
                  <a:schemeClr val="bg1"/>
                </a:solidFill>
                <a:latin typeface="Avenir Next LT Pro" panose="020B0504020202020204" pitchFamily="34" charset="77"/>
              </a:rPr>
              <a:t> with </a:t>
            </a:r>
            <a:r>
              <a:rPr lang="en-US" sz="1200">
                <a:solidFill>
                  <a:schemeClr val="bg1"/>
                </a:solidFill>
                <a:latin typeface="Avenir Next LT Pro" panose="020B0504020202020204" pitchFamily="34" charset="77"/>
              </a:rPr>
              <a:t>IND</a:t>
            </a:r>
            <a:r>
              <a:rPr lang="en-DK" sz="1200">
                <a:solidFill>
                  <a:schemeClr val="bg1"/>
                </a:solidFill>
                <a:latin typeface="Avenir Next LT Pro" panose="020B0504020202020204" pitchFamily="34" charset="77"/>
              </a:rPr>
              <a:t> targeted</a:t>
            </a:r>
            <a:r>
              <a:rPr lang="en-US" sz="1200">
                <a:solidFill>
                  <a:schemeClr val="bg1"/>
                </a:solidFill>
                <a:latin typeface="Avenir Next LT Pro" panose="020B0504020202020204" pitchFamily="34" charset="77"/>
              </a:rPr>
              <a:t> </a:t>
            </a:r>
            <a:r>
              <a:rPr lang="en-DK" sz="1200">
                <a:solidFill>
                  <a:schemeClr val="bg1"/>
                </a:solidFill>
                <a:latin typeface="Avenir Next LT Pro" panose="020B0504020202020204" pitchFamily="34" charset="77"/>
              </a:rPr>
              <a:t>for </a:t>
            </a:r>
            <a:r>
              <a:rPr lang="en-US" sz="1200">
                <a:solidFill>
                  <a:schemeClr val="bg1"/>
                </a:solidFill>
                <a:latin typeface="Avenir Next LT Pro" panose="020B0504020202020204" pitchFamily="34" charset="77"/>
              </a:rPr>
              <a:t>2027</a:t>
            </a:r>
            <a:endParaRPr lang="en-GB" sz="1200">
              <a:solidFill>
                <a:schemeClr val="bg1"/>
              </a:solidFill>
              <a:latin typeface="Avenir Next LT Pro" panose="020B0504020202020204" pitchFamily="34" charset="77"/>
            </a:endParaRPr>
          </a:p>
        </p:txBody>
      </p:sp>
      <p:sp>
        <p:nvSpPr>
          <p:cNvPr id="558" name="TextBox 557">
            <a:extLst>
              <a:ext uri="{FF2B5EF4-FFF2-40B4-BE49-F238E27FC236}">
                <a16:creationId xmlns:a16="http://schemas.microsoft.com/office/drawing/2014/main" id="{19C39D82-8FA0-517D-D05C-E127C613C2FE}"/>
              </a:ext>
            </a:extLst>
          </p:cNvPr>
          <p:cNvSpPr txBox="1"/>
          <p:nvPr/>
        </p:nvSpPr>
        <p:spPr>
          <a:xfrm>
            <a:off x="6181075" y="1290950"/>
            <a:ext cx="2169145" cy="830997"/>
          </a:xfrm>
          <a:prstGeom prst="rect">
            <a:avLst/>
          </a:prstGeom>
          <a:solidFill>
            <a:schemeClr val="tx1"/>
          </a:solidFill>
        </p:spPr>
        <p:txBody>
          <a:bodyPr wrap="square" rtlCol="0">
            <a:spAutoFit/>
          </a:bodyPr>
          <a:lstStyle/>
          <a:p>
            <a:pPr algn="ctr"/>
            <a:r>
              <a:rPr lang="en-US" sz="1200">
                <a:solidFill>
                  <a:schemeClr val="bg1"/>
                </a:solidFill>
                <a:latin typeface="Avenir Next LT Pro" panose="020B0504020202020204" pitchFamily="34" charset="77"/>
              </a:rPr>
              <a:t>CTA submitted for </a:t>
            </a:r>
            <a:r>
              <a:rPr lang="en-DK" sz="1200">
                <a:solidFill>
                  <a:schemeClr val="bg1"/>
                </a:solidFill>
                <a:latin typeface="Avenir Next LT Pro" panose="020B0504020202020204" pitchFamily="34" charset="77"/>
              </a:rPr>
              <a:t>ambitious </a:t>
            </a:r>
            <a:r>
              <a:rPr lang="en-US" sz="1200">
                <a:solidFill>
                  <a:schemeClr val="bg1"/>
                </a:solidFill>
                <a:latin typeface="Avenir Next LT Pro" panose="020B0504020202020204" pitchFamily="34" charset="77"/>
              </a:rPr>
              <a:t>Phase 1/2a trial</a:t>
            </a:r>
            <a:r>
              <a:rPr lang="en-DK" sz="1200">
                <a:solidFill>
                  <a:schemeClr val="bg1"/>
                </a:solidFill>
                <a:latin typeface="Avenir Next LT Pro" panose="020B0504020202020204" pitchFamily="34" charset="77"/>
              </a:rPr>
              <a:t> evaluating preliminary efficacy of GUB-UCN2</a:t>
            </a:r>
            <a:endParaRPr lang="en-GB" sz="1200">
              <a:solidFill>
                <a:schemeClr val="bg1"/>
              </a:solidFill>
              <a:latin typeface="Avenir Next LT Pro" panose="020B0504020202020204" pitchFamily="34" charset="77"/>
            </a:endParaRPr>
          </a:p>
        </p:txBody>
      </p:sp>
      <p:sp>
        <p:nvSpPr>
          <p:cNvPr id="560" name="TextBox 559">
            <a:extLst>
              <a:ext uri="{FF2B5EF4-FFF2-40B4-BE49-F238E27FC236}">
                <a16:creationId xmlns:a16="http://schemas.microsoft.com/office/drawing/2014/main" id="{5061D979-FE8E-4008-B2E6-6B8C078535D8}"/>
              </a:ext>
            </a:extLst>
          </p:cNvPr>
          <p:cNvSpPr txBox="1"/>
          <p:nvPr/>
        </p:nvSpPr>
        <p:spPr>
          <a:xfrm>
            <a:off x="4769355" y="5495977"/>
            <a:ext cx="2169145" cy="1015663"/>
          </a:xfrm>
          <a:prstGeom prst="rect">
            <a:avLst/>
          </a:prstGeom>
          <a:noFill/>
        </p:spPr>
        <p:txBody>
          <a:bodyPr wrap="square" rtlCol="0">
            <a:spAutoFit/>
          </a:bodyPr>
          <a:lstStyle/>
          <a:p>
            <a:pPr algn="ctr"/>
            <a:r>
              <a:rPr lang="en-DK" sz="1200">
                <a:solidFill>
                  <a:schemeClr val="bg1"/>
                </a:solidFill>
                <a:latin typeface="Avenir Next LT Pro" panose="020B0504020202020204" pitchFamily="34" charset="77"/>
              </a:rPr>
              <a:t>Launch of </a:t>
            </a:r>
            <a:r>
              <a:rPr lang="en-US" sz="1200" err="1">
                <a:solidFill>
                  <a:schemeClr val="bg1"/>
                </a:solidFill>
                <a:latin typeface="Avenir Next LT Pro" panose="020B0504020202020204" pitchFamily="34" charset="77"/>
              </a:rPr>
              <a:t>Gubra</a:t>
            </a:r>
            <a:r>
              <a:rPr lang="en-US" sz="1200">
                <a:solidFill>
                  <a:schemeClr val="bg1"/>
                </a:solidFill>
                <a:latin typeface="Avenir Next LT Pro" panose="020B0504020202020204" pitchFamily="34" charset="77"/>
              </a:rPr>
              <a:t> Ventures and appoint</a:t>
            </a:r>
            <a:r>
              <a:rPr lang="en-DK" sz="1200">
                <a:solidFill>
                  <a:schemeClr val="bg1"/>
                </a:solidFill>
                <a:latin typeface="Avenir Next LT Pro" panose="020B0504020202020204" pitchFamily="34" charset="77"/>
              </a:rPr>
              <a:t>ment of</a:t>
            </a:r>
            <a:r>
              <a:rPr lang="en-US" sz="1200">
                <a:solidFill>
                  <a:schemeClr val="bg1"/>
                </a:solidFill>
                <a:latin typeface="Avenir Next LT Pro" panose="020B0504020202020204" pitchFamily="34" charset="77"/>
              </a:rPr>
              <a:t> Zoë Johnson to lead new venture creation unit</a:t>
            </a:r>
            <a:endParaRPr lang="en-DK" sz="1200">
              <a:solidFill>
                <a:schemeClr val="bg1"/>
              </a:solidFill>
              <a:latin typeface="Avenir Next LT Pro" panose="020B0504020202020204" pitchFamily="34" charset="77"/>
            </a:endParaRPr>
          </a:p>
          <a:p>
            <a:pPr algn="ctr"/>
            <a:endParaRPr lang="en-DK" sz="1200">
              <a:solidFill>
                <a:schemeClr val="bg1"/>
              </a:solidFill>
              <a:latin typeface="Avenir Next LT Pro" panose="020B0504020202020204" pitchFamily="34" charset="77"/>
            </a:endParaRPr>
          </a:p>
        </p:txBody>
      </p:sp>
      <p:sp>
        <p:nvSpPr>
          <p:cNvPr id="561" name="TextBox 560">
            <a:extLst>
              <a:ext uri="{FF2B5EF4-FFF2-40B4-BE49-F238E27FC236}">
                <a16:creationId xmlns:a16="http://schemas.microsoft.com/office/drawing/2014/main" id="{755D8FBB-C34F-E0A0-63D4-2A92BB3828AD}"/>
              </a:ext>
            </a:extLst>
          </p:cNvPr>
          <p:cNvSpPr txBox="1"/>
          <p:nvPr/>
        </p:nvSpPr>
        <p:spPr>
          <a:xfrm>
            <a:off x="7537186" y="5495977"/>
            <a:ext cx="2386060" cy="830997"/>
          </a:xfrm>
          <a:prstGeom prst="rect">
            <a:avLst/>
          </a:prstGeom>
          <a:noFill/>
        </p:spPr>
        <p:txBody>
          <a:bodyPr wrap="square" rtlCol="0">
            <a:spAutoFit/>
          </a:bodyPr>
          <a:lstStyle/>
          <a:p>
            <a:pPr algn="ctr"/>
            <a:r>
              <a:rPr lang="en-GB" sz="1200">
                <a:solidFill>
                  <a:schemeClr val="bg1"/>
                </a:solidFill>
                <a:latin typeface="Avenir Next LT Pro" panose="020B0504020202020204" pitchFamily="34" charset="77"/>
              </a:rPr>
              <a:t>-9.8% vs -0.2%</a:t>
            </a:r>
            <a:r>
              <a:rPr lang="en-DK" sz="1200">
                <a:solidFill>
                  <a:schemeClr val="bg1"/>
                </a:solidFill>
                <a:latin typeface="Avenir Next LT Pro" panose="020B0504020202020204" pitchFamily="34" charset="77"/>
              </a:rPr>
              <a:t> weight loss in </a:t>
            </a:r>
            <a:r>
              <a:rPr lang="en-US" sz="1200">
                <a:solidFill>
                  <a:schemeClr val="bg1"/>
                </a:solidFill>
                <a:latin typeface="Avenir Next LT Pro" panose="020B0504020202020204" pitchFamily="34" charset="77"/>
              </a:rPr>
              <a:t>12 weeks</a:t>
            </a:r>
            <a:r>
              <a:rPr lang="en-DK" sz="1200">
                <a:solidFill>
                  <a:schemeClr val="bg1"/>
                </a:solidFill>
                <a:latin typeface="Avenir Next LT Pro" panose="020B0504020202020204" pitchFamily="34" charset="77"/>
              </a:rPr>
              <a:t> MAD study, predominantly </a:t>
            </a:r>
            <a:r>
              <a:rPr lang="en-US" sz="1200">
                <a:solidFill>
                  <a:schemeClr val="bg1"/>
                </a:solidFill>
                <a:latin typeface="Avenir Next LT Pro" panose="020B0504020202020204" pitchFamily="34" charset="77"/>
              </a:rPr>
              <a:t>male participants with BMI &lt;30</a:t>
            </a:r>
          </a:p>
        </p:txBody>
      </p:sp>
      <p:sp>
        <p:nvSpPr>
          <p:cNvPr id="5" name="Oval 4">
            <a:extLst>
              <a:ext uri="{FF2B5EF4-FFF2-40B4-BE49-F238E27FC236}">
                <a16:creationId xmlns:a16="http://schemas.microsoft.com/office/drawing/2014/main" id="{DD5DDA22-5013-7A35-8354-AFD7E54DDDBC}"/>
              </a:ext>
            </a:extLst>
          </p:cNvPr>
          <p:cNvSpPr/>
          <p:nvPr/>
        </p:nvSpPr>
        <p:spPr>
          <a:xfrm>
            <a:off x="908091" y="2430533"/>
            <a:ext cx="1085100" cy="1085100"/>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a:extLst>
              <a:ext uri="{FF2B5EF4-FFF2-40B4-BE49-F238E27FC236}">
                <a16:creationId xmlns:a16="http://schemas.microsoft.com/office/drawing/2014/main" id="{F53C7BAE-98CA-1D53-4B28-4FF02CCCAD3C}"/>
              </a:ext>
            </a:extLst>
          </p:cNvPr>
          <p:cNvSpPr txBox="1"/>
          <p:nvPr/>
        </p:nvSpPr>
        <p:spPr>
          <a:xfrm>
            <a:off x="990676" y="2620915"/>
            <a:ext cx="919929" cy="715089"/>
          </a:xfrm>
          <a:prstGeom prst="roundRect">
            <a:avLst/>
          </a:prstGeom>
          <a:noFill/>
        </p:spPr>
        <p:txBody>
          <a:bodyPr wrap="square" lIns="0" tIns="0" rIns="0" bIns="0" rtlCol="0" anchor="ctr">
            <a:spAutoFit/>
          </a:bodyPr>
          <a:lstStyle/>
          <a:p>
            <a:pPr algn="ctr">
              <a:buNone/>
            </a:pPr>
            <a:r>
              <a:rPr lang="en-DK" sz="1400" b="1">
                <a:solidFill>
                  <a:srgbClr val="FFFFFF"/>
                </a:solidFill>
                <a:latin typeface="Avenir Next LT Pro Demi" panose="020B0504020202020204" pitchFamily="34" charset="77"/>
              </a:rPr>
              <a:t>Facility expansion</a:t>
            </a:r>
            <a:endParaRPr lang="en-GB" sz="1400" b="1">
              <a:solidFill>
                <a:srgbClr val="FFFFFF"/>
              </a:solidFill>
              <a:latin typeface="Avenir Next LT Pro Demi" panose="020B0504020202020204" pitchFamily="34" charset="77"/>
            </a:endParaRPr>
          </a:p>
        </p:txBody>
      </p:sp>
      <p:sp>
        <p:nvSpPr>
          <p:cNvPr id="12" name="TextBox 11">
            <a:extLst>
              <a:ext uri="{FF2B5EF4-FFF2-40B4-BE49-F238E27FC236}">
                <a16:creationId xmlns:a16="http://schemas.microsoft.com/office/drawing/2014/main" id="{BB78921F-2D4A-0574-B485-0E0DA49BDD7A}"/>
              </a:ext>
            </a:extLst>
          </p:cNvPr>
          <p:cNvSpPr txBox="1"/>
          <p:nvPr/>
        </p:nvSpPr>
        <p:spPr>
          <a:xfrm>
            <a:off x="3809008" y="2594412"/>
            <a:ext cx="1113114" cy="715089"/>
          </a:xfrm>
          <a:prstGeom prst="roundRect">
            <a:avLst/>
          </a:prstGeom>
          <a:noFill/>
        </p:spPr>
        <p:txBody>
          <a:bodyPr wrap="square" lIns="0" tIns="0" rIns="0" bIns="0" rtlCol="0" anchor="ctr">
            <a:spAutoFit/>
          </a:bodyPr>
          <a:lstStyle/>
          <a:p>
            <a:pPr algn="ctr">
              <a:buNone/>
            </a:pPr>
            <a:r>
              <a:rPr lang="en-DK" sz="1400" b="1">
                <a:solidFill>
                  <a:srgbClr val="FFFFFF"/>
                </a:solidFill>
                <a:latin typeface="Avenir Next LT Pro Demi" panose="020B0504020202020204" pitchFamily="34" charset="77"/>
              </a:rPr>
              <a:t>Partnered program progressed</a:t>
            </a:r>
            <a:endParaRPr lang="en-GB" sz="1400" b="1">
              <a:solidFill>
                <a:srgbClr val="FFFFFF"/>
              </a:solidFill>
              <a:effectLst/>
              <a:latin typeface="Avenir Next LT Pro Demi" panose="020B0504020202020204" pitchFamily="34" charset="77"/>
            </a:endParaRPr>
          </a:p>
        </p:txBody>
      </p:sp>
      <p:sp>
        <p:nvSpPr>
          <p:cNvPr id="14" name="TextBox 13">
            <a:extLst>
              <a:ext uri="{FF2B5EF4-FFF2-40B4-BE49-F238E27FC236}">
                <a16:creationId xmlns:a16="http://schemas.microsoft.com/office/drawing/2014/main" id="{C2755086-7F4E-9142-7FB3-DDFA15B11C96}"/>
              </a:ext>
            </a:extLst>
          </p:cNvPr>
          <p:cNvSpPr txBox="1"/>
          <p:nvPr/>
        </p:nvSpPr>
        <p:spPr>
          <a:xfrm>
            <a:off x="6709091" y="2740097"/>
            <a:ext cx="1113114" cy="476726"/>
          </a:xfrm>
          <a:prstGeom prst="roundRect">
            <a:avLst/>
          </a:prstGeom>
          <a:noFill/>
        </p:spPr>
        <p:txBody>
          <a:bodyPr wrap="square" lIns="0" tIns="0" rIns="0" bIns="0" rtlCol="0" anchor="ctr">
            <a:spAutoFit/>
          </a:bodyPr>
          <a:lstStyle/>
          <a:p>
            <a:pPr algn="ctr">
              <a:buNone/>
            </a:pPr>
            <a:r>
              <a:rPr lang="en-DK" sz="1400" b="1">
                <a:solidFill>
                  <a:srgbClr val="FFFFFF"/>
                </a:solidFill>
                <a:effectLst/>
                <a:latin typeface="Avenir Next LT Pro Demi" panose="020B0504020202020204" pitchFamily="34" charset="77"/>
              </a:rPr>
              <a:t>UCN2 CTA submission</a:t>
            </a:r>
            <a:endParaRPr lang="en-GB" sz="1400" b="1">
              <a:solidFill>
                <a:srgbClr val="FFFFFF"/>
              </a:solidFill>
              <a:effectLst/>
              <a:latin typeface="Avenir Next LT Pro Demi" panose="020B0504020202020204" pitchFamily="34" charset="77"/>
            </a:endParaRPr>
          </a:p>
        </p:txBody>
      </p:sp>
      <p:sp>
        <p:nvSpPr>
          <p:cNvPr id="17" name="TextBox 16">
            <a:extLst>
              <a:ext uri="{FF2B5EF4-FFF2-40B4-BE49-F238E27FC236}">
                <a16:creationId xmlns:a16="http://schemas.microsoft.com/office/drawing/2014/main" id="{FD8DC3FF-C2AC-029B-1F16-B30D04E89B7F}"/>
              </a:ext>
            </a:extLst>
          </p:cNvPr>
          <p:cNvSpPr txBox="1"/>
          <p:nvPr/>
        </p:nvSpPr>
        <p:spPr>
          <a:xfrm>
            <a:off x="8224255" y="4365821"/>
            <a:ext cx="1011922" cy="476726"/>
          </a:xfrm>
          <a:prstGeom prst="roundRect">
            <a:avLst/>
          </a:prstGeom>
          <a:noFill/>
        </p:spPr>
        <p:txBody>
          <a:bodyPr wrap="square" lIns="0" tIns="0" rIns="0" bIns="0" rtlCol="0" anchor="ctr">
            <a:spAutoFit/>
          </a:bodyPr>
          <a:lstStyle/>
          <a:p>
            <a:pPr algn="ctr">
              <a:buNone/>
            </a:pPr>
            <a:r>
              <a:rPr lang="en-DK" sz="1400" b="1">
                <a:solidFill>
                  <a:srgbClr val="FFFFFF"/>
                </a:solidFill>
                <a:effectLst/>
                <a:latin typeface="Avenir Next LT Pro Demi" panose="020B0504020202020204" pitchFamily="34" charset="77"/>
              </a:rPr>
              <a:t>ABBV-295 Ph1 MAD</a:t>
            </a:r>
            <a:endParaRPr lang="en-GB" sz="1400" b="1">
              <a:solidFill>
                <a:srgbClr val="FFFFFF"/>
              </a:solidFill>
              <a:effectLst/>
              <a:latin typeface="Avenir Next LT Pro Demi" panose="020B0504020202020204" pitchFamily="34" charset="77"/>
            </a:endParaRPr>
          </a:p>
        </p:txBody>
      </p:sp>
      <p:sp>
        <p:nvSpPr>
          <p:cNvPr id="19" name="Footer Placeholder 438">
            <a:extLst>
              <a:ext uri="{FF2B5EF4-FFF2-40B4-BE49-F238E27FC236}">
                <a16:creationId xmlns:a16="http://schemas.microsoft.com/office/drawing/2014/main" id="{B070576E-5F44-5D23-E8AC-45B8110A5430}"/>
              </a:ext>
            </a:extLst>
          </p:cNvPr>
          <p:cNvSpPr txBox="1">
            <a:spLocks/>
          </p:cNvSpPr>
          <p:nvPr/>
        </p:nvSpPr>
        <p:spPr>
          <a:xfrm>
            <a:off x="516731" y="6378372"/>
            <a:ext cx="10583975" cy="276999"/>
          </a:xfrm>
          <a:prstGeom prst="rect">
            <a:avLst/>
          </a:prstGeom>
        </p:spPr>
        <p:txBody>
          <a:bodyPr vert="horz" wrap="square" lIns="0" tIns="0" rIns="0" bIns="0" rtlCol="0" anchor="t">
            <a:spAutoFit/>
          </a:bodyPr>
          <a:lstStyle>
            <a:defPPr>
              <a:defRPr lang="sv-SE"/>
            </a:defPPr>
            <a:lvl1pPr marL="0" algn="l" defTabSz="914400" rtl="0" eaLnBrk="1" latinLnBrk="0" hangingPunct="1">
              <a:defRPr sz="1000" kern="1200">
                <a:solidFill>
                  <a:schemeClr val="tx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00">
                <a:solidFill>
                  <a:srgbClr val="2878FF">
                    <a:lumMod val="60000"/>
                    <a:lumOff val="40000"/>
                  </a:srgbClr>
                </a:solidFill>
                <a:latin typeface="Avenir Next LT Pro"/>
              </a:rPr>
              <a:t>Note</a:t>
            </a:r>
            <a:r>
              <a:rPr lang="en-DK" sz="900">
                <a:solidFill>
                  <a:srgbClr val="2878FF">
                    <a:lumMod val="60000"/>
                    <a:lumOff val="40000"/>
                  </a:srgbClr>
                </a:solidFill>
                <a:latin typeface="Avenir Next LT Pro"/>
              </a:rPr>
              <a:t>s</a:t>
            </a:r>
            <a:r>
              <a:rPr lang="en-US" sz="900">
                <a:solidFill>
                  <a:srgbClr val="2878FF">
                    <a:lumMod val="60000"/>
                    <a:lumOff val="40000"/>
                  </a:srgbClr>
                </a:solidFill>
                <a:latin typeface="Avenir Next LT Pro"/>
              </a:rPr>
              <a:t>:</a:t>
            </a:r>
            <a:r>
              <a:rPr lang="en-DK" sz="900">
                <a:solidFill>
                  <a:srgbClr val="2878FF">
                    <a:lumMod val="60000"/>
                    <a:lumOff val="40000"/>
                  </a:srgbClr>
                </a:solidFill>
                <a:latin typeface="Avenir Next LT Pro"/>
              </a:rPr>
              <a:t> 1) </a:t>
            </a:r>
            <a:r>
              <a:rPr lang="en-US" sz="900">
                <a:solidFill>
                  <a:srgbClr val="2878FF">
                    <a:lumMod val="60000"/>
                    <a:lumOff val="40000"/>
                  </a:srgbClr>
                </a:solidFill>
                <a:latin typeface="Avenir Next LT Pro"/>
              </a:rPr>
              <a:t>AMX0318</a:t>
            </a:r>
            <a:r>
              <a:rPr lang="en-DK" sz="900">
                <a:solidFill>
                  <a:srgbClr val="2878FF">
                    <a:lumMod val="60000"/>
                    <a:lumOff val="40000"/>
                  </a:srgbClr>
                </a:solidFill>
                <a:latin typeface="Avenir Next LT Pro"/>
              </a:rPr>
              <a:t> is</a:t>
            </a:r>
            <a:r>
              <a:rPr lang="en-US" sz="900">
                <a:solidFill>
                  <a:srgbClr val="2878FF">
                    <a:lumMod val="60000"/>
                    <a:lumOff val="40000"/>
                  </a:srgbClr>
                </a:solidFill>
                <a:latin typeface="Avenir Next LT Pro"/>
              </a:rPr>
              <a:t> a long-acting glucagon-like peptide-1 (GLP-1) receptor antagonist</a:t>
            </a:r>
            <a:r>
              <a:rPr lang="en-DK" sz="900">
                <a:solidFill>
                  <a:srgbClr val="2878FF">
                    <a:lumMod val="60000"/>
                    <a:lumOff val="40000"/>
                  </a:srgbClr>
                </a:solidFill>
                <a:latin typeface="Avenir Next LT Pro"/>
              </a:rPr>
              <a:t>; 2) </a:t>
            </a:r>
            <a:r>
              <a:rPr lang="en-US" sz="900">
                <a:solidFill>
                  <a:srgbClr val="2878FF">
                    <a:lumMod val="60000"/>
                    <a:lumOff val="40000"/>
                  </a:srgbClr>
                </a:solidFill>
                <a:latin typeface="Avenir Next LT Pro"/>
              </a:rPr>
              <a:t>BI 3034701 was developed </a:t>
            </a:r>
            <a:r>
              <a:rPr lang="en-DK" sz="900">
                <a:solidFill>
                  <a:srgbClr val="2878FF">
                    <a:lumMod val="60000"/>
                    <a:lumOff val="40000"/>
                  </a:srgbClr>
                </a:solidFill>
                <a:latin typeface="Avenir Next LT Pro"/>
              </a:rPr>
              <a:t>in</a:t>
            </a:r>
            <a:r>
              <a:rPr lang="en-US" sz="900">
                <a:solidFill>
                  <a:srgbClr val="2878FF">
                    <a:lumMod val="60000"/>
                    <a:lumOff val="40000"/>
                  </a:srgbClr>
                </a:solidFill>
                <a:latin typeface="Avenir Next LT Pro"/>
              </a:rPr>
              <a:t> cooperation with Boehringer Ingelheim</a:t>
            </a:r>
            <a:r>
              <a:rPr lang="en-DK" sz="900">
                <a:solidFill>
                  <a:srgbClr val="2878FF">
                    <a:lumMod val="60000"/>
                    <a:lumOff val="40000"/>
                  </a:srgbClr>
                </a:solidFill>
                <a:latin typeface="Avenir Next LT Pro"/>
              </a:rPr>
              <a:t>. </a:t>
            </a:r>
            <a:r>
              <a:rPr lang="en-US" sz="900">
                <a:solidFill>
                  <a:srgbClr val="2878FF">
                    <a:lumMod val="60000"/>
                    <a:lumOff val="40000"/>
                  </a:srgbClr>
                </a:solidFill>
                <a:latin typeface="Avenir Next LT Pro"/>
              </a:rPr>
              <a:t>Boehringer Ingelheim is solely responsible for </a:t>
            </a:r>
            <a:r>
              <a:rPr lang="en-DK" sz="900">
                <a:solidFill>
                  <a:srgbClr val="2878FF">
                    <a:lumMod val="60000"/>
                    <a:lumOff val="40000"/>
                  </a:srgbClr>
                </a:solidFill>
                <a:latin typeface="Avenir Next LT Pro"/>
              </a:rPr>
              <a:t>its </a:t>
            </a:r>
            <a:r>
              <a:rPr lang="en-US" sz="900">
                <a:solidFill>
                  <a:srgbClr val="2878FF">
                    <a:lumMod val="60000"/>
                    <a:lumOff val="40000"/>
                  </a:srgbClr>
                </a:solidFill>
                <a:latin typeface="Avenir Next LT Pro"/>
              </a:rPr>
              <a:t>further development and global commercialization</a:t>
            </a:r>
            <a:r>
              <a:rPr lang="en-DK" sz="900">
                <a:solidFill>
                  <a:srgbClr val="2878FF">
                    <a:lumMod val="60000"/>
                    <a:lumOff val="40000"/>
                  </a:srgbClr>
                </a:solidFill>
                <a:latin typeface="Avenir Next LT Pro"/>
              </a:rPr>
              <a:t>; DDC = Drug Development Candidate; PBH = </a:t>
            </a:r>
            <a:r>
              <a:rPr lang="en-US" sz="900">
                <a:solidFill>
                  <a:srgbClr val="2878FF">
                    <a:lumMod val="60000"/>
                    <a:lumOff val="40000"/>
                  </a:srgbClr>
                </a:solidFill>
                <a:latin typeface="Avenir Next LT Pro"/>
              </a:rPr>
              <a:t>post-bariatric hypoglycemia</a:t>
            </a:r>
            <a:r>
              <a:rPr lang="en-DK" sz="900">
                <a:solidFill>
                  <a:srgbClr val="2878FF">
                    <a:lumMod val="60000"/>
                    <a:lumOff val="40000"/>
                  </a:srgbClr>
                </a:solidFill>
                <a:latin typeface="Avenir Next LT Pro"/>
              </a:rPr>
              <a:t>; CDMO = </a:t>
            </a:r>
            <a:r>
              <a:rPr lang="en-US" sz="900">
                <a:solidFill>
                  <a:srgbClr val="2878FF">
                    <a:lumMod val="60000"/>
                    <a:lumOff val="40000"/>
                  </a:srgbClr>
                </a:solidFill>
                <a:latin typeface="Avenir Next LT Pro"/>
              </a:rPr>
              <a:t>Chief Medical and Development Officer</a:t>
            </a:r>
            <a:r>
              <a:rPr lang="en-DK" sz="900">
                <a:solidFill>
                  <a:srgbClr val="2878FF">
                    <a:lumMod val="60000"/>
                    <a:lumOff val="40000"/>
                  </a:srgbClr>
                </a:solidFill>
                <a:latin typeface="Avenir Next LT Pro"/>
              </a:rPr>
              <a:t> </a:t>
            </a:r>
            <a:endParaRPr lang="sv-SE" sz="900">
              <a:solidFill>
                <a:srgbClr val="2878FF">
                  <a:lumMod val="60000"/>
                  <a:lumOff val="40000"/>
                </a:srgbClr>
              </a:solidFill>
              <a:latin typeface="Avenir Next LT Pro"/>
            </a:endParaRPr>
          </a:p>
        </p:txBody>
      </p:sp>
      <p:sp>
        <p:nvSpPr>
          <p:cNvPr id="643" name="Freeform 642">
            <a:extLst>
              <a:ext uri="{FF2B5EF4-FFF2-40B4-BE49-F238E27FC236}">
                <a16:creationId xmlns:a16="http://schemas.microsoft.com/office/drawing/2014/main" id="{30088820-831C-9869-CDE1-2156324E4718}"/>
              </a:ext>
            </a:extLst>
          </p:cNvPr>
          <p:cNvSpPr/>
          <p:nvPr/>
        </p:nvSpPr>
        <p:spPr>
          <a:xfrm>
            <a:off x="1440912" y="3637577"/>
            <a:ext cx="13166" cy="178016"/>
          </a:xfrm>
          <a:custGeom>
            <a:avLst/>
            <a:gdLst>
              <a:gd name="connsiteX0" fmla="*/ 6583 w 13166"/>
              <a:gd name="connsiteY0" fmla="*/ 178017 h 178016"/>
              <a:gd name="connsiteX1" fmla="*/ 0 w 13166"/>
              <a:gd name="connsiteY1" fmla="*/ 171429 h 178016"/>
              <a:gd name="connsiteX2" fmla="*/ 0 w 13166"/>
              <a:gd name="connsiteY2" fmla="*/ 6588 h 178016"/>
              <a:gd name="connsiteX3" fmla="*/ 6583 w 13166"/>
              <a:gd name="connsiteY3" fmla="*/ 0 h 178016"/>
              <a:gd name="connsiteX4" fmla="*/ 13166 w 13166"/>
              <a:gd name="connsiteY4" fmla="*/ 6588 h 178016"/>
              <a:gd name="connsiteX5" fmla="*/ 13166 w 13166"/>
              <a:gd name="connsiteY5" fmla="*/ 171429 h 178016"/>
              <a:gd name="connsiteX6" fmla="*/ 6583 w 13166"/>
              <a:gd name="connsiteY6" fmla="*/ 178017 h 17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66" h="178016">
                <a:moveTo>
                  <a:pt x="6583" y="178017"/>
                </a:moveTo>
                <a:cubicBezTo>
                  <a:pt x="2897" y="178017"/>
                  <a:pt x="0" y="175118"/>
                  <a:pt x="0" y="171429"/>
                </a:cubicBezTo>
                <a:lnTo>
                  <a:pt x="0" y="6588"/>
                </a:lnTo>
                <a:cubicBezTo>
                  <a:pt x="0" y="2899"/>
                  <a:pt x="2897" y="0"/>
                  <a:pt x="6583" y="0"/>
                </a:cubicBezTo>
                <a:cubicBezTo>
                  <a:pt x="10270" y="0"/>
                  <a:pt x="13166" y="2899"/>
                  <a:pt x="13166" y="6588"/>
                </a:cubicBezTo>
                <a:lnTo>
                  <a:pt x="13166" y="171429"/>
                </a:lnTo>
                <a:cubicBezTo>
                  <a:pt x="13166" y="175118"/>
                  <a:pt x="10270" y="178017"/>
                  <a:pt x="6583" y="178017"/>
                </a:cubicBezTo>
                <a:close/>
              </a:path>
            </a:pathLst>
          </a:custGeom>
          <a:solidFill>
            <a:srgbClr val="FFFFFF"/>
          </a:solidFill>
          <a:ln w="13166" cap="flat">
            <a:noFill/>
            <a:prstDash val="solid"/>
            <a:miter/>
          </a:ln>
        </p:spPr>
        <p:txBody>
          <a:bodyPr rtlCol="0" anchor="ctr"/>
          <a:lstStyle/>
          <a:p>
            <a:endParaRPr lang="en-DK"/>
          </a:p>
        </p:txBody>
      </p:sp>
      <p:grpSp>
        <p:nvGrpSpPr>
          <p:cNvPr id="1014" name="Graphic 6">
            <a:extLst>
              <a:ext uri="{FF2B5EF4-FFF2-40B4-BE49-F238E27FC236}">
                <a16:creationId xmlns:a16="http://schemas.microsoft.com/office/drawing/2014/main" id="{EC89BAB4-4172-C20E-8EBB-E568B643F55D}"/>
              </a:ext>
            </a:extLst>
          </p:cNvPr>
          <p:cNvGrpSpPr/>
          <p:nvPr/>
        </p:nvGrpSpPr>
        <p:grpSpPr>
          <a:xfrm>
            <a:off x="1212541" y="3760050"/>
            <a:ext cx="10587005" cy="111446"/>
            <a:chOff x="1164117" y="3750047"/>
            <a:chExt cx="10587005" cy="111446"/>
          </a:xfrm>
          <a:solidFill>
            <a:srgbClr val="FFFFFF"/>
          </a:solidFill>
        </p:grpSpPr>
        <p:sp>
          <p:nvSpPr>
            <p:cNvPr id="1015" name="Freeform 1014">
              <a:extLst>
                <a:ext uri="{FF2B5EF4-FFF2-40B4-BE49-F238E27FC236}">
                  <a16:creationId xmlns:a16="http://schemas.microsoft.com/office/drawing/2014/main" id="{5673CD4B-43F6-56DD-08F7-581BB03DC7B2}"/>
                </a:ext>
              </a:extLst>
            </p:cNvPr>
            <p:cNvSpPr/>
            <p:nvPr/>
          </p:nvSpPr>
          <p:spPr>
            <a:xfrm>
              <a:off x="1164117" y="3799169"/>
              <a:ext cx="10583975" cy="13176"/>
            </a:xfrm>
            <a:custGeom>
              <a:avLst/>
              <a:gdLst>
                <a:gd name="connsiteX0" fmla="*/ 10577392 w 10583975"/>
                <a:gd name="connsiteY0" fmla="*/ 13177 h 13176"/>
                <a:gd name="connsiteX1" fmla="*/ 6583 w 10583975"/>
                <a:gd name="connsiteY1" fmla="*/ 13177 h 13176"/>
                <a:gd name="connsiteX2" fmla="*/ 0 w 10583975"/>
                <a:gd name="connsiteY2" fmla="*/ 6588 h 13176"/>
                <a:gd name="connsiteX3" fmla="*/ 6583 w 10583975"/>
                <a:gd name="connsiteY3" fmla="*/ 0 h 13176"/>
                <a:gd name="connsiteX4" fmla="*/ 10577392 w 10583975"/>
                <a:gd name="connsiteY4" fmla="*/ 0 h 13176"/>
                <a:gd name="connsiteX5" fmla="*/ 10583975 w 10583975"/>
                <a:gd name="connsiteY5" fmla="*/ 6588 h 13176"/>
                <a:gd name="connsiteX6" fmla="*/ 10577392 w 10583975"/>
                <a:gd name="connsiteY6" fmla="*/ 13177 h 1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83975" h="13176">
                  <a:moveTo>
                    <a:pt x="10577392" y="13177"/>
                  </a:moveTo>
                  <a:lnTo>
                    <a:pt x="6583" y="13177"/>
                  </a:lnTo>
                  <a:cubicBezTo>
                    <a:pt x="2897" y="13177"/>
                    <a:pt x="0" y="10278"/>
                    <a:pt x="0" y="6588"/>
                  </a:cubicBezTo>
                  <a:cubicBezTo>
                    <a:pt x="0" y="2899"/>
                    <a:pt x="2897" y="0"/>
                    <a:pt x="6583" y="0"/>
                  </a:cubicBezTo>
                  <a:lnTo>
                    <a:pt x="10577392" y="0"/>
                  </a:lnTo>
                  <a:cubicBezTo>
                    <a:pt x="10581079" y="0"/>
                    <a:pt x="10583975" y="2899"/>
                    <a:pt x="10583975" y="6588"/>
                  </a:cubicBezTo>
                  <a:cubicBezTo>
                    <a:pt x="10583975" y="10278"/>
                    <a:pt x="10581079" y="13177"/>
                    <a:pt x="10577392" y="13177"/>
                  </a:cubicBezTo>
                  <a:close/>
                </a:path>
              </a:pathLst>
            </a:custGeom>
            <a:solidFill>
              <a:srgbClr val="FFFFFF"/>
            </a:solidFill>
            <a:ln w="13166" cap="flat">
              <a:noFill/>
              <a:prstDash val="solid"/>
              <a:miter/>
            </a:ln>
          </p:spPr>
          <p:txBody>
            <a:bodyPr rtlCol="0" anchor="ctr"/>
            <a:lstStyle/>
            <a:p>
              <a:endParaRPr lang="en-DK"/>
            </a:p>
          </p:txBody>
        </p:sp>
        <p:sp>
          <p:nvSpPr>
            <p:cNvPr id="1016" name="Freeform 1015">
              <a:extLst>
                <a:ext uri="{FF2B5EF4-FFF2-40B4-BE49-F238E27FC236}">
                  <a16:creationId xmlns:a16="http://schemas.microsoft.com/office/drawing/2014/main" id="{9566A0FE-5F9D-8B15-5BDF-125EEEE7FF02}"/>
                </a:ext>
              </a:extLst>
            </p:cNvPr>
            <p:cNvSpPr/>
            <p:nvPr/>
          </p:nvSpPr>
          <p:spPr>
            <a:xfrm>
              <a:off x="11682059" y="3750047"/>
              <a:ext cx="69063" cy="111446"/>
            </a:xfrm>
            <a:custGeom>
              <a:avLst/>
              <a:gdLst>
                <a:gd name="connsiteX0" fmla="*/ 6654 w 69063"/>
                <a:gd name="connsiteY0" fmla="*/ 111447 h 111446"/>
                <a:gd name="connsiteX1" fmla="*/ 1783 w 69063"/>
                <a:gd name="connsiteY1" fmla="*/ 109339 h 111446"/>
                <a:gd name="connsiteX2" fmla="*/ 2177 w 69063"/>
                <a:gd name="connsiteY2" fmla="*/ 99983 h 111446"/>
                <a:gd name="connsiteX3" fmla="*/ 49708 w 69063"/>
                <a:gd name="connsiteY3" fmla="*/ 55710 h 111446"/>
                <a:gd name="connsiteX4" fmla="*/ 2177 w 69063"/>
                <a:gd name="connsiteY4" fmla="*/ 11436 h 111446"/>
                <a:gd name="connsiteX5" fmla="*/ 1783 w 69063"/>
                <a:gd name="connsiteY5" fmla="*/ 2080 h 111446"/>
                <a:gd name="connsiteX6" fmla="*/ 11130 w 69063"/>
                <a:gd name="connsiteY6" fmla="*/ 1685 h 111446"/>
                <a:gd name="connsiteX7" fmla="*/ 69063 w 69063"/>
                <a:gd name="connsiteY7" fmla="*/ 55578 h 111446"/>
                <a:gd name="connsiteX8" fmla="*/ 11130 w 69063"/>
                <a:gd name="connsiteY8" fmla="*/ 109471 h 111446"/>
                <a:gd name="connsiteX9" fmla="*/ 6654 w 69063"/>
                <a:gd name="connsiteY9" fmla="*/ 111183 h 11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063" h="111446">
                  <a:moveTo>
                    <a:pt x="6654" y="111447"/>
                  </a:moveTo>
                  <a:cubicBezTo>
                    <a:pt x="4943" y="111447"/>
                    <a:pt x="3099" y="110788"/>
                    <a:pt x="1783" y="109339"/>
                  </a:cubicBezTo>
                  <a:cubicBezTo>
                    <a:pt x="-719" y="106703"/>
                    <a:pt x="-588" y="102487"/>
                    <a:pt x="2177" y="99983"/>
                  </a:cubicBezTo>
                  <a:lnTo>
                    <a:pt x="49708" y="55710"/>
                  </a:lnTo>
                  <a:lnTo>
                    <a:pt x="2177" y="11436"/>
                  </a:lnTo>
                  <a:cubicBezTo>
                    <a:pt x="-456" y="8932"/>
                    <a:pt x="-588" y="4848"/>
                    <a:pt x="1783" y="2080"/>
                  </a:cubicBezTo>
                  <a:cubicBezTo>
                    <a:pt x="4284" y="-555"/>
                    <a:pt x="8366" y="-687"/>
                    <a:pt x="11130" y="1685"/>
                  </a:cubicBezTo>
                  <a:lnTo>
                    <a:pt x="69063" y="55578"/>
                  </a:lnTo>
                  <a:lnTo>
                    <a:pt x="11130" y="109471"/>
                  </a:lnTo>
                  <a:cubicBezTo>
                    <a:pt x="9814" y="110656"/>
                    <a:pt x="8234" y="111183"/>
                    <a:pt x="6654" y="111183"/>
                  </a:cubicBezTo>
                  <a:close/>
                </a:path>
              </a:pathLst>
            </a:custGeom>
            <a:solidFill>
              <a:srgbClr val="FFFFFF"/>
            </a:solidFill>
            <a:ln w="13166" cap="flat">
              <a:noFill/>
              <a:prstDash val="solid"/>
              <a:miter/>
            </a:ln>
          </p:spPr>
          <p:txBody>
            <a:bodyPr rtlCol="0" anchor="ctr"/>
            <a:lstStyle/>
            <a:p>
              <a:endParaRPr lang="en-DK"/>
            </a:p>
          </p:txBody>
        </p:sp>
      </p:grpSp>
      <p:sp>
        <p:nvSpPr>
          <p:cNvPr id="1017" name="Freeform 1016">
            <a:extLst>
              <a:ext uri="{FF2B5EF4-FFF2-40B4-BE49-F238E27FC236}">
                <a16:creationId xmlns:a16="http://schemas.microsoft.com/office/drawing/2014/main" id="{7C3351E6-A923-47DC-134B-485875A8DCC6}"/>
              </a:ext>
            </a:extLst>
          </p:cNvPr>
          <p:cNvSpPr/>
          <p:nvPr/>
        </p:nvSpPr>
        <p:spPr>
          <a:xfrm>
            <a:off x="496814" y="3809172"/>
            <a:ext cx="671751" cy="13176"/>
          </a:xfrm>
          <a:custGeom>
            <a:avLst/>
            <a:gdLst>
              <a:gd name="connsiteX0" fmla="*/ 665169 w 671751"/>
              <a:gd name="connsiteY0" fmla="*/ 13177 h 13176"/>
              <a:gd name="connsiteX1" fmla="*/ 614478 w 671751"/>
              <a:gd name="connsiteY1" fmla="*/ 13177 h 13176"/>
              <a:gd name="connsiteX2" fmla="*/ 607895 w 671751"/>
              <a:gd name="connsiteY2" fmla="*/ 6588 h 13176"/>
              <a:gd name="connsiteX3" fmla="*/ 614478 w 671751"/>
              <a:gd name="connsiteY3" fmla="*/ 0 h 13176"/>
              <a:gd name="connsiteX4" fmla="*/ 665169 w 671751"/>
              <a:gd name="connsiteY4" fmla="*/ 0 h 13176"/>
              <a:gd name="connsiteX5" fmla="*/ 671752 w 671751"/>
              <a:gd name="connsiteY5" fmla="*/ 6588 h 13176"/>
              <a:gd name="connsiteX6" fmla="*/ 665169 w 671751"/>
              <a:gd name="connsiteY6" fmla="*/ 13177 h 13176"/>
              <a:gd name="connsiteX7" fmla="*/ 563919 w 671751"/>
              <a:gd name="connsiteY7" fmla="*/ 13177 h 13176"/>
              <a:gd name="connsiteX8" fmla="*/ 513228 w 671751"/>
              <a:gd name="connsiteY8" fmla="*/ 13177 h 13176"/>
              <a:gd name="connsiteX9" fmla="*/ 506645 w 671751"/>
              <a:gd name="connsiteY9" fmla="*/ 6588 h 13176"/>
              <a:gd name="connsiteX10" fmla="*/ 513228 w 671751"/>
              <a:gd name="connsiteY10" fmla="*/ 0 h 13176"/>
              <a:gd name="connsiteX11" fmla="*/ 563919 w 671751"/>
              <a:gd name="connsiteY11" fmla="*/ 0 h 13176"/>
              <a:gd name="connsiteX12" fmla="*/ 570502 w 671751"/>
              <a:gd name="connsiteY12" fmla="*/ 6588 h 13176"/>
              <a:gd name="connsiteX13" fmla="*/ 563919 w 671751"/>
              <a:gd name="connsiteY13" fmla="*/ 13177 h 13176"/>
              <a:gd name="connsiteX14" fmla="*/ 462537 w 671751"/>
              <a:gd name="connsiteY14" fmla="*/ 13177 h 13176"/>
              <a:gd name="connsiteX15" fmla="*/ 411846 w 671751"/>
              <a:gd name="connsiteY15" fmla="*/ 13177 h 13176"/>
              <a:gd name="connsiteX16" fmla="*/ 405263 w 671751"/>
              <a:gd name="connsiteY16" fmla="*/ 6588 h 13176"/>
              <a:gd name="connsiteX17" fmla="*/ 411846 w 671751"/>
              <a:gd name="connsiteY17" fmla="*/ 0 h 13176"/>
              <a:gd name="connsiteX18" fmla="*/ 462537 w 671751"/>
              <a:gd name="connsiteY18" fmla="*/ 0 h 13176"/>
              <a:gd name="connsiteX19" fmla="*/ 469120 w 671751"/>
              <a:gd name="connsiteY19" fmla="*/ 6588 h 13176"/>
              <a:gd name="connsiteX20" fmla="*/ 462537 w 671751"/>
              <a:gd name="connsiteY20" fmla="*/ 13177 h 13176"/>
              <a:gd name="connsiteX21" fmla="*/ 361287 w 671751"/>
              <a:gd name="connsiteY21" fmla="*/ 13177 h 13176"/>
              <a:gd name="connsiteX22" fmla="*/ 310596 w 671751"/>
              <a:gd name="connsiteY22" fmla="*/ 13177 h 13176"/>
              <a:gd name="connsiteX23" fmla="*/ 304013 w 671751"/>
              <a:gd name="connsiteY23" fmla="*/ 6588 h 13176"/>
              <a:gd name="connsiteX24" fmla="*/ 310596 w 671751"/>
              <a:gd name="connsiteY24" fmla="*/ 0 h 13176"/>
              <a:gd name="connsiteX25" fmla="*/ 361287 w 671751"/>
              <a:gd name="connsiteY25" fmla="*/ 0 h 13176"/>
              <a:gd name="connsiteX26" fmla="*/ 367870 w 671751"/>
              <a:gd name="connsiteY26" fmla="*/ 6588 h 13176"/>
              <a:gd name="connsiteX27" fmla="*/ 361287 w 671751"/>
              <a:gd name="connsiteY27" fmla="*/ 13177 h 13176"/>
              <a:gd name="connsiteX28" fmla="*/ 259906 w 671751"/>
              <a:gd name="connsiteY28" fmla="*/ 13177 h 13176"/>
              <a:gd name="connsiteX29" fmla="*/ 209215 w 671751"/>
              <a:gd name="connsiteY29" fmla="*/ 13177 h 13176"/>
              <a:gd name="connsiteX30" fmla="*/ 202632 w 671751"/>
              <a:gd name="connsiteY30" fmla="*/ 6588 h 13176"/>
              <a:gd name="connsiteX31" fmla="*/ 209215 w 671751"/>
              <a:gd name="connsiteY31" fmla="*/ 0 h 13176"/>
              <a:gd name="connsiteX32" fmla="*/ 259906 w 671751"/>
              <a:gd name="connsiteY32" fmla="*/ 0 h 13176"/>
              <a:gd name="connsiteX33" fmla="*/ 266489 w 671751"/>
              <a:gd name="connsiteY33" fmla="*/ 6588 h 13176"/>
              <a:gd name="connsiteX34" fmla="*/ 259906 w 671751"/>
              <a:gd name="connsiteY34" fmla="*/ 13177 h 13176"/>
              <a:gd name="connsiteX35" fmla="*/ 158524 w 671751"/>
              <a:gd name="connsiteY35" fmla="*/ 13177 h 13176"/>
              <a:gd name="connsiteX36" fmla="*/ 107833 w 671751"/>
              <a:gd name="connsiteY36" fmla="*/ 13177 h 13176"/>
              <a:gd name="connsiteX37" fmla="*/ 101250 w 671751"/>
              <a:gd name="connsiteY37" fmla="*/ 6588 h 13176"/>
              <a:gd name="connsiteX38" fmla="*/ 107833 w 671751"/>
              <a:gd name="connsiteY38" fmla="*/ 0 h 13176"/>
              <a:gd name="connsiteX39" fmla="*/ 158524 w 671751"/>
              <a:gd name="connsiteY39" fmla="*/ 0 h 13176"/>
              <a:gd name="connsiteX40" fmla="*/ 165107 w 671751"/>
              <a:gd name="connsiteY40" fmla="*/ 6588 h 13176"/>
              <a:gd name="connsiteX41" fmla="*/ 158524 w 671751"/>
              <a:gd name="connsiteY41" fmla="*/ 13177 h 13176"/>
              <a:gd name="connsiteX42" fmla="*/ 57274 w 671751"/>
              <a:gd name="connsiteY42" fmla="*/ 13177 h 13176"/>
              <a:gd name="connsiteX43" fmla="*/ 6583 w 671751"/>
              <a:gd name="connsiteY43" fmla="*/ 13177 h 13176"/>
              <a:gd name="connsiteX44" fmla="*/ 0 w 671751"/>
              <a:gd name="connsiteY44" fmla="*/ 6588 h 13176"/>
              <a:gd name="connsiteX45" fmla="*/ 6583 w 671751"/>
              <a:gd name="connsiteY45" fmla="*/ 0 h 13176"/>
              <a:gd name="connsiteX46" fmla="*/ 57274 w 671751"/>
              <a:gd name="connsiteY46" fmla="*/ 0 h 13176"/>
              <a:gd name="connsiteX47" fmla="*/ 63857 w 671751"/>
              <a:gd name="connsiteY47" fmla="*/ 6588 h 13176"/>
              <a:gd name="connsiteX48" fmla="*/ 57274 w 671751"/>
              <a:gd name="connsiteY48" fmla="*/ 13177 h 1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71751" h="13176">
                <a:moveTo>
                  <a:pt x="665169" y="13177"/>
                </a:moveTo>
                <a:lnTo>
                  <a:pt x="614478" y="13177"/>
                </a:lnTo>
                <a:cubicBezTo>
                  <a:pt x="610791" y="13177"/>
                  <a:pt x="607895" y="10278"/>
                  <a:pt x="607895" y="6588"/>
                </a:cubicBezTo>
                <a:cubicBezTo>
                  <a:pt x="607895" y="2899"/>
                  <a:pt x="610791" y="0"/>
                  <a:pt x="614478" y="0"/>
                </a:cubicBezTo>
                <a:lnTo>
                  <a:pt x="665169" y="0"/>
                </a:lnTo>
                <a:cubicBezTo>
                  <a:pt x="668855" y="0"/>
                  <a:pt x="671752" y="2899"/>
                  <a:pt x="671752" y="6588"/>
                </a:cubicBezTo>
                <a:cubicBezTo>
                  <a:pt x="671752" y="10278"/>
                  <a:pt x="668855" y="13177"/>
                  <a:pt x="665169" y="13177"/>
                </a:cubicBezTo>
                <a:close/>
                <a:moveTo>
                  <a:pt x="563919" y="13177"/>
                </a:moveTo>
                <a:lnTo>
                  <a:pt x="513228" y="13177"/>
                </a:lnTo>
                <a:cubicBezTo>
                  <a:pt x="509541" y="13177"/>
                  <a:pt x="506645" y="10278"/>
                  <a:pt x="506645" y="6588"/>
                </a:cubicBezTo>
                <a:cubicBezTo>
                  <a:pt x="506645" y="2899"/>
                  <a:pt x="509541" y="0"/>
                  <a:pt x="513228" y="0"/>
                </a:cubicBezTo>
                <a:lnTo>
                  <a:pt x="563919" y="0"/>
                </a:lnTo>
                <a:cubicBezTo>
                  <a:pt x="567605" y="0"/>
                  <a:pt x="570502" y="2899"/>
                  <a:pt x="570502" y="6588"/>
                </a:cubicBezTo>
                <a:cubicBezTo>
                  <a:pt x="570502" y="10278"/>
                  <a:pt x="567605" y="13177"/>
                  <a:pt x="563919" y="13177"/>
                </a:cubicBezTo>
                <a:close/>
                <a:moveTo>
                  <a:pt x="462537" y="13177"/>
                </a:moveTo>
                <a:lnTo>
                  <a:pt x="411846" y="13177"/>
                </a:lnTo>
                <a:cubicBezTo>
                  <a:pt x="408160" y="13177"/>
                  <a:pt x="405263" y="10278"/>
                  <a:pt x="405263" y="6588"/>
                </a:cubicBezTo>
                <a:cubicBezTo>
                  <a:pt x="405263" y="2899"/>
                  <a:pt x="408160" y="0"/>
                  <a:pt x="411846" y="0"/>
                </a:cubicBezTo>
                <a:lnTo>
                  <a:pt x="462537" y="0"/>
                </a:lnTo>
                <a:cubicBezTo>
                  <a:pt x="466224" y="0"/>
                  <a:pt x="469120" y="2899"/>
                  <a:pt x="469120" y="6588"/>
                </a:cubicBezTo>
                <a:cubicBezTo>
                  <a:pt x="469120" y="10278"/>
                  <a:pt x="466224" y="13177"/>
                  <a:pt x="462537" y="13177"/>
                </a:cubicBezTo>
                <a:close/>
                <a:moveTo>
                  <a:pt x="361287" y="13177"/>
                </a:moveTo>
                <a:lnTo>
                  <a:pt x="310596" y="13177"/>
                </a:lnTo>
                <a:cubicBezTo>
                  <a:pt x="306910" y="13177"/>
                  <a:pt x="304013" y="10278"/>
                  <a:pt x="304013" y="6588"/>
                </a:cubicBezTo>
                <a:cubicBezTo>
                  <a:pt x="304013" y="2899"/>
                  <a:pt x="306910" y="0"/>
                  <a:pt x="310596" y="0"/>
                </a:cubicBezTo>
                <a:lnTo>
                  <a:pt x="361287" y="0"/>
                </a:lnTo>
                <a:cubicBezTo>
                  <a:pt x="364974" y="0"/>
                  <a:pt x="367870" y="2899"/>
                  <a:pt x="367870" y="6588"/>
                </a:cubicBezTo>
                <a:cubicBezTo>
                  <a:pt x="367870" y="10278"/>
                  <a:pt x="364974" y="13177"/>
                  <a:pt x="361287" y="13177"/>
                </a:cubicBezTo>
                <a:close/>
                <a:moveTo>
                  <a:pt x="259906" y="13177"/>
                </a:moveTo>
                <a:lnTo>
                  <a:pt x="209215" y="13177"/>
                </a:lnTo>
                <a:cubicBezTo>
                  <a:pt x="205528" y="13177"/>
                  <a:pt x="202632" y="10278"/>
                  <a:pt x="202632" y="6588"/>
                </a:cubicBezTo>
                <a:cubicBezTo>
                  <a:pt x="202632" y="2899"/>
                  <a:pt x="205528" y="0"/>
                  <a:pt x="209215" y="0"/>
                </a:cubicBezTo>
                <a:lnTo>
                  <a:pt x="259906" y="0"/>
                </a:lnTo>
                <a:cubicBezTo>
                  <a:pt x="263592" y="0"/>
                  <a:pt x="266489" y="2899"/>
                  <a:pt x="266489" y="6588"/>
                </a:cubicBezTo>
                <a:cubicBezTo>
                  <a:pt x="266489" y="10278"/>
                  <a:pt x="263592" y="13177"/>
                  <a:pt x="259906" y="13177"/>
                </a:cubicBezTo>
                <a:close/>
                <a:moveTo>
                  <a:pt x="158524" y="13177"/>
                </a:moveTo>
                <a:lnTo>
                  <a:pt x="107833" y="13177"/>
                </a:lnTo>
                <a:cubicBezTo>
                  <a:pt x="104147" y="13177"/>
                  <a:pt x="101250" y="10278"/>
                  <a:pt x="101250" y="6588"/>
                </a:cubicBezTo>
                <a:cubicBezTo>
                  <a:pt x="101250" y="2899"/>
                  <a:pt x="104147" y="0"/>
                  <a:pt x="107833" y="0"/>
                </a:cubicBezTo>
                <a:lnTo>
                  <a:pt x="158524" y="0"/>
                </a:lnTo>
                <a:cubicBezTo>
                  <a:pt x="162211" y="0"/>
                  <a:pt x="165107" y="2899"/>
                  <a:pt x="165107" y="6588"/>
                </a:cubicBezTo>
                <a:cubicBezTo>
                  <a:pt x="165107" y="10278"/>
                  <a:pt x="162211" y="13177"/>
                  <a:pt x="158524" y="13177"/>
                </a:cubicBezTo>
                <a:close/>
                <a:moveTo>
                  <a:pt x="57274" y="13177"/>
                </a:moveTo>
                <a:lnTo>
                  <a:pt x="6583" y="13177"/>
                </a:lnTo>
                <a:cubicBezTo>
                  <a:pt x="2897" y="13177"/>
                  <a:pt x="0" y="10278"/>
                  <a:pt x="0" y="6588"/>
                </a:cubicBezTo>
                <a:cubicBezTo>
                  <a:pt x="0" y="2899"/>
                  <a:pt x="2897" y="0"/>
                  <a:pt x="6583" y="0"/>
                </a:cubicBezTo>
                <a:lnTo>
                  <a:pt x="57274" y="0"/>
                </a:lnTo>
                <a:cubicBezTo>
                  <a:pt x="60961" y="0"/>
                  <a:pt x="63857" y="2899"/>
                  <a:pt x="63857" y="6588"/>
                </a:cubicBezTo>
                <a:cubicBezTo>
                  <a:pt x="63857" y="10278"/>
                  <a:pt x="60961" y="13177"/>
                  <a:pt x="57274" y="13177"/>
                </a:cubicBezTo>
                <a:close/>
              </a:path>
            </a:pathLst>
          </a:custGeom>
          <a:solidFill>
            <a:srgbClr val="FFFFFF"/>
          </a:solidFill>
          <a:ln w="13166" cap="flat">
            <a:noFill/>
            <a:prstDash val="solid"/>
            <a:miter/>
          </a:ln>
        </p:spPr>
        <p:txBody>
          <a:bodyPr rtlCol="0" anchor="ctr"/>
          <a:lstStyle/>
          <a:p>
            <a:endParaRPr lang="en-DK"/>
          </a:p>
        </p:txBody>
      </p:sp>
      <p:grpSp>
        <p:nvGrpSpPr>
          <p:cNvPr id="1044" name="Group 1043">
            <a:extLst>
              <a:ext uri="{FF2B5EF4-FFF2-40B4-BE49-F238E27FC236}">
                <a16:creationId xmlns:a16="http://schemas.microsoft.com/office/drawing/2014/main" id="{F6D3F053-6EA2-7E85-140B-55473E4E89D8}"/>
              </a:ext>
            </a:extLst>
          </p:cNvPr>
          <p:cNvGrpSpPr/>
          <p:nvPr/>
        </p:nvGrpSpPr>
        <p:grpSpPr>
          <a:xfrm>
            <a:off x="9531001" y="2147285"/>
            <a:ext cx="1273985" cy="1668308"/>
            <a:chOff x="4354869" y="2147285"/>
            <a:chExt cx="1273985" cy="1668308"/>
          </a:xfrm>
        </p:grpSpPr>
        <p:grpSp>
          <p:nvGrpSpPr>
            <p:cNvPr id="1045" name="Graphic 6">
              <a:extLst>
                <a:ext uri="{FF2B5EF4-FFF2-40B4-BE49-F238E27FC236}">
                  <a16:creationId xmlns:a16="http://schemas.microsoft.com/office/drawing/2014/main" id="{8D54F859-9182-DC67-295A-66C718E02A73}"/>
                </a:ext>
              </a:extLst>
            </p:cNvPr>
            <p:cNvGrpSpPr/>
            <p:nvPr/>
          </p:nvGrpSpPr>
          <p:grpSpPr>
            <a:xfrm>
              <a:off x="4354869" y="2147285"/>
              <a:ext cx="1273985" cy="1492653"/>
              <a:chOff x="4348948" y="2130079"/>
              <a:chExt cx="1273985" cy="1492653"/>
            </a:xfrm>
          </p:grpSpPr>
          <p:sp>
            <p:nvSpPr>
              <p:cNvPr id="1047" name="Freeform 1046">
                <a:extLst>
                  <a:ext uri="{FF2B5EF4-FFF2-40B4-BE49-F238E27FC236}">
                    <a16:creationId xmlns:a16="http://schemas.microsoft.com/office/drawing/2014/main" id="{56655BA6-08FD-6D3E-FEA7-6AC1B5BAFA1E}"/>
                  </a:ext>
                </a:extLst>
              </p:cNvPr>
              <p:cNvSpPr/>
              <p:nvPr/>
            </p:nvSpPr>
            <p:spPr>
              <a:xfrm>
                <a:off x="4804243" y="2130079"/>
                <a:ext cx="338772" cy="410717"/>
              </a:xfrm>
              <a:custGeom>
                <a:avLst/>
                <a:gdLst>
                  <a:gd name="connsiteX0" fmla="*/ 0 w 338772"/>
                  <a:gd name="connsiteY0" fmla="*/ 240870 h 410717"/>
                  <a:gd name="connsiteX1" fmla="*/ 169584 w 338772"/>
                  <a:gd name="connsiteY1" fmla="*/ 410717 h 410717"/>
                  <a:gd name="connsiteX2" fmla="*/ 338773 w 338772"/>
                  <a:gd name="connsiteY2" fmla="*/ 241397 h 410717"/>
                  <a:gd name="connsiteX3" fmla="*/ 169189 w 338772"/>
                  <a:gd name="connsiteY3" fmla="*/ 0 h 410717"/>
                  <a:gd name="connsiteX4" fmla="*/ 0 w 338772"/>
                  <a:gd name="connsiteY4" fmla="*/ 240870 h 410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772" h="410717">
                    <a:moveTo>
                      <a:pt x="0" y="240870"/>
                    </a:moveTo>
                    <a:lnTo>
                      <a:pt x="169584" y="410717"/>
                    </a:lnTo>
                    <a:lnTo>
                      <a:pt x="338773" y="241397"/>
                    </a:lnTo>
                    <a:lnTo>
                      <a:pt x="169189" y="0"/>
                    </a:lnTo>
                    <a:lnTo>
                      <a:pt x="0" y="240870"/>
                    </a:lnTo>
                    <a:close/>
                  </a:path>
                </a:pathLst>
              </a:custGeom>
              <a:solidFill>
                <a:srgbClr val="2878FF">
                  <a:alpha val="49872"/>
                </a:srgbClr>
              </a:solidFill>
              <a:ln w="13166" cap="flat">
                <a:noFill/>
                <a:prstDash val="solid"/>
                <a:miter/>
              </a:ln>
            </p:spPr>
            <p:txBody>
              <a:bodyPr rtlCol="0" anchor="ctr"/>
              <a:lstStyle/>
              <a:p>
                <a:endParaRPr lang="en-DK"/>
              </a:p>
            </p:txBody>
          </p:sp>
          <p:sp>
            <p:nvSpPr>
              <p:cNvPr id="1048" name="Freeform 1047">
                <a:extLst>
                  <a:ext uri="{FF2B5EF4-FFF2-40B4-BE49-F238E27FC236}">
                    <a16:creationId xmlns:a16="http://schemas.microsoft.com/office/drawing/2014/main" id="{CC30F6AD-6FDC-1978-B23D-BCE6C5F4FEB5}"/>
                  </a:ext>
                </a:extLst>
              </p:cNvPr>
              <p:cNvSpPr/>
              <p:nvPr/>
            </p:nvSpPr>
            <p:spPr>
              <a:xfrm>
                <a:off x="4362114" y="2360934"/>
                <a:ext cx="1247652" cy="1248622"/>
              </a:xfrm>
              <a:custGeom>
                <a:avLst/>
                <a:gdLst>
                  <a:gd name="connsiteX0" fmla="*/ 1247652 w 1247652"/>
                  <a:gd name="connsiteY0" fmla="*/ 624311 h 1248622"/>
                  <a:gd name="connsiteX1" fmla="*/ 623826 w 1247652"/>
                  <a:gd name="connsiteY1" fmla="*/ 0 h 1248622"/>
                  <a:gd name="connsiteX2" fmla="*/ 0 w 1247652"/>
                  <a:gd name="connsiteY2" fmla="*/ 624311 h 1248622"/>
                  <a:gd name="connsiteX3" fmla="*/ 623826 w 1247652"/>
                  <a:gd name="connsiteY3" fmla="*/ 1248622 h 1248622"/>
                  <a:gd name="connsiteX4" fmla="*/ 1247652 w 1247652"/>
                  <a:gd name="connsiteY4" fmla="*/ 624311 h 1248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7652" h="1248622">
                    <a:moveTo>
                      <a:pt x="1247652" y="624311"/>
                    </a:moveTo>
                    <a:cubicBezTo>
                      <a:pt x="1247652" y="279477"/>
                      <a:pt x="968392" y="0"/>
                      <a:pt x="623826" y="0"/>
                    </a:cubicBezTo>
                    <a:cubicBezTo>
                      <a:pt x="279260" y="0"/>
                      <a:pt x="0" y="279477"/>
                      <a:pt x="0" y="624311"/>
                    </a:cubicBezTo>
                    <a:cubicBezTo>
                      <a:pt x="0" y="969145"/>
                      <a:pt x="279260" y="1248622"/>
                      <a:pt x="623826" y="1248622"/>
                    </a:cubicBezTo>
                    <a:cubicBezTo>
                      <a:pt x="968392" y="1248622"/>
                      <a:pt x="1247652" y="969145"/>
                      <a:pt x="1247652" y="624311"/>
                    </a:cubicBezTo>
                  </a:path>
                </a:pathLst>
              </a:custGeom>
              <a:solidFill>
                <a:srgbClr val="001965"/>
              </a:solidFill>
              <a:ln w="13166" cap="flat">
                <a:noFill/>
                <a:prstDash val="solid"/>
                <a:miter/>
              </a:ln>
            </p:spPr>
            <p:txBody>
              <a:bodyPr rtlCol="0" anchor="ctr"/>
              <a:lstStyle/>
              <a:p>
                <a:endParaRPr lang="en-DK"/>
              </a:p>
            </p:txBody>
          </p:sp>
          <p:sp>
            <p:nvSpPr>
              <p:cNvPr id="1049" name="Freeform 1048">
                <a:extLst>
                  <a:ext uri="{FF2B5EF4-FFF2-40B4-BE49-F238E27FC236}">
                    <a16:creationId xmlns:a16="http://schemas.microsoft.com/office/drawing/2014/main" id="{CA790F93-F431-D407-380A-B529019AB7E7}"/>
                  </a:ext>
                </a:extLst>
              </p:cNvPr>
              <p:cNvSpPr/>
              <p:nvPr/>
            </p:nvSpPr>
            <p:spPr>
              <a:xfrm>
                <a:off x="4348948" y="2347757"/>
                <a:ext cx="1273985" cy="1274975"/>
              </a:xfrm>
              <a:custGeom>
                <a:avLst/>
                <a:gdLst>
                  <a:gd name="connsiteX0" fmla="*/ 1260819 w 1273985"/>
                  <a:gd name="connsiteY0" fmla="*/ 637488 h 1274975"/>
                  <a:gd name="connsiteX1" fmla="*/ 1247652 w 1273985"/>
                  <a:gd name="connsiteY1" fmla="*/ 637488 h 1274975"/>
                  <a:gd name="connsiteX2" fmla="*/ 636993 w 1273985"/>
                  <a:gd name="connsiteY2" fmla="*/ 26353 h 1274975"/>
                  <a:gd name="connsiteX3" fmla="*/ 26333 w 1273985"/>
                  <a:gd name="connsiteY3" fmla="*/ 637488 h 1274975"/>
                  <a:gd name="connsiteX4" fmla="*/ 636993 w 1273985"/>
                  <a:gd name="connsiteY4" fmla="*/ 1248622 h 1274975"/>
                  <a:gd name="connsiteX5" fmla="*/ 1247652 w 1273985"/>
                  <a:gd name="connsiteY5" fmla="*/ 637488 h 1274975"/>
                  <a:gd name="connsiteX6" fmla="*/ 1273985 w 1273985"/>
                  <a:gd name="connsiteY6" fmla="*/ 637488 h 1274975"/>
                  <a:gd name="connsiteX7" fmla="*/ 636993 w 1273985"/>
                  <a:gd name="connsiteY7" fmla="*/ 1274976 h 1274975"/>
                  <a:gd name="connsiteX8" fmla="*/ 0 w 1273985"/>
                  <a:gd name="connsiteY8" fmla="*/ 637488 h 1274975"/>
                  <a:gd name="connsiteX9" fmla="*/ 636993 w 1273985"/>
                  <a:gd name="connsiteY9" fmla="*/ 0 h 1274975"/>
                  <a:gd name="connsiteX10" fmla="*/ 1273985 w 1273985"/>
                  <a:gd name="connsiteY10" fmla="*/ 637488 h 1274975"/>
                  <a:gd name="connsiteX11" fmla="*/ 1260819 w 1273985"/>
                  <a:gd name="connsiteY11" fmla="*/ 637488 h 127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3985" h="1274975">
                    <a:moveTo>
                      <a:pt x="1260819" y="637488"/>
                    </a:moveTo>
                    <a:lnTo>
                      <a:pt x="1247652" y="637488"/>
                    </a:lnTo>
                    <a:cubicBezTo>
                      <a:pt x="1246994" y="300033"/>
                      <a:pt x="974317" y="27012"/>
                      <a:pt x="636993" y="26353"/>
                    </a:cubicBezTo>
                    <a:cubicBezTo>
                      <a:pt x="299800" y="27012"/>
                      <a:pt x="26991" y="299901"/>
                      <a:pt x="26333" y="637488"/>
                    </a:cubicBezTo>
                    <a:cubicBezTo>
                      <a:pt x="26991" y="974943"/>
                      <a:pt x="299668" y="1247963"/>
                      <a:pt x="636993" y="1248622"/>
                    </a:cubicBezTo>
                    <a:cubicBezTo>
                      <a:pt x="974185" y="1247963"/>
                      <a:pt x="1246994" y="975074"/>
                      <a:pt x="1247652" y="637488"/>
                    </a:cubicBezTo>
                    <a:lnTo>
                      <a:pt x="1273985" y="637488"/>
                    </a:lnTo>
                    <a:cubicBezTo>
                      <a:pt x="1273985" y="989569"/>
                      <a:pt x="988800" y="1274976"/>
                      <a:pt x="636993" y="1274976"/>
                    </a:cubicBezTo>
                    <a:cubicBezTo>
                      <a:pt x="285185" y="1274976"/>
                      <a:pt x="0" y="989569"/>
                      <a:pt x="0" y="637488"/>
                    </a:cubicBezTo>
                    <a:cubicBezTo>
                      <a:pt x="0" y="285407"/>
                      <a:pt x="285185" y="0"/>
                      <a:pt x="636993" y="0"/>
                    </a:cubicBezTo>
                    <a:cubicBezTo>
                      <a:pt x="988800" y="0"/>
                      <a:pt x="1273985" y="285407"/>
                      <a:pt x="1273985" y="637488"/>
                    </a:cubicBezTo>
                    <a:lnTo>
                      <a:pt x="1260819" y="637488"/>
                    </a:lnTo>
                    <a:close/>
                  </a:path>
                </a:pathLst>
              </a:custGeom>
              <a:gradFill>
                <a:gsLst>
                  <a:gs pos="0">
                    <a:srgbClr val="F3E700"/>
                  </a:gs>
                  <a:gs pos="33000">
                    <a:srgbClr val="8CC3CA"/>
                  </a:gs>
                  <a:gs pos="67000">
                    <a:srgbClr val="2878FF"/>
                  </a:gs>
                  <a:gs pos="100000">
                    <a:srgbClr val="E229E2"/>
                  </a:gs>
                </a:gsLst>
                <a:lin ang="16200000" scaled="1"/>
              </a:gradFill>
              <a:ln w="13166" cap="flat">
                <a:noFill/>
                <a:prstDash val="solid"/>
                <a:miter/>
              </a:ln>
            </p:spPr>
            <p:txBody>
              <a:bodyPr rtlCol="0" anchor="ctr"/>
              <a:lstStyle/>
              <a:p>
                <a:endParaRPr lang="en-DK"/>
              </a:p>
            </p:txBody>
          </p:sp>
        </p:grpSp>
        <p:sp>
          <p:nvSpPr>
            <p:cNvPr id="1046" name="Freeform 1045">
              <a:extLst>
                <a:ext uri="{FF2B5EF4-FFF2-40B4-BE49-F238E27FC236}">
                  <a16:creationId xmlns:a16="http://schemas.microsoft.com/office/drawing/2014/main" id="{E2605B5E-FFED-761E-B898-14BB322700E4}"/>
                </a:ext>
              </a:extLst>
            </p:cNvPr>
            <p:cNvSpPr/>
            <p:nvPr/>
          </p:nvSpPr>
          <p:spPr>
            <a:xfrm>
              <a:off x="4982134" y="3637577"/>
              <a:ext cx="13166" cy="178016"/>
            </a:xfrm>
            <a:custGeom>
              <a:avLst/>
              <a:gdLst>
                <a:gd name="connsiteX0" fmla="*/ 6583 w 13166"/>
                <a:gd name="connsiteY0" fmla="*/ 178017 h 178016"/>
                <a:gd name="connsiteX1" fmla="*/ 0 w 13166"/>
                <a:gd name="connsiteY1" fmla="*/ 171429 h 178016"/>
                <a:gd name="connsiteX2" fmla="*/ 0 w 13166"/>
                <a:gd name="connsiteY2" fmla="*/ 6588 h 178016"/>
                <a:gd name="connsiteX3" fmla="*/ 6583 w 13166"/>
                <a:gd name="connsiteY3" fmla="*/ 0 h 178016"/>
                <a:gd name="connsiteX4" fmla="*/ 13166 w 13166"/>
                <a:gd name="connsiteY4" fmla="*/ 6588 h 178016"/>
                <a:gd name="connsiteX5" fmla="*/ 13166 w 13166"/>
                <a:gd name="connsiteY5" fmla="*/ 171429 h 178016"/>
                <a:gd name="connsiteX6" fmla="*/ 6583 w 13166"/>
                <a:gd name="connsiteY6" fmla="*/ 178017 h 17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66" h="178016">
                  <a:moveTo>
                    <a:pt x="6583" y="178017"/>
                  </a:moveTo>
                  <a:cubicBezTo>
                    <a:pt x="2897" y="178017"/>
                    <a:pt x="0" y="175118"/>
                    <a:pt x="0" y="171429"/>
                  </a:cubicBezTo>
                  <a:lnTo>
                    <a:pt x="0" y="6588"/>
                  </a:lnTo>
                  <a:cubicBezTo>
                    <a:pt x="0" y="2899"/>
                    <a:pt x="2897" y="0"/>
                    <a:pt x="6583" y="0"/>
                  </a:cubicBezTo>
                  <a:cubicBezTo>
                    <a:pt x="10270" y="0"/>
                    <a:pt x="13166" y="2899"/>
                    <a:pt x="13166" y="6588"/>
                  </a:cubicBezTo>
                  <a:lnTo>
                    <a:pt x="13166" y="171429"/>
                  </a:lnTo>
                  <a:cubicBezTo>
                    <a:pt x="13166" y="175118"/>
                    <a:pt x="10270" y="178017"/>
                    <a:pt x="6583" y="178017"/>
                  </a:cubicBezTo>
                  <a:close/>
                </a:path>
              </a:pathLst>
            </a:custGeom>
            <a:solidFill>
              <a:srgbClr val="FFFFFF"/>
            </a:solidFill>
            <a:ln w="13166" cap="flat">
              <a:noFill/>
              <a:prstDash val="solid"/>
              <a:miter/>
            </a:ln>
          </p:spPr>
          <p:txBody>
            <a:bodyPr rtlCol="0" anchor="ctr"/>
            <a:lstStyle/>
            <a:p>
              <a:endParaRPr lang="en-DK"/>
            </a:p>
          </p:txBody>
        </p:sp>
      </p:grpSp>
      <p:sp>
        <p:nvSpPr>
          <p:cNvPr id="1050" name="TextBox 1049">
            <a:extLst>
              <a:ext uri="{FF2B5EF4-FFF2-40B4-BE49-F238E27FC236}">
                <a16:creationId xmlns:a16="http://schemas.microsoft.com/office/drawing/2014/main" id="{6E7DCB37-4B55-CCE1-7053-13B984F03756}"/>
              </a:ext>
            </a:extLst>
          </p:cNvPr>
          <p:cNvSpPr txBox="1"/>
          <p:nvPr/>
        </p:nvSpPr>
        <p:spPr>
          <a:xfrm>
            <a:off x="1719830" y="5495977"/>
            <a:ext cx="2396135" cy="830997"/>
          </a:xfrm>
          <a:prstGeom prst="rect">
            <a:avLst/>
          </a:prstGeom>
          <a:solidFill>
            <a:schemeClr val="tx1"/>
          </a:solidFill>
        </p:spPr>
        <p:txBody>
          <a:bodyPr wrap="square" rtlCol="0">
            <a:spAutoFit/>
          </a:bodyPr>
          <a:lstStyle/>
          <a:p>
            <a:pPr algn="ctr"/>
            <a:r>
              <a:rPr lang="en-US" sz="1200">
                <a:solidFill>
                  <a:schemeClr val="bg1"/>
                </a:solidFill>
                <a:latin typeface="Avenir Next LT Pro" panose="020B0504020202020204" pitchFamily="34" charset="77"/>
              </a:rPr>
              <a:t>Appointment of C</a:t>
            </a:r>
            <a:r>
              <a:rPr lang="en-DK" sz="1200">
                <a:solidFill>
                  <a:schemeClr val="bg1"/>
                </a:solidFill>
                <a:latin typeface="Avenir Next LT Pro" panose="020B0504020202020204" pitchFamily="34" charset="77"/>
              </a:rPr>
              <a:t>DMO Thomas Langenickel to </a:t>
            </a:r>
            <a:r>
              <a:rPr lang="en-US" sz="1200">
                <a:solidFill>
                  <a:schemeClr val="bg1"/>
                </a:solidFill>
                <a:latin typeface="Avenir Next LT Pro" panose="020B0504020202020204" pitchFamily="34" charset="77"/>
              </a:rPr>
              <a:t>strengthen</a:t>
            </a:r>
            <a:r>
              <a:rPr lang="en-DK" sz="1200">
                <a:solidFill>
                  <a:schemeClr val="bg1"/>
                </a:solidFill>
                <a:latin typeface="Avenir Next LT Pro" panose="020B0504020202020204" pitchFamily="34" charset="77"/>
              </a:rPr>
              <a:t> </a:t>
            </a:r>
            <a:r>
              <a:rPr lang="en-US" sz="1200">
                <a:solidFill>
                  <a:schemeClr val="bg1"/>
                </a:solidFill>
                <a:latin typeface="Avenir Next LT Pro" panose="020B0504020202020204" pitchFamily="34" charset="77"/>
              </a:rPr>
              <a:t>clinical development capabilities </a:t>
            </a:r>
            <a:endParaRPr lang="en-GB" sz="1200">
              <a:solidFill>
                <a:schemeClr val="bg1"/>
              </a:solidFill>
              <a:latin typeface="Avenir Next LT Pro" panose="020B0504020202020204" pitchFamily="34" charset="77"/>
            </a:endParaRPr>
          </a:p>
        </p:txBody>
      </p:sp>
      <p:grpSp>
        <p:nvGrpSpPr>
          <p:cNvPr id="1082" name="Group 1081">
            <a:extLst>
              <a:ext uri="{FF2B5EF4-FFF2-40B4-BE49-F238E27FC236}">
                <a16:creationId xmlns:a16="http://schemas.microsoft.com/office/drawing/2014/main" id="{100F7D19-A769-165A-1514-6E8D51A26F7C}"/>
              </a:ext>
            </a:extLst>
          </p:cNvPr>
          <p:cNvGrpSpPr/>
          <p:nvPr/>
        </p:nvGrpSpPr>
        <p:grpSpPr>
          <a:xfrm>
            <a:off x="2281833" y="3814940"/>
            <a:ext cx="1273985" cy="1653904"/>
            <a:chOff x="2120001" y="3814940"/>
            <a:chExt cx="1273985" cy="1653904"/>
          </a:xfrm>
        </p:grpSpPr>
        <p:sp>
          <p:nvSpPr>
            <p:cNvPr id="1081" name="Freeform 1080">
              <a:extLst>
                <a:ext uri="{FF2B5EF4-FFF2-40B4-BE49-F238E27FC236}">
                  <a16:creationId xmlns:a16="http://schemas.microsoft.com/office/drawing/2014/main" id="{5F3975BE-9368-FDB6-CF27-5D0BBDE9E6F3}"/>
                </a:ext>
              </a:extLst>
            </p:cNvPr>
            <p:cNvSpPr/>
            <p:nvPr/>
          </p:nvSpPr>
          <p:spPr>
            <a:xfrm>
              <a:off x="2756066" y="3814940"/>
              <a:ext cx="13166" cy="178016"/>
            </a:xfrm>
            <a:custGeom>
              <a:avLst/>
              <a:gdLst>
                <a:gd name="connsiteX0" fmla="*/ 6583 w 13166"/>
                <a:gd name="connsiteY0" fmla="*/ 178017 h 178016"/>
                <a:gd name="connsiteX1" fmla="*/ 0 w 13166"/>
                <a:gd name="connsiteY1" fmla="*/ 171429 h 178016"/>
                <a:gd name="connsiteX2" fmla="*/ 0 w 13166"/>
                <a:gd name="connsiteY2" fmla="*/ 6588 h 178016"/>
                <a:gd name="connsiteX3" fmla="*/ 6583 w 13166"/>
                <a:gd name="connsiteY3" fmla="*/ 0 h 178016"/>
                <a:gd name="connsiteX4" fmla="*/ 13166 w 13166"/>
                <a:gd name="connsiteY4" fmla="*/ 6588 h 178016"/>
                <a:gd name="connsiteX5" fmla="*/ 13166 w 13166"/>
                <a:gd name="connsiteY5" fmla="*/ 171429 h 178016"/>
                <a:gd name="connsiteX6" fmla="*/ 6583 w 13166"/>
                <a:gd name="connsiteY6" fmla="*/ 178017 h 17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66" h="178016">
                  <a:moveTo>
                    <a:pt x="6583" y="178017"/>
                  </a:moveTo>
                  <a:cubicBezTo>
                    <a:pt x="2897" y="178017"/>
                    <a:pt x="0" y="175118"/>
                    <a:pt x="0" y="171429"/>
                  </a:cubicBezTo>
                  <a:lnTo>
                    <a:pt x="0" y="6588"/>
                  </a:lnTo>
                  <a:cubicBezTo>
                    <a:pt x="0" y="2899"/>
                    <a:pt x="2897" y="0"/>
                    <a:pt x="6583" y="0"/>
                  </a:cubicBezTo>
                  <a:cubicBezTo>
                    <a:pt x="10270" y="0"/>
                    <a:pt x="13166" y="2899"/>
                    <a:pt x="13166" y="6588"/>
                  </a:cubicBezTo>
                  <a:lnTo>
                    <a:pt x="13166" y="171429"/>
                  </a:lnTo>
                  <a:cubicBezTo>
                    <a:pt x="13166" y="175118"/>
                    <a:pt x="10270" y="178017"/>
                    <a:pt x="6583" y="178017"/>
                  </a:cubicBezTo>
                  <a:close/>
                </a:path>
              </a:pathLst>
            </a:custGeom>
            <a:solidFill>
              <a:srgbClr val="FFFFFF"/>
            </a:solidFill>
            <a:ln w="13166" cap="flat">
              <a:noFill/>
              <a:prstDash val="solid"/>
              <a:miter/>
            </a:ln>
          </p:spPr>
          <p:txBody>
            <a:bodyPr rtlCol="0" anchor="ctr"/>
            <a:lstStyle/>
            <a:p>
              <a:endParaRPr lang="en-DK"/>
            </a:p>
          </p:txBody>
        </p:sp>
        <p:grpSp>
          <p:nvGrpSpPr>
            <p:cNvPr id="1070" name="Graphic 6">
              <a:extLst>
                <a:ext uri="{FF2B5EF4-FFF2-40B4-BE49-F238E27FC236}">
                  <a16:creationId xmlns:a16="http://schemas.microsoft.com/office/drawing/2014/main" id="{0A80C3A0-10FE-D8C9-E9AC-F081F4C2CA07}"/>
                </a:ext>
              </a:extLst>
            </p:cNvPr>
            <p:cNvGrpSpPr/>
            <p:nvPr/>
          </p:nvGrpSpPr>
          <p:grpSpPr>
            <a:xfrm rot="10800000">
              <a:off x="2120001" y="3976191"/>
              <a:ext cx="1273985" cy="1492653"/>
              <a:chOff x="4348948" y="2130079"/>
              <a:chExt cx="1273985" cy="1492653"/>
            </a:xfrm>
          </p:grpSpPr>
          <p:sp>
            <p:nvSpPr>
              <p:cNvPr id="1071" name="Freeform 1070">
                <a:extLst>
                  <a:ext uri="{FF2B5EF4-FFF2-40B4-BE49-F238E27FC236}">
                    <a16:creationId xmlns:a16="http://schemas.microsoft.com/office/drawing/2014/main" id="{0AB48B78-1BE7-4511-B411-2B5555D68E6B}"/>
                  </a:ext>
                </a:extLst>
              </p:cNvPr>
              <p:cNvSpPr/>
              <p:nvPr/>
            </p:nvSpPr>
            <p:spPr>
              <a:xfrm>
                <a:off x="4804243" y="2130079"/>
                <a:ext cx="338772" cy="410717"/>
              </a:xfrm>
              <a:custGeom>
                <a:avLst/>
                <a:gdLst>
                  <a:gd name="connsiteX0" fmla="*/ 0 w 338772"/>
                  <a:gd name="connsiteY0" fmla="*/ 240870 h 410717"/>
                  <a:gd name="connsiteX1" fmla="*/ 169584 w 338772"/>
                  <a:gd name="connsiteY1" fmla="*/ 410717 h 410717"/>
                  <a:gd name="connsiteX2" fmla="*/ 338773 w 338772"/>
                  <a:gd name="connsiteY2" fmla="*/ 241397 h 410717"/>
                  <a:gd name="connsiteX3" fmla="*/ 169189 w 338772"/>
                  <a:gd name="connsiteY3" fmla="*/ 0 h 410717"/>
                  <a:gd name="connsiteX4" fmla="*/ 0 w 338772"/>
                  <a:gd name="connsiteY4" fmla="*/ 240870 h 410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772" h="410717">
                    <a:moveTo>
                      <a:pt x="0" y="240870"/>
                    </a:moveTo>
                    <a:lnTo>
                      <a:pt x="169584" y="410717"/>
                    </a:lnTo>
                    <a:lnTo>
                      <a:pt x="338773" y="241397"/>
                    </a:lnTo>
                    <a:lnTo>
                      <a:pt x="169189" y="0"/>
                    </a:lnTo>
                    <a:lnTo>
                      <a:pt x="0" y="240870"/>
                    </a:lnTo>
                    <a:close/>
                  </a:path>
                </a:pathLst>
              </a:custGeom>
              <a:solidFill>
                <a:srgbClr val="2878FF">
                  <a:alpha val="49872"/>
                </a:srgbClr>
              </a:solidFill>
              <a:ln w="13166" cap="flat">
                <a:noFill/>
                <a:prstDash val="solid"/>
                <a:miter/>
              </a:ln>
            </p:spPr>
            <p:txBody>
              <a:bodyPr rtlCol="0" anchor="ctr"/>
              <a:lstStyle/>
              <a:p>
                <a:endParaRPr lang="en-DK"/>
              </a:p>
            </p:txBody>
          </p:sp>
          <p:sp>
            <p:nvSpPr>
              <p:cNvPr id="1072" name="Freeform 1071">
                <a:extLst>
                  <a:ext uri="{FF2B5EF4-FFF2-40B4-BE49-F238E27FC236}">
                    <a16:creationId xmlns:a16="http://schemas.microsoft.com/office/drawing/2014/main" id="{A7271261-55EB-6108-B410-08A0515FF841}"/>
                  </a:ext>
                </a:extLst>
              </p:cNvPr>
              <p:cNvSpPr/>
              <p:nvPr/>
            </p:nvSpPr>
            <p:spPr>
              <a:xfrm>
                <a:off x="4362114" y="2360934"/>
                <a:ext cx="1247652" cy="1248622"/>
              </a:xfrm>
              <a:custGeom>
                <a:avLst/>
                <a:gdLst>
                  <a:gd name="connsiteX0" fmla="*/ 1247652 w 1247652"/>
                  <a:gd name="connsiteY0" fmla="*/ 624311 h 1248622"/>
                  <a:gd name="connsiteX1" fmla="*/ 623826 w 1247652"/>
                  <a:gd name="connsiteY1" fmla="*/ 0 h 1248622"/>
                  <a:gd name="connsiteX2" fmla="*/ 0 w 1247652"/>
                  <a:gd name="connsiteY2" fmla="*/ 624311 h 1248622"/>
                  <a:gd name="connsiteX3" fmla="*/ 623826 w 1247652"/>
                  <a:gd name="connsiteY3" fmla="*/ 1248622 h 1248622"/>
                  <a:gd name="connsiteX4" fmla="*/ 1247652 w 1247652"/>
                  <a:gd name="connsiteY4" fmla="*/ 624311 h 1248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7652" h="1248622">
                    <a:moveTo>
                      <a:pt x="1247652" y="624311"/>
                    </a:moveTo>
                    <a:cubicBezTo>
                      <a:pt x="1247652" y="279477"/>
                      <a:pt x="968392" y="0"/>
                      <a:pt x="623826" y="0"/>
                    </a:cubicBezTo>
                    <a:cubicBezTo>
                      <a:pt x="279260" y="0"/>
                      <a:pt x="0" y="279477"/>
                      <a:pt x="0" y="624311"/>
                    </a:cubicBezTo>
                    <a:cubicBezTo>
                      <a:pt x="0" y="969145"/>
                      <a:pt x="279260" y="1248622"/>
                      <a:pt x="623826" y="1248622"/>
                    </a:cubicBezTo>
                    <a:cubicBezTo>
                      <a:pt x="968392" y="1248622"/>
                      <a:pt x="1247652" y="969145"/>
                      <a:pt x="1247652" y="624311"/>
                    </a:cubicBezTo>
                  </a:path>
                </a:pathLst>
              </a:custGeom>
              <a:solidFill>
                <a:srgbClr val="001965"/>
              </a:solidFill>
              <a:ln w="13166" cap="flat">
                <a:noFill/>
                <a:prstDash val="solid"/>
                <a:miter/>
              </a:ln>
            </p:spPr>
            <p:txBody>
              <a:bodyPr rtlCol="0" anchor="ctr"/>
              <a:lstStyle/>
              <a:p>
                <a:endParaRPr lang="en-DK"/>
              </a:p>
            </p:txBody>
          </p:sp>
          <p:sp>
            <p:nvSpPr>
              <p:cNvPr id="1073" name="Freeform 1072">
                <a:extLst>
                  <a:ext uri="{FF2B5EF4-FFF2-40B4-BE49-F238E27FC236}">
                    <a16:creationId xmlns:a16="http://schemas.microsoft.com/office/drawing/2014/main" id="{58810F4E-B281-5F63-0C6C-FA1C51A8F364}"/>
                  </a:ext>
                </a:extLst>
              </p:cNvPr>
              <p:cNvSpPr/>
              <p:nvPr/>
            </p:nvSpPr>
            <p:spPr>
              <a:xfrm>
                <a:off x="4348948" y="2347757"/>
                <a:ext cx="1273985" cy="1274975"/>
              </a:xfrm>
              <a:custGeom>
                <a:avLst/>
                <a:gdLst>
                  <a:gd name="connsiteX0" fmla="*/ 1260819 w 1273985"/>
                  <a:gd name="connsiteY0" fmla="*/ 637488 h 1274975"/>
                  <a:gd name="connsiteX1" fmla="*/ 1247652 w 1273985"/>
                  <a:gd name="connsiteY1" fmla="*/ 637488 h 1274975"/>
                  <a:gd name="connsiteX2" fmla="*/ 636993 w 1273985"/>
                  <a:gd name="connsiteY2" fmla="*/ 26353 h 1274975"/>
                  <a:gd name="connsiteX3" fmla="*/ 26333 w 1273985"/>
                  <a:gd name="connsiteY3" fmla="*/ 637488 h 1274975"/>
                  <a:gd name="connsiteX4" fmla="*/ 636993 w 1273985"/>
                  <a:gd name="connsiteY4" fmla="*/ 1248622 h 1274975"/>
                  <a:gd name="connsiteX5" fmla="*/ 1247652 w 1273985"/>
                  <a:gd name="connsiteY5" fmla="*/ 637488 h 1274975"/>
                  <a:gd name="connsiteX6" fmla="*/ 1273985 w 1273985"/>
                  <a:gd name="connsiteY6" fmla="*/ 637488 h 1274975"/>
                  <a:gd name="connsiteX7" fmla="*/ 636993 w 1273985"/>
                  <a:gd name="connsiteY7" fmla="*/ 1274976 h 1274975"/>
                  <a:gd name="connsiteX8" fmla="*/ 0 w 1273985"/>
                  <a:gd name="connsiteY8" fmla="*/ 637488 h 1274975"/>
                  <a:gd name="connsiteX9" fmla="*/ 636993 w 1273985"/>
                  <a:gd name="connsiteY9" fmla="*/ 0 h 1274975"/>
                  <a:gd name="connsiteX10" fmla="*/ 1273985 w 1273985"/>
                  <a:gd name="connsiteY10" fmla="*/ 637488 h 1274975"/>
                  <a:gd name="connsiteX11" fmla="*/ 1260819 w 1273985"/>
                  <a:gd name="connsiteY11" fmla="*/ 637488 h 127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3985" h="1274975">
                    <a:moveTo>
                      <a:pt x="1260819" y="637488"/>
                    </a:moveTo>
                    <a:lnTo>
                      <a:pt x="1247652" y="637488"/>
                    </a:lnTo>
                    <a:cubicBezTo>
                      <a:pt x="1246994" y="300033"/>
                      <a:pt x="974317" y="27012"/>
                      <a:pt x="636993" y="26353"/>
                    </a:cubicBezTo>
                    <a:cubicBezTo>
                      <a:pt x="299800" y="27012"/>
                      <a:pt x="26991" y="299901"/>
                      <a:pt x="26333" y="637488"/>
                    </a:cubicBezTo>
                    <a:cubicBezTo>
                      <a:pt x="26991" y="974943"/>
                      <a:pt x="299668" y="1247963"/>
                      <a:pt x="636993" y="1248622"/>
                    </a:cubicBezTo>
                    <a:cubicBezTo>
                      <a:pt x="974185" y="1247963"/>
                      <a:pt x="1246994" y="975074"/>
                      <a:pt x="1247652" y="637488"/>
                    </a:cubicBezTo>
                    <a:lnTo>
                      <a:pt x="1273985" y="637488"/>
                    </a:lnTo>
                    <a:cubicBezTo>
                      <a:pt x="1273985" y="989569"/>
                      <a:pt x="988800" y="1274976"/>
                      <a:pt x="636993" y="1274976"/>
                    </a:cubicBezTo>
                    <a:cubicBezTo>
                      <a:pt x="285185" y="1274976"/>
                      <a:pt x="0" y="989569"/>
                      <a:pt x="0" y="637488"/>
                    </a:cubicBezTo>
                    <a:cubicBezTo>
                      <a:pt x="0" y="285407"/>
                      <a:pt x="285185" y="0"/>
                      <a:pt x="636993" y="0"/>
                    </a:cubicBezTo>
                    <a:cubicBezTo>
                      <a:pt x="988800" y="0"/>
                      <a:pt x="1273985" y="285407"/>
                      <a:pt x="1273985" y="637488"/>
                    </a:cubicBezTo>
                    <a:lnTo>
                      <a:pt x="1260819" y="637488"/>
                    </a:lnTo>
                    <a:close/>
                  </a:path>
                </a:pathLst>
              </a:custGeom>
              <a:gradFill>
                <a:gsLst>
                  <a:gs pos="0">
                    <a:srgbClr val="F3E700"/>
                  </a:gs>
                  <a:gs pos="33000">
                    <a:srgbClr val="8CC3CA"/>
                  </a:gs>
                  <a:gs pos="67000">
                    <a:srgbClr val="2878FF"/>
                  </a:gs>
                  <a:gs pos="100000">
                    <a:srgbClr val="E229E2"/>
                  </a:gs>
                </a:gsLst>
                <a:lin ang="16200000" scaled="1"/>
              </a:gradFill>
              <a:ln w="13166" cap="flat">
                <a:noFill/>
                <a:prstDash val="solid"/>
                <a:miter/>
              </a:ln>
            </p:spPr>
            <p:txBody>
              <a:bodyPr rtlCol="0" anchor="ctr"/>
              <a:lstStyle/>
              <a:p>
                <a:endParaRPr lang="en-DK"/>
              </a:p>
            </p:txBody>
          </p:sp>
        </p:grpSp>
      </p:grpSp>
      <p:sp>
        <p:nvSpPr>
          <p:cNvPr id="1084" name="TextBox 1083">
            <a:extLst>
              <a:ext uri="{FF2B5EF4-FFF2-40B4-BE49-F238E27FC236}">
                <a16:creationId xmlns:a16="http://schemas.microsoft.com/office/drawing/2014/main" id="{F7B2E0A1-6D19-0E25-CFA5-3C0F9623EEF0}"/>
              </a:ext>
            </a:extLst>
          </p:cNvPr>
          <p:cNvSpPr txBox="1"/>
          <p:nvPr/>
        </p:nvSpPr>
        <p:spPr>
          <a:xfrm>
            <a:off x="9082151" y="1290950"/>
            <a:ext cx="2169145" cy="830997"/>
          </a:xfrm>
          <a:prstGeom prst="rect">
            <a:avLst/>
          </a:prstGeom>
          <a:noFill/>
        </p:spPr>
        <p:txBody>
          <a:bodyPr wrap="square" rtlCol="0">
            <a:spAutoFit/>
          </a:bodyPr>
          <a:lstStyle/>
          <a:p>
            <a:pPr algn="ctr"/>
            <a:r>
              <a:rPr lang="en-DK" sz="1200">
                <a:solidFill>
                  <a:schemeClr val="bg1"/>
                </a:solidFill>
                <a:latin typeface="Avenir Next LT Pro" panose="020B0504020202020204" pitchFamily="34" charset="77"/>
              </a:rPr>
              <a:t>BI-partnered</a:t>
            </a:r>
            <a:r>
              <a:rPr lang="en-DK" sz="1200" baseline="30000">
                <a:solidFill>
                  <a:schemeClr val="bg1"/>
                </a:solidFill>
                <a:latin typeface="Avenir Next LT Pro" panose="020B0504020202020204" pitchFamily="34" charset="77"/>
              </a:rPr>
              <a:t>2</a:t>
            </a:r>
            <a:r>
              <a:rPr lang="en-DK" sz="1200">
                <a:solidFill>
                  <a:schemeClr val="bg1"/>
                </a:solidFill>
                <a:latin typeface="Avenir Next LT Pro" panose="020B0504020202020204" pitchFamily="34" charset="77"/>
              </a:rPr>
              <a:t> t</a:t>
            </a:r>
            <a:r>
              <a:rPr lang="en-US" sz="1200" err="1">
                <a:solidFill>
                  <a:schemeClr val="bg1"/>
                </a:solidFill>
                <a:latin typeface="Avenir Next LT Pro" panose="020B0504020202020204" pitchFamily="34" charset="77"/>
              </a:rPr>
              <a:t>riple</a:t>
            </a:r>
            <a:r>
              <a:rPr lang="en-US" sz="1200">
                <a:solidFill>
                  <a:schemeClr val="bg1"/>
                </a:solidFill>
                <a:latin typeface="Avenir Next LT Pro" panose="020B0504020202020204" pitchFamily="34" charset="77"/>
              </a:rPr>
              <a:t> GLP‑1/GIP/NPY2</a:t>
            </a:r>
            <a:r>
              <a:rPr lang="en-DK" sz="1200">
                <a:solidFill>
                  <a:schemeClr val="bg1"/>
                </a:solidFill>
                <a:latin typeface="Avenir Next LT Pro" panose="020B0504020202020204" pitchFamily="34" charset="77"/>
              </a:rPr>
              <a:t> </a:t>
            </a:r>
            <a:r>
              <a:rPr lang="en-US" sz="1200">
                <a:solidFill>
                  <a:schemeClr val="bg1"/>
                </a:solidFill>
                <a:latin typeface="Avenir Next LT Pro" panose="020B0504020202020204" pitchFamily="34" charset="77"/>
              </a:rPr>
              <a:t>agonist</a:t>
            </a:r>
            <a:r>
              <a:rPr lang="en-DK" sz="1200">
                <a:solidFill>
                  <a:schemeClr val="bg1"/>
                </a:solidFill>
                <a:latin typeface="Avenir Next LT Pro" panose="020B0504020202020204" pitchFamily="34" charset="77"/>
              </a:rPr>
              <a:t> </a:t>
            </a:r>
            <a:br>
              <a:rPr lang="en-DK" sz="1200">
                <a:solidFill>
                  <a:schemeClr val="bg1"/>
                </a:solidFill>
                <a:latin typeface="Avenir Next LT Pro" panose="020B0504020202020204" pitchFamily="34" charset="77"/>
              </a:rPr>
            </a:br>
            <a:r>
              <a:rPr lang="en-US" sz="1200">
                <a:solidFill>
                  <a:schemeClr val="bg1"/>
                </a:solidFill>
                <a:latin typeface="Avenir Next LT Pro" panose="020B0504020202020204" pitchFamily="34" charset="77"/>
              </a:rPr>
              <a:t>BI 3034701</a:t>
            </a:r>
            <a:r>
              <a:rPr lang="en-DK" sz="1200">
                <a:solidFill>
                  <a:schemeClr val="bg1"/>
                </a:solidFill>
                <a:latin typeface="Avenir Next LT Pro" panose="020B0504020202020204" pitchFamily="34" charset="77"/>
              </a:rPr>
              <a:t> </a:t>
            </a:r>
            <a:r>
              <a:rPr lang="en-US" sz="1200">
                <a:solidFill>
                  <a:schemeClr val="bg1"/>
                </a:solidFill>
                <a:latin typeface="Avenir Next LT Pro" panose="020B0504020202020204" pitchFamily="34" charset="77"/>
              </a:rPr>
              <a:t>advancing to Phase </a:t>
            </a:r>
            <a:r>
              <a:rPr lang="en-DK" sz="1200">
                <a:solidFill>
                  <a:schemeClr val="bg1"/>
                </a:solidFill>
                <a:latin typeface="Avenir Next LT Pro" panose="020B0504020202020204" pitchFamily="34" charset="77"/>
              </a:rPr>
              <a:t>2</a:t>
            </a:r>
            <a:r>
              <a:rPr lang="en-US" sz="1200">
                <a:solidFill>
                  <a:schemeClr val="bg1"/>
                </a:solidFill>
                <a:latin typeface="Avenir Next LT Pro" panose="020B0504020202020204" pitchFamily="34" charset="77"/>
              </a:rPr>
              <a:t> in mid‑2026</a:t>
            </a:r>
          </a:p>
        </p:txBody>
      </p:sp>
      <p:sp>
        <p:nvSpPr>
          <p:cNvPr id="1051" name="TextBox 1050">
            <a:extLst>
              <a:ext uri="{FF2B5EF4-FFF2-40B4-BE49-F238E27FC236}">
                <a16:creationId xmlns:a16="http://schemas.microsoft.com/office/drawing/2014/main" id="{41442BC9-97B9-254E-B68D-C5E06FB9CBA7}"/>
              </a:ext>
            </a:extLst>
          </p:cNvPr>
          <p:cNvSpPr txBox="1"/>
          <p:nvPr/>
        </p:nvSpPr>
        <p:spPr>
          <a:xfrm>
            <a:off x="2305685" y="4208540"/>
            <a:ext cx="1224425" cy="715089"/>
          </a:xfrm>
          <a:prstGeom prst="roundRect">
            <a:avLst/>
          </a:prstGeom>
          <a:noFill/>
        </p:spPr>
        <p:txBody>
          <a:bodyPr wrap="square" lIns="0" tIns="0" rIns="0" bIns="0" rtlCol="0" anchor="ctr">
            <a:spAutoFit/>
          </a:bodyPr>
          <a:lstStyle/>
          <a:p>
            <a:pPr algn="ctr">
              <a:buNone/>
            </a:pPr>
            <a:r>
              <a:rPr lang="en-DK" sz="1400" b="1">
                <a:solidFill>
                  <a:srgbClr val="FFFFFF"/>
                </a:solidFill>
                <a:latin typeface="Avenir Next LT Pro Demi" panose="020B0504020202020204" pitchFamily="34" charset="77"/>
              </a:rPr>
              <a:t>Clinical leadership strengthened</a:t>
            </a:r>
            <a:endParaRPr lang="en-GB" sz="1400" b="1">
              <a:solidFill>
                <a:srgbClr val="FFFFFF"/>
              </a:solidFill>
              <a:latin typeface="Avenir Next LT Pro Demi" panose="020B0504020202020204" pitchFamily="34" charset="77"/>
            </a:endParaRPr>
          </a:p>
        </p:txBody>
      </p:sp>
      <p:sp>
        <p:nvSpPr>
          <p:cNvPr id="15" name="TextBox 14">
            <a:extLst>
              <a:ext uri="{FF2B5EF4-FFF2-40B4-BE49-F238E27FC236}">
                <a16:creationId xmlns:a16="http://schemas.microsoft.com/office/drawing/2014/main" id="{22B55ABF-FE9E-94EE-D663-0E04338DC026}"/>
              </a:ext>
            </a:extLst>
          </p:cNvPr>
          <p:cNvSpPr txBox="1"/>
          <p:nvPr/>
        </p:nvSpPr>
        <p:spPr>
          <a:xfrm>
            <a:off x="5347967" y="4208540"/>
            <a:ext cx="1011922" cy="715089"/>
          </a:xfrm>
          <a:prstGeom prst="roundRect">
            <a:avLst/>
          </a:prstGeom>
          <a:noFill/>
        </p:spPr>
        <p:txBody>
          <a:bodyPr wrap="square" lIns="0" tIns="0" rIns="0" bIns="0" rtlCol="0" anchor="ctr">
            <a:spAutoFit/>
          </a:bodyPr>
          <a:lstStyle/>
          <a:p>
            <a:pPr algn="ctr">
              <a:buNone/>
            </a:pPr>
            <a:r>
              <a:rPr lang="en-DK" sz="1400" b="1">
                <a:solidFill>
                  <a:srgbClr val="FFFFFF"/>
                </a:solidFill>
                <a:effectLst/>
                <a:latin typeface="Avenir Next LT Pro Demi" panose="020B0504020202020204" pitchFamily="34" charset="77"/>
              </a:rPr>
              <a:t>Gubra Ventures</a:t>
            </a:r>
          </a:p>
          <a:p>
            <a:pPr algn="ctr">
              <a:buNone/>
            </a:pPr>
            <a:r>
              <a:rPr lang="en-DK" sz="1400" b="1">
                <a:solidFill>
                  <a:srgbClr val="FFFFFF"/>
                </a:solidFill>
                <a:latin typeface="Avenir Next LT Pro Demi" panose="020B0504020202020204" pitchFamily="34" charset="77"/>
              </a:rPr>
              <a:t>launched</a:t>
            </a:r>
            <a:endParaRPr lang="en-GB" sz="1400" b="1">
              <a:solidFill>
                <a:srgbClr val="FFFFFF"/>
              </a:solidFill>
              <a:effectLst/>
              <a:latin typeface="Avenir Next LT Pro Demi" panose="020B0504020202020204" pitchFamily="34" charset="77"/>
            </a:endParaRPr>
          </a:p>
        </p:txBody>
      </p:sp>
      <p:sp>
        <p:nvSpPr>
          <p:cNvPr id="7" name="TextBox 6">
            <a:extLst>
              <a:ext uri="{FF2B5EF4-FFF2-40B4-BE49-F238E27FC236}">
                <a16:creationId xmlns:a16="http://schemas.microsoft.com/office/drawing/2014/main" id="{02619955-E032-45DD-BAA0-FD603B3BBE89}"/>
              </a:ext>
            </a:extLst>
          </p:cNvPr>
          <p:cNvSpPr txBox="1"/>
          <p:nvPr/>
        </p:nvSpPr>
        <p:spPr>
          <a:xfrm>
            <a:off x="9614875" y="2740097"/>
            <a:ext cx="1113114" cy="476726"/>
          </a:xfrm>
          <a:prstGeom prst="roundRect">
            <a:avLst/>
          </a:prstGeom>
          <a:noFill/>
        </p:spPr>
        <p:txBody>
          <a:bodyPr wrap="square" lIns="0" tIns="0" rIns="0" bIns="0" rtlCol="0" anchor="ctr">
            <a:spAutoFit/>
          </a:bodyPr>
          <a:lstStyle/>
          <a:p>
            <a:pPr algn="ctr">
              <a:buNone/>
            </a:pPr>
            <a:r>
              <a:rPr lang="en-US" sz="1400" b="1">
                <a:solidFill>
                  <a:srgbClr val="FFFFFF"/>
                </a:solidFill>
                <a:effectLst/>
                <a:latin typeface="Avenir Next LT Pro Demi" panose="020B0504020202020204" pitchFamily="34" charset="77"/>
              </a:rPr>
              <a:t>BI 3034701 update</a:t>
            </a:r>
          </a:p>
        </p:txBody>
      </p:sp>
      <p:sp>
        <p:nvSpPr>
          <p:cNvPr id="4" name="Rounded Rectangular Callout 14">
            <a:extLst>
              <a:ext uri="{FF2B5EF4-FFF2-40B4-BE49-F238E27FC236}">
                <a16:creationId xmlns:a16="http://schemas.microsoft.com/office/drawing/2014/main" id="{B666D0A6-CA26-0DC2-E522-EF005A057B44}"/>
              </a:ext>
            </a:extLst>
          </p:cNvPr>
          <p:cNvSpPr/>
          <p:nvPr/>
        </p:nvSpPr>
        <p:spPr>
          <a:xfrm rot="5400000">
            <a:off x="10272539" y="3362166"/>
            <a:ext cx="781701" cy="2356634"/>
          </a:xfrm>
          <a:prstGeom prst="wedgeRoundRectCallout">
            <a:avLst>
              <a:gd name="adj1" fmla="val -65862"/>
              <a:gd name="adj2" fmla="val 35022"/>
              <a:gd name="adj3" fmla="val 16667"/>
            </a:avLst>
          </a:prstGeom>
          <a:solidFill>
            <a:srgbClr val="2878FF">
              <a:alpha val="50000"/>
            </a:srgbClr>
          </a:solidFill>
          <a:ln w="12700" cap="flat" cmpd="sng" algn="ctr">
            <a:solidFill>
              <a:srgbClr val="2878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DK" sz="1800" b="0" i="0" u="none" strike="noStrike" kern="0" cap="none" spc="0" normalizeH="0" baseline="0" noProof="0">
              <a:ln>
                <a:noFill/>
              </a:ln>
              <a:solidFill>
                <a:srgbClr val="FFFFFF"/>
              </a:solidFill>
              <a:effectLst/>
              <a:uLnTx/>
              <a:uFillTx/>
              <a:latin typeface="Avenir Next LT Pro"/>
              <a:ea typeface="+mn-ea"/>
              <a:cs typeface="+mn-cs"/>
            </a:endParaRPr>
          </a:p>
        </p:txBody>
      </p:sp>
      <p:sp>
        <p:nvSpPr>
          <p:cNvPr id="6" name="TextBox 5">
            <a:extLst>
              <a:ext uri="{FF2B5EF4-FFF2-40B4-BE49-F238E27FC236}">
                <a16:creationId xmlns:a16="http://schemas.microsoft.com/office/drawing/2014/main" id="{20E4D8C5-5DB0-BD85-2C56-E30ED6C3BDA7}"/>
              </a:ext>
            </a:extLst>
          </p:cNvPr>
          <p:cNvSpPr txBox="1"/>
          <p:nvPr/>
        </p:nvSpPr>
        <p:spPr>
          <a:xfrm>
            <a:off x="9584667" y="4263484"/>
            <a:ext cx="2209325" cy="553998"/>
          </a:xfrm>
          <a:prstGeom prst="rect">
            <a:avLst/>
          </a:prstGeom>
          <a:noFill/>
        </p:spPr>
        <p:txBody>
          <a:bodyPr wrap="square" lIns="0" tIns="0" rIns="0" bIns="0" rtlCol="0" anchor="ctr">
            <a:spAutoFit/>
          </a:bodyPr>
          <a:lstStyle/>
          <a:p>
            <a:r>
              <a:rPr lang="en-DK" sz="1200">
                <a:solidFill>
                  <a:schemeClr val="bg1"/>
                </a:solidFill>
                <a:latin typeface="Avenir Next LT Pro"/>
              </a:rPr>
              <a:t>Gubra-discovered assets </a:t>
            </a:r>
            <a:br>
              <a:rPr lang="en-DK" sz="1200">
                <a:solidFill>
                  <a:schemeClr val="bg1"/>
                </a:solidFill>
                <a:latin typeface="Avenir Next LT Pro"/>
              </a:rPr>
            </a:br>
            <a:r>
              <a:rPr lang="en-US" sz="1200" b="1">
                <a:solidFill>
                  <a:srgbClr val="FFFFFF"/>
                </a:solidFill>
                <a:latin typeface="Avenir Next LT Pro Demi" panose="020B0504020202020204" pitchFamily="34" charset="77"/>
              </a:rPr>
              <a:t>BI 3034701 </a:t>
            </a:r>
            <a:r>
              <a:rPr lang="en-DK" sz="1200">
                <a:solidFill>
                  <a:schemeClr val="bg1"/>
                </a:solidFill>
                <a:latin typeface="Avenir Next LT Pro"/>
              </a:rPr>
              <a:t>and </a:t>
            </a:r>
            <a:r>
              <a:rPr lang="en-DK" sz="1200" b="1">
                <a:solidFill>
                  <a:srgbClr val="FFFFFF"/>
                </a:solidFill>
                <a:latin typeface="Avenir Next LT Pro Demi" panose="020B0504020202020204" pitchFamily="34" charset="77"/>
              </a:rPr>
              <a:t>ABBV-295</a:t>
            </a:r>
            <a:r>
              <a:rPr lang="en-DK" sz="1200">
                <a:solidFill>
                  <a:schemeClr val="bg1"/>
                </a:solidFill>
                <a:latin typeface="Avenir Next LT Pro"/>
              </a:rPr>
              <a:t> are advancing to </a:t>
            </a:r>
            <a:r>
              <a:rPr lang="en-US" sz="1200">
                <a:solidFill>
                  <a:schemeClr val="bg1"/>
                </a:solidFill>
                <a:latin typeface="Avenir Next LT Pro"/>
              </a:rPr>
              <a:t>Phase 2 in 2026</a:t>
            </a:r>
          </a:p>
        </p:txBody>
      </p:sp>
    </p:spTree>
    <p:extLst>
      <p:ext uri="{BB962C8B-B14F-4D97-AF65-F5344CB8AC3E}">
        <p14:creationId xmlns:p14="http://schemas.microsoft.com/office/powerpoint/2010/main" val="857495108"/>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0A2D30-E23D-39E8-FF85-86C1ADE65867}"/>
            </a:ext>
          </a:extLst>
        </p:cNvPr>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DFAE5AE-BA11-3911-8306-979322362550}"/>
              </a:ext>
            </a:extLst>
          </p:cNvPr>
          <p:cNvGraphicFramePr>
            <a:graphicFrameLocks/>
          </p:cNvGraphicFramePr>
          <p:nvPr>
            <p:custDataLst>
              <p:tags r:id="rId1"/>
            </p:custData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9" name="Objekt 8" hidden="1">
                        <a:extLst>
                          <a:ext uri="{FF2B5EF4-FFF2-40B4-BE49-F238E27FC236}">
                            <a16:creationId xmlns:a16="http://schemas.microsoft.com/office/drawing/2014/main" id="{7DFAE5AE-BA11-3911-8306-979322362550}"/>
                          </a:ext>
                        </a:extLst>
                      </p:cNvPr>
                      <p:cNvPicPr/>
                      <p:nvPr/>
                    </p:nvPicPr>
                    <p:blipFill>
                      <a:blip r:embed="rId5"/>
                      <a:stretch>
                        <a:fillRect/>
                      </a:stretch>
                    </p:blipFill>
                    <p:spPr>
                      <a:xfrm>
                        <a:off x="2382" y="1588"/>
                        <a:ext cx="1588" cy="1588"/>
                      </a:xfrm>
                      <a:prstGeom prst="rect">
                        <a:avLst/>
                      </a:prstGeom>
                    </p:spPr>
                  </p:pic>
                </p:oleObj>
              </mc:Fallback>
            </mc:AlternateContent>
          </a:graphicData>
        </a:graphic>
      </p:graphicFrame>
      <p:sp>
        <p:nvSpPr>
          <p:cNvPr id="42" name="Rectangle 41">
            <a:extLst>
              <a:ext uri="{FF2B5EF4-FFF2-40B4-BE49-F238E27FC236}">
                <a16:creationId xmlns:a16="http://schemas.microsoft.com/office/drawing/2014/main" id="{FDC8127B-DD7D-4443-FD40-69ADADEA0355}"/>
              </a:ext>
            </a:extLst>
          </p:cNvPr>
          <p:cNvSpPr/>
          <p:nvPr/>
        </p:nvSpPr>
        <p:spPr>
          <a:xfrm>
            <a:off x="0" y="3668751"/>
            <a:ext cx="12192794" cy="3189249"/>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001965"/>
                </a:solidFill>
              </a:ln>
              <a:solidFill>
                <a:srgbClr val="FFFFFF"/>
              </a:solidFill>
              <a:effectLst/>
              <a:uLnTx/>
              <a:uFillTx/>
              <a:latin typeface="Avenir Next LT Pro"/>
              <a:ea typeface="+mn-ea"/>
              <a:cs typeface="+mn-cs"/>
            </a:endParaRPr>
          </a:p>
        </p:txBody>
      </p:sp>
      <p:sp>
        <p:nvSpPr>
          <p:cNvPr id="30" name="Title 3">
            <a:extLst>
              <a:ext uri="{FF2B5EF4-FFF2-40B4-BE49-F238E27FC236}">
                <a16:creationId xmlns:a16="http://schemas.microsoft.com/office/drawing/2014/main" id="{293CFD2A-CB53-B99C-3732-833C371F1362}"/>
              </a:ext>
            </a:extLst>
          </p:cNvPr>
          <p:cNvSpPr txBox="1">
            <a:spLocks noGrp="1"/>
          </p:cNvSpPr>
          <p:nvPr>
            <p:ph type="ctrTitle"/>
          </p:nvPr>
        </p:nvSpPr>
        <p:spPr>
          <a:xfrm>
            <a:off x="516734" y="514350"/>
            <a:ext cx="10208383" cy="432802"/>
          </a:xfrm>
        </p:spPr>
        <p:txBody>
          <a:bodyPr/>
          <a:lstStyle/>
          <a:p>
            <a:r>
              <a:rPr lang="en-DK" sz="2600"/>
              <a:t>Our leadership team</a:t>
            </a:r>
          </a:p>
        </p:txBody>
      </p:sp>
      <p:grpSp>
        <p:nvGrpSpPr>
          <p:cNvPr id="18" name="Group 17">
            <a:extLst>
              <a:ext uri="{FF2B5EF4-FFF2-40B4-BE49-F238E27FC236}">
                <a16:creationId xmlns:a16="http://schemas.microsoft.com/office/drawing/2014/main" id="{EEAFA0C9-2A70-5AB7-97D4-916C7197D41B}"/>
              </a:ext>
            </a:extLst>
          </p:cNvPr>
          <p:cNvGrpSpPr/>
          <p:nvPr/>
        </p:nvGrpSpPr>
        <p:grpSpPr>
          <a:xfrm>
            <a:off x="630305" y="1185919"/>
            <a:ext cx="2259292" cy="2343828"/>
            <a:chOff x="630305" y="1185919"/>
            <a:chExt cx="2259292" cy="2343828"/>
          </a:xfrm>
        </p:grpSpPr>
        <p:sp>
          <p:nvSpPr>
            <p:cNvPr id="13" name="Rectangle 12">
              <a:extLst>
                <a:ext uri="{FF2B5EF4-FFF2-40B4-BE49-F238E27FC236}">
                  <a16:creationId xmlns:a16="http://schemas.microsoft.com/office/drawing/2014/main" id="{9A2A3C47-7BF6-6D63-2424-B1DE8D5D55AD}"/>
                </a:ext>
              </a:extLst>
            </p:cNvPr>
            <p:cNvSpPr/>
            <p:nvPr/>
          </p:nvSpPr>
          <p:spPr>
            <a:xfrm>
              <a:off x="911231" y="2894272"/>
              <a:ext cx="1697440" cy="29560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4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rPr>
                <a:t>Markus Rohrwild</a:t>
              </a:r>
              <a:endParaRPr kumimoji="0" lang="en-US" sz="14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endParaRPr>
            </a:p>
          </p:txBody>
        </p:sp>
        <p:sp>
          <p:nvSpPr>
            <p:cNvPr id="55" name="Rectangle 54">
              <a:extLst>
                <a:ext uri="{FF2B5EF4-FFF2-40B4-BE49-F238E27FC236}">
                  <a16:creationId xmlns:a16="http://schemas.microsoft.com/office/drawing/2014/main" id="{CC4BA1CA-6474-3D4E-74EC-17B6A925B51E}"/>
                </a:ext>
              </a:extLst>
            </p:cNvPr>
            <p:cNvSpPr/>
            <p:nvPr/>
          </p:nvSpPr>
          <p:spPr>
            <a:xfrm>
              <a:off x="630305" y="3234138"/>
              <a:ext cx="2259292" cy="29560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rgbClr val="001965"/>
                  </a:solidFill>
                  <a:effectLst/>
                  <a:uLnTx/>
                  <a:uFillTx/>
                  <a:latin typeface="Avenir Next LT Pro"/>
                  <a:ea typeface="+mn-ea"/>
                  <a:cs typeface="+mn-cs"/>
                </a:rPr>
                <a:t>Chief Executive Officer</a:t>
              </a:r>
              <a:endParaRPr kumimoji="0" lang="en-US" sz="1200" b="0" i="0" u="none" strike="noStrike" kern="1200" cap="none" spc="0" normalizeH="0" baseline="0" noProof="0">
                <a:ln>
                  <a:noFill/>
                </a:ln>
                <a:solidFill>
                  <a:srgbClr val="001965"/>
                </a:solidFill>
                <a:effectLst/>
                <a:uLnTx/>
                <a:uFillTx/>
                <a:latin typeface="Avenir Next LT Pro"/>
                <a:ea typeface="+mn-ea"/>
                <a:cs typeface="+mn-cs"/>
              </a:endParaRPr>
            </a:p>
          </p:txBody>
        </p:sp>
        <p:pic>
          <p:nvPicPr>
            <p:cNvPr id="2064" name="Picture 6">
              <a:extLst>
                <a:ext uri="{FF2B5EF4-FFF2-40B4-BE49-F238E27FC236}">
                  <a16:creationId xmlns:a16="http://schemas.microsoft.com/office/drawing/2014/main" id="{95F89707-2110-175E-11CD-5D527AA640D0}"/>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5122" b="5122"/>
            <a:stretch>
              <a:fillRect/>
            </a:stretch>
          </p:blipFill>
          <p:spPr bwMode="auto">
            <a:xfrm>
              <a:off x="975939" y="1185919"/>
              <a:ext cx="1574733" cy="1692000"/>
            </a:xfrm>
            <a:prstGeom prst="rect">
              <a:avLst/>
            </a:prstGeom>
            <a:extLst>
              <a:ext uri="{909E8E84-426E-40DD-AFC4-6F175D3DCCD1}">
                <a14:hiddenFill xmlns:a14="http://schemas.microsoft.com/office/drawing/2010/main">
                  <a:solidFill>
                    <a:srgbClr val="FFFFFF"/>
                  </a:solidFill>
                </a14:hiddenFill>
              </a:ext>
            </a:extLst>
          </p:spPr>
        </p:pic>
        <p:cxnSp>
          <p:nvCxnSpPr>
            <p:cNvPr id="4" name="Straight Connector 3">
              <a:extLst>
                <a:ext uri="{FF2B5EF4-FFF2-40B4-BE49-F238E27FC236}">
                  <a16:creationId xmlns:a16="http://schemas.microsoft.com/office/drawing/2014/main" id="{4F1EAF61-B866-EA40-FA3E-9951EBDA83E9}"/>
                </a:ext>
              </a:extLst>
            </p:cNvPr>
            <p:cNvCxnSpPr>
              <a:cxnSpLocks/>
            </p:cNvCxnSpPr>
            <p:nvPr/>
          </p:nvCxnSpPr>
          <p:spPr>
            <a:xfrm>
              <a:off x="975939" y="3206705"/>
              <a:ext cx="1568024" cy="0"/>
            </a:xfrm>
            <a:prstGeom prst="line">
              <a:avLst/>
            </a:prstGeom>
            <a:noFill/>
            <a:ln w="19050" cap="flat" cmpd="sng" algn="ctr">
              <a:gradFill>
                <a:gsLst>
                  <a:gs pos="0">
                    <a:srgbClr val="F3E700"/>
                  </a:gs>
                  <a:gs pos="34000">
                    <a:srgbClr val="8CC3CA"/>
                  </a:gs>
                  <a:gs pos="67000">
                    <a:srgbClr val="2878FF"/>
                  </a:gs>
                  <a:gs pos="100000">
                    <a:srgbClr val="E228E2"/>
                  </a:gs>
                </a:gsLst>
                <a:lin ang="2700000" scaled="0"/>
              </a:gradFill>
              <a:prstDash val="solid"/>
              <a:miter lim="800000"/>
            </a:ln>
            <a:effectLst/>
          </p:spPr>
        </p:cxnSp>
      </p:grpSp>
      <p:grpSp>
        <p:nvGrpSpPr>
          <p:cNvPr id="19" name="Group 18">
            <a:extLst>
              <a:ext uri="{FF2B5EF4-FFF2-40B4-BE49-F238E27FC236}">
                <a16:creationId xmlns:a16="http://schemas.microsoft.com/office/drawing/2014/main" id="{246A6425-7029-9A62-8D17-C5A69D1CE14D}"/>
              </a:ext>
            </a:extLst>
          </p:cNvPr>
          <p:cNvGrpSpPr/>
          <p:nvPr/>
        </p:nvGrpSpPr>
        <p:grpSpPr>
          <a:xfrm>
            <a:off x="3469342" y="1185934"/>
            <a:ext cx="2259292" cy="2343813"/>
            <a:chOff x="3469342" y="1185934"/>
            <a:chExt cx="2259292" cy="2343813"/>
          </a:xfrm>
        </p:grpSpPr>
        <p:sp>
          <p:nvSpPr>
            <p:cNvPr id="23" name="Rectangle 22">
              <a:extLst>
                <a:ext uri="{FF2B5EF4-FFF2-40B4-BE49-F238E27FC236}">
                  <a16:creationId xmlns:a16="http://schemas.microsoft.com/office/drawing/2014/main" id="{B5C7BB68-1FEF-CFFB-1B37-1A9B8C9979CC}"/>
                </a:ext>
              </a:extLst>
            </p:cNvPr>
            <p:cNvSpPr/>
            <p:nvPr/>
          </p:nvSpPr>
          <p:spPr>
            <a:xfrm>
              <a:off x="3750268" y="2894272"/>
              <a:ext cx="1697440" cy="29560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4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rPr>
                <a:t>Kristian Borbos</a:t>
              </a:r>
              <a:endParaRPr kumimoji="0" lang="en-US" sz="14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endParaRPr>
            </a:p>
          </p:txBody>
        </p:sp>
        <p:sp>
          <p:nvSpPr>
            <p:cNvPr id="56" name="Rectangle 55">
              <a:extLst>
                <a:ext uri="{FF2B5EF4-FFF2-40B4-BE49-F238E27FC236}">
                  <a16:creationId xmlns:a16="http://schemas.microsoft.com/office/drawing/2014/main" id="{03877B4B-9244-6A82-BA86-9C5E71C05EF0}"/>
                </a:ext>
              </a:extLst>
            </p:cNvPr>
            <p:cNvSpPr/>
            <p:nvPr/>
          </p:nvSpPr>
          <p:spPr>
            <a:xfrm>
              <a:off x="3469342" y="3234138"/>
              <a:ext cx="2259292" cy="29560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rgbClr val="001965"/>
                  </a:solidFill>
                  <a:effectLst/>
                  <a:uLnTx/>
                  <a:uFillTx/>
                  <a:latin typeface="Avenir Next LT Pro"/>
                  <a:ea typeface="+mn-ea"/>
                  <a:cs typeface="+mn-cs"/>
                </a:rPr>
                <a:t>Chief Financial Officer</a:t>
              </a:r>
              <a:endParaRPr kumimoji="0" lang="en-US" sz="1200" b="0" i="0" u="none" strike="noStrike" kern="1200" cap="none" spc="0" normalizeH="0" baseline="0" noProof="0">
                <a:ln>
                  <a:noFill/>
                </a:ln>
                <a:solidFill>
                  <a:srgbClr val="001965"/>
                </a:solidFill>
                <a:effectLst/>
                <a:uLnTx/>
                <a:uFillTx/>
                <a:latin typeface="Avenir Next LT Pro"/>
                <a:ea typeface="+mn-ea"/>
                <a:cs typeface="+mn-cs"/>
              </a:endParaRPr>
            </a:p>
          </p:txBody>
        </p:sp>
        <p:pic>
          <p:nvPicPr>
            <p:cNvPr id="2065" name="Picture 8">
              <a:extLst>
                <a:ext uri="{FF2B5EF4-FFF2-40B4-BE49-F238E27FC236}">
                  <a16:creationId xmlns:a16="http://schemas.microsoft.com/office/drawing/2014/main" id="{EE46E642-E21B-C6A1-E4A0-A47FE840B54E}"/>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620" r="3860" b="6481"/>
            <a:stretch>
              <a:fillRect/>
            </a:stretch>
          </p:blipFill>
          <p:spPr bwMode="auto">
            <a:xfrm>
              <a:off x="3814976" y="1185934"/>
              <a:ext cx="1568024" cy="1684792"/>
            </a:xfrm>
            <a:prstGeom prst="rect">
              <a:avLst/>
            </a:prstGeom>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2D1090EE-8684-50F2-9C3A-EC10EF9B652C}"/>
                </a:ext>
              </a:extLst>
            </p:cNvPr>
            <p:cNvCxnSpPr>
              <a:cxnSpLocks/>
            </p:cNvCxnSpPr>
            <p:nvPr/>
          </p:nvCxnSpPr>
          <p:spPr>
            <a:xfrm>
              <a:off x="3823642" y="3206705"/>
              <a:ext cx="1568024" cy="0"/>
            </a:xfrm>
            <a:prstGeom prst="line">
              <a:avLst/>
            </a:prstGeom>
            <a:noFill/>
            <a:ln w="19050" cap="flat" cmpd="sng" algn="ctr">
              <a:gradFill>
                <a:gsLst>
                  <a:gs pos="0">
                    <a:srgbClr val="F3E700"/>
                  </a:gs>
                  <a:gs pos="34000">
                    <a:srgbClr val="8CC3CA"/>
                  </a:gs>
                  <a:gs pos="67000">
                    <a:srgbClr val="2878FF"/>
                  </a:gs>
                  <a:gs pos="100000">
                    <a:srgbClr val="E228E2"/>
                  </a:gs>
                </a:gsLst>
                <a:lin ang="2700000" scaled="0"/>
              </a:gradFill>
              <a:prstDash val="solid"/>
              <a:miter lim="800000"/>
            </a:ln>
            <a:effectLst/>
          </p:spPr>
        </p:cxnSp>
      </p:grpSp>
      <p:grpSp>
        <p:nvGrpSpPr>
          <p:cNvPr id="21" name="Group 20">
            <a:extLst>
              <a:ext uri="{FF2B5EF4-FFF2-40B4-BE49-F238E27FC236}">
                <a16:creationId xmlns:a16="http://schemas.microsoft.com/office/drawing/2014/main" id="{E9E17806-CD13-61EE-631A-EB273A0DDB96}"/>
              </a:ext>
            </a:extLst>
          </p:cNvPr>
          <p:cNvGrpSpPr/>
          <p:nvPr/>
        </p:nvGrpSpPr>
        <p:grpSpPr>
          <a:xfrm>
            <a:off x="4888860" y="3986992"/>
            <a:ext cx="2259292" cy="2343827"/>
            <a:chOff x="9147418" y="1185920"/>
            <a:chExt cx="2259292" cy="2343827"/>
          </a:xfrm>
        </p:grpSpPr>
        <p:sp>
          <p:nvSpPr>
            <p:cNvPr id="27" name="Rectangle 26">
              <a:extLst>
                <a:ext uri="{FF2B5EF4-FFF2-40B4-BE49-F238E27FC236}">
                  <a16:creationId xmlns:a16="http://schemas.microsoft.com/office/drawing/2014/main" id="{15070F6B-A600-C0AA-63CF-8EC6060E698B}"/>
                </a:ext>
              </a:extLst>
            </p:cNvPr>
            <p:cNvSpPr/>
            <p:nvPr/>
          </p:nvSpPr>
          <p:spPr>
            <a:xfrm>
              <a:off x="9428343" y="2894272"/>
              <a:ext cx="1697440" cy="29560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Avenir Next LT Pro Demi" panose="020B0504020202020204" pitchFamily="34" charset="77"/>
                  <a:ea typeface="+mn-ea"/>
                  <a:cs typeface="+mn-cs"/>
                </a:rPr>
                <a:t>G</a:t>
              </a:r>
              <a:r>
                <a:rPr kumimoji="0" lang="en-DK" sz="1400" b="1" i="0" u="none" strike="noStrike" kern="1200" cap="none" spc="0" normalizeH="0" baseline="0" noProof="0" err="1">
                  <a:ln>
                    <a:noFill/>
                  </a:ln>
                  <a:solidFill>
                    <a:schemeClr val="bg1"/>
                  </a:solidFill>
                  <a:effectLst/>
                  <a:uLnTx/>
                  <a:uFillTx/>
                  <a:latin typeface="Avenir Next LT Pro Demi" panose="020B0504020202020204" pitchFamily="34" charset="77"/>
                  <a:ea typeface="+mn-ea"/>
                  <a:cs typeface="+mn-cs"/>
                </a:rPr>
                <a:t>aurav</a:t>
              </a:r>
              <a:r>
                <a:rPr kumimoji="0" lang="en-DK" sz="1400" b="1" i="0" u="none" strike="noStrike" kern="1200" cap="none" spc="0" normalizeH="0" baseline="0" noProof="0">
                  <a:ln>
                    <a:noFill/>
                  </a:ln>
                  <a:solidFill>
                    <a:schemeClr val="bg1"/>
                  </a:solidFill>
                  <a:effectLst/>
                  <a:uLnTx/>
                  <a:uFillTx/>
                  <a:latin typeface="Avenir Next LT Pro Demi" panose="020B0504020202020204" pitchFamily="34" charset="77"/>
                  <a:ea typeface="+mn-ea"/>
                  <a:cs typeface="+mn-cs"/>
                </a:rPr>
                <a:t> </a:t>
              </a:r>
              <a:r>
                <a:rPr kumimoji="0" lang="en-DK" sz="1400" b="1" i="0" u="none" strike="noStrike" kern="1200" cap="none" spc="0" normalizeH="0" baseline="0" noProof="0" err="1">
                  <a:ln>
                    <a:noFill/>
                  </a:ln>
                  <a:solidFill>
                    <a:schemeClr val="bg1"/>
                  </a:solidFill>
                  <a:effectLst/>
                  <a:uLnTx/>
                  <a:uFillTx/>
                  <a:latin typeface="Avenir Next LT Pro Demi" panose="020B0504020202020204" pitchFamily="34" charset="77"/>
                  <a:ea typeface="+mn-ea"/>
                  <a:cs typeface="+mn-cs"/>
                </a:rPr>
                <a:t>Grigo</a:t>
              </a:r>
              <a:endParaRPr kumimoji="0" lang="en-US" sz="1400" b="1" i="0" u="none" strike="noStrike" kern="1200" cap="none" spc="0" normalizeH="0" baseline="0" noProof="0">
                <a:ln>
                  <a:noFill/>
                </a:ln>
                <a:solidFill>
                  <a:schemeClr val="bg1"/>
                </a:solidFill>
                <a:effectLst/>
                <a:uLnTx/>
                <a:uFillTx/>
                <a:latin typeface="Avenir Next LT Pro Demi" panose="020B0504020202020204" pitchFamily="34" charset="77"/>
                <a:ea typeface="+mn-ea"/>
                <a:cs typeface="+mn-cs"/>
              </a:endParaRPr>
            </a:p>
          </p:txBody>
        </p:sp>
        <p:sp>
          <p:nvSpPr>
            <p:cNvPr id="58" name="Rectangle 57">
              <a:extLst>
                <a:ext uri="{FF2B5EF4-FFF2-40B4-BE49-F238E27FC236}">
                  <a16:creationId xmlns:a16="http://schemas.microsoft.com/office/drawing/2014/main" id="{30996A53-EAD8-8E63-E8CA-55501FB72BAA}"/>
                </a:ext>
              </a:extLst>
            </p:cNvPr>
            <p:cNvSpPr/>
            <p:nvPr/>
          </p:nvSpPr>
          <p:spPr>
            <a:xfrm>
              <a:off x="9147418" y="3234138"/>
              <a:ext cx="2259292" cy="29560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chemeClr val="bg1"/>
                  </a:solidFill>
                  <a:effectLst/>
                  <a:uLnTx/>
                  <a:uFillTx/>
                  <a:latin typeface="Avenir Next LT Pro"/>
                  <a:ea typeface="+mn-ea"/>
                  <a:cs typeface="+mn-cs"/>
                </a:rPr>
                <a:t>Chief Technology Officer</a:t>
              </a:r>
              <a:endParaRPr kumimoji="0" lang="en-US" sz="1200" b="0" i="0" u="none" strike="noStrike" kern="1200" cap="none" spc="0" normalizeH="0" baseline="0" noProof="0">
                <a:ln>
                  <a:noFill/>
                </a:ln>
                <a:solidFill>
                  <a:schemeClr val="bg1"/>
                </a:solidFill>
                <a:effectLst/>
                <a:uLnTx/>
                <a:uFillTx/>
                <a:latin typeface="Avenir Next LT Pro"/>
                <a:ea typeface="+mn-ea"/>
                <a:cs typeface="+mn-cs"/>
              </a:endParaRPr>
            </a:p>
          </p:txBody>
        </p:sp>
        <p:pic>
          <p:nvPicPr>
            <p:cNvPr id="2073" name="Picture 19">
              <a:extLst>
                <a:ext uri="{FF2B5EF4-FFF2-40B4-BE49-F238E27FC236}">
                  <a16:creationId xmlns:a16="http://schemas.microsoft.com/office/drawing/2014/main" id="{B63064F1-BE44-7771-F53E-7313A8537E8C}"/>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7624" b="7624"/>
            <a:stretch>
              <a:fillRect/>
            </a:stretch>
          </p:blipFill>
          <p:spPr bwMode="auto">
            <a:xfrm>
              <a:off x="9493052" y="1185920"/>
              <a:ext cx="1568024" cy="1684792"/>
            </a:xfrm>
            <a:prstGeom prst="rect">
              <a:avLst/>
            </a:prstGeom>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C2EDECA8-3E89-A643-10CA-857A45FDE699}"/>
                </a:ext>
              </a:extLst>
            </p:cNvPr>
            <p:cNvCxnSpPr>
              <a:cxnSpLocks/>
            </p:cNvCxnSpPr>
            <p:nvPr/>
          </p:nvCxnSpPr>
          <p:spPr>
            <a:xfrm>
              <a:off x="9496308" y="3206705"/>
              <a:ext cx="1568024" cy="0"/>
            </a:xfrm>
            <a:prstGeom prst="line">
              <a:avLst/>
            </a:prstGeom>
            <a:noFill/>
            <a:ln w="19050" cap="flat" cmpd="sng" algn="ctr">
              <a:gradFill>
                <a:gsLst>
                  <a:gs pos="0">
                    <a:srgbClr val="F3E700"/>
                  </a:gs>
                  <a:gs pos="34000">
                    <a:srgbClr val="8CC3CA"/>
                  </a:gs>
                  <a:gs pos="67000">
                    <a:srgbClr val="2878FF"/>
                  </a:gs>
                  <a:gs pos="100000">
                    <a:srgbClr val="E228E2"/>
                  </a:gs>
                </a:gsLst>
                <a:lin ang="2700000" scaled="0"/>
              </a:gradFill>
              <a:prstDash val="solid"/>
              <a:miter lim="800000"/>
            </a:ln>
            <a:effectLst/>
          </p:spPr>
        </p:cxnSp>
      </p:grpSp>
      <p:grpSp>
        <p:nvGrpSpPr>
          <p:cNvPr id="16" name="Group 15">
            <a:extLst>
              <a:ext uri="{FF2B5EF4-FFF2-40B4-BE49-F238E27FC236}">
                <a16:creationId xmlns:a16="http://schemas.microsoft.com/office/drawing/2014/main" id="{8FB67B9F-2327-A673-69DE-C9455DD30662}"/>
              </a:ext>
            </a:extLst>
          </p:cNvPr>
          <p:cNvGrpSpPr/>
          <p:nvPr/>
        </p:nvGrpSpPr>
        <p:grpSpPr>
          <a:xfrm>
            <a:off x="9147418" y="1185920"/>
            <a:ext cx="2259292" cy="2332553"/>
            <a:chOff x="3469342" y="3986992"/>
            <a:chExt cx="2259292" cy="2332553"/>
          </a:xfrm>
        </p:grpSpPr>
        <p:sp>
          <p:nvSpPr>
            <p:cNvPr id="47" name="Rectangle 46">
              <a:extLst>
                <a:ext uri="{FF2B5EF4-FFF2-40B4-BE49-F238E27FC236}">
                  <a16:creationId xmlns:a16="http://schemas.microsoft.com/office/drawing/2014/main" id="{72650A60-D32E-E85C-E1DC-DF533092C47F}"/>
                </a:ext>
              </a:extLst>
            </p:cNvPr>
            <p:cNvSpPr/>
            <p:nvPr/>
          </p:nvSpPr>
          <p:spPr>
            <a:xfrm>
              <a:off x="3750268" y="5695330"/>
              <a:ext cx="1697440" cy="29560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400" b="1" i="0" u="none" strike="noStrike" kern="1200" cap="none" spc="0" normalizeH="0" baseline="0" noProof="0">
                  <a:ln>
                    <a:noFill/>
                  </a:ln>
                  <a:solidFill>
                    <a:schemeClr val="tx1"/>
                  </a:solidFill>
                  <a:effectLst/>
                  <a:uLnTx/>
                  <a:uFillTx/>
                  <a:latin typeface="Avenir Next LT Pro Demi" panose="020B0504020202020204" pitchFamily="34" charset="77"/>
                  <a:ea typeface="+mn-ea"/>
                  <a:cs typeface="+mn-cs"/>
                </a:rPr>
                <a:t>Louise S. Dalbøge</a:t>
              </a:r>
              <a:endParaRPr kumimoji="0" lang="en-US" sz="1400" b="1" i="0" u="none" strike="noStrike" kern="1200" cap="none" spc="0" normalizeH="0" baseline="0" noProof="0">
                <a:ln>
                  <a:noFill/>
                </a:ln>
                <a:solidFill>
                  <a:schemeClr val="tx1"/>
                </a:solidFill>
                <a:effectLst/>
                <a:uLnTx/>
                <a:uFillTx/>
                <a:latin typeface="Avenir Next LT Pro Demi" panose="020B0504020202020204" pitchFamily="34" charset="77"/>
                <a:ea typeface="+mn-ea"/>
                <a:cs typeface="+mn-cs"/>
              </a:endParaRPr>
            </a:p>
          </p:txBody>
        </p:sp>
        <p:sp>
          <p:nvSpPr>
            <p:cNvPr id="2049" name="Rectangle 2048">
              <a:extLst>
                <a:ext uri="{FF2B5EF4-FFF2-40B4-BE49-F238E27FC236}">
                  <a16:creationId xmlns:a16="http://schemas.microsoft.com/office/drawing/2014/main" id="{0BF1F9E8-48C7-3152-1C6A-97568A693BF9}"/>
                </a:ext>
              </a:extLst>
            </p:cNvPr>
            <p:cNvSpPr/>
            <p:nvPr/>
          </p:nvSpPr>
          <p:spPr>
            <a:xfrm>
              <a:off x="3469342" y="6023936"/>
              <a:ext cx="2259292" cy="29560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chemeClr val="tx1"/>
                  </a:solidFill>
                  <a:effectLst/>
                  <a:uLnTx/>
                  <a:uFillTx/>
                  <a:latin typeface="Avenir Next LT Pro"/>
                  <a:ea typeface="+mn-ea"/>
                  <a:cs typeface="+mn-cs"/>
                </a:rPr>
                <a:t>Chief Science Officer</a:t>
              </a:r>
              <a:endParaRPr kumimoji="0" lang="en-US" sz="1200" b="0" i="0" u="none" strike="noStrike" kern="1200" cap="none" spc="0" normalizeH="0" baseline="0" noProof="0">
                <a:ln>
                  <a:noFill/>
                </a:ln>
                <a:solidFill>
                  <a:schemeClr val="tx1"/>
                </a:solidFill>
                <a:effectLst/>
                <a:uLnTx/>
                <a:uFillTx/>
                <a:latin typeface="Avenir Next LT Pro"/>
                <a:ea typeface="+mn-ea"/>
                <a:cs typeface="+mn-cs"/>
              </a:endParaRPr>
            </a:p>
          </p:txBody>
        </p:sp>
        <p:pic>
          <p:nvPicPr>
            <p:cNvPr id="2066" name="Picture 9">
              <a:extLst>
                <a:ext uri="{FF2B5EF4-FFF2-40B4-BE49-F238E27FC236}">
                  <a16:creationId xmlns:a16="http://schemas.microsoft.com/office/drawing/2014/main" id="{03F64B2F-2495-1E63-14F5-6E205EEE7A17}"/>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9485" t="2" r="1585" b="11067"/>
            <a:stretch>
              <a:fillRect/>
            </a:stretch>
          </p:blipFill>
          <p:spPr bwMode="auto">
            <a:xfrm>
              <a:off x="3814976" y="3986992"/>
              <a:ext cx="1568024" cy="1684792"/>
            </a:xfrm>
            <a:prstGeom prst="rect">
              <a:avLst/>
            </a:prstGeom>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74ACB2C5-2156-801C-07A4-65C6B15A0C4E}"/>
                </a:ext>
              </a:extLst>
            </p:cNvPr>
            <p:cNvCxnSpPr>
              <a:cxnSpLocks/>
            </p:cNvCxnSpPr>
            <p:nvPr/>
          </p:nvCxnSpPr>
          <p:spPr>
            <a:xfrm>
              <a:off x="3823642" y="6023834"/>
              <a:ext cx="1568024" cy="0"/>
            </a:xfrm>
            <a:prstGeom prst="line">
              <a:avLst/>
            </a:prstGeom>
            <a:noFill/>
            <a:ln w="19050" cap="flat" cmpd="sng" algn="ctr">
              <a:gradFill>
                <a:gsLst>
                  <a:gs pos="0">
                    <a:srgbClr val="F3E700"/>
                  </a:gs>
                  <a:gs pos="34000">
                    <a:srgbClr val="8CC3CA"/>
                  </a:gs>
                  <a:gs pos="67000">
                    <a:srgbClr val="2878FF"/>
                  </a:gs>
                  <a:gs pos="100000">
                    <a:srgbClr val="E228E2"/>
                  </a:gs>
                </a:gsLst>
                <a:lin ang="2700000" scaled="0"/>
              </a:gradFill>
              <a:prstDash val="solid"/>
              <a:miter lim="800000"/>
            </a:ln>
            <a:effectLst/>
          </p:spPr>
        </p:cxnSp>
      </p:grpSp>
      <p:sp>
        <p:nvSpPr>
          <p:cNvPr id="49" name="Rectangle 48">
            <a:extLst>
              <a:ext uri="{FF2B5EF4-FFF2-40B4-BE49-F238E27FC236}">
                <a16:creationId xmlns:a16="http://schemas.microsoft.com/office/drawing/2014/main" id="{FA3B1061-82B2-3E1C-BED9-103D60AEC077}"/>
              </a:ext>
            </a:extLst>
          </p:cNvPr>
          <p:cNvSpPr/>
          <p:nvPr/>
        </p:nvSpPr>
        <p:spPr>
          <a:xfrm>
            <a:off x="7923040" y="5695330"/>
            <a:ext cx="1869011" cy="29560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4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Thomas Langenickel</a:t>
            </a:r>
            <a:endParaRPr kumimoji="0" lang="en-US" sz="14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sp>
        <p:nvSpPr>
          <p:cNvPr id="2050" name="Rectangle 2049">
            <a:extLst>
              <a:ext uri="{FF2B5EF4-FFF2-40B4-BE49-F238E27FC236}">
                <a16:creationId xmlns:a16="http://schemas.microsoft.com/office/drawing/2014/main" id="{13C6196A-C73B-E067-9DFE-6D3F3B03553A}"/>
              </a:ext>
            </a:extLst>
          </p:cNvPr>
          <p:cNvSpPr/>
          <p:nvPr/>
        </p:nvSpPr>
        <p:spPr>
          <a:xfrm>
            <a:off x="7727898" y="6023936"/>
            <a:ext cx="2259292" cy="29560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rgbClr val="FFFFFF"/>
                </a:solidFill>
                <a:effectLst/>
                <a:uLnTx/>
                <a:uFillTx/>
                <a:latin typeface="Avenir Next LT Pro"/>
                <a:ea typeface="+mn-ea"/>
                <a:cs typeface="+mn-cs"/>
              </a:rPr>
              <a:t>Chief Medical and Development Officer</a:t>
            </a:r>
          </a:p>
        </p:txBody>
      </p:sp>
      <p:pic>
        <p:nvPicPr>
          <p:cNvPr id="2074" name="Picture 21">
            <a:extLst>
              <a:ext uri="{FF2B5EF4-FFF2-40B4-BE49-F238E27FC236}">
                <a16:creationId xmlns:a16="http://schemas.microsoft.com/office/drawing/2014/main" id="{7BC6151B-EF07-340D-39BE-8B8AB1B4B5B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4829" r="6402" b="11231"/>
          <a:stretch>
            <a:fillRect/>
          </a:stretch>
        </p:blipFill>
        <p:spPr bwMode="auto">
          <a:xfrm>
            <a:off x="8073533" y="3986978"/>
            <a:ext cx="1568024" cy="1684792"/>
          </a:xfrm>
          <a:prstGeom prst="rect">
            <a:avLst/>
          </a:prstGeom>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4580929C-84AF-C584-4306-C35260729D13}"/>
              </a:ext>
            </a:extLst>
          </p:cNvPr>
          <p:cNvCxnSpPr>
            <a:cxnSpLocks/>
          </p:cNvCxnSpPr>
          <p:nvPr/>
        </p:nvCxnSpPr>
        <p:spPr>
          <a:xfrm>
            <a:off x="8068125" y="6023834"/>
            <a:ext cx="1568024" cy="0"/>
          </a:xfrm>
          <a:prstGeom prst="line">
            <a:avLst/>
          </a:prstGeom>
          <a:noFill/>
          <a:ln w="19050" cap="flat" cmpd="sng" algn="ctr">
            <a:gradFill>
              <a:gsLst>
                <a:gs pos="0">
                  <a:srgbClr val="F3E700"/>
                </a:gs>
                <a:gs pos="34000">
                  <a:srgbClr val="8CC3CA"/>
                </a:gs>
                <a:gs pos="67000">
                  <a:srgbClr val="2878FF"/>
                </a:gs>
                <a:gs pos="100000">
                  <a:srgbClr val="E228E2"/>
                </a:gs>
              </a:gsLst>
              <a:lin ang="2700000" scaled="0"/>
            </a:gradFill>
            <a:prstDash val="solid"/>
            <a:miter lim="800000"/>
          </a:ln>
          <a:effectLst/>
        </p:spPr>
      </p:cxnSp>
      <p:sp>
        <p:nvSpPr>
          <p:cNvPr id="11" name="TextBox 10">
            <a:extLst>
              <a:ext uri="{FF2B5EF4-FFF2-40B4-BE49-F238E27FC236}">
                <a16:creationId xmlns:a16="http://schemas.microsoft.com/office/drawing/2014/main" id="{732C29F6-791A-2B22-2F5D-FC7062A4047F}"/>
              </a:ext>
            </a:extLst>
          </p:cNvPr>
          <p:cNvSpPr txBox="1"/>
          <p:nvPr/>
        </p:nvSpPr>
        <p:spPr>
          <a:xfrm>
            <a:off x="11594381" y="6399575"/>
            <a:ext cx="27602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92F5A-FC14-4E83-B4CC-18F6C2D780A4}" type="slidenum">
              <a:rPr kumimoji="0" lang="en-US" sz="1000" b="0" i="0" u="none" strike="noStrike" kern="0" cap="none" spc="40" normalizeH="0" baseline="0" noProof="0" smtClean="0">
                <a:ln>
                  <a:noFill/>
                </a:ln>
                <a:solidFill>
                  <a:srgbClr val="2878FF"/>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0" cap="none" spc="40" normalizeH="0" baseline="0" noProof="0">
              <a:ln>
                <a:noFill/>
              </a:ln>
              <a:solidFill>
                <a:srgbClr val="2878FF"/>
              </a:solidFill>
              <a:effectLst/>
              <a:uLnTx/>
              <a:uFillTx/>
              <a:latin typeface="Avenir Next LT Pro"/>
              <a:ea typeface="+mn-ea"/>
              <a:cs typeface="+mn-cs"/>
            </a:endParaRPr>
          </a:p>
        </p:txBody>
      </p:sp>
      <p:sp>
        <p:nvSpPr>
          <p:cNvPr id="14" name="Footer Placeholder 438">
            <a:extLst>
              <a:ext uri="{FF2B5EF4-FFF2-40B4-BE49-F238E27FC236}">
                <a16:creationId xmlns:a16="http://schemas.microsoft.com/office/drawing/2014/main" id="{88984795-3857-2CF4-ECA4-BBA27222239F}"/>
              </a:ext>
            </a:extLst>
          </p:cNvPr>
          <p:cNvSpPr txBox="1">
            <a:spLocks/>
          </p:cNvSpPr>
          <p:nvPr/>
        </p:nvSpPr>
        <p:spPr>
          <a:xfrm>
            <a:off x="516732" y="6494486"/>
            <a:ext cx="10933112" cy="153888"/>
          </a:xfrm>
          <a:prstGeom prst="rect">
            <a:avLst/>
          </a:prstGeom>
        </p:spPr>
        <p:txBody>
          <a:bodyPr vert="horz" lIns="0" tIns="0" rIns="0" bIns="0" rtlCol="0" anchor="t">
            <a:spAutoFit/>
          </a:bodyPr>
          <a:lstStyle>
            <a:defPPr>
              <a:defRPr lang="sv-SE"/>
            </a:defPPr>
            <a:lvl1pPr marL="0" algn="l" defTabSz="914400" rtl="0" eaLnBrk="1" latinLnBrk="0" hangingPunct="1">
              <a:defRPr sz="1000" kern="1200">
                <a:solidFill>
                  <a:schemeClr val="tx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78FF">
                    <a:lumMod val="60000"/>
                    <a:lumOff val="40000"/>
                  </a:srgbClr>
                </a:solidFill>
                <a:effectLst/>
                <a:uLnTx/>
                <a:uFillTx/>
                <a:latin typeface="Avenir Next LT Pro"/>
                <a:ea typeface="+mn-ea"/>
                <a:cs typeface="+mn-cs"/>
              </a:rPr>
              <a:t>Note</a:t>
            </a:r>
            <a:r>
              <a:rPr kumimoji="0" lang="en-DK" sz="1000" b="0" i="0" u="none" strike="noStrike" kern="1200" cap="none" spc="0" normalizeH="0" baseline="0" noProof="0">
                <a:ln>
                  <a:noFill/>
                </a:ln>
                <a:solidFill>
                  <a:srgbClr val="2878FF">
                    <a:lumMod val="60000"/>
                    <a:lumOff val="40000"/>
                  </a:srgbClr>
                </a:solidFill>
                <a:effectLst/>
                <a:uLnTx/>
                <a:uFillTx/>
                <a:latin typeface="Avenir Next LT Pro"/>
                <a:ea typeface="+mn-ea"/>
                <a:cs typeface="+mn-cs"/>
              </a:rPr>
              <a:t>s</a:t>
            </a:r>
            <a:r>
              <a:rPr kumimoji="0" lang="en-US" sz="1000" b="0" i="0" u="none" strike="noStrike" kern="1200" cap="none" spc="0" normalizeH="0" baseline="0" noProof="0">
                <a:ln>
                  <a:noFill/>
                </a:ln>
                <a:solidFill>
                  <a:srgbClr val="2878FF">
                    <a:lumMod val="60000"/>
                    <a:lumOff val="40000"/>
                  </a:srgbClr>
                </a:solidFill>
                <a:effectLst/>
                <a:uLnTx/>
                <a:uFillTx/>
                <a:latin typeface="Avenir Next LT Pro"/>
                <a:ea typeface="+mn-ea"/>
                <a:cs typeface="+mn-cs"/>
              </a:rPr>
              <a:t>:</a:t>
            </a:r>
            <a:r>
              <a:rPr kumimoji="0" lang="en-DK" sz="1000" b="0" i="0" u="none" strike="noStrike" kern="1200" cap="none" spc="0" normalizeH="0" baseline="0" noProof="0">
                <a:ln>
                  <a:noFill/>
                </a:ln>
                <a:solidFill>
                  <a:srgbClr val="2878FF">
                    <a:lumMod val="60000"/>
                    <a:lumOff val="40000"/>
                  </a:srgbClr>
                </a:solidFill>
                <a:effectLst/>
                <a:uLnTx/>
                <a:uFillTx/>
                <a:latin typeface="Avenir Next LT Pro"/>
                <a:ea typeface="+mn-ea"/>
                <a:cs typeface="+mn-cs"/>
              </a:rPr>
              <a:t> Zoë Johnson is legally associated with Gubra GmbH in Switzerland</a:t>
            </a:r>
            <a:endParaRPr kumimoji="0" lang="sv-SE" sz="1000" b="0" i="0" u="none" strike="noStrike" kern="1200" cap="none" spc="0" normalizeH="0" baseline="0" noProof="0">
              <a:ln>
                <a:noFill/>
              </a:ln>
              <a:solidFill>
                <a:srgbClr val="2878FF">
                  <a:lumMod val="60000"/>
                  <a:lumOff val="40000"/>
                </a:srgbClr>
              </a:solidFill>
              <a:effectLst/>
              <a:uLnTx/>
              <a:uFillTx/>
              <a:latin typeface="Avenir Next LT Pro"/>
              <a:ea typeface="+mn-ea"/>
              <a:cs typeface="+mn-cs"/>
            </a:endParaRPr>
          </a:p>
        </p:txBody>
      </p:sp>
      <p:grpSp>
        <p:nvGrpSpPr>
          <p:cNvPr id="20" name="Group 19">
            <a:extLst>
              <a:ext uri="{FF2B5EF4-FFF2-40B4-BE49-F238E27FC236}">
                <a16:creationId xmlns:a16="http://schemas.microsoft.com/office/drawing/2014/main" id="{47FAAC8D-665C-C8BB-FE1A-6748CAC00245}"/>
              </a:ext>
            </a:extLst>
          </p:cNvPr>
          <p:cNvGrpSpPr/>
          <p:nvPr/>
        </p:nvGrpSpPr>
        <p:grpSpPr>
          <a:xfrm>
            <a:off x="2049824" y="3986978"/>
            <a:ext cx="2259292" cy="2343827"/>
            <a:chOff x="6308378" y="1185920"/>
            <a:chExt cx="2259292" cy="2343827"/>
          </a:xfrm>
        </p:grpSpPr>
        <p:sp>
          <p:nvSpPr>
            <p:cNvPr id="57" name="Rectangle 56">
              <a:extLst>
                <a:ext uri="{FF2B5EF4-FFF2-40B4-BE49-F238E27FC236}">
                  <a16:creationId xmlns:a16="http://schemas.microsoft.com/office/drawing/2014/main" id="{F2A7007B-AE4F-F658-77B7-2CAAB5222E76}"/>
                </a:ext>
              </a:extLst>
            </p:cNvPr>
            <p:cNvSpPr/>
            <p:nvPr/>
          </p:nvSpPr>
          <p:spPr>
            <a:xfrm>
              <a:off x="6308378" y="3234138"/>
              <a:ext cx="2259292" cy="29560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chemeClr val="bg1"/>
                  </a:solidFill>
                  <a:effectLst/>
                  <a:uLnTx/>
                  <a:uFillTx/>
                  <a:latin typeface="Avenir Next LT Pro"/>
                  <a:ea typeface="+mn-ea"/>
                  <a:cs typeface="+mn-cs"/>
                </a:rPr>
                <a:t>Head of Ventures &amp; BD</a:t>
              </a:r>
              <a:endParaRPr kumimoji="0" lang="en-US" sz="1200" b="0" i="0" u="none" strike="noStrike" kern="1200" cap="none" spc="0" normalizeH="0" baseline="0" noProof="0">
                <a:ln>
                  <a:noFill/>
                </a:ln>
                <a:solidFill>
                  <a:schemeClr val="bg1"/>
                </a:solidFill>
                <a:effectLst/>
                <a:uLnTx/>
                <a:uFillTx/>
                <a:latin typeface="Avenir Next LT Pro"/>
                <a:ea typeface="+mn-ea"/>
                <a:cs typeface="+mn-cs"/>
              </a:endParaRPr>
            </a:p>
          </p:txBody>
        </p:sp>
        <p:sp>
          <p:nvSpPr>
            <p:cNvPr id="53" name="Rectangle 52">
              <a:extLst>
                <a:ext uri="{FF2B5EF4-FFF2-40B4-BE49-F238E27FC236}">
                  <a16:creationId xmlns:a16="http://schemas.microsoft.com/office/drawing/2014/main" id="{E60FE5DC-E927-1EF1-27EA-6E390B472047}"/>
                </a:ext>
              </a:extLst>
            </p:cNvPr>
            <p:cNvSpPr/>
            <p:nvPr/>
          </p:nvSpPr>
          <p:spPr>
            <a:xfrm>
              <a:off x="6563902" y="2894272"/>
              <a:ext cx="1697440" cy="29560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Avenir Next LT Pro Demi" panose="020B0504020202020204" pitchFamily="34" charset="77"/>
                  <a:ea typeface="+mn-ea"/>
                  <a:cs typeface="+mn-cs"/>
                </a:rPr>
                <a:t>Z</a:t>
              </a:r>
              <a:r>
                <a:rPr kumimoji="0" lang="en-DK" sz="1400" b="1" i="0" u="none" strike="noStrike" kern="1200" cap="none" spc="0" normalizeH="0" baseline="0" noProof="0">
                  <a:ln>
                    <a:noFill/>
                  </a:ln>
                  <a:solidFill>
                    <a:schemeClr val="bg1"/>
                  </a:solidFill>
                  <a:effectLst/>
                  <a:uLnTx/>
                  <a:uFillTx/>
                  <a:latin typeface="Avenir Next LT Pro Demi" panose="020B0504020202020204" pitchFamily="34" charset="77"/>
                  <a:ea typeface="+mn-ea"/>
                  <a:cs typeface="+mn-cs"/>
                </a:rPr>
                <a:t>oë Johnson</a:t>
              </a:r>
              <a:r>
                <a:rPr kumimoji="0" lang="en-GB" sz="1400" b="1" i="0" u="none" strike="noStrike" kern="1200" cap="none" spc="0" normalizeH="0" baseline="0" noProof="0">
                  <a:ln>
                    <a:noFill/>
                  </a:ln>
                  <a:solidFill>
                    <a:schemeClr val="bg1"/>
                  </a:solidFill>
                  <a:effectLst/>
                  <a:uLnTx/>
                  <a:uFillTx/>
                  <a:latin typeface="Avenir Next LT Pro Demi" panose="020B0504020202020204" pitchFamily="34" charset="77"/>
                  <a:ea typeface="+mn-ea"/>
                  <a:cs typeface="+mn-cs"/>
                </a:rPr>
                <a:t>*</a:t>
              </a:r>
              <a:endParaRPr kumimoji="0" lang="en-US" sz="1400" b="1" i="0" u="none" strike="noStrike" kern="1200" cap="none" spc="0" normalizeH="0" baseline="0" noProof="0">
                <a:ln>
                  <a:noFill/>
                </a:ln>
                <a:solidFill>
                  <a:schemeClr val="bg1"/>
                </a:solidFill>
                <a:effectLst/>
                <a:uLnTx/>
                <a:uFillTx/>
                <a:latin typeface="Avenir Next LT Pro Demi" panose="020B0504020202020204" pitchFamily="34" charset="77"/>
                <a:ea typeface="+mn-ea"/>
                <a:cs typeface="+mn-cs"/>
              </a:endParaRPr>
            </a:p>
          </p:txBody>
        </p:sp>
        <p:pic>
          <p:nvPicPr>
            <p:cNvPr id="2063" name="Picture 4">
              <a:extLst>
                <a:ext uri="{FF2B5EF4-FFF2-40B4-BE49-F238E27FC236}">
                  <a16:creationId xmlns:a16="http://schemas.microsoft.com/office/drawing/2014/main" id="{D3F2A4D1-73A7-2605-B931-E3FE32354074}"/>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3789" t="-715" r="4411" b="8915"/>
            <a:stretch>
              <a:fillRect/>
            </a:stretch>
          </p:blipFill>
          <p:spPr bwMode="auto">
            <a:xfrm>
              <a:off x="6654013" y="1185920"/>
              <a:ext cx="1568024" cy="1684791"/>
            </a:xfrm>
            <a:prstGeom prst="rect">
              <a:avLst/>
            </a:prstGeom>
            <a:extLst>
              <a:ext uri="{909E8E84-426E-40DD-AFC4-6F175D3DCCD1}">
                <a14:hiddenFill xmlns:a14="http://schemas.microsoft.com/office/drawing/2010/main">
                  <a:solidFill>
                    <a:srgbClr val="FFFFFF"/>
                  </a:solidFill>
                </a14:hiddenFill>
              </a:ext>
            </a:extLst>
          </p:spPr>
        </p:pic>
        <p:cxnSp>
          <p:nvCxnSpPr>
            <p:cNvPr id="2" name="Straight Connector 1">
              <a:extLst>
                <a:ext uri="{FF2B5EF4-FFF2-40B4-BE49-F238E27FC236}">
                  <a16:creationId xmlns:a16="http://schemas.microsoft.com/office/drawing/2014/main" id="{5323143B-4CEA-424A-3391-F90E4459EBEF}"/>
                </a:ext>
              </a:extLst>
            </p:cNvPr>
            <p:cNvCxnSpPr>
              <a:cxnSpLocks/>
            </p:cNvCxnSpPr>
            <p:nvPr/>
          </p:nvCxnSpPr>
          <p:spPr>
            <a:xfrm>
              <a:off x="6648605" y="3206705"/>
              <a:ext cx="1568024" cy="0"/>
            </a:xfrm>
            <a:prstGeom prst="line">
              <a:avLst/>
            </a:prstGeom>
            <a:noFill/>
            <a:ln w="19050" cap="flat" cmpd="sng" algn="ctr">
              <a:gradFill>
                <a:gsLst>
                  <a:gs pos="0">
                    <a:srgbClr val="F3E700"/>
                  </a:gs>
                  <a:gs pos="34000">
                    <a:srgbClr val="8CC3CA"/>
                  </a:gs>
                  <a:gs pos="67000">
                    <a:srgbClr val="2878FF"/>
                  </a:gs>
                  <a:gs pos="100000">
                    <a:srgbClr val="E228E2"/>
                  </a:gs>
                </a:gsLst>
                <a:lin ang="2700000" scaled="0"/>
              </a:gradFill>
              <a:prstDash val="solid"/>
              <a:miter lim="800000"/>
            </a:ln>
            <a:effectLst/>
          </p:spPr>
        </p:cxnSp>
      </p:grpSp>
      <p:grpSp>
        <p:nvGrpSpPr>
          <p:cNvPr id="10" name="Group 9">
            <a:extLst>
              <a:ext uri="{FF2B5EF4-FFF2-40B4-BE49-F238E27FC236}">
                <a16:creationId xmlns:a16="http://schemas.microsoft.com/office/drawing/2014/main" id="{51A99478-9CA4-E7FD-EE5F-84500FC346BD}"/>
              </a:ext>
            </a:extLst>
          </p:cNvPr>
          <p:cNvGrpSpPr/>
          <p:nvPr/>
        </p:nvGrpSpPr>
        <p:grpSpPr>
          <a:xfrm>
            <a:off x="6308378" y="1185920"/>
            <a:ext cx="2259292" cy="2332567"/>
            <a:chOff x="2049824" y="3986978"/>
            <a:chExt cx="2259292" cy="2332567"/>
          </a:xfrm>
        </p:grpSpPr>
        <p:sp>
          <p:nvSpPr>
            <p:cNvPr id="2048" name="Rectangle 2047">
              <a:extLst>
                <a:ext uri="{FF2B5EF4-FFF2-40B4-BE49-F238E27FC236}">
                  <a16:creationId xmlns:a16="http://schemas.microsoft.com/office/drawing/2014/main" id="{72B85DD7-4397-EAD2-F3A4-E2D2CDBB319A}"/>
                </a:ext>
              </a:extLst>
            </p:cNvPr>
            <p:cNvSpPr/>
            <p:nvPr/>
          </p:nvSpPr>
          <p:spPr>
            <a:xfrm>
              <a:off x="2049824" y="6023936"/>
              <a:ext cx="2259292" cy="29560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chemeClr val="tx1"/>
                  </a:solidFill>
                  <a:effectLst/>
                  <a:uLnTx/>
                  <a:uFillTx/>
                  <a:latin typeface="Avenir Next LT Pro"/>
                  <a:ea typeface="+mn-ea"/>
                  <a:cs typeface="+mn-cs"/>
                </a:rPr>
                <a:t>Head of CRO</a:t>
              </a:r>
              <a:endParaRPr kumimoji="0" lang="en-US" sz="1200" b="0" i="0" u="none" strike="noStrike" kern="1200" cap="none" spc="0" normalizeH="0" baseline="0" noProof="0">
                <a:ln>
                  <a:noFill/>
                </a:ln>
                <a:solidFill>
                  <a:schemeClr val="tx1"/>
                </a:solidFill>
                <a:effectLst/>
                <a:uLnTx/>
                <a:uFillTx/>
                <a:latin typeface="Avenir Next LT Pro"/>
                <a:ea typeface="+mn-ea"/>
                <a:cs typeface="+mn-cs"/>
              </a:endParaRPr>
            </a:p>
          </p:txBody>
        </p:sp>
        <p:grpSp>
          <p:nvGrpSpPr>
            <p:cNvPr id="17" name="Group 16">
              <a:extLst>
                <a:ext uri="{FF2B5EF4-FFF2-40B4-BE49-F238E27FC236}">
                  <a16:creationId xmlns:a16="http://schemas.microsoft.com/office/drawing/2014/main" id="{F478C327-0E32-A96C-3550-86B4D5632A5C}"/>
                </a:ext>
              </a:extLst>
            </p:cNvPr>
            <p:cNvGrpSpPr/>
            <p:nvPr/>
          </p:nvGrpSpPr>
          <p:grpSpPr>
            <a:xfrm>
              <a:off x="2330750" y="3986978"/>
              <a:ext cx="1697440" cy="2036856"/>
              <a:chOff x="911231" y="3986978"/>
              <a:chExt cx="1697440" cy="2036856"/>
            </a:xfrm>
          </p:grpSpPr>
          <p:sp>
            <p:nvSpPr>
              <p:cNvPr id="51" name="Rectangle 50">
                <a:extLst>
                  <a:ext uri="{FF2B5EF4-FFF2-40B4-BE49-F238E27FC236}">
                    <a16:creationId xmlns:a16="http://schemas.microsoft.com/office/drawing/2014/main" id="{6CB1BA9D-EF7A-4E1C-2F58-8603864ECF19}"/>
                  </a:ext>
                </a:extLst>
              </p:cNvPr>
              <p:cNvSpPr/>
              <p:nvPr/>
            </p:nvSpPr>
            <p:spPr>
              <a:xfrm>
                <a:off x="911231" y="5695330"/>
                <a:ext cx="1697440" cy="29560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venir Next LT Pro Demi" panose="020B0504020202020204" pitchFamily="34" charset="77"/>
                    <a:ea typeface="+mn-ea"/>
                    <a:cs typeface="+mn-cs"/>
                  </a:rPr>
                  <a:t>T</a:t>
                </a:r>
                <a:r>
                  <a:rPr kumimoji="0" lang="en-DK" sz="1400" b="1" i="0" u="none" strike="noStrike" kern="1200" cap="none" spc="0" normalizeH="0" baseline="0" noProof="0">
                    <a:ln>
                      <a:noFill/>
                    </a:ln>
                    <a:solidFill>
                      <a:schemeClr val="tx1"/>
                    </a:solidFill>
                    <a:effectLst/>
                    <a:uLnTx/>
                    <a:uFillTx/>
                    <a:latin typeface="Avenir Next LT Pro Demi" panose="020B0504020202020204" pitchFamily="34" charset="77"/>
                    <a:ea typeface="+mn-ea"/>
                    <a:cs typeface="+mn-cs"/>
                  </a:rPr>
                  <a:t>rine Hamann</a:t>
                </a:r>
                <a:endParaRPr kumimoji="0" lang="en-US" sz="1400" b="1" i="0" u="none" strike="noStrike" kern="1200" cap="none" spc="0" normalizeH="0" baseline="0" noProof="0">
                  <a:ln>
                    <a:noFill/>
                  </a:ln>
                  <a:solidFill>
                    <a:schemeClr val="tx1"/>
                  </a:solidFill>
                  <a:effectLst/>
                  <a:uLnTx/>
                  <a:uFillTx/>
                  <a:latin typeface="Avenir Next LT Pro Demi" panose="020B0504020202020204" pitchFamily="34" charset="77"/>
                  <a:ea typeface="+mn-ea"/>
                  <a:cs typeface="+mn-cs"/>
                </a:endParaRPr>
              </a:p>
            </p:txBody>
          </p:sp>
          <p:pic>
            <p:nvPicPr>
              <p:cNvPr id="2071" name="Picture 15">
                <a:extLst>
                  <a:ext uri="{FF2B5EF4-FFF2-40B4-BE49-F238E27FC236}">
                    <a16:creationId xmlns:a16="http://schemas.microsoft.com/office/drawing/2014/main" id="{66A54ADE-F178-B211-AB3F-53882E2824EE}"/>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3963" b="3963"/>
              <a:stretch>
                <a:fillRect/>
              </a:stretch>
            </p:blipFill>
            <p:spPr bwMode="auto">
              <a:xfrm>
                <a:off x="975939" y="3986978"/>
                <a:ext cx="1568024" cy="1684792"/>
              </a:xfrm>
              <a:prstGeom prst="rect">
                <a:avLst/>
              </a:prstGeom>
              <a:extLst>
                <a:ext uri="{909E8E84-426E-40DD-AFC4-6F175D3DCCD1}">
                  <a14:hiddenFill xmlns:a14="http://schemas.microsoft.com/office/drawing/2010/main">
                    <a:solidFill>
                      <a:srgbClr val="FFFFFF"/>
                    </a:solidFill>
                  </a14:hiddenFill>
                </a:ext>
              </a:extLst>
            </p:spPr>
          </p:pic>
          <p:cxnSp>
            <p:nvCxnSpPr>
              <p:cNvPr id="5" name="Straight Connector 4">
                <a:extLst>
                  <a:ext uri="{FF2B5EF4-FFF2-40B4-BE49-F238E27FC236}">
                    <a16:creationId xmlns:a16="http://schemas.microsoft.com/office/drawing/2014/main" id="{D69F6317-A7B3-E379-9437-8EF1C2AC215D}"/>
                  </a:ext>
                </a:extLst>
              </p:cNvPr>
              <p:cNvCxnSpPr>
                <a:cxnSpLocks/>
              </p:cNvCxnSpPr>
              <p:nvPr/>
            </p:nvCxnSpPr>
            <p:spPr>
              <a:xfrm>
                <a:off x="975939" y="6023834"/>
                <a:ext cx="1568024" cy="0"/>
              </a:xfrm>
              <a:prstGeom prst="line">
                <a:avLst/>
              </a:prstGeom>
              <a:noFill/>
              <a:ln w="19050" cap="flat" cmpd="sng" algn="ctr">
                <a:gradFill>
                  <a:gsLst>
                    <a:gs pos="0">
                      <a:srgbClr val="F3E700"/>
                    </a:gs>
                    <a:gs pos="34000">
                      <a:srgbClr val="8CC3CA"/>
                    </a:gs>
                    <a:gs pos="67000">
                      <a:srgbClr val="2878FF"/>
                    </a:gs>
                    <a:gs pos="100000">
                      <a:srgbClr val="E228E2"/>
                    </a:gs>
                  </a:gsLst>
                  <a:lin ang="2700000" scaled="0"/>
                </a:gradFill>
                <a:prstDash val="solid"/>
                <a:miter lim="800000"/>
              </a:ln>
              <a:effectLst/>
            </p:spPr>
          </p:cxnSp>
        </p:grpSp>
      </p:grpSp>
    </p:spTree>
    <p:extLst>
      <p:ext uri="{BB962C8B-B14F-4D97-AF65-F5344CB8AC3E}">
        <p14:creationId xmlns:p14="http://schemas.microsoft.com/office/powerpoint/2010/main" val="22715341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011927-759B-AE9C-FE65-A10A0D754215}"/>
            </a:ext>
          </a:extLst>
        </p:cNvPr>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619B70FB-A98C-9873-6A28-0CBE0462F53C}"/>
              </a:ext>
            </a:extLst>
          </p:cNvPr>
          <p:cNvGraphicFramePr>
            <a:graphicFrameLocks/>
          </p:cNvGraphicFramePr>
          <p:nvPr>
            <p:custDataLst>
              <p:tags r:id="rId1"/>
            </p:custDataLst>
          </p:nvPr>
        </p:nvGraphicFramePr>
        <p:xfrm>
          <a:off x="3175" y="2034"/>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6" name="think-cell data - do not delete" hidden="1">
                        <a:extLst>
                          <a:ext uri="{FF2B5EF4-FFF2-40B4-BE49-F238E27FC236}">
                            <a16:creationId xmlns:a16="http://schemas.microsoft.com/office/drawing/2014/main" id="{619B70FB-A98C-9873-6A28-0CBE0462F53C}"/>
                          </a:ext>
                        </a:extLst>
                      </p:cNvPr>
                      <p:cNvPicPr/>
                      <p:nvPr/>
                    </p:nvPicPr>
                    <p:blipFill>
                      <a:blip r:embed="rId5"/>
                      <a:stretch>
                        <a:fillRect/>
                      </a:stretch>
                    </p:blipFill>
                    <p:spPr>
                      <a:xfrm>
                        <a:off x="3175" y="2034"/>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80ABC4-ACCA-05E0-F219-7AF2481BF6C4}"/>
              </a:ext>
            </a:extLst>
          </p:cNvPr>
          <p:cNvSpPr>
            <a:spLocks noGrp="1"/>
          </p:cNvSpPr>
          <p:nvPr>
            <p:ph type="ctrTitle"/>
          </p:nvPr>
        </p:nvSpPr>
        <p:spPr>
          <a:xfrm>
            <a:off x="516007" y="514350"/>
            <a:ext cx="10466418" cy="863773"/>
          </a:xfrm>
        </p:spPr>
        <p:txBody>
          <a:bodyPr vert="horz"/>
          <a:lstStyle/>
          <a:p>
            <a:r>
              <a:rPr lang="en-US"/>
              <a:t>G</a:t>
            </a:r>
            <a:r>
              <a:rPr lang="en-DK" err="1"/>
              <a:t>ubra</a:t>
            </a:r>
            <a:r>
              <a:rPr lang="en-DK"/>
              <a:t> business model: </a:t>
            </a:r>
            <a:br>
              <a:rPr lang="en-DK"/>
            </a:br>
            <a:r>
              <a:rPr lang="en-DK"/>
              <a:t>Three business units create one integrated value creation model</a:t>
            </a:r>
            <a:endParaRPr lang="en-GB"/>
          </a:p>
        </p:txBody>
      </p:sp>
      <p:sp>
        <p:nvSpPr>
          <p:cNvPr id="85" name="Text 35">
            <a:extLst>
              <a:ext uri="{FF2B5EF4-FFF2-40B4-BE49-F238E27FC236}">
                <a16:creationId xmlns:a16="http://schemas.microsoft.com/office/drawing/2014/main" id="{099475D6-09F4-4DC0-D134-7CE8C89F2546}"/>
              </a:ext>
            </a:extLst>
          </p:cNvPr>
          <p:cNvSpPr/>
          <p:nvPr/>
        </p:nvSpPr>
        <p:spPr>
          <a:xfrm>
            <a:off x="415102" y="1456060"/>
            <a:ext cx="2713539" cy="362426"/>
          </a:xfrm>
          <a:prstGeom prst="rect">
            <a:avLst/>
          </a:prstGeom>
          <a:noFill/>
          <a:ln/>
        </p:spPr>
        <p:txBody>
          <a:bodyPr wrap="square" lIns="0" rIns="0" rtlCol="0" anchor="ctr"/>
          <a:lstStyle/>
          <a:p>
            <a:pPr algn="ctr" defTabSz="914309"/>
            <a:r>
              <a:rPr lang="en-DK" sz="1200" b="1" kern="0">
                <a:solidFill>
                  <a:schemeClr val="bg1"/>
                </a:solidFill>
                <a:latin typeface="Avenir Next LT Pro Demi" panose="020B0504020202020204" pitchFamily="34" charset="77"/>
              </a:rPr>
              <a:t>One shared scientific core with three monetization engines...</a:t>
            </a:r>
            <a:endParaRPr lang="en-US" sz="1200" b="1" kern="0">
              <a:solidFill>
                <a:schemeClr val="bg1"/>
              </a:solidFill>
              <a:latin typeface="Avenir Next LT Pro Demi" panose="020B0504020202020204" pitchFamily="34" charset="77"/>
            </a:endParaRPr>
          </a:p>
        </p:txBody>
      </p:sp>
      <p:sp>
        <p:nvSpPr>
          <p:cNvPr id="122" name="Rectangle 121">
            <a:extLst>
              <a:ext uri="{FF2B5EF4-FFF2-40B4-BE49-F238E27FC236}">
                <a16:creationId xmlns:a16="http://schemas.microsoft.com/office/drawing/2014/main" id="{EFC4B4B5-92AD-9421-948A-4BFF013685F2}"/>
              </a:ext>
            </a:extLst>
          </p:cNvPr>
          <p:cNvSpPr>
            <a:spLocks/>
          </p:cNvSpPr>
          <p:nvPr/>
        </p:nvSpPr>
        <p:spPr>
          <a:xfrm>
            <a:off x="9234951" y="2494166"/>
            <a:ext cx="2159575" cy="469768"/>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1">
                    <a:lumMod val="100000"/>
                  </a:schemeClr>
                </a:solidFill>
              </a14:hiddenFill>
            </a:ext>
            <a:ext uri="{91240B29-F687-4F45-9708-019B960494DF}">
              <a14:hiddenLine xmlns:a14="http://schemas.microsoft.com/office/drawing/2010/main" w="9525" cap="flat" cmpd="sng" algn="ctr">
                <a:solidFill>
                  <a:schemeClr val="accent1">
                    <a:lumMod val="100000"/>
                    <a:alpha val="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71991" tIns="71991" rIns="71991" bIns="71991" rtlCol="0" anchor="ctr"/>
          <a:lstStyle/>
          <a:p>
            <a:pPr algn="ctr" defTabSz="914309">
              <a:spcAft>
                <a:spcPts val="600"/>
              </a:spcAft>
              <a:defRPr/>
            </a:pPr>
            <a:r>
              <a:rPr lang="en-DK" sz="1200">
                <a:solidFill>
                  <a:schemeClr val="bg1"/>
                </a:solidFill>
                <a:latin typeface="Avenir Next LT Pro" panose="020B0504020202020204" pitchFamily="34" charset="77"/>
              </a:rPr>
              <a:t>Faster pipeline progression</a:t>
            </a:r>
            <a:endParaRPr lang="en-GB" sz="1200">
              <a:solidFill>
                <a:schemeClr val="bg1"/>
              </a:solidFill>
              <a:latin typeface="Avenir Next LT Pro" panose="020B0504020202020204" pitchFamily="34" charset="77"/>
            </a:endParaRPr>
          </a:p>
        </p:txBody>
      </p:sp>
      <p:grpSp>
        <p:nvGrpSpPr>
          <p:cNvPr id="160" name="Graphic 4">
            <a:extLst>
              <a:ext uri="{FF2B5EF4-FFF2-40B4-BE49-F238E27FC236}">
                <a16:creationId xmlns:a16="http://schemas.microsoft.com/office/drawing/2014/main" id="{A07438EA-2FB4-16E1-DA57-64E28B4C1279}"/>
              </a:ext>
            </a:extLst>
          </p:cNvPr>
          <p:cNvGrpSpPr/>
          <p:nvPr/>
        </p:nvGrpSpPr>
        <p:grpSpPr>
          <a:xfrm>
            <a:off x="2088482" y="1748438"/>
            <a:ext cx="5025460" cy="4632204"/>
            <a:chOff x="2311485" y="1509727"/>
            <a:chExt cx="5403139" cy="4980326"/>
          </a:xfrm>
        </p:grpSpPr>
        <p:sp>
          <p:nvSpPr>
            <p:cNvPr id="161" name="Freeform 160">
              <a:extLst>
                <a:ext uri="{FF2B5EF4-FFF2-40B4-BE49-F238E27FC236}">
                  <a16:creationId xmlns:a16="http://schemas.microsoft.com/office/drawing/2014/main" id="{801C8CBC-039D-3038-34DB-C481BC7C98B6}"/>
                </a:ext>
              </a:extLst>
            </p:cNvPr>
            <p:cNvSpPr/>
            <p:nvPr/>
          </p:nvSpPr>
          <p:spPr>
            <a:xfrm rot="-2700000">
              <a:off x="3901117" y="1509727"/>
              <a:ext cx="2223936" cy="2225311"/>
            </a:xfrm>
            <a:custGeom>
              <a:avLst/>
              <a:gdLst>
                <a:gd name="connsiteX0" fmla="*/ 2223937 w 2223936"/>
                <a:gd name="connsiteY0" fmla="*/ 1112656 h 2225311"/>
                <a:gd name="connsiteX1" fmla="*/ 1111968 w 2223936"/>
                <a:gd name="connsiteY1" fmla="*/ 2225312 h 2225311"/>
                <a:gd name="connsiteX2" fmla="*/ 0 w 2223936"/>
                <a:gd name="connsiteY2" fmla="*/ 1112656 h 2225311"/>
                <a:gd name="connsiteX3" fmla="*/ 1111968 w 2223936"/>
                <a:gd name="connsiteY3" fmla="*/ 0 h 2225311"/>
                <a:gd name="connsiteX4" fmla="*/ 2223937 w 2223936"/>
                <a:gd name="connsiteY4" fmla="*/ 1112656 h 2225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3936" h="2225311">
                  <a:moveTo>
                    <a:pt x="2223937" y="1112656"/>
                  </a:moveTo>
                  <a:cubicBezTo>
                    <a:pt x="2223937" y="1727159"/>
                    <a:pt x="1726091" y="2225312"/>
                    <a:pt x="1111968" y="2225312"/>
                  </a:cubicBezTo>
                  <a:cubicBezTo>
                    <a:pt x="497845" y="2225312"/>
                    <a:pt x="0" y="1727159"/>
                    <a:pt x="0" y="1112656"/>
                  </a:cubicBezTo>
                  <a:cubicBezTo>
                    <a:pt x="0" y="498153"/>
                    <a:pt x="497845" y="0"/>
                    <a:pt x="1111968" y="0"/>
                  </a:cubicBezTo>
                  <a:cubicBezTo>
                    <a:pt x="1726091" y="0"/>
                    <a:pt x="2223937" y="498153"/>
                    <a:pt x="2223937" y="1112656"/>
                  </a:cubicBezTo>
                  <a:close/>
                </a:path>
              </a:pathLst>
            </a:custGeom>
            <a:solidFill>
              <a:srgbClr val="2878FF">
                <a:alpha val="49653"/>
              </a:srgbClr>
            </a:solidFill>
            <a:ln w="12028" cap="flat">
              <a:noFill/>
              <a:prstDash val="solid"/>
              <a:miter/>
            </a:ln>
          </p:spPr>
          <p:txBody>
            <a:bodyPr rtlCol="0" anchor="ctr"/>
            <a:lstStyle/>
            <a:p>
              <a:endParaRPr lang="en-DK"/>
            </a:p>
          </p:txBody>
        </p:sp>
        <p:sp>
          <p:nvSpPr>
            <p:cNvPr id="162" name="Freeform 161">
              <a:extLst>
                <a:ext uri="{FF2B5EF4-FFF2-40B4-BE49-F238E27FC236}">
                  <a16:creationId xmlns:a16="http://schemas.microsoft.com/office/drawing/2014/main" id="{BBEABD3D-B652-389A-5BD0-83046F0FDAD4}"/>
                </a:ext>
              </a:extLst>
            </p:cNvPr>
            <p:cNvSpPr/>
            <p:nvPr/>
          </p:nvSpPr>
          <p:spPr>
            <a:xfrm rot="-2700000">
              <a:off x="2311485" y="4264742"/>
              <a:ext cx="2223936" cy="2225311"/>
            </a:xfrm>
            <a:custGeom>
              <a:avLst/>
              <a:gdLst>
                <a:gd name="connsiteX0" fmla="*/ 2223937 w 2223936"/>
                <a:gd name="connsiteY0" fmla="*/ 1112656 h 2225311"/>
                <a:gd name="connsiteX1" fmla="*/ 1111968 w 2223936"/>
                <a:gd name="connsiteY1" fmla="*/ 2225312 h 2225311"/>
                <a:gd name="connsiteX2" fmla="*/ 0 w 2223936"/>
                <a:gd name="connsiteY2" fmla="*/ 1112656 h 2225311"/>
                <a:gd name="connsiteX3" fmla="*/ 1111968 w 2223936"/>
                <a:gd name="connsiteY3" fmla="*/ 0 h 2225311"/>
                <a:gd name="connsiteX4" fmla="*/ 2223937 w 2223936"/>
                <a:gd name="connsiteY4" fmla="*/ 1112656 h 2225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3936" h="2225311">
                  <a:moveTo>
                    <a:pt x="2223937" y="1112656"/>
                  </a:moveTo>
                  <a:cubicBezTo>
                    <a:pt x="2223937" y="1727159"/>
                    <a:pt x="1726091" y="2225312"/>
                    <a:pt x="1111968" y="2225312"/>
                  </a:cubicBezTo>
                  <a:cubicBezTo>
                    <a:pt x="497845" y="2225312"/>
                    <a:pt x="0" y="1727159"/>
                    <a:pt x="0" y="1112656"/>
                  </a:cubicBezTo>
                  <a:cubicBezTo>
                    <a:pt x="0" y="498153"/>
                    <a:pt x="497845" y="0"/>
                    <a:pt x="1111968" y="0"/>
                  </a:cubicBezTo>
                  <a:cubicBezTo>
                    <a:pt x="1726091" y="0"/>
                    <a:pt x="2223937" y="498153"/>
                    <a:pt x="2223937" y="1112656"/>
                  </a:cubicBezTo>
                  <a:close/>
                </a:path>
              </a:pathLst>
            </a:custGeom>
            <a:solidFill>
              <a:srgbClr val="E229E2">
                <a:alpha val="50000"/>
              </a:srgbClr>
            </a:solidFill>
            <a:ln w="12028" cap="flat">
              <a:noFill/>
              <a:prstDash val="solid"/>
              <a:miter/>
            </a:ln>
          </p:spPr>
          <p:txBody>
            <a:bodyPr rtlCol="0" anchor="ctr"/>
            <a:lstStyle/>
            <a:p>
              <a:endParaRPr lang="en-DK"/>
            </a:p>
          </p:txBody>
        </p:sp>
        <p:sp>
          <p:nvSpPr>
            <p:cNvPr id="163" name="Freeform 162">
              <a:extLst>
                <a:ext uri="{FF2B5EF4-FFF2-40B4-BE49-F238E27FC236}">
                  <a16:creationId xmlns:a16="http://schemas.microsoft.com/office/drawing/2014/main" id="{E8FDF626-DB5A-0B44-5F10-21EEED3FB4F2}"/>
                </a:ext>
              </a:extLst>
            </p:cNvPr>
            <p:cNvSpPr/>
            <p:nvPr/>
          </p:nvSpPr>
          <p:spPr>
            <a:xfrm rot="-2700000">
              <a:off x="5490688" y="4264690"/>
              <a:ext cx="2223936" cy="2225311"/>
            </a:xfrm>
            <a:custGeom>
              <a:avLst/>
              <a:gdLst>
                <a:gd name="connsiteX0" fmla="*/ 2223936 w 2223936"/>
                <a:gd name="connsiteY0" fmla="*/ 1112656 h 2225311"/>
                <a:gd name="connsiteX1" fmla="*/ 1111968 w 2223936"/>
                <a:gd name="connsiteY1" fmla="*/ 2225312 h 2225311"/>
                <a:gd name="connsiteX2" fmla="*/ 0 w 2223936"/>
                <a:gd name="connsiteY2" fmla="*/ 1112656 h 2225311"/>
                <a:gd name="connsiteX3" fmla="*/ 1111968 w 2223936"/>
                <a:gd name="connsiteY3" fmla="*/ 0 h 2225311"/>
                <a:gd name="connsiteX4" fmla="*/ 2223936 w 2223936"/>
                <a:gd name="connsiteY4" fmla="*/ 1112656 h 2225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3936" h="2225311">
                  <a:moveTo>
                    <a:pt x="2223936" y="1112656"/>
                  </a:moveTo>
                  <a:cubicBezTo>
                    <a:pt x="2223936" y="1727159"/>
                    <a:pt x="1726091" y="2225312"/>
                    <a:pt x="1111968" y="2225312"/>
                  </a:cubicBezTo>
                  <a:cubicBezTo>
                    <a:pt x="497845" y="2225312"/>
                    <a:pt x="0" y="1727159"/>
                    <a:pt x="0" y="1112656"/>
                  </a:cubicBezTo>
                  <a:cubicBezTo>
                    <a:pt x="0" y="498153"/>
                    <a:pt x="497845" y="0"/>
                    <a:pt x="1111968" y="0"/>
                  </a:cubicBezTo>
                  <a:cubicBezTo>
                    <a:pt x="1726091" y="0"/>
                    <a:pt x="2223936" y="498153"/>
                    <a:pt x="2223936" y="1112656"/>
                  </a:cubicBezTo>
                  <a:close/>
                </a:path>
              </a:pathLst>
            </a:custGeom>
            <a:solidFill>
              <a:srgbClr val="8CC3CA">
                <a:alpha val="54998"/>
              </a:srgbClr>
            </a:solidFill>
            <a:ln w="12028" cap="flat">
              <a:noFill/>
              <a:prstDash val="solid"/>
              <a:miter/>
            </a:ln>
          </p:spPr>
          <p:txBody>
            <a:bodyPr rtlCol="0" anchor="ctr"/>
            <a:lstStyle/>
            <a:p>
              <a:endParaRPr lang="en-DK"/>
            </a:p>
          </p:txBody>
        </p:sp>
        <p:sp>
          <p:nvSpPr>
            <p:cNvPr id="165" name="Freeform 164">
              <a:extLst>
                <a:ext uri="{FF2B5EF4-FFF2-40B4-BE49-F238E27FC236}">
                  <a16:creationId xmlns:a16="http://schemas.microsoft.com/office/drawing/2014/main" id="{621EA130-B24A-E9BA-C940-FC6B448B32FB}"/>
                </a:ext>
              </a:extLst>
            </p:cNvPr>
            <p:cNvSpPr/>
            <p:nvPr/>
          </p:nvSpPr>
          <p:spPr>
            <a:xfrm>
              <a:off x="3163769" y="2608551"/>
              <a:ext cx="3698687" cy="3700974"/>
            </a:xfrm>
            <a:custGeom>
              <a:avLst/>
              <a:gdLst>
                <a:gd name="connsiteX0" fmla="*/ 3698688 w 3698687"/>
                <a:gd name="connsiteY0" fmla="*/ 1850487 h 3700974"/>
                <a:gd name="connsiteX1" fmla="*/ 1849344 w 3698687"/>
                <a:gd name="connsiteY1" fmla="*/ 3700975 h 3700974"/>
                <a:gd name="connsiteX2" fmla="*/ 0 w 3698687"/>
                <a:gd name="connsiteY2" fmla="*/ 1850487 h 3700974"/>
                <a:gd name="connsiteX3" fmla="*/ 1849344 w 3698687"/>
                <a:gd name="connsiteY3" fmla="*/ 0 h 3700974"/>
                <a:gd name="connsiteX4" fmla="*/ 3698688 w 3698687"/>
                <a:gd name="connsiteY4" fmla="*/ 1850487 h 3700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687" h="3700974">
                  <a:moveTo>
                    <a:pt x="3698688" y="1850487"/>
                  </a:moveTo>
                  <a:cubicBezTo>
                    <a:pt x="3698688" y="2872483"/>
                    <a:pt x="2870709" y="3700975"/>
                    <a:pt x="1849344" y="3700975"/>
                  </a:cubicBezTo>
                  <a:cubicBezTo>
                    <a:pt x="827980" y="3700975"/>
                    <a:pt x="0" y="2872483"/>
                    <a:pt x="0" y="1850487"/>
                  </a:cubicBezTo>
                  <a:cubicBezTo>
                    <a:pt x="0" y="828491"/>
                    <a:pt x="827980" y="0"/>
                    <a:pt x="1849344" y="0"/>
                  </a:cubicBezTo>
                  <a:cubicBezTo>
                    <a:pt x="2870709" y="0"/>
                    <a:pt x="3698688" y="828491"/>
                    <a:pt x="3698688" y="1850487"/>
                  </a:cubicBezTo>
                  <a:close/>
                </a:path>
              </a:pathLst>
            </a:custGeom>
            <a:solidFill>
              <a:schemeClr val="bg2">
                <a:alpha val="30030"/>
              </a:schemeClr>
            </a:solidFill>
            <a:ln w="12028" cap="flat">
              <a:noFill/>
              <a:prstDash val="solid"/>
              <a:miter/>
            </a:ln>
          </p:spPr>
          <p:txBody>
            <a:bodyPr rtlCol="0" anchor="ctr"/>
            <a:lstStyle/>
            <a:p>
              <a:endParaRPr lang="en-DK"/>
            </a:p>
          </p:txBody>
        </p:sp>
        <p:sp>
          <p:nvSpPr>
            <p:cNvPr id="167" name="Freeform 166">
              <a:extLst>
                <a:ext uri="{FF2B5EF4-FFF2-40B4-BE49-F238E27FC236}">
                  <a16:creationId xmlns:a16="http://schemas.microsoft.com/office/drawing/2014/main" id="{0AB58F2B-CBE0-39F4-4B2E-6CABB632CA27}"/>
                </a:ext>
              </a:extLst>
            </p:cNvPr>
            <p:cNvSpPr/>
            <p:nvPr/>
          </p:nvSpPr>
          <p:spPr>
            <a:xfrm rot="-2700000">
              <a:off x="4226069" y="1838522"/>
              <a:ext cx="1570418" cy="1571389"/>
            </a:xfrm>
            <a:custGeom>
              <a:avLst/>
              <a:gdLst>
                <a:gd name="connsiteX0" fmla="*/ 1570419 w 1570418"/>
                <a:gd name="connsiteY0" fmla="*/ 785695 h 1571389"/>
                <a:gd name="connsiteX1" fmla="*/ 785210 w 1570418"/>
                <a:gd name="connsiteY1" fmla="*/ 1571390 h 1571389"/>
                <a:gd name="connsiteX2" fmla="*/ 0 w 1570418"/>
                <a:gd name="connsiteY2" fmla="*/ 785695 h 1571389"/>
                <a:gd name="connsiteX3" fmla="*/ 785210 w 1570418"/>
                <a:gd name="connsiteY3" fmla="*/ 0 h 1571389"/>
                <a:gd name="connsiteX4" fmla="*/ 1570419 w 1570418"/>
                <a:gd name="connsiteY4" fmla="*/ 785695 h 1571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0418" h="1571389">
                  <a:moveTo>
                    <a:pt x="1570419" y="785695"/>
                  </a:moveTo>
                  <a:cubicBezTo>
                    <a:pt x="1570419" y="1219622"/>
                    <a:pt x="1218869" y="1571390"/>
                    <a:pt x="785210" y="1571390"/>
                  </a:cubicBezTo>
                  <a:cubicBezTo>
                    <a:pt x="351550" y="1571390"/>
                    <a:pt x="0" y="1219622"/>
                    <a:pt x="0" y="785695"/>
                  </a:cubicBezTo>
                  <a:cubicBezTo>
                    <a:pt x="0" y="351768"/>
                    <a:pt x="351550" y="0"/>
                    <a:pt x="785210" y="0"/>
                  </a:cubicBezTo>
                  <a:cubicBezTo>
                    <a:pt x="1218869" y="0"/>
                    <a:pt x="1570419" y="351768"/>
                    <a:pt x="1570419" y="785695"/>
                  </a:cubicBezTo>
                  <a:close/>
                </a:path>
              </a:pathLst>
            </a:custGeom>
            <a:solidFill>
              <a:srgbClr val="2878FF"/>
            </a:solidFill>
            <a:ln w="12028" cap="flat">
              <a:noFill/>
              <a:prstDash val="solid"/>
              <a:miter/>
            </a:ln>
          </p:spPr>
          <p:txBody>
            <a:bodyPr rtlCol="0" anchor="ctr"/>
            <a:lstStyle/>
            <a:p>
              <a:endParaRPr lang="en-DK"/>
            </a:p>
          </p:txBody>
        </p:sp>
        <p:sp>
          <p:nvSpPr>
            <p:cNvPr id="168" name="Freeform 167">
              <a:extLst>
                <a:ext uri="{FF2B5EF4-FFF2-40B4-BE49-F238E27FC236}">
                  <a16:creationId xmlns:a16="http://schemas.microsoft.com/office/drawing/2014/main" id="{E8C74FC1-B7CA-EDC4-78CF-340124D42927}"/>
                </a:ext>
              </a:extLst>
            </p:cNvPr>
            <p:cNvSpPr/>
            <p:nvPr/>
          </p:nvSpPr>
          <p:spPr>
            <a:xfrm rot="-2700000">
              <a:off x="2636642" y="4593281"/>
              <a:ext cx="1570418" cy="1571389"/>
            </a:xfrm>
            <a:custGeom>
              <a:avLst/>
              <a:gdLst>
                <a:gd name="connsiteX0" fmla="*/ 1570419 w 1570418"/>
                <a:gd name="connsiteY0" fmla="*/ 785695 h 1571389"/>
                <a:gd name="connsiteX1" fmla="*/ 785209 w 1570418"/>
                <a:gd name="connsiteY1" fmla="*/ 1571390 h 1571389"/>
                <a:gd name="connsiteX2" fmla="*/ 0 w 1570418"/>
                <a:gd name="connsiteY2" fmla="*/ 785695 h 1571389"/>
                <a:gd name="connsiteX3" fmla="*/ 785209 w 1570418"/>
                <a:gd name="connsiteY3" fmla="*/ 0 h 1571389"/>
                <a:gd name="connsiteX4" fmla="*/ 1570419 w 1570418"/>
                <a:gd name="connsiteY4" fmla="*/ 785695 h 1571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0418" h="1571389">
                  <a:moveTo>
                    <a:pt x="1570419" y="785695"/>
                  </a:moveTo>
                  <a:cubicBezTo>
                    <a:pt x="1570419" y="1219622"/>
                    <a:pt x="1218869" y="1571390"/>
                    <a:pt x="785209" y="1571390"/>
                  </a:cubicBezTo>
                  <a:cubicBezTo>
                    <a:pt x="351550" y="1571390"/>
                    <a:pt x="0" y="1219622"/>
                    <a:pt x="0" y="785695"/>
                  </a:cubicBezTo>
                  <a:cubicBezTo>
                    <a:pt x="0" y="351768"/>
                    <a:pt x="351550" y="0"/>
                    <a:pt x="785209" y="0"/>
                  </a:cubicBezTo>
                  <a:cubicBezTo>
                    <a:pt x="1218869" y="0"/>
                    <a:pt x="1570419" y="351768"/>
                    <a:pt x="1570419" y="785695"/>
                  </a:cubicBezTo>
                  <a:close/>
                </a:path>
              </a:pathLst>
            </a:custGeom>
            <a:solidFill>
              <a:srgbClr val="E229E2"/>
            </a:solidFill>
            <a:ln w="12028" cap="flat">
              <a:noFill/>
              <a:prstDash val="solid"/>
              <a:miter/>
            </a:ln>
          </p:spPr>
          <p:txBody>
            <a:bodyPr rtlCol="0" anchor="ctr"/>
            <a:lstStyle/>
            <a:p>
              <a:endParaRPr lang="en-DK"/>
            </a:p>
          </p:txBody>
        </p:sp>
        <p:sp>
          <p:nvSpPr>
            <p:cNvPr id="169" name="Freeform 168">
              <a:extLst>
                <a:ext uri="{FF2B5EF4-FFF2-40B4-BE49-F238E27FC236}">
                  <a16:creationId xmlns:a16="http://schemas.microsoft.com/office/drawing/2014/main" id="{B11613D4-EF65-654E-83F3-7C4FA00E705E}"/>
                </a:ext>
              </a:extLst>
            </p:cNvPr>
            <p:cNvSpPr/>
            <p:nvPr/>
          </p:nvSpPr>
          <p:spPr>
            <a:xfrm rot="-2700000">
              <a:off x="5815881" y="4593314"/>
              <a:ext cx="1570418" cy="1571389"/>
            </a:xfrm>
            <a:custGeom>
              <a:avLst/>
              <a:gdLst>
                <a:gd name="connsiteX0" fmla="*/ 1570419 w 1570418"/>
                <a:gd name="connsiteY0" fmla="*/ 785695 h 1571389"/>
                <a:gd name="connsiteX1" fmla="*/ 785209 w 1570418"/>
                <a:gd name="connsiteY1" fmla="*/ 1571390 h 1571389"/>
                <a:gd name="connsiteX2" fmla="*/ 0 w 1570418"/>
                <a:gd name="connsiteY2" fmla="*/ 785695 h 1571389"/>
                <a:gd name="connsiteX3" fmla="*/ 785209 w 1570418"/>
                <a:gd name="connsiteY3" fmla="*/ 0 h 1571389"/>
                <a:gd name="connsiteX4" fmla="*/ 1570419 w 1570418"/>
                <a:gd name="connsiteY4" fmla="*/ 785695 h 1571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0418" h="1571389">
                  <a:moveTo>
                    <a:pt x="1570419" y="785695"/>
                  </a:moveTo>
                  <a:cubicBezTo>
                    <a:pt x="1570419" y="1219622"/>
                    <a:pt x="1218869" y="1571390"/>
                    <a:pt x="785209" y="1571390"/>
                  </a:cubicBezTo>
                  <a:cubicBezTo>
                    <a:pt x="351550" y="1571390"/>
                    <a:pt x="0" y="1219622"/>
                    <a:pt x="0" y="785695"/>
                  </a:cubicBezTo>
                  <a:cubicBezTo>
                    <a:pt x="0" y="351768"/>
                    <a:pt x="351550" y="0"/>
                    <a:pt x="785209" y="0"/>
                  </a:cubicBezTo>
                  <a:cubicBezTo>
                    <a:pt x="1218869" y="0"/>
                    <a:pt x="1570419" y="351768"/>
                    <a:pt x="1570419" y="785695"/>
                  </a:cubicBezTo>
                  <a:close/>
                </a:path>
              </a:pathLst>
            </a:custGeom>
            <a:solidFill>
              <a:srgbClr val="8CC3CA"/>
            </a:solidFill>
            <a:ln w="12028" cap="flat">
              <a:noFill/>
              <a:prstDash val="solid"/>
              <a:miter/>
            </a:ln>
          </p:spPr>
          <p:txBody>
            <a:bodyPr rtlCol="0" anchor="ctr"/>
            <a:lstStyle/>
            <a:p>
              <a:endParaRPr lang="en-DK"/>
            </a:p>
          </p:txBody>
        </p:sp>
        <p:sp>
          <p:nvSpPr>
            <p:cNvPr id="170" name="Freeform 169">
              <a:extLst>
                <a:ext uri="{FF2B5EF4-FFF2-40B4-BE49-F238E27FC236}">
                  <a16:creationId xmlns:a16="http://schemas.microsoft.com/office/drawing/2014/main" id="{DD1708A2-D530-9167-7E15-F22CAC804183}"/>
                </a:ext>
              </a:extLst>
            </p:cNvPr>
            <p:cNvSpPr/>
            <p:nvPr/>
          </p:nvSpPr>
          <p:spPr>
            <a:xfrm rot="-2700000">
              <a:off x="3901117" y="1509727"/>
              <a:ext cx="2223936" cy="2225311"/>
            </a:xfrm>
            <a:custGeom>
              <a:avLst/>
              <a:gdLst>
                <a:gd name="connsiteX0" fmla="*/ 2223937 w 2223936"/>
                <a:gd name="connsiteY0" fmla="*/ 1112656 h 2225311"/>
                <a:gd name="connsiteX1" fmla="*/ 1111968 w 2223936"/>
                <a:gd name="connsiteY1" fmla="*/ 2225312 h 2225311"/>
                <a:gd name="connsiteX2" fmla="*/ 0 w 2223936"/>
                <a:gd name="connsiteY2" fmla="*/ 1112656 h 2225311"/>
                <a:gd name="connsiteX3" fmla="*/ 1111968 w 2223936"/>
                <a:gd name="connsiteY3" fmla="*/ 0 h 2225311"/>
                <a:gd name="connsiteX4" fmla="*/ 2223937 w 2223936"/>
                <a:gd name="connsiteY4" fmla="*/ 1112656 h 2225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3936" h="2225311">
                  <a:moveTo>
                    <a:pt x="2223937" y="1112656"/>
                  </a:moveTo>
                  <a:cubicBezTo>
                    <a:pt x="2223937" y="1727159"/>
                    <a:pt x="1726091" y="2225312"/>
                    <a:pt x="1111968" y="2225312"/>
                  </a:cubicBezTo>
                  <a:cubicBezTo>
                    <a:pt x="497845" y="2225312"/>
                    <a:pt x="0" y="1727159"/>
                    <a:pt x="0" y="1112656"/>
                  </a:cubicBezTo>
                  <a:cubicBezTo>
                    <a:pt x="0" y="498153"/>
                    <a:pt x="497845" y="0"/>
                    <a:pt x="1111968" y="0"/>
                  </a:cubicBezTo>
                  <a:cubicBezTo>
                    <a:pt x="1726091" y="0"/>
                    <a:pt x="2223937" y="498153"/>
                    <a:pt x="2223937" y="1112656"/>
                  </a:cubicBezTo>
                  <a:close/>
                </a:path>
              </a:pathLst>
            </a:custGeom>
            <a:noFill/>
            <a:ln w="12028" cap="flat">
              <a:solidFill>
                <a:srgbClr val="2878FF"/>
              </a:solidFill>
              <a:prstDash val="solid"/>
              <a:miter/>
            </a:ln>
          </p:spPr>
          <p:txBody>
            <a:bodyPr rtlCol="0" anchor="ctr"/>
            <a:lstStyle/>
            <a:p>
              <a:endParaRPr lang="en-DK"/>
            </a:p>
          </p:txBody>
        </p:sp>
        <p:sp>
          <p:nvSpPr>
            <p:cNvPr id="171" name="Freeform 170">
              <a:extLst>
                <a:ext uri="{FF2B5EF4-FFF2-40B4-BE49-F238E27FC236}">
                  <a16:creationId xmlns:a16="http://schemas.microsoft.com/office/drawing/2014/main" id="{BDB2D7DC-AFBC-C8A6-03BB-B22E4A69CBCF}"/>
                </a:ext>
              </a:extLst>
            </p:cNvPr>
            <p:cNvSpPr/>
            <p:nvPr/>
          </p:nvSpPr>
          <p:spPr>
            <a:xfrm rot="-2700000">
              <a:off x="2311485" y="4264742"/>
              <a:ext cx="2223936" cy="2225311"/>
            </a:xfrm>
            <a:custGeom>
              <a:avLst/>
              <a:gdLst>
                <a:gd name="connsiteX0" fmla="*/ 2223937 w 2223936"/>
                <a:gd name="connsiteY0" fmla="*/ 1112656 h 2225311"/>
                <a:gd name="connsiteX1" fmla="*/ 1111968 w 2223936"/>
                <a:gd name="connsiteY1" fmla="*/ 2225312 h 2225311"/>
                <a:gd name="connsiteX2" fmla="*/ 0 w 2223936"/>
                <a:gd name="connsiteY2" fmla="*/ 1112656 h 2225311"/>
                <a:gd name="connsiteX3" fmla="*/ 1111968 w 2223936"/>
                <a:gd name="connsiteY3" fmla="*/ 0 h 2225311"/>
                <a:gd name="connsiteX4" fmla="*/ 2223937 w 2223936"/>
                <a:gd name="connsiteY4" fmla="*/ 1112656 h 2225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3936" h="2225311">
                  <a:moveTo>
                    <a:pt x="2223937" y="1112656"/>
                  </a:moveTo>
                  <a:cubicBezTo>
                    <a:pt x="2223937" y="1727159"/>
                    <a:pt x="1726091" y="2225312"/>
                    <a:pt x="1111968" y="2225312"/>
                  </a:cubicBezTo>
                  <a:cubicBezTo>
                    <a:pt x="497845" y="2225312"/>
                    <a:pt x="0" y="1727159"/>
                    <a:pt x="0" y="1112656"/>
                  </a:cubicBezTo>
                  <a:cubicBezTo>
                    <a:pt x="0" y="498153"/>
                    <a:pt x="497845" y="0"/>
                    <a:pt x="1111968" y="0"/>
                  </a:cubicBezTo>
                  <a:cubicBezTo>
                    <a:pt x="1726091" y="0"/>
                    <a:pt x="2223937" y="498153"/>
                    <a:pt x="2223937" y="1112656"/>
                  </a:cubicBezTo>
                  <a:close/>
                </a:path>
              </a:pathLst>
            </a:custGeom>
            <a:noFill/>
            <a:ln w="12028" cap="flat">
              <a:solidFill>
                <a:srgbClr val="E229E2"/>
              </a:solidFill>
              <a:prstDash val="solid"/>
              <a:miter/>
            </a:ln>
          </p:spPr>
          <p:txBody>
            <a:bodyPr rtlCol="0" anchor="ctr"/>
            <a:lstStyle/>
            <a:p>
              <a:endParaRPr lang="en-DK"/>
            </a:p>
          </p:txBody>
        </p:sp>
        <p:sp>
          <p:nvSpPr>
            <p:cNvPr id="172" name="Freeform 171">
              <a:extLst>
                <a:ext uri="{FF2B5EF4-FFF2-40B4-BE49-F238E27FC236}">
                  <a16:creationId xmlns:a16="http://schemas.microsoft.com/office/drawing/2014/main" id="{EDCE8E45-FAB3-29AA-F197-899F49A9CB02}"/>
                </a:ext>
              </a:extLst>
            </p:cNvPr>
            <p:cNvSpPr/>
            <p:nvPr/>
          </p:nvSpPr>
          <p:spPr>
            <a:xfrm rot="-2700000">
              <a:off x="5490688" y="4264690"/>
              <a:ext cx="2223936" cy="2225311"/>
            </a:xfrm>
            <a:custGeom>
              <a:avLst/>
              <a:gdLst>
                <a:gd name="connsiteX0" fmla="*/ 2223936 w 2223936"/>
                <a:gd name="connsiteY0" fmla="*/ 1112656 h 2225311"/>
                <a:gd name="connsiteX1" fmla="*/ 1111968 w 2223936"/>
                <a:gd name="connsiteY1" fmla="*/ 2225312 h 2225311"/>
                <a:gd name="connsiteX2" fmla="*/ 0 w 2223936"/>
                <a:gd name="connsiteY2" fmla="*/ 1112656 h 2225311"/>
                <a:gd name="connsiteX3" fmla="*/ 1111968 w 2223936"/>
                <a:gd name="connsiteY3" fmla="*/ 0 h 2225311"/>
                <a:gd name="connsiteX4" fmla="*/ 2223936 w 2223936"/>
                <a:gd name="connsiteY4" fmla="*/ 1112656 h 2225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3936" h="2225311">
                  <a:moveTo>
                    <a:pt x="2223936" y="1112656"/>
                  </a:moveTo>
                  <a:cubicBezTo>
                    <a:pt x="2223936" y="1727159"/>
                    <a:pt x="1726091" y="2225312"/>
                    <a:pt x="1111968" y="2225312"/>
                  </a:cubicBezTo>
                  <a:cubicBezTo>
                    <a:pt x="497845" y="2225312"/>
                    <a:pt x="0" y="1727159"/>
                    <a:pt x="0" y="1112656"/>
                  </a:cubicBezTo>
                  <a:cubicBezTo>
                    <a:pt x="0" y="498153"/>
                    <a:pt x="497845" y="0"/>
                    <a:pt x="1111968" y="0"/>
                  </a:cubicBezTo>
                  <a:cubicBezTo>
                    <a:pt x="1726091" y="0"/>
                    <a:pt x="2223936" y="498153"/>
                    <a:pt x="2223936" y="1112656"/>
                  </a:cubicBezTo>
                  <a:close/>
                </a:path>
              </a:pathLst>
            </a:custGeom>
            <a:noFill/>
            <a:ln w="12028" cap="flat">
              <a:solidFill>
                <a:srgbClr val="8CC3CA"/>
              </a:solidFill>
              <a:prstDash val="solid"/>
              <a:miter/>
            </a:ln>
          </p:spPr>
          <p:txBody>
            <a:bodyPr rtlCol="0" anchor="ctr"/>
            <a:lstStyle/>
            <a:p>
              <a:endParaRPr lang="en-DK"/>
            </a:p>
          </p:txBody>
        </p:sp>
      </p:grpSp>
      <p:sp>
        <p:nvSpPr>
          <p:cNvPr id="90" name="TextBox 89">
            <a:extLst>
              <a:ext uri="{FF2B5EF4-FFF2-40B4-BE49-F238E27FC236}">
                <a16:creationId xmlns:a16="http://schemas.microsoft.com/office/drawing/2014/main" id="{A0E3785A-2E82-F9E6-DB00-A562BD474E53}"/>
              </a:ext>
            </a:extLst>
          </p:cNvPr>
          <p:cNvSpPr txBox="1"/>
          <p:nvPr/>
        </p:nvSpPr>
        <p:spPr>
          <a:xfrm>
            <a:off x="3561771" y="2571967"/>
            <a:ext cx="2076971" cy="458021"/>
          </a:xfrm>
          <a:prstGeom prst="rect">
            <a:avLst/>
          </a:prstGeom>
          <a:noFill/>
        </p:spPr>
        <p:txBody>
          <a:bodyPr wrap="square" rtlCol="0">
            <a:spAutoFit/>
          </a:bodyPr>
          <a:lstStyle/>
          <a:p>
            <a:pPr algn="ctr" defTabSz="914309">
              <a:defRPr/>
            </a:pPr>
            <a:r>
              <a:rPr lang="en-DK" sz="1400" b="1" kern="0">
                <a:solidFill>
                  <a:srgbClr val="FFFFFF"/>
                </a:solidFill>
                <a:latin typeface="Avenir Next LT Pro Demi" panose="020B0504020202020204" pitchFamily="34" charset="77"/>
              </a:rPr>
              <a:t>Gubra Biotech</a:t>
            </a:r>
          </a:p>
          <a:p>
            <a:pPr algn="ctr" defTabSz="914309">
              <a:defRPr/>
            </a:pPr>
            <a:r>
              <a:rPr lang="en-DK" sz="1200" kern="0">
                <a:solidFill>
                  <a:srgbClr val="FFFFFF"/>
                </a:solidFill>
                <a:latin typeface="Avenir Next LT Pro"/>
              </a:rPr>
              <a:t>Our value driver</a:t>
            </a:r>
            <a:endParaRPr lang="en-US" sz="1200" kern="0">
              <a:solidFill>
                <a:srgbClr val="FFFFFF"/>
              </a:solidFill>
              <a:latin typeface="Avenir Next LT Pro"/>
            </a:endParaRPr>
          </a:p>
        </p:txBody>
      </p:sp>
      <p:grpSp>
        <p:nvGrpSpPr>
          <p:cNvPr id="91" name="Graphic 4">
            <a:extLst>
              <a:ext uri="{FF2B5EF4-FFF2-40B4-BE49-F238E27FC236}">
                <a16:creationId xmlns:a16="http://schemas.microsoft.com/office/drawing/2014/main" id="{15E0B19E-58C5-E071-5072-E5010B99786E}"/>
              </a:ext>
            </a:extLst>
          </p:cNvPr>
          <p:cNvGrpSpPr/>
          <p:nvPr/>
        </p:nvGrpSpPr>
        <p:grpSpPr>
          <a:xfrm>
            <a:off x="4441829" y="2178441"/>
            <a:ext cx="315443" cy="370975"/>
            <a:chOff x="5772944" y="3047995"/>
            <a:chExt cx="643889" cy="757241"/>
          </a:xfrm>
        </p:grpSpPr>
        <p:grpSp>
          <p:nvGrpSpPr>
            <p:cNvPr id="92" name="Graphic 4">
              <a:extLst>
                <a:ext uri="{FF2B5EF4-FFF2-40B4-BE49-F238E27FC236}">
                  <a16:creationId xmlns:a16="http://schemas.microsoft.com/office/drawing/2014/main" id="{46D792E6-802C-70A4-90C9-B7429A4D26AB}"/>
                </a:ext>
              </a:extLst>
            </p:cNvPr>
            <p:cNvGrpSpPr/>
            <p:nvPr/>
          </p:nvGrpSpPr>
          <p:grpSpPr>
            <a:xfrm>
              <a:off x="5956586" y="3318795"/>
              <a:ext cx="250317" cy="250316"/>
              <a:chOff x="5956586" y="3318795"/>
              <a:chExt cx="250317" cy="250316"/>
            </a:xfrm>
          </p:grpSpPr>
          <p:sp>
            <p:nvSpPr>
              <p:cNvPr id="120" name="Freeform 119">
                <a:extLst>
                  <a:ext uri="{FF2B5EF4-FFF2-40B4-BE49-F238E27FC236}">
                    <a16:creationId xmlns:a16="http://schemas.microsoft.com/office/drawing/2014/main" id="{21187EA0-1DE9-4D44-3049-AF556CC97C14}"/>
                  </a:ext>
                </a:extLst>
              </p:cNvPr>
              <p:cNvSpPr/>
              <p:nvPr/>
            </p:nvSpPr>
            <p:spPr>
              <a:xfrm>
                <a:off x="5963729" y="3325939"/>
                <a:ext cx="236029" cy="236029"/>
              </a:xfrm>
              <a:custGeom>
                <a:avLst/>
                <a:gdLst>
                  <a:gd name="connsiteX0" fmla="*/ 236030 w 236029"/>
                  <a:gd name="connsiteY0" fmla="*/ 118015 h 236029"/>
                  <a:gd name="connsiteX1" fmla="*/ 118015 w 236029"/>
                  <a:gd name="connsiteY1" fmla="*/ 236029 h 236029"/>
                  <a:gd name="connsiteX2" fmla="*/ 0 w 236029"/>
                  <a:gd name="connsiteY2" fmla="*/ 118015 h 236029"/>
                  <a:gd name="connsiteX3" fmla="*/ 118015 w 236029"/>
                  <a:gd name="connsiteY3" fmla="*/ 0 h 236029"/>
                  <a:gd name="connsiteX4" fmla="*/ 236030 w 236029"/>
                  <a:gd name="connsiteY4" fmla="*/ 118015 h 236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029" h="236029">
                    <a:moveTo>
                      <a:pt x="236030" y="118015"/>
                    </a:moveTo>
                    <a:cubicBezTo>
                      <a:pt x="236030" y="183192"/>
                      <a:pt x="183193" y="236029"/>
                      <a:pt x="118015" y="236029"/>
                    </a:cubicBezTo>
                    <a:cubicBezTo>
                      <a:pt x="52837" y="236029"/>
                      <a:pt x="0" y="183192"/>
                      <a:pt x="0" y="118015"/>
                    </a:cubicBezTo>
                    <a:cubicBezTo>
                      <a:pt x="0" y="52837"/>
                      <a:pt x="52837" y="0"/>
                      <a:pt x="118015" y="0"/>
                    </a:cubicBezTo>
                    <a:cubicBezTo>
                      <a:pt x="183193" y="0"/>
                      <a:pt x="236030" y="52837"/>
                      <a:pt x="236030" y="118015"/>
                    </a:cubicBezTo>
                    <a:close/>
                  </a:path>
                </a:pathLst>
              </a:custGeom>
              <a:solidFill>
                <a:srgbClr val="2878FF">
                  <a:alpha val="50000"/>
                </a:srgbClr>
              </a:solidFill>
              <a:ln w="9525" cap="flat">
                <a:noFill/>
                <a:prstDash val="solid"/>
                <a:miter/>
              </a:ln>
            </p:spPr>
            <p:txBody>
              <a:bodyPr rtlCol="0" anchor="ctr"/>
              <a:lstStyle/>
              <a:p>
                <a:endParaRPr lang="en-DK"/>
              </a:p>
            </p:txBody>
          </p:sp>
          <p:sp>
            <p:nvSpPr>
              <p:cNvPr id="126" name="Freeform 125">
                <a:extLst>
                  <a:ext uri="{FF2B5EF4-FFF2-40B4-BE49-F238E27FC236}">
                    <a16:creationId xmlns:a16="http://schemas.microsoft.com/office/drawing/2014/main" id="{B7AF1BBC-10BF-536D-D055-4A4CFC36DD32}"/>
                  </a:ext>
                </a:extLst>
              </p:cNvPr>
              <p:cNvSpPr/>
              <p:nvPr/>
            </p:nvSpPr>
            <p:spPr>
              <a:xfrm>
                <a:off x="5956586" y="3318795"/>
                <a:ext cx="250317" cy="250316"/>
              </a:xfrm>
              <a:custGeom>
                <a:avLst/>
                <a:gdLst>
                  <a:gd name="connsiteX0" fmla="*/ 125158 w 250317"/>
                  <a:gd name="connsiteY0" fmla="*/ 250317 h 250316"/>
                  <a:gd name="connsiteX1" fmla="*/ 0 w 250317"/>
                  <a:gd name="connsiteY1" fmla="*/ 125158 h 250316"/>
                  <a:gd name="connsiteX2" fmla="*/ 125158 w 250317"/>
                  <a:gd name="connsiteY2" fmla="*/ 0 h 250316"/>
                  <a:gd name="connsiteX3" fmla="*/ 250317 w 250317"/>
                  <a:gd name="connsiteY3" fmla="*/ 125158 h 250316"/>
                  <a:gd name="connsiteX4" fmla="*/ 125158 w 250317"/>
                  <a:gd name="connsiteY4" fmla="*/ 250317 h 250316"/>
                  <a:gd name="connsiteX5" fmla="*/ 125158 w 250317"/>
                  <a:gd name="connsiteY5" fmla="*/ 14192 h 250316"/>
                  <a:gd name="connsiteX6" fmla="*/ 14288 w 250317"/>
                  <a:gd name="connsiteY6" fmla="*/ 125063 h 250316"/>
                  <a:gd name="connsiteX7" fmla="*/ 125158 w 250317"/>
                  <a:gd name="connsiteY7" fmla="*/ 235934 h 250316"/>
                  <a:gd name="connsiteX8" fmla="*/ 236030 w 250317"/>
                  <a:gd name="connsiteY8" fmla="*/ 125063 h 250316"/>
                  <a:gd name="connsiteX9" fmla="*/ 125158 w 250317"/>
                  <a:gd name="connsiteY9" fmla="*/ 14192 h 25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0317" h="250316">
                    <a:moveTo>
                      <a:pt x="125158" y="250317"/>
                    </a:moveTo>
                    <a:cubicBezTo>
                      <a:pt x="56102" y="250317"/>
                      <a:pt x="0" y="194120"/>
                      <a:pt x="0" y="125158"/>
                    </a:cubicBezTo>
                    <a:cubicBezTo>
                      <a:pt x="0" y="56198"/>
                      <a:pt x="56197" y="0"/>
                      <a:pt x="125158" y="0"/>
                    </a:cubicBezTo>
                    <a:cubicBezTo>
                      <a:pt x="194119" y="0"/>
                      <a:pt x="250317" y="56198"/>
                      <a:pt x="250317" y="125158"/>
                    </a:cubicBezTo>
                    <a:cubicBezTo>
                      <a:pt x="250317" y="194120"/>
                      <a:pt x="194119" y="250317"/>
                      <a:pt x="125158" y="250317"/>
                    </a:cubicBezTo>
                    <a:close/>
                    <a:moveTo>
                      <a:pt x="125158" y="14192"/>
                    </a:moveTo>
                    <a:cubicBezTo>
                      <a:pt x="64008" y="14192"/>
                      <a:pt x="14288" y="63913"/>
                      <a:pt x="14288" y="125063"/>
                    </a:cubicBezTo>
                    <a:cubicBezTo>
                      <a:pt x="14288" y="186214"/>
                      <a:pt x="64008" y="235934"/>
                      <a:pt x="125158" y="235934"/>
                    </a:cubicBezTo>
                    <a:cubicBezTo>
                      <a:pt x="186309" y="235934"/>
                      <a:pt x="236030" y="186214"/>
                      <a:pt x="236030" y="125063"/>
                    </a:cubicBezTo>
                    <a:cubicBezTo>
                      <a:pt x="236030" y="63913"/>
                      <a:pt x="186309" y="14192"/>
                      <a:pt x="125158" y="14192"/>
                    </a:cubicBezTo>
                    <a:close/>
                  </a:path>
                </a:pathLst>
              </a:custGeom>
              <a:solidFill>
                <a:srgbClr val="FFFFFF"/>
              </a:solidFill>
              <a:ln w="9525" cap="flat">
                <a:noFill/>
                <a:prstDash val="solid"/>
                <a:miter/>
              </a:ln>
            </p:spPr>
            <p:txBody>
              <a:bodyPr rtlCol="0" anchor="ctr"/>
              <a:lstStyle/>
              <a:p>
                <a:endParaRPr lang="en-DK"/>
              </a:p>
            </p:txBody>
          </p:sp>
        </p:grpSp>
        <p:grpSp>
          <p:nvGrpSpPr>
            <p:cNvPr id="94" name="Graphic 4">
              <a:extLst>
                <a:ext uri="{FF2B5EF4-FFF2-40B4-BE49-F238E27FC236}">
                  <a16:creationId xmlns:a16="http://schemas.microsoft.com/office/drawing/2014/main" id="{D2141A06-D7AF-D070-98A8-92F2FA5EEB5B}"/>
                </a:ext>
              </a:extLst>
            </p:cNvPr>
            <p:cNvGrpSpPr/>
            <p:nvPr/>
          </p:nvGrpSpPr>
          <p:grpSpPr>
            <a:xfrm>
              <a:off x="6258337" y="3462909"/>
              <a:ext cx="145446" cy="145541"/>
              <a:chOff x="6258337" y="3462909"/>
              <a:chExt cx="145446" cy="145541"/>
            </a:xfrm>
          </p:grpSpPr>
          <p:sp>
            <p:nvSpPr>
              <p:cNvPr id="117" name="Freeform 116">
                <a:extLst>
                  <a:ext uri="{FF2B5EF4-FFF2-40B4-BE49-F238E27FC236}">
                    <a16:creationId xmlns:a16="http://schemas.microsoft.com/office/drawing/2014/main" id="{804522C1-31FB-C829-772B-9097F844DAA8}"/>
                  </a:ext>
                </a:extLst>
              </p:cNvPr>
              <p:cNvSpPr/>
              <p:nvPr/>
            </p:nvSpPr>
            <p:spPr>
              <a:xfrm rot="-2700000">
                <a:off x="6265389" y="3470162"/>
                <a:ext cx="131254" cy="131254"/>
              </a:xfrm>
              <a:custGeom>
                <a:avLst/>
                <a:gdLst>
                  <a:gd name="connsiteX0" fmla="*/ 131255 w 131254"/>
                  <a:gd name="connsiteY0" fmla="*/ 65627 h 131254"/>
                  <a:gd name="connsiteX1" fmla="*/ 65627 w 131254"/>
                  <a:gd name="connsiteY1" fmla="*/ 131255 h 131254"/>
                  <a:gd name="connsiteX2" fmla="*/ 0 w 131254"/>
                  <a:gd name="connsiteY2" fmla="*/ 65627 h 131254"/>
                  <a:gd name="connsiteX3" fmla="*/ 65627 w 131254"/>
                  <a:gd name="connsiteY3" fmla="*/ 0 h 131254"/>
                  <a:gd name="connsiteX4" fmla="*/ 131255 w 131254"/>
                  <a:gd name="connsiteY4" fmla="*/ 65627 h 13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54" h="131254">
                    <a:moveTo>
                      <a:pt x="131255" y="65627"/>
                    </a:moveTo>
                    <a:cubicBezTo>
                      <a:pt x="131255" y="101872"/>
                      <a:pt x="101872" y="131255"/>
                      <a:pt x="65627" y="131255"/>
                    </a:cubicBezTo>
                    <a:cubicBezTo>
                      <a:pt x="29382" y="131255"/>
                      <a:pt x="0" y="101872"/>
                      <a:pt x="0" y="65627"/>
                    </a:cubicBezTo>
                    <a:cubicBezTo>
                      <a:pt x="0" y="29382"/>
                      <a:pt x="29382" y="0"/>
                      <a:pt x="65627" y="0"/>
                    </a:cubicBezTo>
                    <a:cubicBezTo>
                      <a:pt x="101872" y="0"/>
                      <a:pt x="131255" y="29382"/>
                      <a:pt x="131255" y="65627"/>
                    </a:cubicBezTo>
                    <a:close/>
                  </a:path>
                </a:pathLst>
              </a:custGeom>
              <a:solidFill>
                <a:srgbClr val="2878FF">
                  <a:alpha val="49908"/>
                </a:srgbClr>
              </a:solidFill>
              <a:ln w="9525" cap="flat">
                <a:noFill/>
                <a:prstDash val="solid"/>
                <a:miter/>
              </a:ln>
            </p:spPr>
            <p:txBody>
              <a:bodyPr rtlCol="0" anchor="ctr"/>
              <a:lstStyle/>
              <a:p>
                <a:endParaRPr lang="en-DK"/>
              </a:p>
            </p:txBody>
          </p:sp>
          <p:sp>
            <p:nvSpPr>
              <p:cNvPr id="118" name="Freeform 117">
                <a:extLst>
                  <a:ext uri="{FF2B5EF4-FFF2-40B4-BE49-F238E27FC236}">
                    <a16:creationId xmlns:a16="http://schemas.microsoft.com/office/drawing/2014/main" id="{BC59D42C-F72C-CB2B-43D4-3686DE89B14B}"/>
                  </a:ext>
                </a:extLst>
              </p:cNvPr>
              <p:cNvSpPr/>
              <p:nvPr/>
            </p:nvSpPr>
            <p:spPr>
              <a:xfrm>
                <a:off x="6258337" y="3462909"/>
                <a:ext cx="145446" cy="145541"/>
              </a:xfrm>
              <a:custGeom>
                <a:avLst/>
                <a:gdLst>
                  <a:gd name="connsiteX0" fmla="*/ 72676 w 145446"/>
                  <a:gd name="connsiteY0" fmla="*/ 145542 h 145541"/>
                  <a:gd name="connsiteX1" fmla="*/ 0 w 145446"/>
                  <a:gd name="connsiteY1" fmla="*/ 72771 h 145541"/>
                  <a:gd name="connsiteX2" fmla="*/ 72676 w 145446"/>
                  <a:gd name="connsiteY2" fmla="*/ 0 h 145541"/>
                  <a:gd name="connsiteX3" fmla="*/ 145447 w 145446"/>
                  <a:gd name="connsiteY3" fmla="*/ 72771 h 145541"/>
                  <a:gd name="connsiteX4" fmla="*/ 72676 w 145446"/>
                  <a:gd name="connsiteY4" fmla="*/ 145542 h 145541"/>
                  <a:gd name="connsiteX5" fmla="*/ 72676 w 145446"/>
                  <a:gd name="connsiteY5" fmla="*/ 14383 h 145541"/>
                  <a:gd name="connsiteX6" fmla="*/ 14288 w 145446"/>
                  <a:gd name="connsiteY6" fmla="*/ 72866 h 145541"/>
                  <a:gd name="connsiteX7" fmla="*/ 72676 w 145446"/>
                  <a:gd name="connsiteY7" fmla="*/ 131350 h 145541"/>
                  <a:gd name="connsiteX8" fmla="*/ 131159 w 145446"/>
                  <a:gd name="connsiteY8" fmla="*/ 72866 h 145541"/>
                  <a:gd name="connsiteX9" fmla="*/ 72676 w 145446"/>
                  <a:gd name="connsiteY9" fmla="*/ 14383 h 14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446" h="145541">
                    <a:moveTo>
                      <a:pt x="72676" y="145542"/>
                    </a:moveTo>
                    <a:cubicBezTo>
                      <a:pt x="32576" y="145542"/>
                      <a:pt x="0" y="112871"/>
                      <a:pt x="0" y="72771"/>
                    </a:cubicBezTo>
                    <a:cubicBezTo>
                      <a:pt x="0" y="32671"/>
                      <a:pt x="32576" y="0"/>
                      <a:pt x="72676" y="0"/>
                    </a:cubicBezTo>
                    <a:cubicBezTo>
                      <a:pt x="112776" y="0"/>
                      <a:pt x="145447" y="32671"/>
                      <a:pt x="145447" y="72771"/>
                    </a:cubicBezTo>
                    <a:cubicBezTo>
                      <a:pt x="145447" y="112871"/>
                      <a:pt x="112776" y="145542"/>
                      <a:pt x="72676" y="145542"/>
                    </a:cubicBezTo>
                    <a:close/>
                    <a:moveTo>
                      <a:pt x="72676" y="14383"/>
                    </a:moveTo>
                    <a:cubicBezTo>
                      <a:pt x="40481" y="14383"/>
                      <a:pt x="14288" y="40576"/>
                      <a:pt x="14288" y="72866"/>
                    </a:cubicBezTo>
                    <a:cubicBezTo>
                      <a:pt x="14288" y="105156"/>
                      <a:pt x="40481" y="131350"/>
                      <a:pt x="72676" y="131350"/>
                    </a:cubicBezTo>
                    <a:cubicBezTo>
                      <a:pt x="104870" y="131350"/>
                      <a:pt x="131159" y="105156"/>
                      <a:pt x="131159" y="72866"/>
                    </a:cubicBezTo>
                    <a:cubicBezTo>
                      <a:pt x="131159" y="40576"/>
                      <a:pt x="104966" y="14383"/>
                      <a:pt x="72676" y="14383"/>
                    </a:cubicBezTo>
                    <a:close/>
                  </a:path>
                </a:pathLst>
              </a:custGeom>
              <a:solidFill>
                <a:srgbClr val="FFFFFF"/>
              </a:solidFill>
              <a:ln w="9525" cap="flat">
                <a:noFill/>
                <a:prstDash val="solid"/>
                <a:miter/>
              </a:ln>
            </p:spPr>
            <p:txBody>
              <a:bodyPr rtlCol="0" anchor="ctr"/>
              <a:lstStyle/>
              <a:p>
                <a:endParaRPr lang="en-DK"/>
              </a:p>
            </p:txBody>
          </p:sp>
        </p:grpSp>
        <p:sp>
          <p:nvSpPr>
            <p:cNvPr id="95" name="Freeform 94">
              <a:extLst>
                <a:ext uri="{FF2B5EF4-FFF2-40B4-BE49-F238E27FC236}">
                  <a16:creationId xmlns:a16="http://schemas.microsoft.com/office/drawing/2014/main" id="{CBCF08E1-A907-942D-F075-40841F0912A8}"/>
                </a:ext>
              </a:extLst>
            </p:cNvPr>
            <p:cNvSpPr/>
            <p:nvPr/>
          </p:nvSpPr>
          <p:spPr>
            <a:xfrm>
              <a:off x="6153281" y="3047995"/>
              <a:ext cx="119245" cy="119257"/>
            </a:xfrm>
            <a:custGeom>
              <a:avLst/>
              <a:gdLst>
                <a:gd name="connsiteX0" fmla="*/ 59623 w 119245"/>
                <a:gd name="connsiteY0" fmla="*/ 119257 h 119257"/>
                <a:gd name="connsiteX1" fmla="*/ 2663 w 119245"/>
                <a:gd name="connsiteY1" fmla="*/ 77252 h 119257"/>
                <a:gd name="connsiteX2" fmla="*/ 42001 w 119245"/>
                <a:gd name="connsiteY2" fmla="*/ 2671 h 119257"/>
                <a:gd name="connsiteX3" fmla="*/ 116582 w 119245"/>
                <a:gd name="connsiteY3" fmla="*/ 42009 h 119257"/>
                <a:gd name="connsiteX4" fmla="*/ 116582 w 119245"/>
                <a:gd name="connsiteY4" fmla="*/ 42009 h 119257"/>
                <a:gd name="connsiteX5" fmla="*/ 77244 w 119245"/>
                <a:gd name="connsiteY5" fmla="*/ 116590 h 119257"/>
                <a:gd name="connsiteX6" fmla="*/ 59718 w 119245"/>
                <a:gd name="connsiteY6" fmla="*/ 119257 h 119257"/>
                <a:gd name="connsiteX7" fmla="*/ 59623 w 119245"/>
                <a:gd name="connsiteY7" fmla="*/ 14292 h 119257"/>
                <a:gd name="connsiteX8" fmla="*/ 46288 w 119245"/>
                <a:gd name="connsiteY8" fmla="*/ 16292 h 119257"/>
                <a:gd name="connsiteX9" fmla="*/ 16379 w 119245"/>
                <a:gd name="connsiteY9" fmla="*/ 72966 h 119257"/>
                <a:gd name="connsiteX10" fmla="*/ 73053 w 119245"/>
                <a:gd name="connsiteY10" fmla="*/ 102874 h 119257"/>
                <a:gd name="connsiteX11" fmla="*/ 102961 w 119245"/>
                <a:gd name="connsiteY11" fmla="*/ 46200 h 119257"/>
                <a:gd name="connsiteX12" fmla="*/ 59623 w 119245"/>
                <a:gd name="connsiteY12" fmla="*/ 14292 h 11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9245" h="119257">
                  <a:moveTo>
                    <a:pt x="59623" y="119257"/>
                  </a:moveTo>
                  <a:cubicBezTo>
                    <a:pt x="34191" y="119257"/>
                    <a:pt x="10569" y="102779"/>
                    <a:pt x="2663" y="77252"/>
                  </a:cubicBezTo>
                  <a:cubicBezTo>
                    <a:pt x="-7052" y="45819"/>
                    <a:pt x="10664" y="12387"/>
                    <a:pt x="42001" y="2671"/>
                  </a:cubicBezTo>
                  <a:cubicBezTo>
                    <a:pt x="73434" y="-7044"/>
                    <a:pt x="106867" y="10577"/>
                    <a:pt x="116582" y="42009"/>
                  </a:cubicBezTo>
                  <a:lnTo>
                    <a:pt x="116582" y="42009"/>
                  </a:lnTo>
                  <a:cubicBezTo>
                    <a:pt x="126298" y="73442"/>
                    <a:pt x="108581" y="106875"/>
                    <a:pt x="77244" y="116590"/>
                  </a:cubicBezTo>
                  <a:cubicBezTo>
                    <a:pt x="71434" y="118400"/>
                    <a:pt x="65528" y="119257"/>
                    <a:pt x="59718" y="119257"/>
                  </a:cubicBezTo>
                  <a:close/>
                  <a:moveTo>
                    <a:pt x="59623" y="14292"/>
                  </a:moveTo>
                  <a:cubicBezTo>
                    <a:pt x="55241" y="14292"/>
                    <a:pt x="50669" y="14958"/>
                    <a:pt x="46288" y="16292"/>
                  </a:cubicBezTo>
                  <a:cubicBezTo>
                    <a:pt x="22380" y="23626"/>
                    <a:pt x="8950" y="49058"/>
                    <a:pt x="16379" y="72966"/>
                  </a:cubicBezTo>
                  <a:cubicBezTo>
                    <a:pt x="23809" y="96873"/>
                    <a:pt x="49240" y="110304"/>
                    <a:pt x="73053" y="102874"/>
                  </a:cubicBezTo>
                  <a:cubicBezTo>
                    <a:pt x="96961" y="95540"/>
                    <a:pt x="110391" y="70108"/>
                    <a:pt x="102961" y="46200"/>
                  </a:cubicBezTo>
                  <a:cubicBezTo>
                    <a:pt x="96961" y="26769"/>
                    <a:pt x="78958" y="14292"/>
                    <a:pt x="59623" y="14292"/>
                  </a:cubicBezTo>
                  <a:close/>
                </a:path>
              </a:pathLst>
            </a:custGeom>
            <a:solidFill>
              <a:srgbClr val="FFFFFF"/>
            </a:solidFill>
            <a:ln w="9525" cap="flat">
              <a:noFill/>
              <a:prstDash val="solid"/>
              <a:miter/>
            </a:ln>
          </p:spPr>
          <p:txBody>
            <a:bodyPr rtlCol="0" anchor="ctr"/>
            <a:lstStyle/>
            <a:p>
              <a:endParaRPr lang="en-DK"/>
            </a:p>
          </p:txBody>
        </p:sp>
        <p:grpSp>
          <p:nvGrpSpPr>
            <p:cNvPr id="96" name="Graphic 4">
              <a:extLst>
                <a:ext uri="{FF2B5EF4-FFF2-40B4-BE49-F238E27FC236}">
                  <a16:creationId xmlns:a16="http://schemas.microsoft.com/office/drawing/2014/main" id="{9839D2A4-0476-DBE8-AE79-7C6325881E5E}"/>
                </a:ext>
              </a:extLst>
            </p:cNvPr>
            <p:cNvGrpSpPr/>
            <p:nvPr/>
          </p:nvGrpSpPr>
          <p:grpSpPr>
            <a:xfrm>
              <a:off x="6022143" y="3121995"/>
              <a:ext cx="66718" cy="66784"/>
              <a:chOff x="6022143" y="3121995"/>
              <a:chExt cx="66718" cy="66784"/>
            </a:xfrm>
          </p:grpSpPr>
          <p:sp>
            <p:nvSpPr>
              <p:cNvPr id="115" name="Freeform 114">
                <a:extLst>
                  <a:ext uri="{FF2B5EF4-FFF2-40B4-BE49-F238E27FC236}">
                    <a16:creationId xmlns:a16="http://schemas.microsoft.com/office/drawing/2014/main" id="{95AE07DE-9CDE-74FB-6E75-D731E289E1B8}"/>
                  </a:ext>
                </a:extLst>
              </p:cNvPr>
              <p:cNvSpPr/>
              <p:nvPr/>
            </p:nvSpPr>
            <p:spPr>
              <a:xfrm>
                <a:off x="6029259" y="3129055"/>
                <a:ext cx="52486" cy="52486"/>
              </a:xfrm>
              <a:custGeom>
                <a:avLst/>
                <a:gdLst>
                  <a:gd name="connsiteX0" fmla="*/ 50485 w 52486"/>
                  <a:gd name="connsiteY0" fmla="*/ 16195 h 52486"/>
                  <a:gd name="connsiteX1" fmla="*/ 36292 w 52486"/>
                  <a:gd name="connsiteY1" fmla="*/ 50485 h 52486"/>
                  <a:gd name="connsiteX2" fmla="*/ 2002 w 52486"/>
                  <a:gd name="connsiteY2" fmla="*/ 36292 h 52486"/>
                  <a:gd name="connsiteX3" fmla="*/ 16195 w 52486"/>
                  <a:gd name="connsiteY3" fmla="*/ 2002 h 52486"/>
                  <a:gd name="connsiteX4" fmla="*/ 50485 w 52486"/>
                  <a:gd name="connsiteY4" fmla="*/ 16195 h 52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86" h="52486">
                    <a:moveTo>
                      <a:pt x="50485" y="16195"/>
                    </a:moveTo>
                    <a:cubicBezTo>
                      <a:pt x="56009" y="29530"/>
                      <a:pt x="49723" y="44960"/>
                      <a:pt x="36292" y="50485"/>
                    </a:cubicBezTo>
                    <a:cubicBezTo>
                      <a:pt x="22957" y="56009"/>
                      <a:pt x="7527" y="49723"/>
                      <a:pt x="2002" y="36292"/>
                    </a:cubicBezTo>
                    <a:cubicBezTo>
                      <a:pt x="-3522" y="22957"/>
                      <a:pt x="2764" y="7527"/>
                      <a:pt x="16195" y="2002"/>
                    </a:cubicBezTo>
                    <a:cubicBezTo>
                      <a:pt x="29530" y="-3522"/>
                      <a:pt x="44960" y="2764"/>
                      <a:pt x="50485" y="16195"/>
                    </a:cubicBezTo>
                    <a:close/>
                  </a:path>
                </a:pathLst>
              </a:custGeom>
              <a:solidFill>
                <a:srgbClr val="2878FF">
                  <a:alpha val="49872"/>
                </a:srgbClr>
              </a:solidFill>
              <a:ln w="9525" cap="flat">
                <a:noFill/>
                <a:prstDash val="solid"/>
                <a:miter/>
              </a:ln>
            </p:spPr>
            <p:txBody>
              <a:bodyPr rtlCol="0" anchor="ctr"/>
              <a:lstStyle/>
              <a:p>
                <a:endParaRPr lang="en-DK"/>
              </a:p>
            </p:txBody>
          </p:sp>
          <p:sp>
            <p:nvSpPr>
              <p:cNvPr id="116" name="Freeform 115">
                <a:extLst>
                  <a:ext uri="{FF2B5EF4-FFF2-40B4-BE49-F238E27FC236}">
                    <a16:creationId xmlns:a16="http://schemas.microsoft.com/office/drawing/2014/main" id="{E3BE6BFF-251B-795F-D286-FE506601A334}"/>
                  </a:ext>
                </a:extLst>
              </p:cNvPr>
              <p:cNvSpPr/>
              <p:nvPr/>
            </p:nvSpPr>
            <p:spPr>
              <a:xfrm>
                <a:off x="6022143" y="3121995"/>
                <a:ext cx="66718" cy="66784"/>
              </a:xfrm>
              <a:custGeom>
                <a:avLst/>
                <a:gdLst>
                  <a:gd name="connsiteX0" fmla="*/ 33407 w 66718"/>
                  <a:gd name="connsiteY0" fmla="*/ 66784 h 66784"/>
                  <a:gd name="connsiteX1" fmla="*/ 2546 w 66718"/>
                  <a:gd name="connsiteY1" fmla="*/ 46210 h 66784"/>
                  <a:gd name="connsiteX2" fmla="*/ 20548 w 66718"/>
                  <a:gd name="connsiteY2" fmla="*/ 2586 h 66784"/>
                  <a:gd name="connsiteX3" fmla="*/ 64173 w 66718"/>
                  <a:gd name="connsiteY3" fmla="*/ 20588 h 66784"/>
                  <a:gd name="connsiteX4" fmla="*/ 64173 w 66718"/>
                  <a:gd name="connsiteY4" fmla="*/ 20588 h 66784"/>
                  <a:gd name="connsiteX5" fmla="*/ 46170 w 66718"/>
                  <a:gd name="connsiteY5" fmla="*/ 64213 h 66784"/>
                  <a:gd name="connsiteX6" fmla="*/ 33407 w 66718"/>
                  <a:gd name="connsiteY6" fmla="*/ 66784 h 66784"/>
                  <a:gd name="connsiteX7" fmla="*/ 33407 w 66718"/>
                  <a:gd name="connsiteY7" fmla="*/ 14302 h 66784"/>
                  <a:gd name="connsiteX8" fmla="*/ 26073 w 66718"/>
                  <a:gd name="connsiteY8" fmla="*/ 15730 h 66784"/>
                  <a:gd name="connsiteX9" fmla="*/ 15786 w 66718"/>
                  <a:gd name="connsiteY9" fmla="*/ 40686 h 66784"/>
                  <a:gd name="connsiteX10" fmla="*/ 40741 w 66718"/>
                  <a:gd name="connsiteY10" fmla="*/ 50973 h 66784"/>
                  <a:gd name="connsiteX11" fmla="*/ 51028 w 66718"/>
                  <a:gd name="connsiteY11" fmla="*/ 26017 h 66784"/>
                  <a:gd name="connsiteX12" fmla="*/ 33407 w 66718"/>
                  <a:gd name="connsiteY12" fmla="*/ 14302 h 66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718" h="66784">
                    <a:moveTo>
                      <a:pt x="33407" y="66784"/>
                    </a:moveTo>
                    <a:cubicBezTo>
                      <a:pt x="20358" y="66784"/>
                      <a:pt x="7880" y="59069"/>
                      <a:pt x="2546" y="46210"/>
                    </a:cubicBezTo>
                    <a:cubicBezTo>
                      <a:pt x="-4503" y="29256"/>
                      <a:pt x="3594" y="9634"/>
                      <a:pt x="20548" y="2586"/>
                    </a:cubicBezTo>
                    <a:cubicBezTo>
                      <a:pt x="37598" y="-4558"/>
                      <a:pt x="57124" y="3634"/>
                      <a:pt x="64173" y="20588"/>
                    </a:cubicBezTo>
                    <a:lnTo>
                      <a:pt x="64173" y="20588"/>
                    </a:lnTo>
                    <a:cubicBezTo>
                      <a:pt x="71221" y="37543"/>
                      <a:pt x="63125" y="57164"/>
                      <a:pt x="46170" y="64213"/>
                    </a:cubicBezTo>
                    <a:cubicBezTo>
                      <a:pt x="41979" y="65927"/>
                      <a:pt x="37693" y="66784"/>
                      <a:pt x="33407" y="66784"/>
                    </a:cubicBezTo>
                    <a:close/>
                    <a:moveTo>
                      <a:pt x="33407" y="14302"/>
                    </a:moveTo>
                    <a:cubicBezTo>
                      <a:pt x="30930" y="14302"/>
                      <a:pt x="28454" y="14778"/>
                      <a:pt x="26073" y="15730"/>
                    </a:cubicBezTo>
                    <a:cubicBezTo>
                      <a:pt x="16357" y="19731"/>
                      <a:pt x="11785" y="30970"/>
                      <a:pt x="15786" y="40686"/>
                    </a:cubicBezTo>
                    <a:cubicBezTo>
                      <a:pt x="19786" y="50401"/>
                      <a:pt x="31026" y="54973"/>
                      <a:pt x="40741" y="50973"/>
                    </a:cubicBezTo>
                    <a:cubicBezTo>
                      <a:pt x="50457" y="46972"/>
                      <a:pt x="55029" y="35733"/>
                      <a:pt x="51028" y="26017"/>
                    </a:cubicBezTo>
                    <a:cubicBezTo>
                      <a:pt x="47980" y="18683"/>
                      <a:pt x="40836" y="14302"/>
                      <a:pt x="33407" y="14302"/>
                    </a:cubicBezTo>
                    <a:close/>
                  </a:path>
                </a:pathLst>
              </a:custGeom>
              <a:solidFill>
                <a:srgbClr val="FFFFFF"/>
              </a:solidFill>
              <a:ln w="9525" cap="flat">
                <a:noFill/>
                <a:prstDash val="solid"/>
                <a:miter/>
              </a:ln>
            </p:spPr>
            <p:txBody>
              <a:bodyPr rtlCol="0" anchor="ctr"/>
              <a:lstStyle/>
              <a:p>
                <a:endParaRPr lang="en-DK"/>
              </a:p>
            </p:txBody>
          </p:sp>
        </p:grpSp>
        <p:sp>
          <p:nvSpPr>
            <p:cNvPr id="100" name="Freeform 99">
              <a:extLst>
                <a:ext uri="{FF2B5EF4-FFF2-40B4-BE49-F238E27FC236}">
                  <a16:creationId xmlns:a16="http://schemas.microsoft.com/office/drawing/2014/main" id="{971CAF00-4AF5-744C-7710-6A1F37298D58}"/>
                </a:ext>
              </a:extLst>
            </p:cNvPr>
            <p:cNvSpPr/>
            <p:nvPr/>
          </p:nvSpPr>
          <p:spPr>
            <a:xfrm>
              <a:off x="5772944" y="3082671"/>
              <a:ext cx="171640" cy="171640"/>
            </a:xfrm>
            <a:custGeom>
              <a:avLst/>
              <a:gdLst>
                <a:gd name="connsiteX0" fmla="*/ 85820 w 171640"/>
                <a:gd name="connsiteY0" fmla="*/ 171641 h 171640"/>
                <a:gd name="connsiteX1" fmla="*/ 0 w 171640"/>
                <a:gd name="connsiteY1" fmla="*/ 85820 h 171640"/>
                <a:gd name="connsiteX2" fmla="*/ 85820 w 171640"/>
                <a:gd name="connsiteY2" fmla="*/ 0 h 171640"/>
                <a:gd name="connsiteX3" fmla="*/ 171641 w 171640"/>
                <a:gd name="connsiteY3" fmla="*/ 85820 h 171640"/>
                <a:gd name="connsiteX4" fmla="*/ 85820 w 171640"/>
                <a:gd name="connsiteY4" fmla="*/ 171641 h 171640"/>
                <a:gd name="connsiteX5" fmla="*/ 85820 w 171640"/>
                <a:gd name="connsiteY5" fmla="*/ 14287 h 171640"/>
                <a:gd name="connsiteX6" fmla="*/ 14288 w 171640"/>
                <a:gd name="connsiteY6" fmla="*/ 85820 h 171640"/>
                <a:gd name="connsiteX7" fmla="*/ 85820 w 171640"/>
                <a:gd name="connsiteY7" fmla="*/ 157353 h 171640"/>
                <a:gd name="connsiteX8" fmla="*/ 157353 w 171640"/>
                <a:gd name="connsiteY8" fmla="*/ 85820 h 171640"/>
                <a:gd name="connsiteX9" fmla="*/ 85820 w 171640"/>
                <a:gd name="connsiteY9" fmla="*/ 14287 h 171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640" h="171640">
                  <a:moveTo>
                    <a:pt x="85820" y="171641"/>
                  </a:moveTo>
                  <a:cubicBezTo>
                    <a:pt x="38481" y="171641"/>
                    <a:pt x="0" y="133160"/>
                    <a:pt x="0" y="85820"/>
                  </a:cubicBezTo>
                  <a:cubicBezTo>
                    <a:pt x="0" y="38481"/>
                    <a:pt x="38481" y="0"/>
                    <a:pt x="85820" y="0"/>
                  </a:cubicBezTo>
                  <a:cubicBezTo>
                    <a:pt x="133160" y="0"/>
                    <a:pt x="171641" y="38481"/>
                    <a:pt x="171641" y="85820"/>
                  </a:cubicBezTo>
                  <a:cubicBezTo>
                    <a:pt x="171641" y="133160"/>
                    <a:pt x="133160" y="171641"/>
                    <a:pt x="85820" y="171641"/>
                  </a:cubicBezTo>
                  <a:close/>
                  <a:moveTo>
                    <a:pt x="85820" y="14287"/>
                  </a:moveTo>
                  <a:cubicBezTo>
                    <a:pt x="46387" y="14287"/>
                    <a:pt x="14288" y="46387"/>
                    <a:pt x="14288" y="85820"/>
                  </a:cubicBezTo>
                  <a:cubicBezTo>
                    <a:pt x="14288" y="125254"/>
                    <a:pt x="46387" y="157353"/>
                    <a:pt x="85820" y="157353"/>
                  </a:cubicBezTo>
                  <a:cubicBezTo>
                    <a:pt x="125254" y="157353"/>
                    <a:pt x="157353" y="125254"/>
                    <a:pt x="157353" y="85820"/>
                  </a:cubicBezTo>
                  <a:cubicBezTo>
                    <a:pt x="157353" y="46387"/>
                    <a:pt x="125254" y="14287"/>
                    <a:pt x="85820" y="14287"/>
                  </a:cubicBezTo>
                  <a:close/>
                </a:path>
              </a:pathLst>
            </a:custGeom>
            <a:solidFill>
              <a:srgbClr val="FFFFFF"/>
            </a:solidFill>
            <a:ln w="9525" cap="flat">
              <a:noFill/>
              <a:prstDash val="solid"/>
              <a:miter/>
            </a:ln>
          </p:spPr>
          <p:txBody>
            <a:bodyPr rtlCol="0" anchor="ctr"/>
            <a:lstStyle/>
            <a:p>
              <a:endParaRPr lang="en-DK"/>
            </a:p>
          </p:txBody>
        </p:sp>
        <p:sp>
          <p:nvSpPr>
            <p:cNvPr id="101" name="Freeform 100">
              <a:extLst>
                <a:ext uri="{FF2B5EF4-FFF2-40B4-BE49-F238E27FC236}">
                  <a16:creationId xmlns:a16="http://schemas.microsoft.com/office/drawing/2014/main" id="{3EAC86FF-82F4-346D-95CA-15F8150B7F34}"/>
                </a:ext>
              </a:extLst>
            </p:cNvPr>
            <p:cNvSpPr/>
            <p:nvPr/>
          </p:nvSpPr>
          <p:spPr>
            <a:xfrm>
              <a:off x="5812282" y="3633596"/>
              <a:ext cx="171640" cy="171640"/>
            </a:xfrm>
            <a:custGeom>
              <a:avLst/>
              <a:gdLst>
                <a:gd name="connsiteX0" fmla="*/ 85820 w 171640"/>
                <a:gd name="connsiteY0" fmla="*/ 171641 h 171640"/>
                <a:gd name="connsiteX1" fmla="*/ 0 w 171640"/>
                <a:gd name="connsiteY1" fmla="*/ 85820 h 171640"/>
                <a:gd name="connsiteX2" fmla="*/ 85820 w 171640"/>
                <a:gd name="connsiteY2" fmla="*/ 0 h 171640"/>
                <a:gd name="connsiteX3" fmla="*/ 171641 w 171640"/>
                <a:gd name="connsiteY3" fmla="*/ 85820 h 171640"/>
                <a:gd name="connsiteX4" fmla="*/ 85820 w 171640"/>
                <a:gd name="connsiteY4" fmla="*/ 171641 h 171640"/>
                <a:gd name="connsiteX5" fmla="*/ 85820 w 171640"/>
                <a:gd name="connsiteY5" fmla="*/ 14192 h 171640"/>
                <a:gd name="connsiteX6" fmla="*/ 14288 w 171640"/>
                <a:gd name="connsiteY6" fmla="*/ 85725 h 171640"/>
                <a:gd name="connsiteX7" fmla="*/ 85820 w 171640"/>
                <a:gd name="connsiteY7" fmla="*/ 157258 h 171640"/>
                <a:gd name="connsiteX8" fmla="*/ 157353 w 171640"/>
                <a:gd name="connsiteY8" fmla="*/ 85725 h 171640"/>
                <a:gd name="connsiteX9" fmla="*/ 85820 w 171640"/>
                <a:gd name="connsiteY9" fmla="*/ 14192 h 171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640" h="171640">
                  <a:moveTo>
                    <a:pt x="85820" y="171641"/>
                  </a:moveTo>
                  <a:cubicBezTo>
                    <a:pt x="38481" y="171641"/>
                    <a:pt x="0" y="133160"/>
                    <a:pt x="0" y="85820"/>
                  </a:cubicBezTo>
                  <a:cubicBezTo>
                    <a:pt x="0" y="38481"/>
                    <a:pt x="38481" y="0"/>
                    <a:pt x="85820" y="0"/>
                  </a:cubicBezTo>
                  <a:cubicBezTo>
                    <a:pt x="133160" y="0"/>
                    <a:pt x="171641" y="38481"/>
                    <a:pt x="171641" y="85820"/>
                  </a:cubicBezTo>
                  <a:cubicBezTo>
                    <a:pt x="171641" y="133160"/>
                    <a:pt x="133160" y="171641"/>
                    <a:pt x="85820" y="171641"/>
                  </a:cubicBezTo>
                  <a:close/>
                  <a:moveTo>
                    <a:pt x="85820" y="14192"/>
                  </a:moveTo>
                  <a:cubicBezTo>
                    <a:pt x="46387" y="14192"/>
                    <a:pt x="14288" y="46291"/>
                    <a:pt x="14288" y="85725"/>
                  </a:cubicBezTo>
                  <a:cubicBezTo>
                    <a:pt x="14288" y="125159"/>
                    <a:pt x="46387" y="157258"/>
                    <a:pt x="85820" y="157258"/>
                  </a:cubicBezTo>
                  <a:cubicBezTo>
                    <a:pt x="125254" y="157258"/>
                    <a:pt x="157353" y="125159"/>
                    <a:pt x="157353" y="85725"/>
                  </a:cubicBezTo>
                  <a:cubicBezTo>
                    <a:pt x="157353" y="46291"/>
                    <a:pt x="125254" y="14192"/>
                    <a:pt x="85820" y="14192"/>
                  </a:cubicBezTo>
                  <a:close/>
                </a:path>
              </a:pathLst>
            </a:custGeom>
            <a:solidFill>
              <a:srgbClr val="FFFFFF"/>
            </a:solidFill>
            <a:ln w="9525" cap="flat">
              <a:noFill/>
              <a:prstDash val="solid"/>
              <a:miter/>
            </a:ln>
          </p:spPr>
          <p:txBody>
            <a:bodyPr rtlCol="0" anchor="ctr"/>
            <a:lstStyle/>
            <a:p>
              <a:endParaRPr lang="en-DK"/>
            </a:p>
          </p:txBody>
        </p:sp>
        <p:grpSp>
          <p:nvGrpSpPr>
            <p:cNvPr id="102" name="Graphic 4">
              <a:extLst>
                <a:ext uri="{FF2B5EF4-FFF2-40B4-BE49-F238E27FC236}">
                  <a16:creationId xmlns:a16="http://schemas.microsoft.com/office/drawing/2014/main" id="{D921CDA1-81EF-CDE0-3603-B6927E3F6BCD}"/>
                </a:ext>
              </a:extLst>
            </p:cNvPr>
            <p:cNvGrpSpPr/>
            <p:nvPr/>
          </p:nvGrpSpPr>
          <p:grpSpPr>
            <a:xfrm>
              <a:off x="6245193" y="3187636"/>
              <a:ext cx="171640" cy="171640"/>
              <a:chOff x="6245193" y="3187636"/>
              <a:chExt cx="171640" cy="171640"/>
            </a:xfrm>
          </p:grpSpPr>
          <p:sp>
            <p:nvSpPr>
              <p:cNvPr id="113" name="Freeform 112">
                <a:extLst>
                  <a:ext uri="{FF2B5EF4-FFF2-40B4-BE49-F238E27FC236}">
                    <a16:creationId xmlns:a16="http://schemas.microsoft.com/office/drawing/2014/main" id="{C8B8DFDE-4137-514A-1796-A5BE6501245D}"/>
                  </a:ext>
                </a:extLst>
              </p:cNvPr>
              <p:cNvSpPr/>
              <p:nvPr/>
            </p:nvSpPr>
            <p:spPr>
              <a:xfrm>
                <a:off x="6252337" y="3194780"/>
                <a:ext cx="157353" cy="157352"/>
              </a:xfrm>
              <a:custGeom>
                <a:avLst/>
                <a:gdLst>
                  <a:gd name="connsiteX0" fmla="*/ 157353 w 157353"/>
                  <a:gd name="connsiteY0" fmla="*/ 78677 h 157352"/>
                  <a:gd name="connsiteX1" fmla="*/ 78677 w 157353"/>
                  <a:gd name="connsiteY1" fmla="*/ 157353 h 157352"/>
                  <a:gd name="connsiteX2" fmla="*/ 0 w 157353"/>
                  <a:gd name="connsiteY2" fmla="*/ 78677 h 157352"/>
                  <a:gd name="connsiteX3" fmla="*/ 78677 w 157353"/>
                  <a:gd name="connsiteY3" fmla="*/ 0 h 157352"/>
                  <a:gd name="connsiteX4" fmla="*/ 157353 w 157353"/>
                  <a:gd name="connsiteY4" fmla="*/ 78677 h 157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53" h="157352">
                    <a:moveTo>
                      <a:pt x="157353" y="78677"/>
                    </a:moveTo>
                    <a:cubicBezTo>
                      <a:pt x="157353" y="122128"/>
                      <a:pt x="122128" y="157353"/>
                      <a:pt x="78677" y="157353"/>
                    </a:cubicBezTo>
                    <a:cubicBezTo>
                      <a:pt x="35225" y="157353"/>
                      <a:pt x="0" y="122128"/>
                      <a:pt x="0" y="78677"/>
                    </a:cubicBezTo>
                    <a:cubicBezTo>
                      <a:pt x="0" y="35225"/>
                      <a:pt x="35225" y="0"/>
                      <a:pt x="78677" y="0"/>
                    </a:cubicBezTo>
                    <a:cubicBezTo>
                      <a:pt x="122128" y="0"/>
                      <a:pt x="157353" y="35225"/>
                      <a:pt x="157353" y="78677"/>
                    </a:cubicBezTo>
                    <a:close/>
                  </a:path>
                </a:pathLst>
              </a:custGeom>
              <a:solidFill>
                <a:srgbClr val="2878FF">
                  <a:alpha val="49773"/>
                </a:srgbClr>
              </a:solidFill>
              <a:ln w="9525" cap="flat">
                <a:noFill/>
                <a:prstDash val="solid"/>
                <a:miter/>
              </a:ln>
            </p:spPr>
            <p:txBody>
              <a:bodyPr rtlCol="0" anchor="ctr"/>
              <a:lstStyle/>
              <a:p>
                <a:endParaRPr lang="en-DK"/>
              </a:p>
            </p:txBody>
          </p:sp>
          <p:sp>
            <p:nvSpPr>
              <p:cNvPr id="114" name="Freeform 113">
                <a:extLst>
                  <a:ext uri="{FF2B5EF4-FFF2-40B4-BE49-F238E27FC236}">
                    <a16:creationId xmlns:a16="http://schemas.microsoft.com/office/drawing/2014/main" id="{DE1E903E-91DB-64F3-EE00-980FC41554AA}"/>
                  </a:ext>
                </a:extLst>
              </p:cNvPr>
              <p:cNvSpPr/>
              <p:nvPr/>
            </p:nvSpPr>
            <p:spPr>
              <a:xfrm>
                <a:off x="6245193" y="3187636"/>
                <a:ext cx="171640" cy="171640"/>
              </a:xfrm>
              <a:custGeom>
                <a:avLst/>
                <a:gdLst>
                  <a:gd name="connsiteX0" fmla="*/ 85820 w 171640"/>
                  <a:gd name="connsiteY0" fmla="*/ 171641 h 171640"/>
                  <a:gd name="connsiteX1" fmla="*/ 0 w 171640"/>
                  <a:gd name="connsiteY1" fmla="*/ 85820 h 171640"/>
                  <a:gd name="connsiteX2" fmla="*/ 85820 w 171640"/>
                  <a:gd name="connsiteY2" fmla="*/ 0 h 171640"/>
                  <a:gd name="connsiteX3" fmla="*/ 171640 w 171640"/>
                  <a:gd name="connsiteY3" fmla="*/ 85820 h 171640"/>
                  <a:gd name="connsiteX4" fmla="*/ 85820 w 171640"/>
                  <a:gd name="connsiteY4" fmla="*/ 171641 h 171640"/>
                  <a:gd name="connsiteX5" fmla="*/ 85820 w 171640"/>
                  <a:gd name="connsiteY5" fmla="*/ 14192 h 171640"/>
                  <a:gd name="connsiteX6" fmla="*/ 14288 w 171640"/>
                  <a:gd name="connsiteY6" fmla="*/ 85725 h 171640"/>
                  <a:gd name="connsiteX7" fmla="*/ 85820 w 171640"/>
                  <a:gd name="connsiteY7" fmla="*/ 157258 h 171640"/>
                  <a:gd name="connsiteX8" fmla="*/ 157353 w 171640"/>
                  <a:gd name="connsiteY8" fmla="*/ 85725 h 171640"/>
                  <a:gd name="connsiteX9" fmla="*/ 85820 w 171640"/>
                  <a:gd name="connsiteY9" fmla="*/ 14192 h 171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640" h="171640">
                    <a:moveTo>
                      <a:pt x="85820" y="171641"/>
                    </a:moveTo>
                    <a:cubicBezTo>
                      <a:pt x="38481" y="171641"/>
                      <a:pt x="0" y="133160"/>
                      <a:pt x="0" y="85820"/>
                    </a:cubicBezTo>
                    <a:cubicBezTo>
                      <a:pt x="0" y="38481"/>
                      <a:pt x="38481" y="0"/>
                      <a:pt x="85820" y="0"/>
                    </a:cubicBezTo>
                    <a:cubicBezTo>
                      <a:pt x="133160" y="0"/>
                      <a:pt x="171640" y="38481"/>
                      <a:pt x="171640" y="85820"/>
                    </a:cubicBezTo>
                    <a:cubicBezTo>
                      <a:pt x="171640" y="133160"/>
                      <a:pt x="133160" y="171641"/>
                      <a:pt x="85820" y="171641"/>
                    </a:cubicBezTo>
                    <a:close/>
                    <a:moveTo>
                      <a:pt x="85820" y="14192"/>
                    </a:moveTo>
                    <a:cubicBezTo>
                      <a:pt x="46387" y="14192"/>
                      <a:pt x="14288" y="46292"/>
                      <a:pt x="14288" y="85725"/>
                    </a:cubicBezTo>
                    <a:cubicBezTo>
                      <a:pt x="14288" y="125158"/>
                      <a:pt x="46387" y="157258"/>
                      <a:pt x="85820" y="157258"/>
                    </a:cubicBezTo>
                    <a:cubicBezTo>
                      <a:pt x="125254" y="157258"/>
                      <a:pt x="157353" y="125158"/>
                      <a:pt x="157353" y="85725"/>
                    </a:cubicBezTo>
                    <a:cubicBezTo>
                      <a:pt x="157353" y="46292"/>
                      <a:pt x="125254" y="14192"/>
                      <a:pt x="85820" y="14192"/>
                    </a:cubicBezTo>
                    <a:close/>
                  </a:path>
                </a:pathLst>
              </a:custGeom>
              <a:solidFill>
                <a:srgbClr val="FFFFFF"/>
              </a:solidFill>
              <a:ln w="9525" cap="flat">
                <a:noFill/>
                <a:prstDash val="solid"/>
                <a:miter/>
              </a:ln>
            </p:spPr>
            <p:txBody>
              <a:bodyPr rtlCol="0" anchor="ctr"/>
              <a:lstStyle/>
              <a:p>
                <a:endParaRPr lang="en-DK"/>
              </a:p>
            </p:txBody>
          </p:sp>
        </p:grpSp>
        <p:sp>
          <p:nvSpPr>
            <p:cNvPr id="106" name="Freeform 105">
              <a:extLst>
                <a:ext uri="{FF2B5EF4-FFF2-40B4-BE49-F238E27FC236}">
                  <a16:creationId xmlns:a16="http://schemas.microsoft.com/office/drawing/2014/main" id="{1C17FAE0-8527-3F3D-546F-3B200FBF87D8}"/>
                </a:ext>
              </a:extLst>
            </p:cNvPr>
            <p:cNvSpPr/>
            <p:nvPr/>
          </p:nvSpPr>
          <p:spPr>
            <a:xfrm rot="-2497802">
              <a:off x="5943468" y="3214138"/>
              <a:ext cx="14287" cy="157924"/>
            </a:xfrm>
            <a:custGeom>
              <a:avLst/>
              <a:gdLst>
                <a:gd name="connsiteX0" fmla="*/ 0 w 14287"/>
                <a:gd name="connsiteY0" fmla="*/ 0 h 157924"/>
                <a:gd name="connsiteX1" fmla="*/ 14287 w 14287"/>
                <a:gd name="connsiteY1" fmla="*/ 0 h 157924"/>
                <a:gd name="connsiteX2" fmla="*/ 14287 w 14287"/>
                <a:gd name="connsiteY2" fmla="*/ 157925 h 157924"/>
                <a:gd name="connsiteX3" fmla="*/ 0 w 14287"/>
                <a:gd name="connsiteY3" fmla="*/ 157925 h 157924"/>
              </a:gdLst>
              <a:ahLst/>
              <a:cxnLst>
                <a:cxn ang="0">
                  <a:pos x="connsiteX0" y="connsiteY0"/>
                </a:cxn>
                <a:cxn ang="0">
                  <a:pos x="connsiteX1" y="connsiteY1"/>
                </a:cxn>
                <a:cxn ang="0">
                  <a:pos x="connsiteX2" y="connsiteY2"/>
                </a:cxn>
                <a:cxn ang="0">
                  <a:pos x="connsiteX3" y="connsiteY3"/>
                </a:cxn>
              </a:cxnLst>
              <a:rect l="l" t="t" r="r" b="b"/>
              <a:pathLst>
                <a:path w="14287" h="157924">
                  <a:moveTo>
                    <a:pt x="0" y="0"/>
                  </a:moveTo>
                  <a:lnTo>
                    <a:pt x="14287" y="0"/>
                  </a:lnTo>
                  <a:lnTo>
                    <a:pt x="14287" y="157925"/>
                  </a:lnTo>
                  <a:lnTo>
                    <a:pt x="0" y="157925"/>
                  </a:lnTo>
                  <a:close/>
                </a:path>
              </a:pathLst>
            </a:custGeom>
            <a:solidFill>
              <a:srgbClr val="FFFFFF"/>
            </a:solidFill>
            <a:ln w="9525" cap="flat">
              <a:noFill/>
              <a:prstDash val="solid"/>
              <a:miter/>
            </a:ln>
          </p:spPr>
          <p:txBody>
            <a:bodyPr rtlCol="0" anchor="ctr"/>
            <a:lstStyle/>
            <a:p>
              <a:endParaRPr lang="en-DK"/>
            </a:p>
          </p:txBody>
        </p:sp>
        <p:sp>
          <p:nvSpPr>
            <p:cNvPr id="107" name="Freeform 106">
              <a:extLst>
                <a:ext uri="{FF2B5EF4-FFF2-40B4-BE49-F238E27FC236}">
                  <a16:creationId xmlns:a16="http://schemas.microsoft.com/office/drawing/2014/main" id="{2B3EE40D-2F4C-FDC7-4A9C-112550FD2BB1}"/>
                </a:ext>
              </a:extLst>
            </p:cNvPr>
            <p:cNvSpPr/>
            <p:nvPr/>
          </p:nvSpPr>
          <p:spPr>
            <a:xfrm rot="-3778200">
              <a:off x="6227671" y="3461968"/>
              <a:ext cx="14287" cy="78390"/>
            </a:xfrm>
            <a:custGeom>
              <a:avLst/>
              <a:gdLst>
                <a:gd name="connsiteX0" fmla="*/ 0 w 14287"/>
                <a:gd name="connsiteY0" fmla="*/ 0 h 78390"/>
                <a:gd name="connsiteX1" fmla="*/ 14288 w 14287"/>
                <a:gd name="connsiteY1" fmla="*/ 0 h 78390"/>
                <a:gd name="connsiteX2" fmla="*/ 14288 w 14287"/>
                <a:gd name="connsiteY2" fmla="*/ 78391 h 78390"/>
                <a:gd name="connsiteX3" fmla="*/ 0 w 14287"/>
                <a:gd name="connsiteY3" fmla="*/ 78391 h 78390"/>
              </a:gdLst>
              <a:ahLst/>
              <a:cxnLst>
                <a:cxn ang="0">
                  <a:pos x="connsiteX0" y="connsiteY0"/>
                </a:cxn>
                <a:cxn ang="0">
                  <a:pos x="connsiteX1" y="connsiteY1"/>
                </a:cxn>
                <a:cxn ang="0">
                  <a:pos x="connsiteX2" y="connsiteY2"/>
                </a:cxn>
                <a:cxn ang="0">
                  <a:pos x="connsiteX3" y="connsiteY3"/>
                </a:cxn>
              </a:cxnLst>
              <a:rect l="l" t="t" r="r" b="b"/>
              <a:pathLst>
                <a:path w="14287" h="78390">
                  <a:moveTo>
                    <a:pt x="0" y="0"/>
                  </a:moveTo>
                  <a:lnTo>
                    <a:pt x="14288" y="0"/>
                  </a:lnTo>
                  <a:lnTo>
                    <a:pt x="14288" y="78391"/>
                  </a:lnTo>
                  <a:lnTo>
                    <a:pt x="0" y="78391"/>
                  </a:lnTo>
                  <a:close/>
                </a:path>
              </a:pathLst>
            </a:custGeom>
            <a:solidFill>
              <a:srgbClr val="FFFFFF"/>
            </a:solidFill>
            <a:ln w="9525" cap="flat">
              <a:noFill/>
              <a:prstDash val="solid"/>
              <a:miter/>
            </a:ln>
          </p:spPr>
          <p:txBody>
            <a:bodyPr rtlCol="0" anchor="ctr"/>
            <a:lstStyle/>
            <a:p>
              <a:endParaRPr lang="en-DK"/>
            </a:p>
          </p:txBody>
        </p:sp>
        <p:sp>
          <p:nvSpPr>
            <p:cNvPr id="108" name="Freeform 107">
              <a:extLst>
                <a:ext uri="{FF2B5EF4-FFF2-40B4-BE49-F238E27FC236}">
                  <a16:creationId xmlns:a16="http://schemas.microsoft.com/office/drawing/2014/main" id="{47B7F2BC-685A-C506-0E53-5854E4BF1821}"/>
                </a:ext>
              </a:extLst>
            </p:cNvPr>
            <p:cNvSpPr/>
            <p:nvPr/>
          </p:nvSpPr>
          <p:spPr>
            <a:xfrm rot="-3378601">
              <a:off x="5905873" y="3587548"/>
              <a:ext cx="141922" cy="14287"/>
            </a:xfrm>
            <a:custGeom>
              <a:avLst/>
              <a:gdLst>
                <a:gd name="connsiteX0" fmla="*/ 0 w 141922"/>
                <a:gd name="connsiteY0" fmla="*/ 0 h 14287"/>
                <a:gd name="connsiteX1" fmla="*/ 141922 w 141922"/>
                <a:gd name="connsiteY1" fmla="*/ 0 h 14287"/>
                <a:gd name="connsiteX2" fmla="*/ 141922 w 141922"/>
                <a:gd name="connsiteY2" fmla="*/ 14288 h 14287"/>
                <a:gd name="connsiteX3" fmla="*/ 0 w 141922"/>
                <a:gd name="connsiteY3" fmla="*/ 14288 h 14287"/>
              </a:gdLst>
              <a:ahLst/>
              <a:cxnLst>
                <a:cxn ang="0">
                  <a:pos x="connsiteX0" y="connsiteY0"/>
                </a:cxn>
                <a:cxn ang="0">
                  <a:pos x="connsiteX1" y="connsiteY1"/>
                </a:cxn>
                <a:cxn ang="0">
                  <a:pos x="connsiteX2" y="connsiteY2"/>
                </a:cxn>
                <a:cxn ang="0">
                  <a:pos x="connsiteX3" y="connsiteY3"/>
                </a:cxn>
              </a:cxnLst>
              <a:rect l="l" t="t" r="r" b="b"/>
              <a:pathLst>
                <a:path w="141922" h="14287">
                  <a:moveTo>
                    <a:pt x="0" y="0"/>
                  </a:moveTo>
                  <a:lnTo>
                    <a:pt x="141922" y="0"/>
                  </a:lnTo>
                  <a:lnTo>
                    <a:pt x="141922" y="14288"/>
                  </a:lnTo>
                  <a:lnTo>
                    <a:pt x="0" y="14288"/>
                  </a:lnTo>
                  <a:close/>
                </a:path>
              </a:pathLst>
            </a:custGeom>
            <a:solidFill>
              <a:srgbClr val="FFFFFF"/>
            </a:solidFill>
            <a:ln w="9525" cap="flat">
              <a:noFill/>
              <a:prstDash val="solid"/>
              <a:miter/>
            </a:ln>
          </p:spPr>
          <p:txBody>
            <a:bodyPr rtlCol="0" anchor="ctr"/>
            <a:lstStyle/>
            <a:p>
              <a:endParaRPr lang="en-DK"/>
            </a:p>
          </p:txBody>
        </p:sp>
        <p:sp>
          <p:nvSpPr>
            <p:cNvPr id="109" name="Freeform 108">
              <a:extLst>
                <a:ext uri="{FF2B5EF4-FFF2-40B4-BE49-F238E27FC236}">
                  <a16:creationId xmlns:a16="http://schemas.microsoft.com/office/drawing/2014/main" id="{9E2E7967-F9B5-7CA1-8AEF-0E261F17AF55}"/>
                </a:ext>
              </a:extLst>
            </p:cNvPr>
            <p:cNvSpPr/>
            <p:nvPr/>
          </p:nvSpPr>
          <p:spPr>
            <a:xfrm rot="-1893599">
              <a:off x="6168718" y="3332893"/>
              <a:ext cx="104394" cy="14287"/>
            </a:xfrm>
            <a:custGeom>
              <a:avLst/>
              <a:gdLst>
                <a:gd name="connsiteX0" fmla="*/ 0 w 104394"/>
                <a:gd name="connsiteY0" fmla="*/ 0 h 14287"/>
                <a:gd name="connsiteX1" fmla="*/ 104394 w 104394"/>
                <a:gd name="connsiteY1" fmla="*/ 0 h 14287"/>
                <a:gd name="connsiteX2" fmla="*/ 104394 w 104394"/>
                <a:gd name="connsiteY2" fmla="*/ 14288 h 14287"/>
                <a:gd name="connsiteX3" fmla="*/ 0 w 104394"/>
                <a:gd name="connsiteY3" fmla="*/ 14288 h 14287"/>
              </a:gdLst>
              <a:ahLst/>
              <a:cxnLst>
                <a:cxn ang="0">
                  <a:pos x="connsiteX0" y="connsiteY0"/>
                </a:cxn>
                <a:cxn ang="0">
                  <a:pos x="connsiteX1" y="connsiteY1"/>
                </a:cxn>
                <a:cxn ang="0">
                  <a:pos x="connsiteX2" y="connsiteY2"/>
                </a:cxn>
                <a:cxn ang="0">
                  <a:pos x="connsiteX3" y="connsiteY3"/>
                </a:cxn>
              </a:cxnLst>
              <a:rect l="l" t="t" r="r" b="b"/>
              <a:pathLst>
                <a:path w="104394" h="14287">
                  <a:moveTo>
                    <a:pt x="0" y="0"/>
                  </a:moveTo>
                  <a:lnTo>
                    <a:pt x="104394" y="0"/>
                  </a:lnTo>
                  <a:lnTo>
                    <a:pt x="104394" y="14288"/>
                  </a:lnTo>
                  <a:lnTo>
                    <a:pt x="0" y="14288"/>
                  </a:lnTo>
                  <a:close/>
                </a:path>
              </a:pathLst>
            </a:custGeom>
            <a:solidFill>
              <a:srgbClr val="FFFFFF"/>
            </a:solidFill>
            <a:ln w="9525" cap="flat">
              <a:noFill/>
              <a:prstDash val="solid"/>
              <a:miter/>
            </a:ln>
          </p:spPr>
          <p:txBody>
            <a:bodyPr rtlCol="0" anchor="ctr"/>
            <a:lstStyle/>
            <a:p>
              <a:endParaRPr lang="en-DK"/>
            </a:p>
          </p:txBody>
        </p:sp>
        <p:sp>
          <p:nvSpPr>
            <p:cNvPr id="110" name="Freeform 109">
              <a:extLst>
                <a:ext uri="{FF2B5EF4-FFF2-40B4-BE49-F238E27FC236}">
                  <a16:creationId xmlns:a16="http://schemas.microsoft.com/office/drawing/2014/main" id="{F47257BE-496D-D78C-142D-728E45EFE709}"/>
                </a:ext>
              </a:extLst>
            </p:cNvPr>
            <p:cNvSpPr/>
            <p:nvPr/>
          </p:nvSpPr>
          <p:spPr>
            <a:xfrm rot="-1107000">
              <a:off x="6079624" y="3121945"/>
              <a:ext cx="82962" cy="14287"/>
            </a:xfrm>
            <a:custGeom>
              <a:avLst/>
              <a:gdLst>
                <a:gd name="connsiteX0" fmla="*/ 0 w 82962"/>
                <a:gd name="connsiteY0" fmla="*/ 0 h 14287"/>
                <a:gd name="connsiteX1" fmla="*/ 82963 w 82962"/>
                <a:gd name="connsiteY1" fmla="*/ 0 h 14287"/>
                <a:gd name="connsiteX2" fmla="*/ 82963 w 82962"/>
                <a:gd name="connsiteY2" fmla="*/ 14287 h 14287"/>
                <a:gd name="connsiteX3" fmla="*/ 0 w 82962"/>
                <a:gd name="connsiteY3" fmla="*/ 14287 h 14287"/>
              </a:gdLst>
              <a:ahLst/>
              <a:cxnLst>
                <a:cxn ang="0">
                  <a:pos x="connsiteX0" y="connsiteY0"/>
                </a:cxn>
                <a:cxn ang="0">
                  <a:pos x="connsiteX1" y="connsiteY1"/>
                </a:cxn>
                <a:cxn ang="0">
                  <a:pos x="connsiteX2" y="connsiteY2"/>
                </a:cxn>
                <a:cxn ang="0">
                  <a:pos x="connsiteX3" y="connsiteY3"/>
                </a:cxn>
              </a:cxnLst>
              <a:rect l="l" t="t" r="r" b="b"/>
              <a:pathLst>
                <a:path w="82962" h="14287">
                  <a:moveTo>
                    <a:pt x="0" y="0"/>
                  </a:moveTo>
                  <a:lnTo>
                    <a:pt x="82963" y="0"/>
                  </a:lnTo>
                  <a:lnTo>
                    <a:pt x="82963" y="14287"/>
                  </a:lnTo>
                  <a:lnTo>
                    <a:pt x="0" y="14287"/>
                  </a:lnTo>
                  <a:close/>
                </a:path>
              </a:pathLst>
            </a:custGeom>
            <a:solidFill>
              <a:srgbClr val="FFFFFF"/>
            </a:solidFill>
            <a:ln w="9525" cap="flat">
              <a:noFill/>
              <a:prstDash val="solid"/>
              <a:miter/>
            </a:ln>
          </p:spPr>
          <p:txBody>
            <a:bodyPr rtlCol="0" anchor="ctr"/>
            <a:lstStyle/>
            <a:p>
              <a:endParaRPr lang="en-DK"/>
            </a:p>
          </p:txBody>
        </p:sp>
        <p:sp>
          <p:nvSpPr>
            <p:cNvPr id="111" name="Freeform 110">
              <a:extLst>
                <a:ext uri="{FF2B5EF4-FFF2-40B4-BE49-F238E27FC236}">
                  <a16:creationId xmlns:a16="http://schemas.microsoft.com/office/drawing/2014/main" id="{1839092F-AFB5-FF3C-FD60-B0E4E09B7D8C}"/>
                </a:ext>
              </a:extLst>
            </p:cNvPr>
            <p:cNvSpPr/>
            <p:nvPr/>
          </p:nvSpPr>
          <p:spPr>
            <a:xfrm>
              <a:off x="6074696" y="3371183"/>
              <a:ext cx="79819" cy="79914"/>
            </a:xfrm>
            <a:custGeom>
              <a:avLst/>
              <a:gdLst>
                <a:gd name="connsiteX0" fmla="*/ 72676 w 79819"/>
                <a:gd name="connsiteY0" fmla="*/ 79915 h 79914"/>
                <a:gd name="connsiteX1" fmla="*/ 65532 w 79819"/>
                <a:gd name="connsiteY1" fmla="*/ 72771 h 79914"/>
                <a:gd name="connsiteX2" fmla="*/ 7144 w 79819"/>
                <a:gd name="connsiteY2" fmla="*/ 14288 h 79914"/>
                <a:gd name="connsiteX3" fmla="*/ 0 w 79819"/>
                <a:gd name="connsiteY3" fmla="*/ 7144 h 79914"/>
                <a:gd name="connsiteX4" fmla="*/ 7144 w 79819"/>
                <a:gd name="connsiteY4" fmla="*/ 0 h 79914"/>
                <a:gd name="connsiteX5" fmla="*/ 79820 w 79819"/>
                <a:gd name="connsiteY5" fmla="*/ 72771 h 79914"/>
                <a:gd name="connsiteX6" fmla="*/ 72676 w 79819"/>
                <a:gd name="connsiteY6" fmla="*/ 79915 h 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819" h="79914">
                  <a:moveTo>
                    <a:pt x="72676" y="79915"/>
                  </a:moveTo>
                  <a:cubicBezTo>
                    <a:pt x="68771" y="79915"/>
                    <a:pt x="65532" y="76676"/>
                    <a:pt x="65532" y="72771"/>
                  </a:cubicBezTo>
                  <a:cubicBezTo>
                    <a:pt x="65532" y="40576"/>
                    <a:pt x="39338" y="14288"/>
                    <a:pt x="7144" y="14288"/>
                  </a:cubicBezTo>
                  <a:cubicBezTo>
                    <a:pt x="3239" y="14288"/>
                    <a:pt x="0" y="11049"/>
                    <a:pt x="0" y="7144"/>
                  </a:cubicBezTo>
                  <a:cubicBezTo>
                    <a:pt x="0" y="3239"/>
                    <a:pt x="3239" y="0"/>
                    <a:pt x="7144" y="0"/>
                  </a:cubicBezTo>
                  <a:cubicBezTo>
                    <a:pt x="47244" y="0"/>
                    <a:pt x="79820" y="32671"/>
                    <a:pt x="79820" y="72771"/>
                  </a:cubicBezTo>
                  <a:cubicBezTo>
                    <a:pt x="79820" y="76676"/>
                    <a:pt x="76581" y="79915"/>
                    <a:pt x="72676" y="79915"/>
                  </a:cubicBezTo>
                  <a:close/>
                </a:path>
              </a:pathLst>
            </a:custGeom>
            <a:solidFill>
              <a:srgbClr val="FFFFFF"/>
            </a:solidFill>
            <a:ln w="9525" cap="flat">
              <a:noFill/>
              <a:prstDash val="solid"/>
              <a:miter/>
            </a:ln>
          </p:spPr>
          <p:txBody>
            <a:bodyPr rtlCol="0" anchor="ctr"/>
            <a:lstStyle/>
            <a:p>
              <a:endParaRPr lang="en-DK"/>
            </a:p>
          </p:txBody>
        </p:sp>
        <p:sp>
          <p:nvSpPr>
            <p:cNvPr id="112" name="Freeform 111">
              <a:extLst>
                <a:ext uri="{FF2B5EF4-FFF2-40B4-BE49-F238E27FC236}">
                  <a16:creationId xmlns:a16="http://schemas.microsoft.com/office/drawing/2014/main" id="{39D1F861-003B-9779-F4C0-858C3CF33575}"/>
                </a:ext>
              </a:extLst>
            </p:cNvPr>
            <p:cNvSpPr/>
            <p:nvPr/>
          </p:nvSpPr>
          <p:spPr>
            <a:xfrm rot="-2330401">
              <a:off x="6259514" y="3137126"/>
              <a:ext cx="14287" cy="79438"/>
            </a:xfrm>
            <a:custGeom>
              <a:avLst/>
              <a:gdLst>
                <a:gd name="connsiteX0" fmla="*/ 0 w 14287"/>
                <a:gd name="connsiteY0" fmla="*/ 0 h 79438"/>
                <a:gd name="connsiteX1" fmla="*/ 14287 w 14287"/>
                <a:gd name="connsiteY1" fmla="*/ 0 h 79438"/>
                <a:gd name="connsiteX2" fmla="*/ 14287 w 14287"/>
                <a:gd name="connsiteY2" fmla="*/ 79438 h 79438"/>
                <a:gd name="connsiteX3" fmla="*/ 0 w 14287"/>
                <a:gd name="connsiteY3" fmla="*/ 79438 h 79438"/>
              </a:gdLst>
              <a:ahLst/>
              <a:cxnLst>
                <a:cxn ang="0">
                  <a:pos x="connsiteX0" y="connsiteY0"/>
                </a:cxn>
                <a:cxn ang="0">
                  <a:pos x="connsiteX1" y="connsiteY1"/>
                </a:cxn>
                <a:cxn ang="0">
                  <a:pos x="connsiteX2" y="connsiteY2"/>
                </a:cxn>
                <a:cxn ang="0">
                  <a:pos x="connsiteX3" y="connsiteY3"/>
                </a:cxn>
              </a:cxnLst>
              <a:rect l="l" t="t" r="r" b="b"/>
              <a:pathLst>
                <a:path w="14287" h="79438">
                  <a:moveTo>
                    <a:pt x="0" y="0"/>
                  </a:moveTo>
                  <a:lnTo>
                    <a:pt x="14287" y="0"/>
                  </a:lnTo>
                  <a:lnTo>
                    <a:pt x="14287" y="79438"/>
                  </a:lnTo>
                  <a:lnTo>
                    <a:pt x="0" y="79438"/>
                  </a:lnTo>
                  <a:close/>
                </a:path>
              </a:pathLst>
            </a:custGeom>
            <a:solidFill>
              <a:srgbClr val="FFFFFF"/>
            </a:solidFill>
            <a:ln w="9525" cap="flat">
              <a:noFill/>
              <a:prstDash val="solid"/>
              <a:miter/>
            </a:ln>
          </p:spPr>
          <p:txBody>
            <a:bodyPr rtlCol="0" anchor="ctr"/>
            <a:lstStyle/>
            <a:p>
              <a:endParaRPr lang="en-DK"/>
            </a:p>
          </p:txBody>
        </p:sp>
      </p:grpSp>
      <p:sp>
        <p:nvSpPr>
          <p:cNvPr id="127" name="TextBox 126">
            <a:extLst>
              <a:ext uri="{FF2B5EF4-FFF2-40B4-BE49-F238E27FC236}">
                <a16:creationId xmlns:a16="http://schemas.microsoft.com/office/drawing/2014/main" id="{B601C885-F1A4-D764-32EB-C4D87B0352B1}"/>
              </a:ext>
            </a:extLst>
          </p:cNvPr>
          <p:cNvSpPr txBox="1"/>
          <p:nvPr/>
        </p:nvSpPr>
        <p:spPr>
          <a:xfrm>
            <a:off x="2095011" y="5164144"/>
            <a:ext cx="2060457" cy="458021"/>
          </a:xfrm>
          <a:prstGeom prst="rect">
            <a:avLst/>
          </a:prstGeom>
          <a:noFill/>
        </p:spPr>
        <p:txBody>
          <a:bodyPr wrap="square" rtlCol="0">
            <a:spAutoFit/>
          </a:bodyPr>
          <a:lstStyle/>
          <a:p>
            <a:pPr algn="ctr" defTabSz="914309">
              <a:defRPr/>
            </a:pPr>
            <a:r>
              <a:rPr lang="en-DK" sz="1400" b="1" kern="0">
                <a:solidFill>
                  <a:srgbClr val="FFFFFF"/>
                </a:solidFill>
                <a:latin typeface="Avenir Next LT Pro Demi" panose="020B0504020202020204" pitchFamily="34" charset="77"/>
              </a:rPr>
              <a:t>Gubra CRO</a:t>
            </a:r>
          </a:p>
          <a:p>
            <a:pPr algn="ctr" defTabSz="914309">
              <a:defRPr/>
            </a:pPr>
            <a:r>
              <a:rPr lang="en-DK" sz="1200" kern="0">
                <a:solidFill>
                  <a:srgbClr val="FFFFFF"/>
                </a:solidFill>
                <a:latin typeface="Avenir Next LT Pro"/>
              </a:rPr>
              <a:t>Our value enabler</a:t>
            </a:r>
            <a:endParaRPr lang="en-US" sz="1200" kern="0">
              <a:solidFill>
                <a:srgbClr val="FFFFFF"/>
              </a:solidFill>
              <a:latin typeface="Avenir Next LT Pro"/>
            </a:endParaRPr>
          </a:p>
        </p:txBody>
      </p:sp>
      <p:grpSp>
        <p:nvGrpSpPr>
          <p:cNvPr id="128" name="Graphic 17">
            <a:extLst>
              <a:ext uri="{FF2B5EF4-FFF2-40B4-BE49-F238E27FC236}">
                <a16:creationId xmlns:a16="http://schemas.microsoft.com/office/drawing/2014/main" id="{1776F98D-E17F-1721-1CD8-97796D4B410B}"/>
              </a:ext>
            </a:extLst>
          </p:cNvPr>
          <p:cNvGrpSpPr/>
          <p:nvPr/>
        </p:nvGrpSpPr>
        <p:grpSpPr>
          <a:xfrm>
            <a:off x="2977349" y="4757617"/>
            <a:ext cx="295750" cy="371087"/>
            <a:chOff x="8959092" y="2103540"/>
            <a:chExt cx="609504" cy="764762"/>
          </a:xfrm>
        </p:grpSpPr>
        <p:grpSp>
          <p:nvGrpSpPr>
            <p:cNvPr id="129" name="Graphic 17">
              <a:extLst>
                <a:ext uri="{FF2B5EF4-FFF2-40B4-BE49-F238E27FC236}">
                  <a16:creationId xmlns:a16="http://schemas.microsoft.com/office/drawing/2014/main" id="{9C27FA36-6936-5AA4-72DE-822EC1D4652C}"/>
                </a:ext>
              </a:extLst>
            </p:cNvPr>
            <p:cNvGrpSpPr/>
            <p:nvPr/>
          </p:nvGrpSpPr>
          <p:grpSpPr>
            <a:xfrm>
              <a:off x="9062628" y="2103540"/>
              <a:ext cx="117824" cy="531876"/>
              <a:chOff x="9062628" y="2103540"/>
              <a:chExt cx="117824" cy="531876"/>
            </a:xfrm>
          </p:grpSpPr>
          <p:sp>
            <p:nvSpPr>
              <p:cNvPr id="142" name="Freeform 141">
                <a:extLst>
                  <a:ext uri="{FF2B5EF4-FFF2-40B4-BE49-F238E27FC236}">
                    <a16:creationId xmlns:a16="http://schemas.microsoft.com/office/drawing/2014/main" id="{7656EE24-470A-AF43-0AF2-696561330FD6}"/>
                  </a:ext>
                </a:extLst>
              </p:cNvPr>
              <p:cNvSpPr/>
              <p:nvPr/>
            </p:nvSpPr>
            <p:spPr>
              <a:xfrm>
                <a:off x="9069772" y="2110683"/>
                <a:ext cx="103441" cy="517588"/>
              </a:xfrm>
              <a:custGeom>
                <a:avLst/>
                <a:gdLst>
                  <a:gd name="connsiteX0" fmla="*/ 103442 w 103441"/>
                  <a:gd name="connsiteY0" fmla="*/ 51721 h 517588"/>
                  <a:gd name="connsiteX1" fmla="*/ 103442 w 103441"/>
                  <a:gd name="connsiteY1" fmla="*/ 0 h 517588"/>
                  <a:gd name="connsiteX2" fmla="*/ 0 w 103441"/>
                  <a:gd name="connsiteY2" fmla="*/ 0 h 517588"/>
                  <a:gd name="connsiteX3" fmla="*/ 0 w 103441"/>
                  <a:gd name="connsiteY3" fmla="*/ 51721 h 517588"/>
                  <a:gd name="connsiteX4" fmla="*/ 25813 w 103441"/>
                  <a:gd name="connsiteY4" fmla="*/ 51721 h 517588"/>
                  <a:gd name="connsiteX5" fmla="*/ 25813 w 103441"/>
                  <a:gd name="connsiteY5" fmla="*/ 103537 h 517588"/>
                  <a:gd name="connsiteX6" fmla="*/ 0 w 103441"/>
                  <a:gd name="connsiteY6" fmla="*/ 103537 h 517588"/>
                  <a:gd name="connsiteX7" fmla="*/ 0 w 103441"/>
                  <a:gd name="connsiteY7" fmla="*/ 388144 h 517588"/>
                  <a:gd name="connsiteX8" fmla="*/ 25813 w 103441"/>
                  <a:gd name="connsiteY8" fmla="*/ 388144 h 517588"/>
                  <a:gd name="connsiteX9" fmla="*/ 25813 w 103441"/>
                  <a:gd name="connsiteY9" fmla="*/ 517589 h 517588"/>
                  <a:gd name="connsiteX10" fmla="*/ 77629 w 103441"/>
                  <a:gd name="connsiteY10" fmla="*/ 517589 h 517588"/>
                  <a:gd name="connsiteX11" fmla="*/ 77629 w 103441"/>
                  <a:gd name="connsiteY11" fmla="*/ 388144 h 517588"/>
                  <a:gd name="connsiteX12" fmla="*/ 103442 w 103441"/>
                  <a:gd name="connsiteY12" fmla="*/ 388144 h 517588"/>
                  <a:gd name="connsiteX13" fmla="*/ 103442 w 103441"/>
                  <a:gd name="connsiteY13" fmla="*/ 103537 h 517588"/>
                  <a:gd name="connsiteX14" fmla="*/ 77629 w 103441"/>
                  <a:gd name="connsiteY14" fmla="*/ 103537 h 517588"/>
                  <a:gd name="connsiteX15" fmla="*/ 77629 w 103441"/>
                  <a:gd name="connsiteY15" fmla="*/ 51721 h 517588"/>
                  <a:gd name="connsiteX16" fmla="*/ 103442 w 103441"/>
                  <a:gd name="connsiteY16" fmla="*/ 51721 h 5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441" h="517588">
                    <a:moveTo>
                      <a:pt x="103442" y="51721"/>
                    </a:moveTo>
                    <a:lnTo>
                      <a:pt x="103442" y="0"/>
                    </a:lnTo>
                    <a:lnTo>
                      <a:pt x="0" y="0"/>
                    </a:lnTo>
                    <a:lnTo>
                      <a:pt x="0" y="51721"/>
                    </a:lnTo>
                    <a:lnTo>
                      <a:pt x="25813" y="51721"/>
                    </a:lnTo>
                    <a:lnTo>
                      <a:pt x="25813" y="103537"/>
                    </a:lnTo>
                    <a:lnTo>
                      <a:pt x="0" y="103537"/>
                    </a:lnTo>
                    <a:lnTo>
                      <a:pt x="0" y="388144"/>
                    </a:lnTo>
                    <a:lnTo>
                      <a:pt x="25813" y="388144"/>
                    </a:lnTo>
                    <a:lnTo>
                      <a:pt x="25813" y="517589"/>
                    </a:lnTo>
                    <a:lnTo>
                      <a:pt x="77629" y="517589"/>
                    </a:lnTo>
                    <a:lnTo>
                      <a:pt x="77629" y="388144"/>
                    </a:lnTo>
                    <a:lnTo>
                      <a:pt x="103442" y="388144"/>
                    </a:lnTo>
                    <a:lnTo>
                      <a:pt x="103442" y="103537"/>
                    </a:lnTo>
                    <a:lnTo>
                      <a:pt x="77629" y="103537"/>
                    </a:lnTo>
                    <a:lnTo>
                      <a:pt x="77629" y="51721"/>
                    </a:lnTo>
                    <a:lnTo>
                      <a:pt x="103442" y="51721"/>
                    </a:lnTo>
                    <a:close/>
                  </a:path>
                </a:pathLst>
              </a:custGeom>
              <a:solidFill>
                <a:srgbClr val="2878FF">
                  <a:alpha val="50183"/>
                </a:srgbClr>
              </a:solidFill>
              <a:ln w="9525" cap="flat">
                <a:noFill/>
                <a:prstDash val="solid"/>
                <a:miter/>
              </a:ln>
            </p:spPr>
            <p:txBody>
              <a:bodyPr rtlCol="0" anchor="ctr"/>
              <a:lstStyle/>
              <a:p>
                <a:endParaRPr lang="en-DK"/>
              </a:p>
            </p:txBody>
          </p:sp>
          <p:sp>
            <p:nvSpPr>
              <p:cNvPr id="143" name="Freeform 142">
                <a:extLst>
                  <a:ext uri="{FF2B5EF4-FFF2-40B4-BE49-F238E27FC236}">
                    <a16:creationId xmlns:a16="http://schemas.microsoft.com/office/drawing/2014/main" id="{151ECC51-D0ED-33AC-BFC2-F38DA1700829}"/>
                  </a:ext>
                </a:extLst>
              </p:cNvPr>
              <p:cNvSpPr/>
              <p:nvPr/>
            </p:nvSpPr>
            <p:spPr>
              <a:xfrm>
                <a:off x="9062628" y="2103540"/>
                <a:ext cx="117824" cy="531876"/>
              </a:xfrm>
              <a:custGeom>
                <a:avLst/>
                <a:gdLst>
                  <a:gd name="connsiteX0" fmla="*/ 84773 w 117824"/>
                  <a:gd name="connsiteY0" fmla="*/ 531876 h 531876"/>
                  <a:gd name="connsiteX1" fmla="*/ 33052 w 117824"/>
                  <a:gd name="connsiteY1" fmla="*/ 531876 h 531876"/>
                  <a:gd name="connsiteX2" fmla="*/ 25908 w 117824"/>
                  <a:gd name="connsiteY2" fmla="*/ 524732 h 531876"/>
                  <a:gd name="connsiteX3" fmla="*/ 25908 w 117824"/>
                  <a:gd name="connsiteY3" fmla="*/ 402526 h 531876"/>
                  <a:gd name="connsiteX4" fmla="*/ 7144 w 117824"/>
                  <a:gd name="connsiteY4" fmla="*/ 402526 h 531876"/>
                  <a:gd name="connsiteX5" fmla="*/ 0 w 117824"/>
                  <a:gd name="connsiteY5" fmla="*/ 395383 h 531876"/>
                  <a:gd name="connsiteX6" fmla="*/ 0 w 117824"/>
                  <a:gd name="connsiteY6" fmla="*/ 110681 h 531876"/>
                  <a:gd name="connsiteX7" fmla="*/ 7144 w 117824"/>
                  <a:gd name="connsiteY7" fmla="*/ 103537 h 531876"/>
                  <a:gd name="connsiteX8" fmla="*/ 25908 w 117824"/>
                  <a:gd name="connsiteY8" fmla="*/ 103537 h 531876"/>
                  <a:gd name="connsiteX9" fmla="*/ 25908 w 117824"/>
                  <a:gd name="connsiteY9" fmla="*/ 66104 h 531876"/>
                  <a:gd name="connsiteX10" fmla="*/ 7144 w 117824"/>
                  <a:gd name="connsiteY10" fmla="*/ 66104 h 531876"/>
                  <a:gd name="connsiteX11" fmla="*/ 0 w 117824"/>
                  <a:gd name="connsiteY11" fmla="*/ 58960 h 531876"/>
                  <a:gd name="connsiteX12" fmla="*/ 0 w 117824"/>
                  <a:gd name="connsiteY12" fmla="*/ 7144 h 531876"/>
                  <a:gd name="connsiteX13" fmla="*/ 7144 w 117824"/>
                  <a:gd name="connsiteY13" fmla="*/ 0 h 531876"/>
                  <a:gd name="connsiteX14" fmla="*/ 110681 w 117824"/>
                  <a:gd name="connsiteY14" fmla="*/ 0 h 531876"/>
                  <a:gd name="connsiteX15" fmla="*/ 117824 w 117824"/>
                  <a:gd name="connsiteY15" fmla="*/ 7144 h 531876"/>
                  <a:gd name="connsiteX16" fmla="*/ 117824 w 117824"/>
                  <a:gd name="connsiteY16" fmla="*/ 58865 h 531876"/>
                  <a:gd name="connsiteX17" fmla="*/ 110681 w 117824"/>
                  <a:gd name="connsiteY17" fmla="*/ 66008 h 531876"/>
                  <a:gd name="connsiteX18" fmla="*/ 91916 w 117824"/>
                  <a:gd name="connsiteY18" fmla="*/ 66008 h 531876"/>
                  <a:gd name="connsiteX19" fmla="*/ 91916 w 117824"/>
                  <a:gd name="connsiteY19" fmla="*/ 103442 h 531876"/>
                  <a:gd name="connsiteX20" fmla="*/ 110681 w 117824"/>
                  <a:gd name="connsiteY20" fmla="*/ 103442 h 531876"/>
                  <a:gd name="connsiteX21" fmla="*/ 117824 w 117824"/>
                  <a:gd name="connsiteY21" fmla="*/ 110585 h 531876"/>
                  <a:gd name="connsiteX22" fmla="*/ 117824 w 117824"/>
                  <a:gd name="connsiteY22" fmla="*/ 395192 h 531876"/>
                  <a:gd name="connsiteX23" fmla="*/ 110681 w 117824"/>
                  <a:gd name="connsiteY23" fmla="*/ 402336 h 531876"/>
                  <a:gd name="connsiteX24" fmla="*/ 91916 w 117824"/>
                  <a:gd name="connsiteY24" fmla="*/ 402336 h 531876"/>
                  <a:gd name="connsiteX25" fmla="*/ 91916 w 117824"/>
                  <a:gd name="connsiteY25" fmla="*/ 524542 h 531876"/>
                  <a:gd name="connsiteX26" fmla="*/ 84773 w 117824"/>
                  <a:gd name="connsiteY26" fmla="*/ 531686 h 531876"/>
                  <a:gd name="connsiteX27" fmla="*/ 40196 w 117824"/>
                  <a:gd name="connsiteY27" fmla="*/ 517589 h 531876"/>
                  <a:gd name="connsiteX28" fmla="*/ 77629 w 117824"/>
                  <a:gd name="connsiteY28" fmla="*/ 517589 h 531876"/>
                  <a:gd name="connsiteX29" fmla="*/ 77629 w 117824"/>
                  <a:gd name="connsiteY29" fmla="*/ 395383 h 531876"/>
                  <a:gd name="connsiteX30" fmla="*/ 84773 w 117824"/>
                  <a:gd name="connsiteY30" fmla="*/ 388239 h 531876"/>
                  <a:gd name="connsiteX31" fmla="*/ 103537 w 117824"/>
                  <a:gd name="connsiteY31" fmla="*/ 388239 h 531876"/>
                  <a:gd name="connsiteX32" fmla="*/ 103537 w 117824"/>
                  <a:gd name="connsiteY32" fmla="*/ 117824 h 531876"/>
                  <a:gd name="connsiteX33" fmla="*/ 84773 w 117824"/>
                  <a:gd name="connsiteY33" fmla="*/ 117824 h 531876"/>
                  <a:gd name="connsiteX34" fmla="*/ 77629 w 117824"/>
                  <a:gd name="connsiteY34" fmla="*/ 110681 h 531876"/>
                  <a:gd name="connsiteX35" fmla="*/ 77629 w 117824"/>
                  <a:gd name="connsiteY35" fmla="*/ 58960 h 531876"/>
                  <a:gd name="connsiteX36" fmla="*/ 84773 w 117824"/>
                  <a:gd name="connsiteY36" fmla="*/ 51816 h 531876"/>
                  <a:gd name="connsiteX37" fmla="*/ 103537 w 117824"/>
                  <a:gd name="connsiteY37" fmla="*/ 51816 h 531876"/>
                  <a:gd name="connsiteX38" fmla="*/ 103537 w 117824"/>
                  <a:gd name="connsiteY38" fmla="*/ 14288 h 531876"/>
                  <a:gd name="connsiteX39" fmla="*/ 14288 w 117824"/>
                  <a:gd name="connsiteY39" fmla="*/ 14288 h 531876"/>
                  <a:gd name="connsiteX40" fmla="*/ 14288 w 117824"/>
                  <a:gd name="connsiteY40" fmla="*/ 51721 h 531876"/>
                  <a:gd name="connsiteX41" fmla="*/ 33052 w 117824"/>
                  <a:gd name="connsiteY41" fmla="*/ 51721 h 531876"/>
                  <a:gd name="connsiteX42" fmla="*/ 40196 w 117824"/>
                  <a:gd name="connsiteY42" fmla="*/ 58865 h 531876"/>
                  <a:gd name="connsiteX43" fmla="*/ 40196 w 117824"/>
                  <a:gd name="connsiteY43" fmla="*/ 110585 h 531876"/>
                  <a:gd name="connsiteX44" fmla="*/ 33052 w 117824"/>
                  <a:gd name="connsiteY44" fmla="*/ 117729 h 531876"/>
                  <a:gd name="connsiteX45" fmla="*/ 14288 w 117824"/>
                  <a:gd name="connsiteY45" fmla="*/ 117729 h 531876"/>
                  <a:gd name="connsiteX46" fmla="*/ 14288 w 117824"/>
                  <a:gd name="connsiteY46" fmla="*/ 388049 h 531876"/>
                  <a:gd name="connsiteX47" fmla="*/ 33052 w 117824"/>
                  <a:gd name="connsiteY47" fmla="*/ 388049 h 531876"/>
                  <a:gd name="connsiteX48" fmla="*/ 40196 w 117824"/>
                  <a:gd name="connsiteY48" fmla="*/ 395192 h 531876"/>
                  <a:gd name="connsiteX49" fmla="*/ 40196 w 117824"/>
                  <a:gd name="connsiteY49" fmla="*/ 517398 h 53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7824" h="531876">
                    <a:moveTo>
                      <a:pt x="84773" y="531876"/>
                    </a:moveTo>
                    <a:lnTo>
                      <a:pt x="33052" y="531876"/>
                    </a:lnTo>
                    <a:cubicBezTo>
                      <a:pt x="29147" y="531876"/>
                      <a:pt x="25908" y="528638"/>
                      <a:pt x="25908" y="524732"/>
                    </a:cubicBezTo>
                    <a:lnTo>
                      <a:pt x="25908" y="402526"/>
                    </a:lnTo>
                    <a:lnTo>
                      <a:pt x="7144" y="402526"/>
                    </a:lnTo>
                    <a:cubicBezTo>
                      <a:pt x="3239" y="402526"/>
                      <a:pt x="0" y="399288"/>
                      <a:pt x="0" y="395383"/>
                    </a:cubicBezTo>
                    <a:lnTo>
                      <a:pt x="0" y="110681"/>
                    </a:lnTo>
                    <a:cubicBezTo>
                      <a:pt x="0" y="106775"/>
                      <a:pt x="3239" y="103537"/>
                      <a:pt x="7144" y="103537"/>
                    </a:cubicBezTo>
                    <a:lnTo>
                      <a:pt x="25908" y="103537"/>
                    </a:lnTo>
                    <a:lnTo>
                      <a:pt x="25908" y="66104"/>
                    </a:lnTo>
                    <a:lnTo>
                      <a:pt x="7144" y="66104"/>
                    </a:lnTo>
                    <a:cubicBezTo>
                      <a:pt x="3239" y="66104"/>
                      <a:pt x="0" y="62865"/>
                      <a:pt x="0" y="58960"/>
                    </a:cubicBezTo>
                    <a:lnTo>
                      <a:pt x="0" y="7144"/>
                    </a:lnTo>
                    <a:cubicBezTo>
                      <a:pt x="0" y="3239"/>
                      <a:pt x="3239" y="0"/>
                      <a:pt x="7144" y="0"/>
                    </a:cubicBezTo>
                    <a:lnTo>
                      <a:pt x="110681" y="0"/>
                    </a:lnTo>
                    <a:cubicBezTo>
                      <a:pt x="114586" y="0"/>
                      <a:pt x="117824" y="3239"/>
                      <a:pt x="117824" y="7144"/>
                    </a:cubicBezTo>
                    <a:lnTo>
                      <a:pt x="117824" y="58865"/>
                    </a:lnTo>
                    <a:cubicBezTo>
                      <a:pt x="117824" y="62770"/>
                      <a:pt x="114586" y="66008"/>
                      <a:pt x="110681" y="66008"/>
                    </a:cubicBezTo>
                    <a:lnTo>
                      <a:pt x="91916" y="66008"/>
                    </a:lnTo>
                    <a:lnTo>
                      <a:pt x="91916" y="103442"/>
                    </a:lnTo>
                    <a:lnTo>
                      <a:pt x="110681" y="103442"/>
                    </a:lnTo>
                    <a:cubicBezTo>
                      <a:pt x="114586" y="103442"/>
                      <a:pt x="117824" y="106680"/>
                      <a:pt x="117824" y="110585"/>
                    </a:cubicBezTo>
                    <a:lnTo>
                      <a:pt x="117824" y="395192"/>
                    </a:lnTo>
                    <a:cubicBezTo>
                      <a:pt x="117824" y="399098"/>
                      <a:pt x="114586" y="402336"/>
                      <a:pt x="110681" y="402336"/>
                    </a:cubicBezTo>
                    <a:lnTo>
                      <a:pt x="91916" y="402336"/>
                    </a:lnTo>
                    <a:lnTo>
                      <a:pt x="91916" y="524542"/>
                    </a:lnTo>
                    <a:cubicBezTo>
                      <a:pt x="91916" y="528447"/>
                      <a:pt x="88678" y="531686"/>
                      <a:pt x="84773" y="531686"/>
                    </a:cubicBezTo>
                    <a:close/>
                    <a:moveTo>
                      <a:pt x="40196" y="517589"/>
                    </a:moveTo>
                    <a:lnTo>
                      <a:pt x="77629" y="517589"/>
                    </a:lnTo>
                    <a:lnTo>
                      <a:pt x="77629" y="395383"/>
                    </a:lnTo>
                    <a:cubicBezTo>
                      <a:pt x="77629" y="391478"/>
                      <a:pt x="80867" y="388239"/>
                      <a:pt x="84773" y="388239"/>
                    </a:cubicBezTo>
                    <a:lnTo>
                      <a:pt x="103537" y="388239"/>
                    </a:lnTo>
                    <a:lnTo>
                      <a:pt x="103537" y="117824"/>
                    </a:lnTo>
                    <a:lnTo>
                      <a:pt x="84773" y="117824"/>
                    </a:lnTo>
                    <a:cubicBezTo>
                      <a:pt x="80867" y="117824"/>
                      <a:pt x="77629" y="114586"/>
                      <a:pt x="77629" y="110681"/>
                    </a:cubicBezTo>
                    <a:lnTo>
                      <a:pt x="77629" y="58960"/>
                    </a:lnTo>
                    <a:cubicBezTo>
                      <a:pt x="77629" y="55055"/>
                      <a:pt x="80867" y="51816"/>
                      <a:pt x="84773" y="51816"/>
                    </a:cubicBezTo>
                    <a:lnTo>
                      <a:pt x="103537" y="51816"/>
                    </a:lnTo>
                    <a:lnTo>
                      <a:pt x="103537" y="14288"/>
                    </a:lnTo>
                    <a:lnTo>
                      <a:pt x="14288" y="14288"/>
                    </a:lnTo>
                    <a:lnTo>
                      <a:pt x="14288" y="51721"/>
                    </a:lnTo>
                    <a:lnTo>
                      <a:pt x="33052" y="51721"/>
                    </a:lnTo>
                    <a:cubicBezTo>
                      <a:pt x="36957" y="51721"/>
                      <a:pt x="40196" y="54959"/>
                      <a:pt x="40196" y="58865"/>
                    </a:cubicBezTo>
                    <a:lnTo>
                      <a:pt x="40196" y="110585"/>
                    </a:lnTo>
                    <a:cubicBezTo>
                      <a:pt x="40196" y="114491"/>
                      <a:pt x="36957" y="117729"/>
                      <a:pt x="33052" y="117729"/>
                    </a:cubicBezTo>
                    <a:lnTo>
                      <a:pt x="14288" y="117729"/>
                    </a:lnTo>
                    <a:lnTo>
                      <a:pt x="14288" y="388049"/>
                    </a:lnTo>
                    <a:lnTo>
                      <a:pt x="33052" y="388049"/>
                    </a:lnTo>
                    <a:cubicBezTo>
                      <a:pt x="36957" y="388049"/>
                      <a:pt x="40196" y="391287"/>
                      <a:pt x="40196" y="395192"/>
                    </a:cubicBezTo>
                    <a:lnTo>
                      <a:pt x="40196" y="517398"/>
                    </a:lnTo>
                    <a:close/>
                  </a:path>
                </a:pathLst>
              </a:custGeom>
              <a:solidFill>
                <a:srgbClr val="FFFFFF"/>
              </a:solidFill>
              <a:ln w="9525" cap="flat">
                <a:noFill/>
                <a:prstDash val="solid"/>
                <a:miter/>
              </a:ln>
            </p:spPr>
            <p:txBody>
              <a:bodyPr rtlCol="0" anchor="ctr"/>
              <a:lstStyle/>
              <a:p>
                <a:endParaRPr lang="en-DK"/>
              </a:p>
            </p:txBody>
          </p:sp>
        </p:grpSp>
        <p:sp>
          <p:nvSpPr>
            <p:cNvPr id="130" name="Freeform 129">
              <a:extLst>
                <a:ext uri="{FF2B5EF4-FFF2-40B4-BE49-F238E27FC236}">
                  <a16:creationId xmlns:a16="http://schemas.microsoft.com/office/drawing/2014/main" id="{E9928739-758D-52B8-9E21-237DB607FFF9}"/>
                </a:ext>
              </a:extLst>
            </p:cNvPr>
            <p:cNvSpPr/>
            <p:nvPr/>
          </p:nvSpPr>
          <p:spPr>
            <a:xfrm>
              <a:off x="9010812" y="2672849"/>
              <a:ext cx="247173" cy="14287"/>
            </a:xfrm>
            <a:custGeom>
              <a:avLst/>
              <a:gdLst>
                <a:gd name="connsiteX0" fmla="*/ 240125 w 247173"/>
                <a:gd name="connsiteY0" fmla="*/ 14288 h 14287"/>
                <a:gd name="connsiteX1" fmla="*/ 7144 w 247173"/>
                <a:gd name="connsiteY1" fmla="*/ 14288 h 14287"/>
                <a:gd name="connsiteX2" fmla="*/ 0 w 247173"/>
                <a:gd name="connsiteY2" fmla="*/ 7144 h 14287"/>
                <a:gd name="connsiteX3" fmla="*/ 7144 w 247173"/>
                <a:gd name="connsiteY3" fmla="*/ 0 h 14287"/>
                <a:gd name="connsiteX4" fmla="*/ 240030 w 247173"/>
                <a:gd name="connsiteY4" fmla="*/ 0 h 14287"/>
                <a:gd name="connsiteX5" fmla="*/ 247174 w 247173"/>
                <a:gd name="connsiteY5" fmla="*/ 7144 h 14287"/>
                <a:gd name="connsiteX6" fmla="*/ 240030 w 24717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173" h="14287">
                  <a:moveTo>
                    <a:pt x="240125" y="14288"/>
                  </a:moveTo>
                  <a:lnTo>
                    <a:pt x="7144" y="14288"/>
                  </a:lnTo>
                  <a:cubicBezTo>
                    <a:pt x="3239" y="14288"/>
                    <a:pt x="0" y="11049"/>
                    <a:pt x="0" y="7144"/>
                  </a:cubicBezTo>
                  <a:cubicBezTo>
                    <a:pt x="0" y="3239"/>
                    <a:pt x="3239" y="0"/>
                    <a:pt x="7144" y="0"/>
                  </a:cubicBezTo>
                  <a:lnTo>
                    <a:pt x="240030" y="0"/>
                  </a:lnTo>
                  <a:cubicBezTo>
                    <a:pt x="243935" y="0"/>
                    <a:pt x="247174" y="3239"/>
                    <a:pt x="247174" y="7144"/>
                  </a:cubicBezTo>
                  <a:cubicBezTo>
                    <a:pt x="247174" y="11049"/>
                    <a:pt x="243935" y="14288"/>
                    <a:pt x="240030" y="14288"/>
                  </a:cubicBezTo>
                  <a:close/>
                </a:path>
              </a:pathLst>
            </a:custGeom>
            <a:solidFill>
              <a:srgbClr val="FFFFFF"/>
            </a:solidFill>
            <a:ln w="9525" cap="flat">
              <a:noFill/>
              <a:prstDash val="solid"/>
              <a:miter/>
            </a:ln>
          </p:spPr>
          <p:txBody>
            <a:bodyPr rtlCol="0" anchor="ctr"/>
            <a:lstStyle/>
            <a:p>
              <a:endParaRPr lang="en-DK"/>
            </a:p>
          </p:txBody>
        </p:sp>
        <p:grpSp>
          <p:nvGrpSpPr>
            <p:cNvPr id="132" name="Graphic 17">
              <a:extLst>
                <a:ext uri="{FF2B5EF4-FFF2-40B4-BE49-F238E27FC236}">
                  <a16:creationId xmlns:a16="http://schemas.microsoft.com/office/drawing/2014/main" id="{DAC89966-11C5-7FA4-B2AB-7B16BEDB8B79}"/>
                </a:ext>
              </a:extLst>
            </p:cNvPr>
            <p:cNvGrpSpPr/>
            <p:nvPr/>
          </p:nvGrpSpPr>
          <p:grpSpPr>
            <a:xfrm>
              <a:off x="9062628" y="2750477"/>
              <a:ext cx="117824" cy="66008"/>
              <a:chOff x="9062628" y="2750477"/>
              <a:chExt cx="117824" cy="66008"/>
            </a:xfrm>
          </p:grpSpPr>
          <p:sp>
            <p:nvSpPr>
              <p:cNvPr id="140" name="Freeform 139">
                <a:extLst>
                  <a:ext uri="{FF2B5EF4-FFF2-40B4-BE49-F238E27FC236}">
                    <a16:creationId xmlns:a16="http://schemas.microsoft.com/office/drawing/2014/main" id="{42423CA8-2E50-5D8A-F764-9B4C3064AAFA}"/>
                  </a:ext>
                </a:extLst>
              </p:cNvPr>
              <p:cNvSpPr/>
              <p:nvPr/>
            </p:nvSpPr>
            <p:spPr>
              <a:xfrm>
                <a:off x="9069772" y="2757621"/>
                <a:ext cx="103536" cy="51720"/>
              </a:xfrm>
              <a:custGeom>
                <a:avLst/>
                <a:gdLst>
                  <a:gd name="connsiteX0" fmla="*/ 0 w 103536"/>
                  <a:gd name="connsiteY0" fmla="*/ 0 h 51720"/>
                  <a:gd name="connsiteX1" fmla="*/ 103537 w 103536"/>
                  <a:gd name="connsiteY1" fmla="*/ 0 h 51720"/>
                  <a:gd name="connsiteX2" fmla="*/ 103537 w 103536"/>
                  <a:gd name="connsiteY2" fmla="*/ 51721 h 51720"/>
                  <a:gd name="connsiteX3" fmla="*/ 0 w 103536"/>
                  <a:gd name="connsiteY3" fmla="*/ 51721 h 51720"/>
                </a:gdLst>
                <a:ahLst/>
                <a:cxnLst>
                  <a:cxn ang="0">
                    <a:pos x="connsiteX0" y="connsiteY0"/>
                  </a:cxn>
                  <a:cxn ang="0">
                    <a:pos x="connsiteX1" y="connsiteY1"/>
                  </a:cxn>
                  <a:cxn ang="0">
                    <a:pos x="connsiteX2" y="connsiteY2"/>
                  </a:cxn>
                  <a:cxn ang="0">
                    <a:pos x="connsiteX3" y="connsiteY3"/>
                  </a:cxn>
                </a:cxnLst>
                <a:rect l="l" t="t" r="r" b="b"/>
                <a:pathLst>
                  <a:path w="103536" h="51720">
                    <a:moveTo>
                      <a:pt x="0" y="0"/>
                    </a:moveTo>
                    <a:lnTo>
                      <a:pt x="103537" y="0"/>
                    </a:lnTo>
                    <a:lnTo>
                      <a:pt x="103537" y="51721"/>
                    </a:lnTo>
                    <a:lnTo>
                      <a:pt x="0" y="51721"/>
                    </a:lnTo>
                    <a:close/>
                  </a:path>
                </a:pathLst>
              </a:custGeom>
              <a:solidFill>
                <a:srgbClr val="2878FF">
                  <a:alpha val="50132"/>
                </a:srgbClr>
              </a:solidFill>
              <a:ln w="9525" cap="flat">
                <a:noFill/>
                <a:prstDash val="solid"/>
                <a:miter/>
              </a:ln>
            </p:spPr>
            <p:txBody>
              <a:bodyPr rtlCol="0" anchor="ctr"/>
              <a:lstStyle/>
              <a:p>
                <a:endParaRPr lang="en-DK"/>
              </a:p>
            </p:txBody>
          </p:sp>
          <p:sp>
            <p:nvSpPr>
              <p:cNvPr id="141" name="Freeform 140">
                <a:extLst>
                  <a:ext uri="{FF2B5EF4-FFF2-40B4-BE49-F238E27FC236}">
                    <a16:creationId xmlns:a16="http://schemas.microsoft.com/office/drawing/2014/main" id="{A4F66200-8E98-1D83-2B0A-3C374A67639C}"/>
                  </a:ext>
                </a:extLst>
              </p:cNvPr>
              <p:cNvSpPr/>
              <p:nvPr/>
            </p:nvSpPr>
            <p:spPr>
              <a:xfrm>
                <a:off x="9062628" y="2750477"/>
                <a:ext cx="117824" cy="66008"/>
              </a:xfrm>
              <a:custGeom>
                <a:avLst/>
                <a:gdLst>
                  <a:gd name="connsiteX0" fmla="*/ 110681 w 117824"/>
                  <a:gd name="connsiteY0" fmla="*/ 66008 h 66008"/>
                  <a:gd name="connsiteX1" fmla="*/ 7144 w 117824"/>
                  <a:gd name="connsiteY1" fmla="*/ 66008 h 66008"/>
                  <a:gd name="connsiteX2" fmla="*/ 0 w 117824"/>
                  <a:gd name="connsiteY2" fmla="*/ 58865 h 66008"/>
                  <a:gd name="connsiteX3" fmla="*/ 0 w 117824"/>
                  <a:gd name="connsiteY3" fmla="*/ 7144 h 66008"/>
                  <a:gd name="connsiteX4" fmla="*/ 7144 w 117824"/>
                  <a:gd name="connsiteY4" fmla="*/ 0 h 66008"/>
                  <a:gd name="connsiteX5" fmla="*/ 110681 w 117824"/>
                  <a:gd name="connsiteY5" fmla="*/ 0 h 66008"/>
                  <a:gd name="connsiteX6" fmla="*/ 117824 w 117824"/>
                  <a:gd name="connsiteY6" fmla="*/ 7144 h 66008"/>
                  <a:gd name="connsiteX7" fmla="*/ 117824 w 117824"/>
                  <a:gd name="connsiteY7" fmla="*/ 58865 h 66008"/>
                  <a:gd name="connsiteX8" fmla="*/ 110681 w 117824"/>
                  <a:gd name="connsiteY8" fmla="*/ 66008 h 66008"/>
                  <a:gd name="connsiteX9" fmla="*/ 14288 w 117824"/>
                  <a:gd name="connsiteY9" fmla="*/ 51721 h 66008"/>
                  <a:gd name="connsiteX10" fmla="*/ 103537 w 117824"/>
                  <a:gd name="connsiteY10" fmla="*/ 51721 h 66008"/>
                  <a:gd name="connsiteX11" fmla="*/ 103537 w 117824"/>
                  <a:gd name="connsiteY11" fmla="*/ 14288 h 66008"/>
                  <a:gd name="connsiteX12" fmla="*/ 14288 w 117824"/>
                  <a:gd name="connsiteY12" fmla="*/ 14288 h 66008"/>
                  <a:gd name="connsiteX13" fmla="*/ 14288 w 117824"/>
                  <a:gd name="connsiteY13" fmla="*/ 51721 h 66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824" h="66008">
                    <a:moveTo>
                      <a:pt x="110681" y="66008"/>
                    </a:moveTo>
                    <a:lnTo>
                      <a:pt x="7144" y="66008"/>
                    </a:lnTo>
                    <a:cubicBezTo>
                      <a:pt x="3239" y="66008"/>
                      <a:pt x="0" y="62770"/>
                      <a:pt x="0" y="58865"/>
                    </a:cubicBezTo>
                    <a:lnTo>
                      <a:pt x="0" y="7144"/>
                    </a:lnTo>
                    <a:cubicBezTo>
                      <a:pt x="0" y="3239"/>
                      <a:pt x="3239" y="0"/>
                      <a:pt x="7144" y="0"/>
                    </a:cubicBezTo>
                    <a:lnTo>
                      <a:pt x="110681" y="0"/>
                    </a:lnTo>
                    <a:cubicBezTo>
                      <a:pt x="114586" y="0"/>
                      <a:pt x="117824" y="3239"/>
                      <a:pt x="117824" y="7144"/>
                    </a:cubicBezTo>
                    <a:lnTo>
                      <a:pt x="117824" y="58865"/>
                    </a:lnTo>
                    <a:cubicBezTo>
                      <a:pt x="117824" y="62770"/>
                      <a:pt x="114586" y="66008"/>
                      <a:pt x="110681" y="66008"/>
                    </a:cubicBezTo>
                    <a:close/>
                    <a:moveTo>
                      <a:pt x="14288" y="51721"/>
                    </a:moveTo>
                    <a:lnTo>
                      <a:pt x="103537" y="51721"/>
                    </a:lnTo>
                    <a:lnTo>
                      <a:pt x="103537" y="14288"/>
                    </a:lnTo>
                    <a:lnTo>
                      <a:pt x="14288" y="14288"/>
                    </a:lnTo>
                    <a:lnTo>
                      <a:pt x="14288" y="51721"/>
                    </a:lnTo>
                    <a:close/>
                  </a:path>
                </a:pathLst>
              </a:custGeom>
              <a:solidFill>
                <a:srgbClr val="FFFFFF"/>
              </a:solidFill>
              <a:ln w="9525" cap="flat">
                <a:noFill/>
                <a:prstDash val="solid"/>
                <a:miter/>
              </a:ln>
            </p:spPr>
            <p:txBody>
              <a:bodyPr rtlCol="0" anchor="ctr"/>
              <a:lstStyle/>
              <a:p>
                <a:endParaRPr lang="en-DK"/>
              </a:p>
            </p:txBody>
          </p:sp>
        </p:grpSp>
        <p:grpSp>
          <p:nvGrpSpPr>
            <p:cNvPr id="134" name="Graphic 17">
              <a:extLst>
                <a:ext uri="{FF2B5EF4-FFF2-40B4-BE49-F238E27FC236}">
                  <a16:creationId xmlns:a16="http://schemas.microsoft.com/office/drawing/2014/main" id="{2C410D67-3733-A048-E11F-32DC9766D0EE}"/>
                </a:ext>
              </a:extLst>
            </p:cNvPr>
            <p:cNvGrpSpPr/>
            <p:nvPr/>
          </p:nvGrpSpPr>
          <p:grpSpPr>
            <a:xfrm>
              <a:off x="9191978" y="2207076"/>
              <a:ext cx="143636" cy="143637"/>
              <a:chOff x="9191978" y="2207076"/>
              <a:chExt cx="143636" cy="143637"/>
            </a:xfrm>
          </p:grpSpPr>
          <p:sp>
            <p:nvSpPr>
              <p:cNvPr id="136" name="Freeform 135">
                <a:extLst>
                  <a:ext uri="{FF2B5EF4-FFF2-40B4-BE49-F238E27FC236}">
                    <a16:creationId xmlns:a16="http://schemas.microsoft.com/office/drawing/2014/main" id="{C88F10D9-BA42-0C72-9120-FFFC943D0AAA}"/>
                  </a:ext>
                </a:extLst>
              </p:cNvPr>
              <p:cNvSpPr/>
              <p:nvPr/>
            </p:nvSpPr>
            <p:spPr>
              <a:xfrm>
                <a:off x="9199122" y="2214220"/>
                <a:ext cx="129349" cy="129349"/>
              </a:xfrm>
              <a:custGeom>
                <a:avLst/>
                <a:gdLst>
                  <a:gd name="connsiteX0" fmla="*/ 129349 w 129349"/>
                  <a:gd name="connsiteY0" fmla="*/ 64675 h 129349"/>
                  <a:gd name="connsiteX1" fmla="*/ 64675 w 129349"/>
                  <a:gd name="connsiteY1" fmla="*/ 129350 h 129349"/>
                  <a:gd name="connsiteX2" fmla="*/ 0 w 129349"/>
                  <a:gd name="connsiteY2" fmla="*/ 64675 h 129349"/>
                  <a:gd name="connsiteX3" fmla="*/ 64675 w 129349"/>
                  <a:gd name="connsiteY3" fmla="*/ 0 h 129349"/>
                  <a:gd name="connsiteX4" fmla="*/ 129349 w 129349"/>
                  <a:gd name="connsiteY4" fmla="*/ 64675 h 129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349" h="129349">
                    <a:moveTo>
                      <a:pt x="129349" y="64675"/>
                    </a:moveTo>
                    <a:cubicBezTo>
                      <a:pt x="129349" y="100394"/>
                      <a:pt x="100394" y="129350"/>
                      <a:pt x="64675" y="129350"/>
                    </a:cubicBezTo>
                    <a:cubicBezTo>
                      <a:pt x="28956" y="129350"/>
                      <a:pt x="0" y="100394"/>
                      <a:pt x="0" y="64675"/>
                    </a:cubicBezTo>
                    <a:cubicBezTo>
                      <a:pt x="0" y="28956"/>
                      <a:pt x="28956" y="0"/>
                      <a:pt x="64675" y="0"/>
                    </a:cubicBezTo>
                    <a:cubicBezTo>
                      <a:pt x="100394" y="0"/>
                      <a:pt x="129349" y="28956"/>
                      <a:pt x="129349" y="64675"/>
                    </a:cubicBezTo>
                    <a:close/>
                  </a:path>
                </a:pathLst>
              </a:custGeom>
              <a:solidFill>
                <a:srgbClr val="2878FF">
                  <a:alpha val="50259"/>
                </a:srgbClr>
              </a:solidFill>
              <a:ln w="9525" cap="flat">
                <a:noFill/>
                <a:prstDash val="solid"/>
                <a:miter/>
              </a:ln>
            </p:spPr>
            <p:txBody>
              <a:bodyPr rtlCol="0" anchor="ctr"/>
              <a:lstStyle/>
              <a:p>
                <a:endParaRPr lang="en-DK"/>
              </a:p>
            </p:txBody>
          </p:sp>
          <p:sp>
            <p:nvSpPr>
              <p:cNvPr id="138" name="Freeform 137">
                <a:extLst>
                  <a:ext uri="{FF2B5EF4-FFF2-40B4-BE49-F238E27FC236}">
                    <a16:creationId xmlns:a16="http://schemas.microsoft.com/office/drawing/2014/main" id="{65E08D41-B764-6626-41BA-1BF92F2AF6ED}"/>
                  </a:ext>
                </a:extLst>
              </p:cNvPr>
              <p:cNvSpPr/>
              <p:nvPr/>
            </p:nvSpPr>
            <p:spPr>
              <a:xfrm>
                <a:off x="9191978" y="2207076"/>
                <a:ext cx="143636" cy="143637"/>
              </a:xfrm>
              <a:custGeom>
                <a:avLst/>
                <a:gdLst>
                  <a:gd name="connsiteX0" fmla="*/ 71818 w 143636"/>
                  <a:gd name="connsiteY0" fmla="*/ 143637 h 143637"/>
                  <a:gd name="connsiteX1" fmla="*/ 0 w 143636"/>
                  <a:gd name="connsiteY1" fmla="*/ 71819 h 143637"/>
                  <a:gd name="connsiteX2" fmla="*/ 71818 w 143636"/>
                  <a:gd name="connsiteY2" fmla="*/ 0 h 143637"/>
                  <a:gd name="connsiteX3" fmla="*/ 143637 w 143636"/>
                  <a:gd name="connsiteY3" fmla="*/ 71819 h 143637"/>
                  <a:gd name="connsiteX4" fmla="*/ 71818 w 143636"/>
                  <a:gd name="connsiteY4" fmla="*/ 143637 h 143637"/>
                  <a:gd name="connsiteX5" fmla="*/ 71818 w 143636"/>
                  <a:gd name="connsiteY5" fmla="*/ 14288 h 143637"/>
                  <a:gd name="connsiteX6" fmla="*/ 14288 w 143636"/>
                  <a:gd name="connsiteY6" fmla="*/ 71819 h 143637"/>
                  <a:gd name="connsiteX7" fmla="*/ 71818 w 143636"/>
                  <a:gd name="connsiteY7" fmla="*/ 129350 h 143637"/>
                  <a:gd name="connsiteX8" fmla="*/ 129349 w 143636"/>
                  <a:gd name="connsiteY8" fmla="*/ 71819 h 143637"/>
                  <a:gd name="connsiteX9" fmla="*/ 71818 w 143636"/>
                  <a:gd name="connsiteY9" fmla="*/ 14288 h 14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636" h="143637">
                    <a:moveTo>
                      <a:pt x="71818" y="143637"/>
                    </a:moveTo>
                    <a:cubicBezTo>
                      <a:pt x="32194" y="143637"/>
                      <a:pt x="0" y="111443"/>
                      <a:pt x="0" y="71819"/>
                    </a:cubicBezTo>
                    <a:cubicBezTo>
                      <a:pt x="0" y="32195"/>
                      <a:pt x="32194" y="0"/>
                      <a:pt x="71818" y="0"/>
                    </a:cubicBezTo>
                    <a:cubicBezTo>
                      <a:pt x="111443" y="0"/>
                      <a:pt x="143637" y="32195"/>
                      <a:pt x="143637" y="71819"/>
                    </a:cubicBezTo>
                    <a:cubicBezTo>
                      <a:pt x="143637" y="111443"/>
                      <a:pt x="111443" y="143637"/>
                      <a:pt x="71818" y="143637"/>
                    </a:cubicBezTo>
                    <a:close/>
                    <a:moveTo>
                      <a:pt x="71818" y="14288"/>
                    </a:moveTo>
                    <a:cubicBezTo>
                      <a:pt x="40100" y="14288"/>
                      <a:pt x="14288" y="40100"/>
                      <a:pt x="14288" y="71819"/>
                    </a:cubicBezTo>
                    <a:cubicBezTo>
                      <a:pt x="14288" y="103537"/>
                      <a:pt x="40100" y="129350"/>
                      <a:pt x="71818" y="129350"/>
                    </a:cubicBezTo>
                    <a:cubicBezTo>
                      <a:pt x="103537" y="129350"/>
                      <a:pt x="129349" y="103537"/>
                      <a:pt x="129349" y="71819"/>
                    </a:cubicBezTo>
                    <a:cubicBezTo>
                      <a:pt x="129349" y="40100"/>
                      <a:pt x="103537" y="14288"/>
                      <a:pt x="71818" y="14288"/>
                    </a:cubicBezTo>
                    <a:close/>
                  </a:path>
                </a:pathLst>
              </a:custGeom>
              <a:solidFill>
                <a:srgbClr val="FFFFFF"/>
              </a:solidFill>
              <a:ln w="9525" cap="flat">
                <a:noFill/>
                <a:prstDash val="solid"/>
                <a:miter/>
              </a:ln>
            </p:spPr>
            <p:txBody>
              <a:bodyPr rtlCol="0" anchor="ctr"/>
              <a:lstStyle/>
              <a:p>
                <a:endParaRPr lang="en-DK"/>
              </a:p>
            </p:txBody>
          </p:sp>
        </p:grpSp>
        <p:sp>
          <p:nvSpPr>
            <p:cNvPr id="135" name="Freeform 134">
              <a:extLst>
                <a:ext uri="{FF2B5EF4-FFF2-40B4-BE49-F238E27FC236}">
                  <a16:creationId xmlns:a16="http://schemas.microsoft.com/office/drawing/2014/main" id="{7B58425E-C1C0-54FC-8ED5-0A901F8B1235}"/>
                </a:ext>
              </a:extLst>
            </p:cNvPr>
            <p:cNvSpPr/>
            <p:nvPr/>
          </p:nvSpPr>
          <p:spPr>
            <a:xfrm>
              <a:off x="8959092" y="2235672"/>
              <a:ext cx="609504" cy="632630"/>
            </a:xfrm>
            <a:custGeom>
              <a:avLst/>
              <a:gdLst>
                <a:gd name="connsiteX0" fmla="*/ 602361 w 609504"/>
                <a:gd name="connsiteY0" fmla="*/ 632630 h 632630"/>
                <a:gd name="connsiteX1" fmla="*/ 7144 w 609504"/>
                <a:gd name="connsiteY1" fmla="*/ 632630 h 632630"/>
                <a:gd name="connsiteX2" fmla="*/ 0 w 609504"/>
                <a:gd name="connsiteY2" fmla="*/ 625486 h 632630"/>
                <a:gd name="connsiteX3" fmla="*/ 0 w 609504"/>
                <a:gd name="connsiteY3" fmla="*/ 599578 h 632630"/>
                <a:gd name="connsiteX4" fmla="*/ 33052 w 609504"/>
                <a:gd name="connsiteY4" fmla="*/ 566527 h 632630"/>
                <a:gd name="connsiteX5" fmla="*/ 310610 w 609504"/>
                <a:gd name="connsiteY5" fmla="*/ 566527 h 632630"/>
                <a:gd name="connsiteX6" fmla="*/ 310610 w 609504"/>
                <a:gd name="connsiteY6" fmla="*/ 496042 h 632630"/>
                <a:gd name="connsiteX7" fmla="*/ 317754 w 609504"/>
                <a:gd name="connsiteY7" fmla="*/ 488898 h 632630"/>
                <a:gd name="connsiteX8" fmla="*/ 517589 w 609504"/>
                <a:gd name="connsiteY8" fmla="*/ 289063 h 632630"/>
                <a:gd name="connsiteX9" fmla="*/ 352711 w 609504"/>
                <a:gd name="connsiteY9" fmla="*/ 92277 h 632630"/>
                <a:gd name="connsiteX10" fmla="*/ 346900 w 609504"/>
                <a:gd name="connsiteY10" fmla="*/ 83990 h 632630"/>
                <a:gd name="connsiteX11" fmla="*/ 355187 w 609504"/>
                <a:gd name="connsiteY11" fmla="*/ 78180 h 632630"/>
                <a:gd name="connsiteX12" fmla="*/ 531876 w 609504"/>
                <a:gd name="connsiteY12" fmla="*/ 289063 h 632630"/>
                <a:gd name="connsiteX13" fmla="*/ 324898 w 609504"/>
                <a:gd name="connsiteY13" fmla="*/ 503090 h 632630"/>
                <a:gd name="connsiteX14" fmla="*/ 324898 w 609504"/>
                <a:gd name="connsiteY14" fmla="*/ 573670 h 632630"/>
                <a:gd name="connsiteX15" fmla="*/ 317754 w 609504"/>
                <a:gd name="connsiteY15" fmla="*/ 580814 h 632630"/>
                <a:gd name="connsiteX16" fmla="*/ 33052 w 609504"/>
                <a:gd name="connsiteY16" fmla="*/ 580814 h 632630"/>
                <a:gd name="connsiteX17" fmla="*/ 14288 w 609504"/>
                <a:gd name="connsiteY17" fmla="*/ 599578 h 632630"/>
                <a:gd name="connsiteX18" fmla="*/ 14288 w 609504"/>
                <a:gd name="connsiteY18" fmla="*/ 618343 h 632630"/>
                <a:gd name="connsiteX19" fmla="*/ 595217 w 609504"/>
                <a:gd name="connsiteY19" fmla="*/ 618343 h 632630"/>
                <a:gd name="connsiteX20" fmla="*/ 595217 w 609504"/>
                <a:gd name="connsiteY20" fmla="*/ 599578 h 632630"/>
                <a:gd name="connsiteX21" fmla="*/ 576453 w 609504"/>
                <a:gd name="connsiteY21" fmla="*/ 580814 h 632630"/>
                <a:gd name="connsiteX22" fmla="*/ 511778 w 609504"/>
                <a:gd name="connsiteY22" fmla="*/ 580814 h 632630"/>
                <a:gd name="connsiteX23" fmla="*/ 504635 w 609504"/>
                <a:gd name="connsiteY23" fmla="*/ 573670 h 632630"/>
                <a:gd name="connsiteX24" fmla="*/ 504635 w 609504"/>
                <a:gd name="connsiteY24" fmla="*/ 496804 h 632630"/>
                <a:gd name="connsiteX25" fmla="*/ 506921 w 609504"/>
                <a:gd name="connsiteY25" fmla="*/ 491565 h 632630"/>
                <a:gd name="connsiteX26" fmla="*/ 595217 w 609504"/>
                <a:gd name="connsiteY26" fmla="*/ 288968 h 632630"/>
                <a:gd name="connsiteX27" fmla="*/ 357569 w 609504"/>
                <a:gd name="connsiteY27" fmla="*/ 14267 h 632630"/>
                <a:gd name="connsiteX28" fmla="*/ 351473 w 609504"/>
                <a:gd name="connsiteY28" fmla="*/ 6171 h 632630"/>
                <a:gd name="connsiteX29" fmla="*/ 359569 w 609504"/>
                <a:gd name="connsiteY29" fmla="*/ 75 h 632630"/>
                <a:gd name="connsiteX30" fmla="*/ 609505 w 609504"/>
                <a:gd name="connsiteY30" fmla="*/ 288873 h 632630"/>
                <a:gd name="connsiteX31" fmla="*/ 518922 w 609504"/>
                <a:gd name="connsiteY31" fmla="*/ 499756 h 632630"/>
                <a:gd name="connsiteX32" fmla="*/ 518922 w 609504"/>
                <a:gd name="connsiteY32" fmla="*/ 566336 h 632630"/>
                <a:gd name="connsiteX33" fmla="*/ 576453 w 609504"/>
                <a:gd name="connsiteY33" fmla="*/ 566336 h 632630"/>
                <a:gd name="connsiteX34" fmla="*/ 609505 w 609504"/>
                <a:gd name="connsiteY34" fmla="*/ 599388 h 632630"/>
                <a:gd name="connsiteX35" fmla="*/ 609505 w 609504"/>
                <a:gd name="connsiteY35" fmla="*/ 625296 h 632630"/>
                <a:gd name="connsiteX36" fmla="*/ 602361 w 609504"/>
                <a:gd name="connsiteY36" fmla="*/ 632440 h 63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9504" h="632630">
                  <a:moveTo>
                    <a:pt x="602361" y="632630"/>
                  </a:moveTo>
                  <a:lnTo>
                    <a:pt x="7144" y="632630"/>
                  </a:lnTo>
                  <a:cubicBezTo>
                    <a:pt x="3239" y="632630"/>
                    <a:pt x="0" y="629392"/>
                    <a:pt x="0" y="625486"/>
                  </a:cubicBezTo>
                  <a:lnTo>
                    <a:pt x="0" y="599578"/>
                  </a:lnTo>
                  <a:cubicBezTo>
                    <a:pt x="0" y="581386"/>
                    <a:pt x="14859" y="566527"/>
                    <a:pt x="33052" y="566527"/>
                  </a:cubicBezTo>
                  <a:lnTo>
                    <a:pt x="310610" y="566527"/>
                  </a:lnTo>
                  <a:lnTo>
                    <a:pt x="310610" y="496042"/>
                  </a:lnTo>
                  <a:cubicBezTo>
                    <a:pt x="310610" y="492136"/>
                    <a:pt x="313849" y="488898"/>
                    <a:pt x="317754" y="488898"/>
                  </a:cubicBezTo>
                  <a:cubicBezTo>
                    <a:pt x="427958" y="488898"/>
                    <a:pt x="517589" y="399268"/>
                    <a:pt x="517589" y="289063"/>
                  </a:cubicBezTo>
                  <a:cubicBezTo>
                    <a:pt x="517589" y="191908"/>
                    <a:pt x="448247" y="109136"/>
                    <a:pt x="352711" y="92277"/>
                  </a:cubicBezTo>
                  <a:cubicBezTo>
                    <a:pt x="348806" y="91610"/>
                    <a:pt x="346234" y="87895"/>
                    <a:pt x="346900" y="83990"/>
                  </a:cubicBezTo>
                  <a:cubicBezTo>
                    <a:pt x="347567" y="80085"/>
                    <a:pt x="351187" y="77513"/>
                    <a:pt x="355187" y="78180"/>
                  </a:cubicBezTo>
                  <a:cubicBezTo>
                    <a:pt x="457581" y="96277"/>
                    <a:pt x="531876" y="184955"/>
                    <a:pt x="531876" y="289063"/>
                  </a:cubicBezTo>
                  <a:cubicBezTo>
                    <a:pt x="531876" y="404792"/>
                    <a:pt x="439674" y="499280"/>
                    <a:pt x="324898" y="503090"/>
                  </a:cubicBezTo>
                  <a:lnTo>
                    <a:pt x="324898" y="573670"/>
                  </a:lnTo>
                  <a:cubicBezTo>
                    <a:pt x="324898" y="577576"/>
                    <a:pt x="321659" y="580814"/>
                    <a:pt x="317754" y="580814"/>
                  </a:cubicBezTo>
                  <a:lnTo>
                    <a:pt x="33052" y="580814"/>
                  </a:lnTo>
                  <a:cubicBezTo>
                    <a:pt x="22765" y="580814"/>
                    <a:pt x="14288" y="589196"/>
                    <a:pt x="14288" y="599578"/>
                  </a:cubicBezTo>
                  <a:lnTo>
                    <a:pt x="14288" y="618343"/>
                  </a:lnTo>
                  <a:lnTo>
                    <a:pt x="595217" y="618343"/>
                  </a:lnTo>
                  <a:lnTo>
                    <a:pt x="595217" y="599578"/>
                  </a:lnTo>
                  <a:cubicBezTo>
                    <a:pt x="595217" y="589291"/>
                    <a:pt x="586835" y="580814"/>
                    <a:pt x="576453" y="580814"/>
                  </a:cubicBezTo>
                  <a:lnTo>
                    <a:pt x="511778" y="580814"/>
                  </a:lnTo>
                  <a:cubicBezTo>
                    <a:pt x="507873" y="580814"/>
                    <a:pt x="504635" y="577576"/>
                    <a:pt x="504635" y="573670"/>
                  </a:cubicBezTo>
                  <a:lnTo>
                    <a:pt x="504635" y="496804"/>
                  </a:lnTo>
                  <a:cubicBezTo>
                    <a:pt x="504635" y="494803"/>
                    <a:pt x="505492" y="492898"/>
                    <a:pt x="506921" y="491565"/>
                  </a:cubicBezTo>
                  <a:cubicBezTo>
                    <a:pt x="563880" y="438320"/>
                    <a:pt x="595217" y="366406"/>
                    <a:pt x="595217" y="288968"/>
                  </a:cubicBezTo>
                  <a:cubicBezTo>
                    <a:pt x="595217" y="151903"/>
                    <a:pt x="493014" y="33793"/>
                    <a:pt x="357569" y="14267"/>
                  </a:cubicBezTo>
                  <a:cubicBezTo>
                    <a:pt x="353663" y="13696"/>
                    <a:pt x="350901" y="10076"/>
                    <a:pt x="351473" y="6171"/>
                  </a:cubicBezTo>
                  <a:cubicBezTo>
                    <a:pt x="352044" y="2266"/>
                    <a:pt x="355568" y="-497"/>
                    <a:pt x="359569" y="75"/>
                  </a:cubicBezTo>
                  <a:cubicBezTo>
                    <a:pt x="502063" y="20554"/>
                    <a:pt x="609505" y="144760"/>
                    <a:pt x="609505" y="288873"/>
                  </a:cubicBezTo>
                  <a:cubicBezTo>
                    <a:pt x="609505" y="369264"/>
                    <a:pt x="577406" y="444035"/>
                    <a:pt x="518922" y="499756"/>
                  </a:cubicBezTo>
                  <a:lnTo>
                    <a:pt x="518922" y="566336"/>
                  </a:lnTo>
                  <a:lnTo>
                    <a:pt x="576453" y="566336"/>
                  </a:lnTo>
                  <a:cubicBezTo>
                    <a:pt x="594646" y="566336"/>
                    <a:pt x="609505" y="581195"/>
                    <a:pt x="609505" y="599388"/>
                  </a:cubicBezTo>
                  <a:lnTo>
                    <a:pt x="609505" y="625296"/>
                  </a:lnTo>
                  <a:cubicBezTo>
                    <a:pt x="609505" y="629201"/>
                    <a:pt x="606266" y="632440"/>
                    <a:pt x="602361" y="632440"/>
                  </a:cubicBezTo>
                  <a:close/>
                </a:path>
              </a:pathLst>
            </a:custGeom>
            <a:solidFill>
              <a:srgbClr val="FFFFFF"/>
            </a:solidFill>
            <a:ln w="9525" cap="flat">
              <a:noFill/>
              <a:prstDash val="solid"/>
              <a:miter/>
            </a:ln>
          </p:spPr>
          <p:txBody>
            <a:bodyPr rtlCol="0" anchor="ctr"/>
            <a:lstStyle/>
            <a:p>
              <a:endParaRPr lang="en-DK"/>
            </a:p>
          </p:txBody>
        </p:sp>
      </p:grpSp>
      <p:sp>
        <p:nvSpPr>
          <p:cNvPr id="144" name="TextBox 143">
            <a:extLst>
              <a:ext uri="{FF2B5EF4-FFF2-40B4-BE49-F238E27FC236}">
                <a16:creationId xmlns:a16="http://schemas.microsoft.com/office/drawing/2014/main" id="{2ECBE851-7392-6CC7-F294-63C3A151FFBD}"/>
              </a:ext>
            </a:extLst>
          </p:cNvPr>
          <p:cNvSpPr txBox="1"/>
          <p:nvPr/>
        </p:nvSpPr>
        <p:spPr>
          <a:xfrm>
            <a:off x="5037452" y="5124811"/>
            <a:ext cx="2076971" cy="458021"/>
          </a:xfrm>
          <a:prstGeom prst="rect">
            <a:avLst/>
          </a:prstGeom>
          <a:noFill/>
        </p:spPr>
        <p:txBody>
          <a:bodyPr wrap="square" rtlCol="0">
            <a:spAutoFit/>
          </a:bodyPr>
          <a:lstStyle/>
          <a:p>
            <a:pPr algn="ctr" defTabSz="914309">
              <a:defRPr/>
            </a:pPr>
            <a:r>
              <a:rPr lang="en-DK" sz="1400" kern="0">
                <a:solidFill>
                  <a:srgbClr val="FFFFFF"/>
                </a:solidFill>
                <a:latin typeface="Avenir Next LT Pro Demi" panose="020B0504020202020204" pitchFamily="34" charset="77"/>
              </a:rPr>
              <a:t>Gubra Ventures</a:t>
            </a:r>
          </a:p>
          <a:p>
            <a:pPr algn="ctr" defTabSz="914309">
              <a:defRPr/>
            </a:pPr>
            <a:r>
              <a:rPr lang="en-DK" sz="1200" kern="0" spc="-50">
                <a:solidFill>
                  <a:srgbClr val="FFFFFF"/>
                </a:solidFill>
                <a:latin typeface="Avenir Next LT Pro"/>
              </a:rPr>
              <a:t>Our value accelerator</a:t>
            </a:r>
            <a:endParaRPr lang="en-US" sz="1200" kern="0" spc="-50">
              <a:solidFill>
                <a:srgbClr val="FFFFFF"/>
              </a:solidFill>
              <a:latin typeface="Avenir Next LT Pro"/>
            </a:endParaRPr>
          </a:p>
        </p:txBody>
      </p:sp>
      <p:grpSp>
        <p:nvGrpSpPr>
          <p:cNvPr id="145" name="Graphic 128">
            <a:extLst>
              <a:ext uri="{FF2B5EF4-FFF2-40B4-BE49-F238E27FC236}">
                <a16:creationId xmlns:a16="http://schemas.microsoft.com/office/drawing/2014/main" id="{E316A7F3-C877-ECA9-39C8-E59DE73CA5A6}"/>
              </a:ext>
            </a:extLst>
          </p:cNvPr>
          <p:cNvGrpSpPr/>
          <p:nvPr/>
        </p:nvGrpSpPr>
        <p:grpSpPr>
          <a:xfrm>
            <a:off x="5897094" y="4789645"/>
            <a:ext cx="306974" cy="306973"/>
            <a:chOff x="4455955" y="3908292"/>
            <a:chExt cx="578384" cy="578384"/>
          </a:xfrm>
        </p:grpSpPr>
        <p:sp>
          <p:nvSpPr>
            <p:cNvPr id="146" name="Freeform 145">
              <a:extLst>
                <a:ext uri="{FF2B5EF4-FFF2-40B4-BE49-F238E27FC236}">
                  <a16:creationId xmlns:a16="http://schemas.microsoft.com/office/drawing/2014/main" id="{5BDC3B5C-811F-42A7-B7D6-4429E2573866}"/>
                </a:ext>
              </a:extLst>
            </p:cNvPr>
            <p:cNvSpPr/>
            <p:nvPr/>
          </p:nvSpPr>
          <p:spPr>
            <a:xfrm>
              <a:off x="4834261" y="3917584"/>
              <a:ext cx="190623" cy="196340"/>
            </a:xfrm>
            <a:custGeom>
              <a:avLst/>
              <a:gdLst>
                <a:gd name="connsiteX0" fmla="*/ 179352 w 190623"/>
                <a:gd name="connsiteY0" fmla="*/ 0 h 196340"/>
                <a:gd name="connsiteX1" fmla="*/ 102744 w 190623"/>
                <a:gd name="connsiteY1" fmla="*/ 4574 h 196340"/>
                <a:gd name="connsiteX2" fmla="*/ 13721 w 190623"/>
                <a:gd name="connsiteY2" fmla="*/ 29729 h 196340"/>
                <a:gd name="connsiteX3" fmla="*/ 0 w 190623"/>
                <a:gd name="connsiteY3" fmla="*/ 40019 h 196340"/>
                <a:gd name="connsiteX4" fmla="*/ 148480 w 190623"/>
                <a:gd name="connsiteY4" fmla="*/ 196340 h 196340"/>
                <a:gd name="connsiteX5" fmla="*/ 169062 w 190623"/>
                <a:gd name="connsiteY5" fmla="*/ 151747 h 196340"/>
                <a:gd name="connsiteX6" fmla="*/ 184906 w 190623"/>
                <a:gd name="connsiteY6" fmla="*/ 90166 h 196340"/>
                <a:gd name="connsiteX7" fmla="*/ 190623 w 190623"/>
                <a:gd name="connsiteY7" fmla="*/ 40019 h 196340"/>
                <a:gd name="connsiteX8" fmla="*/ 179352 w 190623"/>
                <a:gd name="connsiteY8" fmla="*/ 0 h 19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623" h="196340">
                  <a:moveTo>
                    <a:pt x="179352" y="0"/>
                  </a:moveTo>
                  <a:lnTo>
                    <a:pt x="102744" y="4574"/>
                  </a:lnTo>
                  <a:lnTo>
                    <a:pt x="13721" y="29729"/>
                  </a:lnTo>
                  <a:lnTo>
                    <a:pt x="0" y="40019"/>
                  </a:lnTo>
                  <a:lnTo>
                    <a:pt x="148480" y="196340"/>
                  </a:lnTo>
                  <a:lnTo>
                    <a:pt x="169062" y="151747"/>
                  </a:lnTo>
                  <a:lnTo>
                    <a:pt x="184906" y="90166"/>
                  </a:lnTo>
                  <a:lnTo>
                    <a:pt x="190623" y="40019"/>
                  </a:lnTo>
                  <a:lnTo>
                    <a:pt x="179352" y="0"/>
                  </a:lnTo>
                  <a:close/>
                </a:path>
              </a:pathLst>
            </a:custGeom>
            <a:solidFill>
              <a:srgbClr val="2978FF">
                <a:alpha val="49641"/>
              </a:srgbClr>
            </a:solidFill>
            <a:ln w="16329" cap="flat">
              <a:noFill/>
              <a:prstDash val="solid"/>
              <a:miter/>
            </a:ln>
          </p:spPr>
          <p:txBody>
            <a:bodyPr rtlCol="0" anchor="ctr"/>
            <a:lstStyle/>
            <a:p>
              <a:endParaRPr lang="en-DK"/>
            </a:p>
          </p:txBody>
        </p:sp>
        <p:sp>
          <p:nvSpPr>
            <p:cNvPr id="147" name="Freeform 146">
              <a:extLst>
                <a:ext uri="{FF2B5EF4-FFF2-40B4-BE49-F238E27FC236}">
                  <a16:creationId xmlns:a16="http://schemas.microsoft.com/office/drawing/2014/main" id="{F73BD408-C6CA-5B73-B68D-EB38CE3EDB3E}"/>
                </a:ext>
              </a:extLst>
            </p:cNvPr>
            <p:cNvSpPr/>
            <p:nvPr/>
          </p:nvSpPr>
          <p:spPr>
            <a:xfrm>
              <a:off x="4532890" y="4255544"/>
              <a:ext cx="146193" cy="152890"/>
            </a:xfrm>
            <a:custGeom>
              <a:avLst/>
              <a:gdLst>
                <a:gd name="connsiteX0" fmla="*/ 29729 w 146193"/>
                <a:gd name="connsiteY0" fmla="*/ 0 h 152890"/>
                <a:gd name="connsiteX1" fmla="*/ 0 w 146193"/>
                <a:gd name="connsiteY1" fmla="*/ 68441 h 152890"/>
                <a:gd name="connsiteX2" fmla="*/ 81182 w 146193"/>
                <a:gd name="connsiteY2" fmla="*/ 152891 h 152890"/>
                <a:gd name="connsiteX3" fmla="*/ 146193 w 146193"/>
                <a:gd name="connsiteY3" fmla="*/ 122018 h 152890"/>
                <a:gd name="connsiteX4" fmla="*/ 29729 w 146193"/>
                <a:gd name="connsiteY4" fmla="*/ 0 h 152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193" h="152890">
                  <a:moveTo>
                    <a:pt x="29729" y="0"/>
                  </a:moveTo>
                  <a:lnTo>
                    <a:pt x="0" y="68441"/>
                  </a:lnTo>
                  <a:lnTo>
                    <a:pt x="81182" y="152891"/>
                  </a:lnTo>
                  <a:lnTo>
                    <a:pt x="146193" y="122018"/>
                  </a:lnTo>
                  <a:lnTo>
                    <a:pt x="29729" y="0"/>
                  </a:lnTo>
                  <a:close/>
                </a:path>
              </a:pathLst>
            </a:custGeom>
            <a:solidFill>
              <a:srgbClr val="2978FF">
                <a:alpha val="50000"/>
              </a:srgbClr>
            </a:solidFill>
            <a:ln w="16329" cap="flat">
              <a:noFill/>
              <a:prstDash val="solid"/>
              <a:miter/>
            </a:ln>
          </p:spPr>
          <p:txBody>
            <a:bodyPr rtlCol="0" anchor="ctr"/>
            <a:lstStyle/>
            <a:p>
              <a:endParaRPr lang="en-DK"/>
            </a:p>
          </p:txBody>
        </p:sp>
        <p:sp>
          <p:nvSpPr>
            <p:cNvPr id="148" name="Freeform 147">
              <a:extLst>
                <a:ext uri="{FF2B5EF4-FFF2-40B4-BE49-F238E27FC236}">
                  <a16:creationId xmlns:a16="http://schemas.microsoft.com/office/drawing/2014/main" id="{9DDAC901-E9F4-4F65-F9D5-4CAA611E13D5}"/>
                </a:ext>
              </a:extLst>
            </p:cNvPr>
            <p:cNvSpPr/>
            <p:nvPr/>
          </p:nvSpPr>
          <p:spPr>
            <a:xfrm>
              <a:off x="4726412" y="4073741"/>
              <a:ext cx="142518" cy="142273"/>
            </a:xfrm>
            <a:custGeom>
              <a:avLst/>
              <a:gdLst>
                <a:gd name="connsiteX0" fmla="*/ 71259 w 142518"/>
                <a:gd name="connsiteY0" fmla="*/ 21071 h 142273"/>
                <a:gd name="connsiteX1" fmla="*/ 29443 w 142518"/>
                <a:gd name="connsiteY1" fmla="*/ 43450 h 142273"/>
                <a:gd name="connsiteX2" fmla="*/ 29443 w 142518"/>
                <a:gd name="connsiteY2" fmla="*/ 98987 h 142273"/>
                <a:gd name="connsiteX3" fmla="*/ 71259 w 142518"/>
                <a:gd name="connsiteY3" fmla="*/ 121365 h 142273"/>
                <a:gd name="connsiteX4" fmla="*/ 71259 w 142518"/>
                <a:gd name="connsiteY4" fmla="*/ 121365 h 142273"/>
                <a:gd name="connsiteX5" fmla="*/ 113075 w 142518"/>
                <a:gd name="connsiteY5" fmla="*/ 98987 h 142273"/>
                <a:gd name="connsiteX6" fmla="*/ 113075 w 142518"/>
                <a:gd name="connsiteY6" fmla="*/ 43450 h 142273"/>
                <a:gd name="connsiteX7" fmla="*/ 71259 w 142518"/>
                <a:gd name="connsiteY7" fmla="*/ 21071 h 142273"/>
                <a:gd name="connsiteX8" fmla="*/ 71259 w 142518"/>
                <a:gd name="connsiteY8" fmla="*/ 21071 h 142273"/>
                <a:gd name="connsiteX9" fmla="*/ 71259 w 142518"/>
                <a:gd name="connsiteY9" fmla="*/ 142273 h 142273"/>
                <a:gd name="connsiteX10" fmla="*/ 71259 w 142518"/>
                <a:gd name="connsiteY10" fmla="*/ 142273 h 142273"/>
                <a:gd name="connsiteX11" fmla="*/ 12128 w 142518"/>
                <a:gd name="connsiteY11" fmla="*/ 110748 h 142273"/>
                <a:gd name="connsiteX12" fmla="*/ 12128 w 142518"/>
                <a:gd name="connsiteY12" fmla="*/ 31526 h 142273"/>
                <a:gd name="connsiteX13" fmla="*/ 71259 w 142518"/>
                <a:gd name="connsiteY13" fmla="*/ 0 h 142273"/>
                <a:gd name="connsiteX14" fmla="*/ 71259 w 142518"/>
                <a:gd name="connsiteY14" fmla="*/ 0 h 142273"/>
                <a:gd name="connsiteX15" fmla="*/ 130390 w 142518"/>
                <a:gd name="connsiteY15" fmla="*/ 31526 h 142273"/>
                <a:gd name="connsiteX16" fmla="*/ 130390 w 142518"/>
                <a:gd name="connsiteY16" fmla="*/ 110748 h 142273"/>
                <a:gd name="connsiteX17" fmla="*/ 71259 w 142518"/>
                <a:gd name="connsiteY17" fmla="*/ 142273 h 14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518" h="142273">
                  <a:moveTo>
                    <a:pt x="71259" y="21071"/>
                  </a:moveTo>
                  <a:cubicBezTo>
                    <a:pt x="54435" y="21071"/>
                    <a:pt x="39244" y="29239"/>
                    <a:pt x="29443" y="43450"/>
                  </a:cubicBezTo>
                  <a:cubicBezTo>
                    <a:pt x="18335" y="59784"/>
                    <a:pt x="18335" y="82652"/>
                    <a:pt x="29443" y="98987"/>
                  </a:cubicBezTo>
                  <a:cubicBezTo>
                    <a:pt x="39080" y="113198"/>
                    <a:pt x="54271" y="121365"/>
                    <a:pt x="71259" y="121365"/>
                  </a:cubicBezTo>
                  <a:lnTo>
                    <a:pt x="71259" y="121365"/>
                  </a:lnTo>
                  <a:cubicBezTo>
                    <a:pt x="88084" y="121365"/>
                    <a:pt x="103275" y="113198"/>
                    <a:pt x="113075" y="98987"/>
                  </a:cubicBezTo>
                  <a:cubicBezTo>
                    <a:pt x="124183" y="82652"/>
                    <a:pt x="124183" y="59784"/>
                    <a:pt x="113075" y="43450"/>
                  </a:cubicBezTo>
                  <a:cubicBezTo>
                    <a:pt x="103438" y="29239"/>
                    <a:pt x="88247" y="21071"/>
                    <a:pt x="71259" y="21071"/>
                  </a:cubicBezTo>
                  <a:lnTo>
                    <a:pt x="71259" y="21071"/>
                  </a:lnTo>
                  <a:close/>
                  <a:moveTo>
                    <a:pt x="71259" y="142273"/>
                  </a:moveTo>
                  <a:lnTo>
                    <a:pt x="71259" y="142273"/>
                  </a:lnTo>
                  <a:cubicBezTo>
                    <a:pt x="47737" y="142273"/>
                    <a:pt x="25523" y="130512"/>
                    <a:pt x="12128" y="110748"/>
                  </a:cubicBezTo>
                  <a:cubicBezTo>
                    <a:pt x="-4043" y="87063"/>
                    <a:pt x="-4043" y="55210"/>
                    <a:pt x="12128" y="31526"/>
                  </a:cubicBezTo>
                  <a:cubicBezTo>
                    <a:pt x="25523" y="11761"/>
                    <a:pt x="47737" y="0"/>
                    <a:pt x="71259" y="0"/>
                  </a:cubicBezTo>
                  <a:lnTo>
                    <a:pt x="71259" y="0"/>
                  </a:lnTo>
                  <a:cubicBezTo>
                    <a:pt x="94781" y="0"/>
                    <a:pt x="116996" y="11761"/>
                    <a:pt x="130390" y="31526"/>
                  </a:cubicBezTo>
                  <a:cubicBezTo>
                    <a:pt x="146561" y="55210"/>
                    <a:pt x="146561" y="87063"/>
                    <a:pt x="130390" y="110748"/>
                  </a:cubicBezTo>
                  <a:cubicBezTo>
                    <a:pt x="116996" y="130512"/>
                    <a:pt x="94781" y="142273"/>
                    <a:pt x="71259" y="142273"/>
                  </a:cubicBezTo>
                </a:path>
              </a:pathLst>
            </a:custGeom>
            <a:solidFill>
              <a:srgbClr val="FFFFFF"/>
            </a:solidFill>
            <a:ln w="16329" cap="flat">
              <a:noFill/>
              <a:prstDash val="solid"/>
              <a:miter/>
            </a:ln>
          </p:spPr>
          <p:txBody>
            <a:bodyPr rtlCol="0" anchor="ctr"/>
            <a:lstStyle/>
            <a:p>
              <a:endParaRPr lang="en-DK"/>
            </a:p>
          </p:txBody>
        </p:sp>
        <p:sp>
          <p:nvSpPr>
            <p:cNvPr id="149" name="Freeform 148">
              <a:extLst>
                <a:ext uri="{FF2B5EF4-FFF2-40B4-BE49-F238E27FC236}">
                  <a16:creationId xmlns:a16="http://schemas.microsoft.com/office/drawing/2014/main" id="{C331BB8E-6825-A118-8D63-05F082AEC1F0}"/>
                </a:ext>
              </a:extLst>
            </p:cNvPr>
            <p:cNvSpPr/>
            <p:nvPr/>
          </p:nvSpPr>
          <p:spPr>
            <a:xfrm>
              <a:off x="4813557" y="3946537"/>
              <a:ext cx="182537" cy="182741"/>
            </a:xfrm>
            <a:custGeom>
              <a:avLst/>
              <a:gdLst>
                <a:gd name="connsiteX0" fmla="*/ 172124 w 182537"/>
                <a:gd name="connsiteY0" fmla="*/ 182742 h 182741"/>
                <a:gd name="connsiteX1" fmla="*/ 164774 w 182537"/>
                <a:gd name="connsiteY1" fmla="*/ 179638 h 182741"/>
                <a:gd name="connsiteX2" fmla="*/ 3063 w 182537"/>
                <a:gd name="connsiteY2" fmla="*/ 17927 h 182741"/>
                <a:gd name="connsiteX3" fmla="*/ 3063 w 182537"/>
                <a:gd name="connsiteY3" fmla="*/ 3063 h 182741"/>
                <a:gd name="connsiteX4" fmla="*/ 17927 w 182537"/>
                <a:gd name="connsiteY4" fmla="*/ 3063 h 182741"/>
                <a:gd name="connsiteX5" fmla="*/ 179475 w 182537"/>
                <a:gd name="connsiteY5" fmla="*/ 164774 h 182741"/>
                <a:gd name="connsiteX6" fmla="*/ 179475 w 182537"/>
                <a:gd name="connsiteY6" fmla="*/ 179638 h 182741"/>
                <a:gd name="connsiteX7" fmla="*/ 171961 w 182537"/>
                <a:gd name="connsiteY7" fmla="*/ 182742 h 182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537" h="182741">
                  <a:moveTo>
                    <a:pt x="172124" y="182742"/>
                  </a:moveTo>
                  <a:cubicBezTo>
                    <a:pt x="169347" y="182742"/>
                    <a:pt x="166734" y="181762"/>
                    <a:pt x="164774" y="179638"/>
                  </a:cubicBezTo>
                  <a:lnTo>
                    <a:pt x="3063" y="17927"/>
                  </a:lnTo>
                  <a:cubicBezTo>
                    <a:pt x="-1021" y="13843"/>
                    <a:pt x="-1021" y="7146"/>
                    <a:pt x="3063" y="3063"/>
                  </a:cubicBezTo>
                  <a:cubicBezTo>
                    <a:pt x="7146" y="-1021"/>
                    <a:pt x="13843" y="-1021"/>
                    <a:pt x="17927" y="3063"/>
                  </a:cubicBezTo>
                  <a:lnTo>
                    <a:pt x="179475" y="164774"/>
                  </a:lnTo>
                  <a:cubicBezTo>
                    <a:pt x="183558" y="168857"/>
                    <a:pt x="183558" y="175555"/>
                    <a:pt x="179475" y="179638"/>
                  </a:cubicBezTo>
                  <a:cubicBezTo>
                    <a:pt x="177351" y="181598"/>
                    <a:pt x="174738" y="182742"/>
                    <a:pt x="171961" y="182742"/>
                  </a:cubicBezTo>
                </a:path>
              </a:pathLst>
            </a:custGeom>
            <a:solidFill>
              <a:srgbClr val="FFFFFF"/>
            </a:solidFill>
            <a:ln w="16329" cap="flat">
              <a:noFill/>
              <a:prstDash val="solid"/>
              <a:miter/>
            </a:ln>
          </p:spPr>
          <p:txBody>
            <a:bodyPr rtlCol="0" anchor="ctr"/>
            <a:lstStyle/>
            <a:p>
              <a:endParaRPr lang="en-DK"/>
            </a:p>
          </p:txBody>
        </p:sp>
        <p:sp>
          <p:nvSpPr>
            <p:cNvPr id="150" name="Freeform 149">
              <a:extLst>
                <a:ext uri="{FF2B5EF4-FFF2-40B4-BE49-F238E27FC236}">
                  <a16:creationId xmlns:a16="http://schemas.microsoft.com/office/drawing/2014/main" id="{113DE9E8-B43E-D726-33B5-CA7A64F64CF1}"/>
                </a:ext>
              </a:extLst>
            </p:cNvPr>
            <p:cNvSpPr/>
            <p:nvPr/>
          </p:nvSpPr>
          <p:spPr>
            <a:xfrm>
              <a:off x="4558576" y="4253298"/>
              <a:ext cx="131084" cy="131288"/>
            </a:xfrm>
            <a:custGeom>
              <a:avLst/>
              <a:gdLst>
                <a:gd name="connsiteX0" fmla="*/ 120671 w 131084"/>
                <a:gd name="connsiteY0" fmla="*/ 131288 h 131288"/>
                <a:gd name="connsiteX1" fmla="*/ 113320 w 131084"/>
                <a:gd name="connsiteY1" fmla="*/ 128185 h 131288"/>
                <a:gd name="connsiteX2" fmla="*/ 3063 w 131084"/>
                <a:gd name="connsiteY2" fmla="*/ 17927 h 131288"/>
                <a:gd name="connsiteX3" fmla="*/ 3063 w 131084"/>
                <a:gd name="connsiteY3" fmla="*/ 3063 h 131288"/>
                <a:gd name="connsiteX4" fmla="*/ 17927 w 131084"/>
                <a:gd name="connsiteY4" fmla="*/ 3063 h 131288"/>
                <a:gd name="connsiteX5" fmla="*/ 128021 w 131084"/>
                <a:gd name="connsiteY5" fmla="*/ 113320 h 131288"/>
                <a:gd name="connsiteX6" fmla="*/ 128021 w 131084"/>
                <a:gd name="connsiteY6" fmla="*/ 128185 h 131288"/>
                <a:gd name="connsiteX7" fmla="*/ 120671 w 131084"/>
                <a:gd name="connsiteY7" fmla="*/ 131288 h 13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084" h="131288">
                  <a:moveTo>
                    <a:pt x="120671" y="131288"/>
                  </a:moveTo>
                  <a:cubicBezTo>
                    <a:pt x="118057" y="131288"/>
                    <a:pt x="115280" y="130308"/>
                    <a:pt x="113320" y="128185"/>
                  </a:cubicBezTo>
                  <a:lnTo>
                    <a:pt x="3063" y="17927"/>
                  </a:lnTo>
                  <a:cubicBezTo>
                    <a:pt x="-1021" y="13843"/>
                    <a:pt x="-1021" y="7146"/>
                    <a:pt x="3063" y="3063"/>
                  </a:cubicBezTo>
                  <a:cubicBezTo>
                    <a:pt x="7146" y="-1021"/>
                    <a:pt x="13843" y="-1021"/>
                    <a:pt x="17927" y="3063"/>
                  </a:cubicBezTo>
                  <a:lnTo>
                    <a:pt x="128021" y="113320"/>
                  </a:lnTo>
                  <a:cubicBezTo>
                    <a:pt x="132105" y="117404"/>
                    <a:pt x="132105" y="124101"/>
                    <a:pt x="128021" y="128185"/>
                  </a:cubicBezTo>
                  <a:cubicBezTo>
                    <a:pt x="125898" y="130145"/>
                    <a:pt x="123284" y="131288"/>
                    <a:pt x="120671" y="131288"/>
                  </a:cubicBezTo>
                </a:path>
              </a:pathLst>
            </a:custGeom>
            <a:solidFill>
              <a:srgbClr val="FFFFFF"/>
            </a:solidFill>
            <a:ln w="16329" cap="flat">
              <a:noFill/>
              <a:prstDash val="solid"/>
              <a:miter/>
            </a:ln>
          </p:spPr>
          <p:txBody>
            <a:bodyPr rtlCol="0" anchor="ctr"/>
            <a:lstStyle/>
            <a:p>
              <a:endParaRPr lang="en-DK"/>
            </a:p>
          </p:txBody>
        </p:sp>
        <p:sp>
          <p:nvSpPr>
            <p:cNvPr id="151" name="Freeform 150">
              <a:extLst>
                <a:ext uri="{FF2B5EF4-FFF2-40B4-BE49-F238E27FC236}">
                  <a16:creationId xmlns:a16="http://schemas.microsoft.com/office/drawing/2014/main" id="{1D8856FF-1BAE-050C-C923-7F2883DF4D7C}"/>
                </a:ext>
              </a:extLst>
            </p:cNvPr>
            <p:cNvSpPr/>
            <p:nvPr/>
          </p:nvSpPr>
          <p:spPr>
            <a:xfrm>
              <a:off x="4455955" y="4092321"/>
              <a:ext cx="158159" cy="146725"/>
            </a:xfrm>
            <a:custGeom>
              <a:avLst/>
              <a:gdLst>
                <a:gd name="connsiteX0" fmla="*/ 18785 w 158159"/>
                <a:gd name="connsiteY0" fmla="*/ 73383 h 146725"/>
                <a:gd name="connsiteX1" fmla="*/ 18785 w 158159"/>
                <a:gd name="connsiteY1" fmla="*/ 73383 h 146725"/>
                <a:gd name="connsiteX2" fmla="*/ 18785 w 158159"/>
                <a:gd name="connsiteY2" fmla="*/ 73383 h 146725"/>
                <a:gd name="connsiteX3" fmla="*/ 77752 w 158159"/>
                <a:gd name="connsiteY3" fmla="*/ 146725 h 146725"/>
                <a:gd name="connsiteX4" fmla="*/ 70402 w 158159"/>
                <a:gd name="connsiteY4" fmla="*/ 143622 h 146725"/>
                <a:gd name="connsiteX5" fmla="*/ 3920 w 158159"/>
                <a:gd name="connsiteY5" fmla="*/ 77140 h 146725"/>
                <a:gd name="connsiteX6" fmla="*/ 0 w 158159"/>
                <a:gd name="connsiteY6" fmla="*/ 67830 h 146725"/>
                <a:gd name="connsiteX7" fmla="*/ 3920 w 158159"/>
                <a:gd name="connsiteY7" fmla="*/ 58519 h 146725"/>
                <a:gd name="connsiteX8" fmla="*/ 27605 w 158159"/>
                <a:gd name="connsiteY8" fmla="*/ 34834 h 146725"/>
                <a:gd name="connsiteX9" fmla="*/ 61091 w 158159"/>
                <a:gd name="connsiteY9" fmla="*/ 16866 h 146725"/>
                <a:gd name="connsiteX10" fmla="*/ 145540 w 158159"/>
                <a:gd name="connsiteY10" fmla="*/ 205 h 146725"/>
                <a:gd name="connsiteX11" fmla="*/ 157954 w 158159"/>
                <a:gd name="connsiteY11" fmla="*/ 8536 h 146725"/>
                <a:gd name="connsiteX12" fmla="*/ 149624 w 158159"/>
                <a:gd name="connsiteY12" fmla="*/ 20950 h 146725"/>
                <a:gd name="connsiteX13" fmla="*/ 65174 w 158159"/>
                <a:gd name="connsiteY13" fmla="*/ 37611 h 146725"/>
                <a:gd name="connsiteX14" fmla="*/ 42470 w 158159"/>
                <a:gd name="connsiteY14" fmla="*/ 49698 h 146725"/>
                <a:gd name="connsiteX15" fmla="*/ 24338 w 158159"/>
                <a:gd name="connsiteY15" fmla="*/ 67830 h 146725"/>
                <a:gd name="connsiteX16" fmla="*/ 85266 w 158159"/>
                <a:gd name="connsiteY16" fmla="*/ 128757 h 146725"/>
                <a:gd name="connsiteX17" fmla="*/ 85266 w 158159"/>
                <a:gd name="connsiteY17" fmla="*/ 143622 h 146725"/>
                <a:gd name="connsiteX18" fmla="*/ 77915 w 158159"/>
                <a:gd name="connsiteY18" fmla="*/ 146725 h 14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59" h="146725">
                  <a:moveTo>
                    <a:pt x="18785" y="73383"/>
                  </a:moveTo>
                  <a:lnTo>
                    <a:pt x="18785" y="73383"/>
                  </a:lnTo>
                  <a:cubicBezTo>
                    <a:pt x="18785" y="73383"/>
                    <a:pt x="18785" y="73383"/>
                    <a:pt x="18785" y="73383"/>
                  </a:cubicBezTo>
                  <a:moveTo>
                    <a:pt x="77752" y="146725"/>
                  </a:moveTo>
                  <a:cubicBezTo>
                    <a:pt x="75139" y="146725"/>
                    <a:pt x="72362" y="145745"/>
                    <a:pt x="70402" y="143622"/>
                  </a:cubicBezTo>
                  <a:lnTo>
                    <a:pt x="3920" y="77140"/>
                  </a:lnTo>
                  <a:cubicBezTo>
                    <a:pt x="1470" y="74690"/>
                    <a:pt x="0" y="71260"/>
                    <a:pt x="0" y="67830"/>
                  </a:cubicBezTo>
                  <a:cubicBezTo>
                    <a:pt x="0" y="64399"/>
                    <a:pt x="1470" y="60969"/>
                    <a:pt x="3920" y="58519"/>
                  </a:cubicBezTo>
                  <a:lnTo>
                    <a:pt x="27605" y="34834"/>
                  </a:lnTo>
                  <a:cubicBezTo>
                    <a:pt x="36753" y="25687"/>
                    <a:pt x="48350" y="19480"/>
                    <a:pt x="61091" y="16866"/>
                  </a:cubicBezTo>
                  <a:lnTo>
                    <a:pt x="145540" y="205"/>
                  </a:lnTo>
                  <a:cubicBezTo>
                    <a:pt x="151257" y="-938"/>
                    <a:pt x="156811" y="2819"/>
                    <a:pt x="157954" y="8536"/>
                  </a:cubicBezTo>
                  <a:cubicBezTo>
                    <a:pt x="159098" y="14253"/>
                    <a:pt x="155341" y="19806"/>
                    <a:pt x="149624" y="20950"/>
                  </a:cubicBezTo>
                  <a:lnTo>
                    <a:pt x="65174" y="37611"/>
                  </a:lnTo>
                  <a:cubicBezTo>
                    <a:pt x="56517" y="39244"/>
                    <a:pt x="48677" y="43491"/>
                    <a:pt x="42470" y="49698"/>
                  </a:cubicBezTo>
                  <a:lnTo>
                    <a:pt x="24338" y="67830"/>
                  </a:lnTo>
                  <a:lnTo>
                    <a:pt x="85266" y="128757"/>
                  </a:lnTo>
                  <a:cubicBezTo>
                    <a:pt x="89349" y="132841"/>
                    <a:pt x="89349" y="139538"/>
                    <a:pt x="85266" y="143622"/>
                  </a:cubicBezTo>
                  <a:cubicBezTo>
                    <a:pt x="83142" y="145582"/>
                    <a:pt x="80529" y="146725"/>
                    <a:pt x="77915" y="146725"/>
                  </a:cubicBezTo>
                </a:path>
              </a:pathLst>
            </a:custGeom>
            <a:solidFill>
              <a:srgbClr val="FFFFFF"/>
            </a:solidFill>
            <a:ln w="16329" cap="flat">
              <a:noFill/>
              <a:prstDash val="solid"/>
              <a:miter/>
            </a:ln>
          </p:spPr>
          <p:txBody>
            <a:bodyPr rtlCol="0" anchor="ctr"/>
            <a:lstStyle/>
            <a:p>
              <a:endParaRPr lang="en-DK"/>
            </a:p>
          </p:txBody>
        </p:sp>
        <p:sp>
          <p:nvSpPr>
            <p:cNvPr id="152" name="Freeform 151">
              <a:extLst>
                <a:ext uri="{FF2B5EF4-FFF2-40B4-BE49-F238E27FC236}">
                  <a16:creationId xmlns:a16="http://schemas.microsoft.com/office/drawing/2014/main" id="{2A0E8E88-4E73-824D-9433-387D074ECCFA}"/>
                </a:ext>
              </a:extLst>
            </p:cNvPr>
            <p:cNvSpPr/>
            <p:nvPr/>
          </p:nvSpPr>
          <p:spPr>
            <a:xfrm>
              <a:off x="4703462" y="4328725"/>
              <a:ext cx="146684" cy="157951"/>
            </a:xfrm>
            <a:custGeom>
              <a:avLst/>
              <a:gdLst>
                <a:gd name="connsiteX0" fmla="*/ 78855 w 146684"/>
                <a:gd name="connsiteY0" fmla="*/ 157952 h 157951"/>
                <a:gd name="connsiteX1" fmla="*/ 69544 w 146684"/>
                <a:gd name="connsiteY1" fmla="*/ 154195 h 157951"/>
                <a:gd name="connsiteX2" fmla="*/ 3063 w 146684"/>
                <a:gd name="connsiteY2" fmla="*/ 87713 h 157951"/>
                <a:gd name="connsiteX3" fmla="*/ 3063 w 146684"/>
                <a:gd name="connsiteY3" fmla="*/ 72849 h 157951"/>
                <a:gd name="connsiteX4" fmla="*/ 17927 w 146684"/>
                <a:gd name="connsiteY4" fmla="*/ 72849 h 157951"/>
                <a:gd name="connsiteX5" fmla="*/ 78855 w 146684"/>
                <a:gd name="connsiteY5" fmla="*/ 133777 h 157951"/>
                <a:gd name="connsiteX6" fmla="*/ 96986 w 146684"/>
                <a:gd name="connsiteY6" fmla="*/ 115645 h 157951"/>
                <a:gd name="connsiteX7" fmla="*/ 109073 w 146684"/>
                <a:gd name="connsiteY7" fmla="*/ 92940 h 157951"/>
                <a:gd name="connsiteX8" fmla="*/ 125734 w 146684"/>
                <a:gd name="connsiteY8" fmla="*/ 8491 h 157951"/>
                <a:gd name="connsiteX9" fmla="*/ 138149 w 146684"/>
                <a:gd name="connsiteY9" fmla="*/ 161 h 157951"/>
                <a:gd name="connsiteX10" fmla="*/ 146479 w 146684"/>
                <a:gd name="connsiteY10" fmla="*/ 12575 h 157951"/>
                <a:gd name="connsiteX11" fmla="*/ 129818 w 146684"/>
                <a:gd name="connsiteY11" fmla="*/ 97024 h 157951"/>
                <a:gd name="connsiteX12" fmla="*/ 111850 w 146684"/>
                <a:gd name="connsiteY12" fmla="*/ 130510 h 157951"/>
                <a:gd name="connsiteX13" fmla="*/ 88165 w 146684"/>
                <a:gd name="connsiteY13" fmla="*/ 154195 h 157951"/>
                <a:gd name="connsiteX14" fmla="*/ 78855 w 146684"/>
                <a:gd name="connsiteY14" fmla="*/ 157952 h 15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6684" h="157951">
                  <a:moveTo>
                    <a:pt x="78855" y="157952"/>
                  </a:moveTo>
                  <a:cubicBezTo>
                    <a:pt x="75588" y="157952"/>
                    <a:pt x="72157" y="156645"/>
                    <a:pt x="69544" y="154195"/>
                  </a:cubicBezTo>
                  <a:lnTo>
                    <a:pt x="3063" y="87713"/>
                  </a:lnTo>
                  <a:cubicBezTo>
                    <a:pt x="-1021" y="83630"/>
                    <a:pt x="-1021" y="76933"/>
                    <a:pt x="3063" y="72849"/>
                  </a:cubicBezTo>
                  <a:cubicBezTo>
                    <a:pt x="7146" y="68765"/>
                    <a:pt x="13843" y="68765"/>
                    <a:pt x="17927" y="72849"/>
                  </a:cubicBezTo>
                  <a:lnTo>
                    <a:pt x="78855" y="133777"/>
                  </a:lnTo>
                  <a:lnTo>
                    <a:pt x="96986" y="115645"/>
                  </a:lnTo>
                  <a:cubicBezTo>
                    <a:pt x="103193" y="109438"/>
                    <a:pt x="107440" y="101598"/>
                    <a:pt x="109073" y="92940"/>
                  </a:cubicBezTo>
                  <a:lnTo>
                    <a:pt x="125734" y="8491"/>
                  </a:lnTo>
                  <a:cubicBezTo>
                    <a:pt x="126878" y="2774"/>
                    <a:pt x="132432" y="-819"/>
                    <a:pt x="138149" y="161"/>
                  </a:cubicBezTo>
                  <a:cubicBezTo>
                    <a:pt x="143866" y="1304"/>
                    <a:pt x="147623" y="6858"/>
                    <a:pt x="146479" y="12575"/>
                  </a:cubicBezTo>
                  <a:lnTo>
                    <a:pt x="129818" y="97024"/>
                  </a:lnTo>
                  <a:cubicBezTo>
                    <a:pt x="127205" y="109765"/>
                    <a:pt x="121161" y="121362"/>
                    <a:pt x="111850" y="130510"/>
                  </a:cubicBezTo>
                  <a:lnTo>
                    <a:pt x="88165" y="154195"/>
                  </a:lnTo>
                  <a:cubicBezTo>
                    <a:pt x="85552" y="156808"/>
                    <a:pt x="82285" y="157952"/>
                    <a:pt x="78855" y="157952"/>
                  </a:cubicBezTo>
                </a:path>
              </a:pathLst>
            </a:custGeom>
            <a:solidFill>
              <a:srgbClr val="FFFFFF"/>
            </a:solidFill>
            <a:ln w="16329" cap="flat">
              <a:noFill/>
              <a:prstDash val="solid"/>
              <a:miter/>
            </a:ln>
          </p:spPr>
          <p:txBody>
            <a:bodyPr rtlCol="0" anchor="ctr"/>
            <a:lstStyle/>
            <a:p>
              <a:endParaRPr lang="en-DK"/>
            </a:p>
          </p:txBody>
        </p:sp>
        <p:sp>
          <p:nvSpPr>
            <p:cNvPr id="153" name="Freeform 152">
              <a:extLst>
                <a:ext uri="{FF2B5EF4-FFF2-40B4-BE49-F238E27FC236}">
                  <a16:creationId xmlns:a16="http://schemas.microsoft.com/office/drawing/2014/main" id="{A2BC442B-E04B-7FC6-2533-F386EF66F6C7}"/>
                </a:ext>
              </a:extLst>
            </p:cNvPr>
            <p:cNvSpPr/>
            <p:nvPr/>
          </p:nvSpPr>
          <p:spPr>
            <a:xfrm>
              <a:off x="4523019" y="3908292"/>
              <a:ext cx="511320" cy="511250"/>
            </a:xfrm>
            <a:custGeom>
              <a:avLst/>
              <a:gdLst>
                <a:gd name="connsiteX0" fmla="*/ 21795 w 511320"/>
                <a:gd name="connsiteY0" fmla="*/ 414060 h 511250"/>
                <a:gd name="connsiteX1" fmla="*/ 97260 w 511320"/>
                <a:gd name="connsiteY1" fmla="*/ 489525 h 511250"/>
                <a:gd name="connsiteX2" fmla="*/ 156718 w 511320"/>
                <a:gd name="connsiteY2" fmla="*/ 462247 h 511250"/>
                <a:gd name="connsiteX3" fmla="*/ 490267 w 511320"/>
                <a:gd name="connsiteY3" fmla="*/ 21216 h 511250"/>
                <a:gd name="connsiteX4" fmla="*/ 49074 w 511320"/>
                <a:gd name="connsiteY4" fmla="*/ 354603 h 511250"/>
                <a:gd name="connsiteX5" fmla="*/ 21795 w 511320"/>
                <a:gd name="connsiteY5" fmla="*/ 413897 h 511250"/>
                <a:gd name="connsiteX6" fmla="*/ 96607 w 511320"/>
                <a:gd name="connsiteY6" fmla="*/ 511250 h 511250"/>
                <a:gd name="connsiteX7" fmla="*/ 84029 w 511320"/>
                <a:gd name="connsiteY7" fmla="*/ 506023 h 511250"/>
                <a:gd name="connsiteX8" fmla="*/ 5134 w 511320"/>
                <a:gd name="connsiteY8" fmla="*/ 427128 h 511250"/>
                <a:gd name="connsiteX9" fmla="*/ 1540 w 511320"/>
                <a:gd name="connsiteY9" fmla="*/ 407363 h 511250"/>
                <a:gd name="connsiteX10" fmla="*/ 29962 w 511320"/>
                <a:gd name="connsiteY10" fmla="*/ 345619 h 511250"/>
                <a:gd name="connsiteX11" fmla="*/ 497455 w 511320"/>
                <a:gd name="connsiteY11" fmla="*/ 145 h 511250"/>
                <a:gd name="connsiteX12" fmla="*/ 511176 w 511320"/>
                <a:gd name="connsiteY12" fmla="*/ 13866 h 511250"/>
                <a:gd name="connsiteX13" fmla="*/ 165538 w 511320"/>
                <a:gd name="connsiteY13" fmla="*/ 481195 h 511250"/>
                <a:gd name="connsiteX14" fmla="*/ 103794 w 511320"/>
                <a:gd name="connsiteY14" fmla="*/ 509617 h 511250"/>
                <a:gd name="connsiteX15" fmla="*/ 96444 w 511320"/>
                <a:gd name="connsiteY15" fmla="*/ 511250 h 51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1320" h="511250">
                  <a:moveTo>
                    <a:pt x="21795" y="414060"/>
                  </a:moveTo>
                  <a:lnTo>
                    <a:pt x="97260" y="489525"/>
                  </a:lnTo>
                  <a:lnTo>
                    <a:pt x="156718" y="462247"/>
                  </a:lnTo>
                  <a:cubicBezTo>
                    <a:pt x="392097" y="350192"/>
                    <a:pt x="492391" y="218047"/>
                    <a:pt x="490267" y="21216"/>
                  </a:cubicBezTo>
                  <a:cubicBezTo>
                    <a:pt x="293274" y="18930"/>
                    <a:pt x="161291" y="119223"/>
                    <a:pt x="49074" y="354603"/>
                  </a:cubicBezTo>
                  <a:lnTo>
                    <a:pt x="21795" y="413897"/>
                  </a:lnTo>
                  <a:close/>
                  <a:moveTo>
                    <a:pt x="96607" y="511250"/>
                  </a:moveTo>
                  <a:cubicBezTo>
                    <a:pt x="92033" y="511250"/>
                    <a:pt x="87460" y="509453"/>
                    <a:pt x="84029" y="506023"/>
                  </a:cubicBezTo>
                  <a:lnTo>
                    <a:pt x="5134" y="427128"/>
                  </a:lnTo>
                  <a:cubicBezTo>
                    <a:pt x="-93" y="421901"/>
                    <a:pt x="-1400" y="413897"/>
                    <a:pt x="1540" y="407363"/>
                  </a:cubicBezTo>
                  <a:lnTo>
                    <a:pt x="29962" y="345619"/>
                  </a:lnTo>
                  <a:cubicBezTo>
                    <a:pt x="147571" y="98968"/>
                    <a:pt x="287067" y="-4429"/>
                    <a:pt x="497455" y="145"/>
                  </a:cubicBezTo>
                  <a:cubicBezTo>
                    <a:pt x="504805" y="308"/>
                    <a:pt x="511012" y="6515"/>
                    <a:pt x="511176" y="13866"/>
                  </a:cubicBezTo>
                  <a:cubicBezTo>
                    <a:pt x="515749" y="223927"/>
                    <a:pt x="412515" y="363750"/>
                    <a:pt x="165538" y="481195"/>
                  </a:cubicBezTo>
                  <a:lnTo>
                    <a:pt x="103794" y="509617"/>
                  </a:lnTo>
                  <a:cubicBezTo>
                    <a:pt x="101507" y="510760"/>
                    <a:pt x="98894" y="511250"/>
                    <a:pt x="96444" y="511250"/>
                  </a:cubicBezTo>
                </a:path>
              </a:pathLst>
            </a:custGeom>
            <a:solidFill>
              <a:srgbClr val="FFFFFF"/>
            </a:solidFill>
            <a:ln w="16329" cap="flat">
              <a:noFill/>
              <a:prstDash val="solid"/>
              <a:miter/>
            </a:ln>
          </p:spPr>
          <p:txBody>
            <a:bodyPr rtlCol="0" anchor="ctr"/>
            <a:lstStyle/>
            <a:p>
              <a:endParaRPr lang="en-DK"/>
            </a:p>
          </p:txBody>
        </p:sp>
        <p:sp>
          <p:nvSpPr>
            <p:cNvPr id="154" name="Freeform 153">
              <a:extLst>
                <a:ext uri="{FF2B5EF4-FFF2-40B4-BE49-F238E27FC236}">
                  <a16:creationId xmlns:a16="http://schemas.microsoft.com/office/drawing/2014/main" id="{1B26E691-75CF-5006-A649-6AAB38AFE33C}"/>
                </a:ext>
              </a:extLst>
            </p:cNvPr>
            <p:cNvSpPr/>
            <p:nvPr/>
          </p:nvSpPr>
          <p:spPr>
            <a:xfrm>
              <a:off x="4484581" y="4386587"/>
              <a:ext cx="71299" cy="71340"/>
            </a:xfrm>
            <a:custGeom>
              <a:avLst/>
              <a:gdLst>
                <a:gd name="connsiteX0" fmla="*/ 10577 w 71299"/>
                <a:gd name="connsiteY0" fmla="*/ 71341 h 71340"/>
                <a:gd name="connsiteX1" fmla="*/ 3063 w 71299"/>
                <a:gd name="connsiteY1" fmla="*/ 68237 h 71340"/>
                <a:gd name="connsiteX2" fmla="*/ 3063 w 71299"/>
                <a:gd name="connsiteY2" fmla="*/ 53373 h 71340"/>
                <a:gd name="connsiteX3" fmla="*/ 53373 w 71299"/>
                <a:gd name="connsiteY3" fmla="*/ 3063 h 71340"/>
                <a:gd name="connsiteX4" fmla="*/ 68237 w 71299"/>
                <a:gd name="connsiteY4" fmla="*/ 3063 h 71340"/>
                <a:gd name="connsiteX5" fmla="*/ 68237 w 71299"/>
                <a:gd name="connsiteY5" fmla="*/ 17927 h 71340"/>
                <a:gd name="connsiteX6" fmla="*/ 17927 w 71299"/>
                <a:gd name="connsiteY6" fmla="*/ 68237 h 71340"/>
                <a:gd name="connsiteX7" fmla="*/ 10577 w 71299"/>
                <a:gd name="connsiteY7" fmla="*/ 71341 h 7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99" h="71340">
                  <a:moveTo>
                    <a:pt x="10577" y="71341"/>
                  </a:moveTo>
                  <a:cubicBezTo>
                    <a:pt x="7963" y="71341"/>
                    <a:pt x="5186" y="70361"/>
                    <a:pt x="3063" y="68237"/>
                  </a:cubicBezTo>
                  <a:cubicBezTo>
                    <a:pt x="-1021" y="64154"/>
                    <a:pt x="-1021" y="57456"/>
                    <a:pt x="3063" y="53373"/>
                  </a:cubicBezTo>
                  <a:lnTo>
                    <a:pt x="53373" y="3063"/>
                  </a:lnTo>
                  <a:cubicBezTo>
                    <a:pt x="57456" y="-1021"/>
                    <a:pt x="64154" y="-1021"/>
                    <a:pt x="68237" y="3063"/>
                  </a:cubicBezTo>
                  <a:cubicBezTo>
                    <a:pt x="72321" y="7146"/>
                    <a:pt x="72321" y="13843"/>
                    <a:pt x="68237" y="17927"/>
                  </a:cubicBezTo>
                  <a:lnTo>
                    <a:pt x="17927" y="68237"/>
                  </a:lnTo>
                  <a:cubicBezTo>
                    <a:pt x="15804" y="70361"/>
                    <a:pt x="13190" y="71341"/>
                    <a:pt x="10577" y="71341"/>
                  </a:cubicBezTo>
                </a:path>
              </a:pathLst>
            </a:custGeom>
            <a:solidFill>
              <a:srgbClr val="FFFFFF"/>
            </a:solidFill>
            <a:ln w="16329" cap="flat">
              <a:noFill/>
              <a:prstDash val="solid"/>
              <a:miter/>
            </a:ln>
          </p:spPr>
          <p:txBody>
            <a:bodyPr rtlCol="0" anchor="ctr"/>
            <a:lstStyle/>
            <a:p>
              <a:endParaRPr lang="en-DK"/>
            </a:p>
          </p:txBody>
        </p:sp>
        <p:sp>
          <p:nvSpPr>
            <p:cNvPr id="155" name="Freeform 154">
              <a:extLst>
                <a:ext uri="{FF2B5EF4-FFF2-40B4-BE49-F238E27FC236}">
                  <a16:creationId xmlns:a16="http://schemas.microsoft.com/office/drawing/2014/main" id="{5F3500BD-6095-F3DE-B8B5-58A03C72E741}"/>
                </a:ext>
              </a:extLst>
            </p:cNvPr>
            <p:cNvSpPr/>
            <p:nvPr/>
          </p:nvSpPr>
          <p:spPr>
            <a:xfrm>
              <a:off x="4464653" y="4346894"/>
              <a:ext cx="51371" cy="51412"/>
            </a:xfrm>
            <a:custGeom>
              <a:avLst/>
              <a:gdLst>
                <a:gd name="connsiteX0" fmla="*/ 10577 w 51371"/>
                <a:gd name="connsiteY0" fmla="*/ 51413 h 51412"/>
                <a:gd name="connsiteX1" fmla="*/ 3063 w 51371"/>
                <a:gd name="connsiteY1" fmla="*/ 48309 h 51412"/>
                <a:gd name="connsiteX2" fmla="*/ 3063 w 51371"/>
                <a:gd name="connsiteY2" fmla="*/ 33445 h 51412"/>
                <a:gd name="connsiteX3" fmla="*/ 33445 w 51371"/>
                <a:gd name="connsiteY3" fmla="*/ 3063 h 51412"/>
                <a:gd name="connsiteX4" fmla="*/ 48309 w 51371"/>
                <a:gd name="connsiteY4" fmla="*/ 3063 h 51412"/>
                <a:gd name="connsiteX5" fmla="*/ 48309 w 51371"/>
                <a:gd name="connsiteY5" fmla="*/ 17927 h 51412"/>
                <a:gd name="connsiteX6" fmla="*/ 17927 w 51371"/>
                <a:gd name="connsiteY6" fmla="*/ 48309 h 51412"/>
                <a:gd name="connsiteX7" fmla="*/ 10413 w 51371"/>
                <a:gd name="connsiteY7" fmla="*/ 51413 h 5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371" h="51412">
                  <a:moveTo>
                    <a:pt x="10577" y="51413"/>
                  </a:moveTo>
                  <a:cubicBezTo>
                    <a:pt x="7963" y="51413"/>
                    <a:pt x="5186" y="50433"/>
                    <a:pt x="3063" y="48309"/>
                  </a:cubicBezTo>
                  <a:cubicBezTo>
                    <a:pt x="-1021" y="44226"/>
                    <a:pt x="-1021" y="37528"/>
                    <a:pt x="3063" y="33445"/>
                  </a:cubicBezTo>
                  <a:lnTo>
                    <a:pt x="33445" y="3063"/>
                  </a:lnTo>
                  <a:cubicBezTo>
                    <a:pt x="37528" y="-1021"/>
                    <a:pt x="44226" y="-1021"/>
                    <a:pt x="48309" y="3063"/>
                  </a:cubicBezTo>
                  <a:cubicBezTo>
                    <a:pt x="52393" y="7146"/>
                    <a:pt x="52393" y="13843"/>
                    <a:pt x="48309" y="17927"/>
                  </a:cubicBezTo>
                  <a:lnTo>
                    <a:pt x="17927" y="48309"/>
                  </a:lnTo>
                  <a:cubicBezTo>
                    <a:pt x="15804" y="50269"/>
                    <a:pt x="13190" y="51413"/>
                    <a:pt x="10413" y="51413"/>
                  </a:cubicBezTo>
                </a:path>
              </a:pathLst>
            </a:custGeom>
            <a:solidFill>
              <a:srgbClr val="FFFFFF"/>
            </a:solidFill>
            <a:ln w="16329" cap="flat">
              <a:noFill/>
              <a:prstDash val="solid"/>
              <a:miter/>
            </a:ln>
          </p:spPr>
          <p:txBody>
            <a:bodyPr rtlCol="0" anchor="ctr"/>
            <a:lstStyle/>
            <a:p>
              <a:endParaRPr lang="en-DK"/>
            </a:p>
          </p:txBody>
        </p:sp>
        <p:sp>
          <p:nvSpPr>
            <p:cNvPr id="156" name="Freeform 155">
              <a:extLst>
                <a:ext uri="{FF2B5EF4-FFF2-40B4-BE49-F238E27FC236}">
                  <a16:creationId xmlns:a16="http://schemas.microsoft.com/office/drawing/2014/main" id="{F1F66457-643B-5A6D-167A-C45D855437ED}"/>
                </a:ext>
              </a:extLst>
            </p:cNvPr>
            <p:cNvSpPr/>
            <p:nvPr/>
          </p:nvSpPr>
          <p:spPr>
            <a:xfrm>
              <a:off x="4544365" y="4426443"/>
              <a:ext cx="51371" cy="51412"/>
            </a:xfrm>
            <a:custGeom>
              <a:avLst/>
              <a:gdLst>
                <a:gd name="connsiteX0" fmla="*/ 10413 w 51371"/>
                <a:gd name="connsiteY0" fmla="*/ 51413 h 51412"/>
                <a:gd name="connsiteX1" fmla="*/ 3063 w 51371"/>
                <a:gd name="connsiteY1" fmla="*/ 48309 h 51412"/>
                <a:gd name="connsiteX2" fmla="*/ 3063 w 51371"/>
                <a:gd name="connsiteY2" fmla="*/ 33445 h 51412"/>
                <a:gd name="connsiteX3" fmla="*/ 33445 w 51371"/>
                <a:gd name="connsiteY3" fmla="*/ 3063 h 51412"/>
                <a:gd name="connsiteX4" fmla="*/ 48309 w 51371"/>
                <a:gd name="connsiteY4" fmla="*/ 3063 h 51412"/>
                <a:gd name="connsiteX5" fmla="*/ 48309 w 51371"/>
                <a:gd name="connsiteY5" fmla="*/ 17927 h 51412"/>
                <a:gd name="connsiteX6" fmla="*/ 17927 w 51371"/>
                <a:gd name="connsiteY6" fmla="*/ 48309 h 51412"/>
                <a:gd name="connsiteX7" fmla="*/ 10577 w 51371"/>
                <a:gd name="connsiteY7" fmla="*/ 51413 h 5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371" h="51412">
                  <a:moveTo>
                    <a:pt x="10413" y="51413"/>
                  </a:moveTo>
                  <a:cubicBezTo>
                    <a:pt x="7800" y="51413"/>
                    <a:pt x="5023" y="50433"/>
                    <a:pt x="3063" y="48309"/>
                  </a:cubicBezTo>
                  <a:cubicBezTo>
                    <a:pt x="-1021" y="44226"/>
                    <a:pt x="-1021" y="37528"/>
                    <a:pt x="3063" y="33445"/>
                  </a:cubicBezTo>
                  <a:lnTo>
                    <a:pt x="33445" y="3063"/>
                  </a:lnTo>
                  <a:cubicBezTo>
                    <a:pt x="37528" y="-1021"/>
                    <a:pt x="44226" y="-1021"/>
                    <a:pt x="48309" y="3063"/>
                  </a:cubicBezTo>
                  <a:cubicBezTo>
                    <a:pt x="52393" y="7146"/>
                    <a:pt x="52393" y="13843"/>
                    <a:pt x="48309" y="17927"/>
                  </a:cubicBezTo>
                  <a:lnTo>
                    <a:pt x="17927" y="48309"/>
                  </a:lnTo>
                  <a:cubicBezTo>
                    <a:pt x="15804" y="50269"/>
                    <a:pt x="13190" y="51413"/>
                    <a:pt x="10577" y="51413"/>
                  </a:cubicBezTo>
                </a:path>
              </a:pathLst>
            </a:custGeom>
            <a:solidFill>
              <a:srgbClr val="FFFFFF"/>
            </a:solidFill>
            <a:ln w="16329" cap="flat">
              <a:noFill/>
              <a:prstDash val="solid"/>
              <a:miter/>
            </a:ln>
          </p:spPr>
          <p:txBody>
            <a:bodyPr rtlCol="0" anchor="ctr"/>
            <a:lstStyle/>
            <a:p>
              <a:endParaRPr lang="en-DK"/>
            </a:p>
          </p:txBody>
        </p:sp>
      </p:grpSp>
      <p:grpSp>
        <p:nvGrpSpPr>
          <p:cNvPr id="182" name="Group 181">
            <a:extLst>
              <a:ext uri="{FF2B5EF4-FFF2-40B4-BE49-F238E27FC236}">
                <a16:creationId xmlns:a16="http://schemas.microsoft.com/office/drawing/2014/main" id="{351962CC-A4C1-9909-AAE2-18B067B90917}"/>
              </a:ext>
            </a:extLst>
          </p:cNvPr>
          <p:cNvGrpSpPr/>
          <p:nvPr/>
        </p:nvGrpSpPr>
        <p:grpSpPr>
          <a:xfrm>
            <a:off x="4030433" y="4128251"/>
            <a:ext cx="1076998" cy="512936"/>
            <a:chOff x="4689355" y="4068390"/>
            <a:chExt cx="1157938" cy="551485"/>
          </a:xfrm>
        </p:grpSpPr>
        <p:sp>
          <p:nvSpPr>
            <p:cNvPr id="178" name="Freeform 177">
              <a:extLst>
                <a:ext uri="{FF2B5EF4-FFF2-40B4-BE49-F238E27FC236}">
                  <a16:creationId xmlns:a16="http://schemas.microsoft.com/office/drawing/2014/main" id="{FE19070A-D957-4EE8-828A-36CCF67A4378}"/>
                </a:ext>
              </a:extLst>
            </p:cNvPr>
            <p:cNvSpPr/>
            <p:nvPr/>
          </p:nvSpPr>
          <p:spPr>
            <a:xfrm>
              <a:off x="4689355" y="4068390"/>
              <a:ext cx="1157938" cy="551485"/>
            </a:xfrm>
            <a:custGeom>
              <a:avLst/>
              <a:gdLst>
                <a:gd name="connsiteX0" fmla="*/ 156430 w 1157938"/>
                <a:gd name="connsiteY0" fmla="*/ 319747 h 551485"/>
                <a:gd name="connsiteX1" fmla="*/ 160532 w 1157938"/>
                <a:gd name="connsiteY1" fmla="*/ 309097 h 551485"/>
                <a:gd name="connsiteX2" fmla="*/ 178630 w 1157938"/>
                <a:gd name="connsiteY2" fmla="*/ 288555 h 551485"/>
                <a:gd name="connsiteX3" fmla="*/ 209068 w 1157938"/>
                <a:gd name="connsiteY3" fmla="*/ 278008 h 551485"/>
                <a:gd name="connsiteX4" fmla="*/ 216134 w 1157938"/>
                <a:gd name="connsiteY4" fmla="*/ 277491 h 551485"/>
                <a:gd name="connsiteX5" fmla="*/ 216272 w 1157938"/>
                <a:gd name="connsiteY5" fmla="*/ 277491 h 551485"/>
                <a:gd name="connsiteX6" fmla="*/ 223614 w 1157938"/>
                <a:gd name="connsiteY6" fmla="*/ 278008 h 551485"/>
                <a:gd name="connsiteX7" fmla="*/ 254052 w 1157938"/>
                <a:gd name="connsiteY7" fmla="*/ 288555 h 551485"/>
                <a:gd name="connsiteX8" fmla="*/ 272046 w 1157938"/>
                <a:gd name="connsiteY8" fmla="*/ 309097 h 551485"/>
                <a:gd name="connsiteX9" fmla="*/ 276148 w 1157938"/>
                <a:gd name="connsiteY9" fmla="*/ 319747 h 551485"/>
                <a:gd name="connsiteX10" fmla="*/ 279113 w 1157938"/>
                <a:gd name="connsiteY10" fmla="*/ 333224 h 551485"/>
                <a:gd name="connsiteX11" fmla="*/ 279768 w 1157938"/>
                <a:gd name="connsiteY11" fmla="*/ 344253 h 551485"/>
                <a:gd name="connsiteX12" fmla="*/ 275528 w 1157938"/>
                <a:gd name="connsiteY12" fmla="*/ 371103 h 551485"/>
                <a:gd name="connsiteX13" fmla="*/ 263187 w 1157938"/>
                <a:gd name="connsiteY13" fmla="*/ 393575 h 551485"/>
                <a:gd name="connsiteX14" fmla="*/ 243401 w 1157938"/>
                <a:gd name="connsiteY14" fmla="*/ 409120 h 551485"/>
                <a:gd name="connsiteX15" fmla="*/ 217341 w 1157938"/>
                <a:gd name="connsiteY15" fmla="*/ 414910 h 551485"/>
                <a:gd name="connsiteX16" fmla="*/ 215410 w 1157938"/>
                <a:gd name="connsiteY16" fmla="*/ 414910 h 551485"/>
                <a:gd name="connsiteX17" fmla="*/ 189212 w 1157938"/>
                <a:gd name="connsiteY17" fmla="*/ 409120 h 551485"/>
                <a:gd name="connsiteX18" fmla="*/ 169426 w 1157938"/>
                <a:gd name="connsiteY18" fmla="*/ 393575 h 551485"/>
                <a:gd name="connsiteX19" fmla="*/ 157085 w 1157938"/>
                <a:gd name="connsiteY19" fmla="*/ 371103 h 551485"/>
                <a:gd name="connsiteX20" fmla="*/ 152845 w 1157938"/>
                <a:gd name="connsiteY20" fmla="*/ 344253 h 551485"/>
                <a:gd name="connsiteX21" fmla="*/ 153500 w 1157938"/>
                <a:gd name="connsiteY21" fmla="*/ 333224 h 551485"/>
                <a:gd name="connsiteX22" fmla="*/ 156465 w 1157938"/>
                <a:gd name="connsiteY22" fmla="*/ 319747 h 551485"/>
                <a:gd name="connsiteX23" fmla="*/ 1106800 w 1157938"/>
                <a:gd name="connsiteY23" fmla="*/ 358247 h 551485"/>
                <a:gd name="connsiteX24" fmla="*/ 1106800 w 1157938"/>
                <a:gd name="connsiteY24" fmla="*/ 415393 h 551485"/>
                <a:gd name="connsiteX25" fmla="*/ 1062987 w 1157938"/>
                <a:gd name="connsiteY25" fmla="*/ 417461 h 551485"/>
                <a:gd name="connsiteX26" fmla="*/ 1039857 w 1157938"/>
                <a:gd name="connsiteY26" fmla="*/ 415393 h 551485"/>
                <a:gd name="connsiteX27" fmla="*/ 1022001 w 1157938"/>
                <a:gd name="connsiteY27" fmla="*/ 406776 h 551485"/>
                <a:gd name="connsiteX28" fmla="*/ 1016348 w 1157938"/>
                <a:gd name="connsiteY28" fmla="*/ 397539 h 551485"/>
                <a:gd name="connsiteX29" fmla="*/ 1014279 w 1157938"/>
                <a:gd name="connsiteY29" fmla="*/ 386751 h 551485"/>
                <a:gd name="connsiteX30" fmla="*/ 1016348 w 1157938"/>
                <a:gd name="connsiteY30" fmla="*/ 376101 h 551485"/>
                <a:gd name="connsiteX31" fmla="*/ 1022001 w 1157938"/>
                <a:gd name="connsiteY31" fmla="*/ 366863 h 551485"/>
                <a:gd name="connsiteX32" fmla="*/ 1039857 w 1157938"/>
                <a:gd name="connsiteY32" fmla="*/ 358247 h 551485"/>
                <a:gd name="connsiteX33" fmla="*/ 1062987 w 1157938"/>
                <a:gd name="connsiteY33" fmla="*/ 356179 h 551485"/>
                <a:gd name="connsiteX34" fmla="*/ 1106800 w 1157938"/>
                <a:gd name="connsiteY34" fmla="*/ 358247 h 551485"/>
                <a:gd name="connsiteX35" fmla="*/ 1106800 w 1157938"/>
                <a:gd name="connsiteY35" fmla="*/ 326158 h 551485"/>
                <a:gd name="connsiteX36" fmla="*/ 1102836 w 1157938"/>
                <a:gd name="connsiteY36" fmla="*/ 325641 h 551485"/>
                <a:gd name="connsiteX37" fmla="*/ 1058506 w 1157938"/>
                <a:gd name="connsiteY37" fmla="*/ 323194 h 551485"/>
                <a:gd name="connsiteX38" fmla="*/ 1012004 w 1157938"/>
                <a:gd name="connsiteY38" fmla="*/ 327951 h 551485"/>
                <a:gd name="connsiteX39" fmla="*/ 978360 w 1157938"/>
                <a:gd name="connsiteY39" fmla="*/ 344632 h 551485"/>
                <a:gd name="connsiteX40" fmla="*/ 967812 w 1157938"/>
                <a:gd name="connsiteY40" fmla="*/ 363761 h 551485"/>
                <a:gd name="connsiteX41" fmla="*/ 963572 w 1157938"/>
                <a:gd name="connsiteY41" fmla="*/ 389853 h 551485"/>
                <a:gd name="connsiteX42" fmla="*/ 970260 w 1157938"/>
                <a:gd name="connsiteY42" fmla="*/ 420046 h 551485"/>
                <a:gd name="connsiteX43" fmla="*/ 976671 w 1157938"/>
                <a:gd name="connsiteY43" fmla="*/ 428800 h 551485"/>
                <a:gd name="connsiteX44" fmla="*/ 985013 w 1157938"/>
                <a:gd name="connsiteY44" fmla="*/ 436245 h 551485"/>
                <a:gd name="connsiteX45" fmla="*/ 1021898 w 1157938"/>
                <a:gd name="connsiteY45" fmla="*/ 448825 h 551485"/>
                <a:gd name="connsiteX46" fmla="*/ 1070571 w 1157938"/>
                <a:gd name="connsiteY46" fmla="*/ 452306 h 551485"/>
                <a:gd name="connsiteX47" fmla="*/ 1136480 w 1157938"/>
                <a:gd name="connsiteY47" fmla="*/ 448343 h 551485"/>
                <a:gd name="connsiteX48" fmla="*/ 1149062 w 1157938"/>
                <a:gd name="connsiteY48" fmla="*/ 444241 h 551485"/>
                <a:gd name="connsiteX49" fmla="*/ 1153440 w 1157938"/>
                <a:gd name="connsiteY49" fmla="*/ 440140 h 551485"/>
                <a:gd name="connsiteX50" fmla="*/ 1156128 w 1157938"/>
                <a:gd name="connsiteY50" fmla="*/ 435142 h 551485"/>
                <a:gd name="connsiteX51" fmla="*/ 1157921 w 1157938"/>
                <a:gd name="connsiteY51" fmla="*/ 418460 h 551485"/>
                <a:gd name="connsiteX52" fmla="*/ 1157921 w 1157938"/>
                <a:gd name="connsiteY52" fmla="*/ 339083 h 551485"/>
                <a:gd name="connsiteX53" fmla="*/ 1157404 w 1157938"/>
                <a:gd name="connsiteY53" fmla="*/ 319954 h 551485"/>
                <a:gd name="connsiteX54" fmla="*/ 1152888 w 1157938"/>
                <a:gd name="connsiteY54" fmla="*/ 295552 h 551485"/>
                <a:gd name="connsiteX55" fmla="*/ 1144546 w 1157938"/>
                <a:gd name="connsiteY55" fmla="*/ 277043 h 551485"/>
                <a:gd name="connsiteX56" fmla="*/ 1103422 w 1157938"/>
                <a:gd name="connsiteY56" fmla="*/ 247643 h 551485"/>
                <a:gd name="connsiteX57" fmla="*/ 1042511 w 1157938"/>
                <a:gd name="connsiteY57" fmla="*/ 238544 h 551485"/>
                <a:gd name="connsiteX58" fmla="*/ 1030963 w 1157938"/>
                <a:gd name="connsiteY58" fmla="*/ 238544 h 551485"/>
                <a:gd name="connsiteX59" fmla="*/ 980877 w 1157938"/>
                <a:gd name="connsiteY59" fmla="*/ 161097 h 551485"/>
                <a:gd name="connsiteX60" fmla="*/ 907143 w 1157938"/>
                <a:gd name="connsiteY60" fmla="*/ 98540 h 551485"/>
                <a:gd name="connsiteX61" fmla="*/ 812347 w 1157938"/>
                <a:gd name="connsiteY61" fmla="*/ 49977 h 551485"/>
                <a:gd name="connsiteX62" fmla="*/ 698903 w 1157938"/>
                <a:gd name="connsiteY62" fmla="*/ 17233 h 551485"/>
                <a:gd name="connsiteX63" fmla="*/ 569153 w 1157938"/>
                <a:gd name="connsiteY63" fmla="*/ 1034 h 551485"/>
                <a:gd name="connsiteX64" fmla="*/ 526133 w 1157938"/>
                <a:gd name="connsiteY64" fmla="*/ 0 h 551485"/>
                <a:gd name="connsiteX65" fmla="*/ 483113 w 1157938"/>
                <a:gd name="connsiteY65" fmla="*/ 1034 h 551485"/>
                <a:gd name="connsiteX66" fmla="*/ 295694 w 1157938"/>
                <a:gd name="connsiteY66" fmla="*/ 31365 h 551485"/>
                <a:gd name="connsiteX67" fmla="*/ 146813 w 1157938"/>
                <a:gd name="connsiteY67" fmla="*/ 97368 h 551485"/>
                <a:gd name="connsiteX68" fmla="*/ 44950 w 1157938"/>
                <a:gd name="connsiteY68" fmla="*/ 195254 h 551485"/>
                <a:gd name="connsiteX69" fmla="*/ 15029 w 1157938"/>
                <a:gd name="connsiteY69" fmla="*/ 254605 h 551485"/>
                <a:gd name="connsiteX70" fmla="*/ 1034 w 1157938"/>
                <a:gd name="connsiteY70" fmla="*/ 319334 h 551485"/>
                <a:gd name="connsiteX71" fmla="*/ 0 w 1157938"/>
                <a:gd name="connsiteY71" fmla="*/ 342323 h 551485"/>
                <a:gd name="connsiteX72" fmla="*/ 15029 w 1157938"/>
                <a:gd name="connsiteY72" fmla="*/ 424526 h 551485"/>
                <a:gd name="connsiteX73" fmla="*/ 45364 w 1157938"/>
                <a:gd name="connsiteY73" fmla="*/ 474882 h 551485"/>
                <a:gd name="connsiteX74" fmla="*/ 90073 w 1157938"/>
                <a:gd name="connsiteY74" fmla="*/ 513416 h 551485"/>
                <a:gd name="connsiteX75" fmla="*/ 176527 w 1157938"/>
                <a:gd name="connsiteY75" fmla="*/ 546435 h 551485"/>
                <a:gd name="connsiteX76" fmla="*/ 253363 w 1157938"/>
                <a:gd name="connsiteY76" fmla="*/ 548985 h 551485"/>
                <a:gd name="connsiteX77" fmla="*/ 313619 w 1157938"/>
                <a:gd name="connsiteY77" fmla="*/ 521378 h 551485"/>
                <a:gd name="connsiteX78" fmla="*/ 325304 w 1157938"/>
                <a:gd name="connsiteY78" fmla="*/ 503903 h 551485"/>
                <a:gd name="connsiteX79" fmla="*/ 330303 w 1157938"/>
                <a:gd name="connsiteY79" fmla="*/ 482568 h 551485"/>
                <a:gd name="connsiteX80" fmla="*/ 321444 w 1157938"/>
                <a:gd name="connsiteY80" fmla="*/ 447619 h 551485"/>
                <a:gd name="connsiteX81" fmla="*/ 297279 w 1157938"/>
                <a:gd name="connsiteY81" fmla="*/ 424492 h 551485"/>
                <a:gd name="connsiteX82" fmla="*/ 298451 w 1157938"/>
                <a:gd name="connsiteY82" fmla="*/ 423458 h 551485"/>
                <a:gd name="connsiteX83" fmla="*/ 321961 w 1157938"/>
                <a:gd name="connsiteY83" fmla="*/ 389680 h 551485"/>
                <a:gd name="connsiteX84" fmla="*/ 330441 w 1157938"/>
                <a:gd name="connsiteY84" fmla="*/ 346011 h 551485"/>
                <a:gd name="connsiteX85" fmla="*/ 330303 w 1157938"/>
                <a:gd name="connsiteY85" fmla="*/ 338704 h 551485"/>
                <a:gd name="connsiteX86" fmla="*/ 323753 w 1157938"/>
                <a:gd name="connsiteY86" fmla="*/ 306995 h 551485"/>
                <a:gd name="connsiteX87" fmla="*/ 308586 w 1157938"/>
                <a:gd name="connsiteY87" fmla="*/ 280145 h 551485"/>
                <a:gd name="connsiteX88" fmla="*/ 314997 w 1157938"/>
                <a:gd name="connsiteY88" fmla="*/ 280145 h 551485"/>
                <a:gd name="connsiteX89" fmla="*/ 328614 w 1157938"/>
                <a:gd name="connsiteY89" fmla="*/ 278491 h 551485"/>
                <a:gd name="connsiteX90" fmla="*/ 332578 w 1157938"/>
                <a:gd name="connsiteY90" fmla="*/ 276319 h 551485"/>
                <a:gd name="connsiteX91" fmla="*/ 335921 w 1157938"/>
                <a:gd name="connsiteY91" fmla="*/ 272838 h 551485"/>
                <a:gd name="connsiteX92" fmla="*/ 338231 w 1157938"/>
                <a:gd name="connsiteY92" fmla="*/ 267186 h 551485"/>
                <a:gd name="connsiteX93" fmla="*/ 339265 w 1157938"/>
                <a:gd name="connsiteY93" fmla="*/ 259362 h 551485"/>
                <a:gd name="connsiteX94" fmla="*/ 338231 w 1157938"/>
                <a:gd name="connsiteY94" fmla="*/ 251538 h 551485"/>
                <a:gd name="connsiteX95" fmla="*/ 335921 w 1157938"/>
                <a:gd name="connsiteY95" fmla="*/ 245747 h 551485"/>
                <a:gd name="connsiteX96" fmla="*/ 332578 w 1157938"/>
                <a:gd name="connsiteY96" fmla="*/ 242163 h 551485"/>
                <a:gd name="connsiteX97" fmla="*/ 328614 w 1157938"/>
                <a:gd name="connsiteY97" fmla="*/ 240095 h 551485"/>
                <a:gd name="connsiteX98" fmla="*/ 314997 w 1157938"/>
                <a:gd name="connsiteY98" fmla="*/ 238544 h 551485"/>
                <a:gd name="connsiteX99" fmla="*/ 216341 w 1157938"/>
                <a:gd name="connsiteY99" fmla="*/ 238544 h 551485"/>
                <a:gd name="connsiteX100" fmla="*/ 206827 w 1157938"/>
                <a:gd name="connsiteY100" fmla="*/ 238923 h 551485"/>
                <a:gd name="connsiteX101" fmla="*/ 165324 w 1157938"/>
                <a:gd name="connsiteY101" fmla="*/ 248677 h 551485"/>
                <a:gd name="connsiteX102" fmla="*/ 133093 w 1157938"/>
                <a:gd name="connsiteY102" fmla="*/ 270012 h 551485"/>
                <a:gd name="connsiteX103" fmla="*/ 111514 w 1157938"/>
                <a:gd name="connsiteY103" fmla="*/ 300722 h 551485"/>
                <a:gd name="connsiteX104" fmla="*/ 102517 w 1157938"/>
                <a:gd name="connsiteY104" fmla="*/ 338739 h 551485"/>
                <a:gd name="connsiteX105" fmla="*/ 102276 w 1157938"/>
                <a:gd name="connsiteY105" fmla="*/ 346046 h 551485"/>
                <a:gd name="connsiteX106" fmla="*/ 110756 w 1157938"/>
                <a:gd name="connsiteY106" fmla="*/ 389715 h 551485"/>
                <a:gd name="connsiteX107" fmla="*/ 134265 w 1157938"/>
                <a:gd name="connsiteY107" fmla="*/ 423492 h 551485"/>
                <a:gd name="connsiteX108" fmla="*/ 170219 w 1157938"/>
                <a:gd name="connsiteY108" fmla="*/ 445447 h 551485"/>
                <a:gd name="connsiteX109" fmla="*/ 215686 w 1157938"/>
                <a:gd name="connsiteY109" fmla="*/ 453271 h 551485"/>
                <a:gd name="connsiteX110" fmla="*/ 216961 w 1157938"/>
                <a:gd name="connsiteY110" fmla="*/ 453271 h 551485"/>
                <a:gd name="connsiteX111" fmla="*/ 254604 w 1157938"/>
                <a:gd name="connsiteY111" fmla="*/ 447998 h 551485"/>
                <a:gd name="connsiteX112" fmla="*/ 268599 w 1157938"/>
                <a:gd name="connsiteY112" fmla="*/ 458166 h 551485"/>
                <a:gd name="connsiteX113" fmla="*/ 274115 w 1157938"/>
                <a:gd name="connsiteY113" fmla="*/ 472021 h 551485"/>
                <a:gd name="connsiteX114" fmla="*/ 273873 w 1157938"/>
                <a:gd name="connsiteY114" fmla="*/ 475606 h 551485"/>
                <a:gd name="connsiteX115" fmla="*/ 273873 w 1157938"/>
                <a:gd name="connsiteY115" fmla="*/ 476640 h 551485"/>
                <a:gd name="connsiteX116" fmla="*/ 264497 w 1157938"/>
                <a:gd name="connsiteY116" fmla="*/ 490633 h 551485"/>
                <a:gd name="connsiteX117" fmla="*/ 235197 w 1157938"/>
                <a:gd name="connsiteY117" fmla="*/ 501284 h 551485"/>
                <a:gd name="connsiteX118" fmla="*/ 188557 w 1157938"/>
                <a:gd name="connsiteY118" fmla="*/ 499491 h 551485"/>
                <a:gd name="connsiteX119" fmla="*/ 161463 w 1157938"/>
                <a:gd name="connsiteY119" fmla="*/ 493460 h 551485"/>
                <a:gd name="connsiteX120" fmla="*/ 145261 w 1157938"/>
                <a:gd name="connsiteY120" fmla="*/ 487669 h 551485"/>
                <a:gd name="connsiteX121" fmla="*/ 73699 w 1157938"/>
                <a:gd name="connsiteY121" fmla="*/ 432178 h 551485"/>
                <a:gd name="connsiteX122" fmla="*/ 48398 w 1157938"/>
                <a:gd name="connsiteY122" fmla="*/ 342254 h 551485"/>
                <a:gd name="connsiteX123" fmla="*/ 49294 w 1157938"/>
                <a:gd name="connsiteY123" fmla="*/ 323229 h 551485"/>
                <a:gd name="connsiteX124" fmla="*/ 85385 w 1157938"/>
                <a:gd name="connsiteY124" fmla="*/ 221759 h 551485"/>
                <a:gd name="connsiteX125" fmla="*/ 146675 w 1157938"/>
                <a:gd name="connsiteY125" fmla="*/ 156754 h 551485"/>
                <a:gd name="connsiteX126" fmla="*/ 235714 w 1157938"/>
                <a:gd name="connsiteY126" fmla="*/ 104089 h 551485"/>
                <a:gd name="connsiteX127" fmla="*/ 349779 w 1157938"/>
                <a:gd name="connsiteY127" fmla="*/ 67107 h 551485"/>
                <a:gd name="connsiteX128" fmla="*/ 485699 w 1157938"/>
                <a:gd name="connsiteY128" fmla="*/ 49115 h 551485"/>
                <a:gd name="connsiteX129" fmla="*/ 526168 w 1157938"/>
                <a:gd name="connsiteY129" fmla="*/ 48081 h 551485"/>
                <a:gd name="connsiteX130" fmla="*/ 566637 w 1157938"/>
                <a:gd name="connsiteY130" fmla="*/ 49115 h 551485"/>
                <a:gd name="connsiteX131" fmla="*/ 726445 w 1157938"/>
                <a:gd name="connsiteY131" fmla="*/ 72759 h 551485"/>
                <a:gd name="connsiteX132" fmla="*/ 854126 w 1157938"/>
                <a:gd name="connsiteY132" fmla="*/ 122736 h 551485"/>
                <a:gd name="connsiteX133" fmla="*/ 944820 w 1157938"/>
                <a:gd name="connsiteY133" fmla="*/ 193117 h 551485"/>
                <a:gd name="connsiteX134" fmla="*/ 991322 w 1157938"/>
                <a:gd name="connsiteY134" fmla="*/ 269667 h 551485"/>
                <a:gd name="connsiteX135" fmla="*/ 991460 w 1157938"/>
                <a:gd name="connsiteY135" fmla="*/ 269667 h 551485"/>
                <a:gd name="connsiteX136" fmla="*/ 993011 w 1157938"/>
                <a:gd name="connsiteY136" fmla="*/ 272735 h 551485"/>
                <a:gd name="connsiteX137" fmla="*/ 996217 w 1157938"/>
                <a:gd name="connsiteY137" fmla="*/ 276216 h 551485"/>
                <a:gd name="connsiteX138" fmla="*/ 1000319 w 1157938"/>
                <a:gd name="connsiteY138" fmla="*/ 278387 h 551485"/>
                <a:gd name="connsiteX139" fmla="*/ 1013797 w 1157938"/>
                <a:gd name="connsiteY139" fmla="*/ 280042 h 551485"/>
                <a:gd name="connsiteX140" fmla="*/ 1043718 w 1157938"/>
                <a:gd name="connsiteY140" fmla="*/ 279904 h 551485"/>
                <a:gd name="connsiteX141" fmla="*/ 1085325 w 1157938"/>
                <a:gd name="connsiteY141" fmla="*/ 289520 h 551485"/>
                <a:gd name="connsiteX142" fmla="*/ 1098941 w 1157938"/>
                <a:gd name="connsiteY142" fmla="*/ 302755 h 551485"/>
                <a:gd name="connsiteX143" fmla="*/ 1106145 w 1157938"/>
                <a:gd name="connsiteY143" fmla="*/ 322022 h 551485"/>
                <a:gd name="connsiteX144" fmla="*/ 1106800 w 1157938"/>
                <a:gd name="connsiteY144" fmla="*/ 326124 h 551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157938" h="551485">
                  <a:moveTo>
                    <a:pt x="156430" y="319747"/>
                  </a:moveTo>
                  <a:cubicBezTo>
                    <a:pt x="157981" y="315267"/>
                    <a:pt x="159257" y="311648"/>
                    <a:pt x="160532" y="309097"/>
                  </a:cubicBezTo>
                  <a:cubicBezTo>
                    <a:pt x="164910" y="300618"/>
                    <a:pt x="170942" y="293691"/>
                    <a:pt x="178630" y="288555"/>
                  </a:cubicBezTo>
                  <a:cubicBezTo>
                    <a:pt x="187109" y="282661"/>
                    <a:pt x="197278" y="279180"/>
                    <a:pt x="209068" y="278008"/>
                  </a:cubicBezTo>
                  <a:lnTo>
                    <a:pt x="216134" y="277491"/>
                  </a:lnTo>
                  <a:lnTo>
                    <a:pt x="216272" y="277491"/>
                  </a:lnTo>
                  <a:lnTo>
                    <a:pt x="223614" y="278008"/>
                  </a:lnTo>
                  <a:cubicBezTo>
                    <a:pt x="235300" y="279146"/>
                    <a:pt x="245573" y="282627"/>
                    <a:pt x="254052" y="288555"/>
                  </a:cubicBezTo>
                  <a:cubicBezTo>
                    <a:pt x="261774" y="293829"/>
                    <a:pt x="267669" y="300618"/>
                    <a:pt x="272046" y="309097"/>
                  </a:cubicBezTo>
                  <a:cubicBezTo>
                    <a:pt x="273322" y="311544"/>
                    <a:pt x="274735" y="315129"/>
                    <a:pt x="276148" y="319747"/>
                  </a:cubicBezTo>
                  <a:cubicBezTo>
                    <a:pt x="277700" y="324883"/>
                    <a:pt x="278596" y="329364"/>
                    <a:pt x="279113" y="333224"/>
                  </a:cubicBezTo>
                  <a:cubicBezTo>
                    <a:pt x="279630" y="336946"/>
                    <a:pt x="279768" y="340531"/>
                    <a:pt x="279768" y="344253"/>
                  </a:cubicBezTo>
                  <a:cubicBezTo>
                    <a:pt x="279768" y="353766"/>
                    <a:pt x="278493" y="362762"/>
                    <a:pt x="275528" y="371103"/>
                  </a:cubicBezTo>
                  <a:cubicBezTo>
                    <a:pt x="272701" y="379582"/>
                    <a:pt x="268599" y="387164"/>
                    <a:pt x="263187" y="393575"/>
                  </a:cubicBezTo>
                  <a:cubicBezTo>
                    <a:pt x="257672" y="400365"/>
                    <a:pt x="250985" y="405535"/>
                    <a:pt x="243401" y="409120"/>
                  </a:cubicBezTo>
                  <a:cubicBezTo>
                    <a:pt x="235300" y="412980"/>
                    <a:pt x="226579" y="414910"/>
                    <a:pt x="217341" y="414910"/>
                  </a:cubicBezTo>
                  <a:lnTo>
                    <a:pt x="215410" y="414910"/>
                  </a:lnTo>
                  <a:cubicBezTo>
                    <a:pt x="205896" y="414910"/>
                    <a:pt x="197313" y="412980"/>
                    <a:pt x="189212" y="409120"/>
                  </a:cubicBezTo>
                  <a:cubicBezTo>
                    <a:pt x="181491" y="405535"/>
                    <a:pt x="174941" y="400262"/>
                    <a:pt x="169426" y="393575"/>
                  </a:cubicBezTo>
                  <a:cubicBezTo>
                    <a:pt x="164152" y="387164"/>
                    <a:pt x="159912" y="379582"/>
                    <a:pt x="157085" y="371103"/>
                  </a:cubicBezTo>
                  <a:cubicBezTo>
                    <a:pt x="154396" y="362624"/>
                    <a:pt x="152845" y="353628"/>
                    <a:pt x="152845" y="344253"/>
                  </a:cubicBezTo>
                  <a:cubicBezTo>
                    <a:pt x="152845" y="340531"/>
                    <a:pt x="153086" y="336946"/>
                    <a:pt x="153500" y="333224"/>
                  </a:cubicBezTo>
                  <a:cubicBezTo>
                    <a:pt x="154017" y="329364"/>
                    <a:pt x="155051" y="324745"/>
                    <a:pt x="156465" y="319747"/>
                  </a:cubicBezTo>
                  <a:moveTo>
                    <a:pt x="1106800" y="358247"/>
                  </a:moveTo>
                  <a:lnTo>
                    <a:pt x="1106800" y="415393"/>
                  </a:lnTo>
                  <a:lnTo>
                    <a:pt x="1062987" y="417461"/>
                  </a:lnTo>
                  <a:cubicBezTo>
                    <a:pt x="1053749" y="417461"/>
                    <a:pt x="1046027" y="416702"/>
                    <a:pt x="1039857" y="415393"/>
                  </a:cubicBezTo>
                  <a:cubicBezTo>
                    <a:pt x="1032136" y="413600"/>
                    <a:pt x="1026103" y="410636"/>
                    <a:pt x="1022001" y="406776"/>
                  </a:cubicBezTo>
                  <a:cubicBezTo>
                    <a:pt x="1019554" y="404191"/>
                    <a:pt x="1017623" y="401261"/>
                    <a:pt x="1016348" y="397539"/>
                  </a:cubicBezTo>
                  <a:cubicBezTo>
                    <a:pt x="1015072" y="394196"/>
                    <a:pt x="1014417" y="390749"/>
                    <a:pt x="1014279" y="386751"/>
                  </a:cubicBezTo>
                  <a:cubicBezTo>
                    <a:pt x="1014417" y="382890"/>
                    <a:pt x="1015038" y="379444"/>
                    <a:pt x="1016348" y="376101"/>
                  </a:cubicBezTo>
                  <a:cubicBezTo>
                    <a:pt x="1017623" y="372378"/>
                    <a:pt x="1019554" y="369311"/>
                    <a:pt x="1022001" y="366863"/>
                  </a:cubicBezTo>
                  <a:cubicBezTo>
                    <a:pt x="1026103" y="362762"/>
                    <a:pt x="1032032" y="359936"/>
                    <a:pt x="1039857" y="358247"/>
                  </a:cubicBezTo>
                  <a:cubicBezTo>
                    <a:pt x="1046027" y="356834"/>
                    <a:pt x="1053715" y="356179"/>
                    <a:pt x="1062987" y="356179"/>
                  </a:cubicBezTo>
                  <a:lnTo>
                    <a:pt x="1106800" y="358247"/>
                  </a:lnTo>
                  <a:close/>
                  <a:moveTo>
                    <a:pt x="1106800" y="326158"/>
                  </a:moveTo>
                  <a:lnTo>
                    <a:pt x="1102836" y="325641"/>
                  </a:lnTo>
                  <a:cubicBezTo>
                    <a:pt x="1086772" y="324090"/>
                    <a:pt x="1072122" y="323194"/>
                    <a:pt x="1058506" y="323194"/>
                  </a:cubicBezTo>
                  <a:cubicBezTo>
                    <a:pt x="1040271" y="323194"/>
                    <a:pt x="1024862" y="324883"/>
                    <a:pt x="1012004" y="327951"/>
                  </a:cubicBezTo>
                  <a:cubicBezTo>
                    <a:pt x="996975" y="331432"/>
                    <a:pt x="985910" y="336946"/>
                    <a:pt x="978360" y="344632"/>
                  </a:cubicBezTo>
                  <a:cubicBezTo>
                    <a:pt x="973983" y="349010"/>
                    <a:pt x="970501" y="355421"/>
                    <a:pt x="967812" y="363761"/>
                  </a:cubicBezTo>
                  <a:cubicBezTo>
                    <a:pt x="964848" y="372240"/>
                    <a:pt x="963572" y="380857"/>
                    <a:pt x="963572" y="389853"/>
                  </a:cubicBezTo>
                  <a:cubicBezTo>
                    <a:pt x="963572" y="401537"/>
                    <a:pt x="965882" y="411567"/>
                    <a:pt x="970260" y="420046"/>
                  </a:cubicBezTo>
                  <a:cubicBezTo>
                    <a:pt x="971673" y="422768"/>
                    <a:pt x="973845" y="425698"/>
                    <a:pt x="976671" y="428800"/>
                  </a:cubicBezTo>
                  <a:cubicBezTo>
                    <a:pt x="979498" y="431868"/>
                    <a:pt x="982325" y="434453"/>
                    <a:pt x="985013" y="436245"/>
                  </a:cubicBezTo>
                  <a:cubicBezTo>
                    <a:pt x="993252" y="441897"/>
                    <a:pt x="1005696" y="446275"/>
                    <a:pt x="1021898" y="448825"/>
                  </a:cubicBezTo>
                  <a:cubicBezTo>
                    <a:pt x="1035893" y="451134"/>
                    <a:pt x="1052094" y="452306"/>
                    <a:pt x="1070571" y="452306"/>
                  </a:cubicBezTo>
                  <a:cubicBezTo>
                    <a:pt x="1092012" y="452306"/>
                    <a:pt x="1114005" y="450893"/>
                    <a:pt x="1136480" y="448343"/>
                  </a:cubicBezTo>
                  <a:cubicBezTo>
                    <a:pt x="1141995" y="447584"/>
                    <a:pt x="1146097" y="446275"/>
                    <a:pt x="1149062" y="444241"/>
                  </a:cubicBezTo>
                  <a:cubicBezTo>
                    <a:pt x="1150854" y="442966"/>
                    <a:pt x="1152268" y="441553"/>
                    <a:pt x="1153440" y="440140"/>
                  </a:cubicBezTo>
                  <a:cubicBezTo>
                    <a:pt x="1154577" y="438726"/>
                    <a:pt x="1155370" y="437072"/>
                    <a:pt x="1156128" y="435142"/>
                  </a:cubicBezTo>
                  <a:cubicBezTo>
                    <a:pt x="1157404" y="431557"/>
                    <a:pt x="1158059" y="425905"/>
                    <a:pt x="1157921" y="418460"/>
                  </a:cubicBezTo>
                  <a:lnTo>
                    <a:pt x="1157921" y="339083"/>
                  </a:lnTo>
                  <a:cubicBezTo>
                    <a:pt x="1157921" y="330880"/>
                    <a:pt x="1157783" y="324435"/>
                    <a:pt x="1157404" y="319954"/>
                  </a:cubicBezTo>
                  <a:cubicBezTo>
                    <a:pt x="1157025" y="311717"/>
                    <a:pt x="1155473" y="303652"/>
                    <a:pt x="1152888" y="295552"/>
                  </a:cubicBezTo>
                  <a:cubicBezTo>
                    <a:pt x="1150441" y="288245"/>
                    <a:pt x="1147752" y="282075"/>
                    <a:pt x="1144546" y="277043"/>
                  </a:cubicBezTo>
                  <a:cubicBezTo>
                    <a:pt x="1136204" y="263946"/>
                    <a:pt x="1122450" y="254192"/>
                    <a:pt x="1103422" y="247643"/>
                  </a:cubicBezTo>
                  <a:cubicBezTo>
                    <a:pt x="1086841" y="241991"/>
                    <a:pt x="1066676" y="238923"/>
                    <a:pt x="1042511" y="238544"/>
                  </a:cubicBezTo>
                  <a:lnTo>
                    <a:pt x="1030963" y="238544"/>
                  </a:lnTo>
                  <a:cubicBezTo>
                    <a:pt x="1019037" y="210936"/>
                    <a:pt x="1002318" y="185121"/>
                    <a:pt x="980877" y="161097"/>
                  </a:cubicBezTo>
                  <a:cubicBezTo>
                    <a:pt x="960194" y="138108"/>
                    <a:pt x="935651" y="117152"/>
                    <a:pt x="907143" y="98540"/>
                  </a:cubicBezTo>
                  <a:cubicBezTo>
                    <a:pt x="878877" y="79928"/>
                    <a:pt x="847267" y="63729"/>
                    <a:pt x="812347" y="49977"/>
                  </a:cubicBezTo>
                  <a:cubicBezTo>
                    <a:pt x="777152" y="36224"/>
                    <a:pt x="739372" y="25299"/>
                    <a:pt x="698903" y="17233"/>
                  </a:cubicBezTo>
                  <a:cubicBezTo>
                    <a:pt x="657675" y="8755"/>
                    <a:pt x="614517" y="3481"/>
                    <a:pt x="569153" y="1034"/>
                  </a:cubicBezTo>
                  <a:cubicBezTo>
                    <a:pt x="556951" y="517"/>
                    <a:pt x="542576" y="138"/>
                    <a:pt x="526133" y="0"/>
                  </a:cubicBezTo>
                  <a:cubicBezTo>
                    <a:pt x="509691" y="138"/>
                    <a:pt x="495316" y="517"/>
                    <a:pt x="483113" y="1034"/>
                  </a:cubicBezTo>
                  <a:cubicBezTo>
                    <a:pt x="415550" y="4515"/>
                    <a:pt x="353123" y="14648"/>
                    <a:pt x="295694" y="31365"/>
                  </a:cubicBezTo>
                  <a:cubicBezTo>
                    <a:pt x="239161" y="47667"/>
                    <a:pt x="189591" y="69657"/>
                    <a:pt x="146813" y="97368"/>
                  </a:cubicBezTo>
                  <a:cubicBezTo>
                    <a:pt x="103793" y="125493"/>
                    <a:pt x="69735" y="158133"/>
                    <a:pt x="44950" y="195254"/>
                  </a:cubicBezTo>
                  <a:cubicBezTo>
                    <a:pt x="32368" y="214142"/>
                    <a:pt x="22337" y="233925"/>
                    <a:pt x="15029" y="254605"/>
                  </a:cubicBezTo>
                  <a:cubicBezTo>
                    <a:pt x="7446" y="275527"/>
                    <a:pt x="2689" y="297241"/>
                    <a:pt x="1034" y="319334"/>
                  </a:cubicBezTo>
                  <a:cubicBezTo>
                    <a:pt x="276" y="326779"/>
                    <a:pt x="0" y="334499"/>
                    <a:pt x="0" y="342323"/>
                  </a:cubicBezTo>
                  <a:cubicBezTo>
                    <a:pt x="0" y="372137"/>
                    <a:pt x="4998" y="399607"/>
                    <a:pt x="15029" y="424526"/>
                  </a:cubicBezTo>
                  <a:cubicBezTo>
                    <a:pt x="22337" y="442897"/>
                    <a:pt x="32506" y="459613"/>
                    <a:pt x="45364" y="474882"/>
                  </a:cubicBezTo>
                  <a:cubicBezTo>
                    <a:pt x="57946" y="489772"/>
                    <a:pt x="72975" y="502628"/>
                    <a:pt x="90073" y="513416"/>
                  </a:cubicBezTo>
                  <a:cubicBezTo>
                    <a:pt x="113824" y="528443"/>
                    <a:pt x="142607" y="539507"/>
                    <a:pt x="176527" y="546435"/>
                  </a:cubicBezTo>
                  <a:cubicBezTo>
                    <a:pt x="202725" y="552225"/>
                    <a:pt x="228302" y="552984"/>
                    <a:pt x="253363" y="548985"/>
                  </a:cubicBezTo>
                  <a:cubicBezTo>
                    <a:pt x="280078" y="544643"/>
                    <a:pt x="300244" y="535371"/>
                    <a:pt x="313619" y="521378"/>
                  </a:cubicBezTo>
                  <a:cubicBezTo>
                    <a:pt x="318514" y="516104"/>
                    <a:pt x="322340" y="510314"/>
                    <a:pt x="325304" y="503903"/>
                  </a:cubicBezTo>
                  <a:cubicBezTo>
                    <a:pt x="328269" y="497113"/>
                    <a:pt x="329923" y="489910"/>
                    <a:pt x="330303" y="482568"/>
                  </a:cubicBezTo>
                  <a:cubicBezTo>
                    <a:pt x="330958" y="469574"/>
                    <a:pt x="327993" y="457890"/>
                    <a:pt x="321444" y="447619"/>
                  </a:cubicBezTo>
                  <a:cubicBezTo>
                    <a:pt x="315928" y="439140"/>
                    <a:pt x="307965" y="431420"/>
                    <a:pt x="297279" y="424492"/>
                  </a:cubicBezTo>
                  <a:lnTo>
                    <a:pt x="298451" y="423458"/>
                  </a:lnTo>
                  <a:cubicBezTo>
                    <a:pt x="308586" y="413945"/>
                    <a:pt x="316445" y="402640"/>
                    <a:pt x="321961" y="389680"/>
                  </a:cubicBezTo>
                  <a:cubicBezTo>
                    <a:pt x="327614" y="376307"/>
                    <a:pt x="330441" y="361659"/>
                    <a:pt x="330441" y="346011"/>
                  </a:cubicBezTo>
                  <a:lnTo>
                    <a:pt x="330303" y="338704"/>
                  </a:lnTo>
                  <a:cubicBezTo>
                    <a:pt x="329648" y="327640"/>
                    <a:pt x="327476" y="316990"/>
                    <a:pt x="323753" y="306995"/>
                  </a:cubicBezTo>
                  <a:cubicBezTo>
                    <a:pt x="320168" y="297241"/>
                    <a:pt x="315032" y="288245"/>
                    <a:pt x="308586" y="280145"/>
                  </a:cubicBezTo>
                  <a:lnTo>
                    <a:pt x="314997" y="280145"/>
                  </a:lnTo>
                  <a:cubicBezTo>
                    <a:pt x="321030" y="280145"/>
                    <a:pt x="325546" y="279490"/>
                    <a:pt x="328614" y="278491"/>
                  </a:cubicBezTo>
                  <a:cubicBezTo>
                    <a:pt x="330268" y="277974"/>
                    <a:pt x="331578" y="277216"/>
                    <a:pt x="332578" y="276319"/>
                  </a:cubicBezTo>
                  <a:cubicBezTo>
                    <a:pt x="333853" y="275561"/>
                    <a:pt x="334749" y="274251"/>
                    <a:pt x="335921" y="272838"/>
                  </a:cubicBezTo>
                  <a:cubicBezTo>
                    <a:pt x="336818" y="271563"/>
                    <a:pt x="337714" y="269633"/>
                    <a:pt x="338231" y="267186"/>
                  </a:cubicBezTo>
                  <a:cubicBezTo>
                    <a:pt x="338886" y="264739"/>
                    <a:pt x="339127" y="262188"/>
                    <a:pt x="339265" y="259362"/>
                  </a:cubicBezTo>
                  <a:cubicBezTo>
                    <a:pt x="339127" y="256398"/>
                    <a:pt x="338886" y="253847"/>
                    <a:pt x="338231" y="251538"/>
                  </a:cubicBezTo>
                  <a:cubicBezTo>
                    <a:pt x="337714" y="249091"/>
                    <a:pt x="336818" y="247161"/>
                    <a:pt x="335921" y="245747"/>
                  </a:cubicBezTo>
                  <a:cubicBezTo>
                    <a:pt x="334784" y="244196"/>
                    <a:pt x="333853" y="243059"/>
                    <a:pt x="332578" y="242163"/>
                  </a:cubicBezTo>
                  <a:cubicBezTo>
                    <a:pt x="331544" y="241405"/>
                    <a:pt x="330268" y="240750"/>
                    <a:pt x="328614" y="240095"/>
                  </a:cubicBezTo>
                  <a:cubicBezTo>
                    <a:pt x="325787" y="239061"/>
                    <a:pt x="321271" y="238544"/>
                    <a:pt x="314997" y="238544"/>
                  </a:cubicBezTo>
                  <a:lnTo>
                    <a:pt x="216341" y="238544"/>
                  </a:lnTo>
                  <a:lnTo>
                    <a:pt x="206827" y="238923"/>
                  </a:lnTo>
                  <a:cubicBezTo>
                    <a:pt x="191798" y="240060"/>
                    <a:pt x="178044" y="243404"/>
                    <a:pt x="165324" y="248677"/>
                  </a:cubicBezTo>
                  <a:cubicBezTo>
                    <a:pt x="153121" y="254088"/>
                    <a:pt x="142331" y="261258"/>
                    <a:pt x="133093" y="270012"/>
                  </a:cubicBezTo>
                  <a:cubicBezTo>
                    <a:pt x="123958" y="278870"/>
                    <a:pt x="116788" y="289141"/>
                    <a:pt x="111514" y="300722"/>
                  </a:cubicBezTo>
                  <a:cubicBezTo>
                    <a:pt x="106378" y="312544"/>
                    <a:pt x="103172" y="325262"/>
                    <a:pt x="102517" y="338739"/>
                  </a:cubicBezTo>
                  <a:lnTo>
                    <a:pt x="102276" y="346046"/>
                  </a:lnTo>
                  <a:cubicBezTo>
                    <a:pt x="102276" y="361728"/>
                    <a:pt x="105103" y="376376"/>
                    <a:pt x="110756" y="389715"/>
                  </a:cubicBezTo>
                  <a:cubicBezTo>
                    <a:pt x="116271" y="402674"/>
                    <a:pt x="124131" y="413979"/>
                    <a:pt x="134265" y="423492"/>
                  </a:cubicBezTo>
                  <a:cubicBezTo>
                    <a:pt x="144538" y="433005"/>
                    <a:pt x="156499" y="440312"/>
                    <a:pt x="170219" y="445447"/>
                  </a:cubicBezTo>
                  <a:cubicBezTo>
                    <a:pt x="184214" y="450583"/>
                    <a:pt x="199381" y="453271"/>
                    <a:pt x="215686" y="453271"/>
                  </a:cubicBezTo>
                  <a:lnTo>
                    <a:pt x="216961" y="453271"/>
                  </a:lnTo>
                  <a:cubicBezTo>
                    <a:pt x="230061" y="453271"/>
                    <a:pt x="242539" y="451479"/>
                    <a:pt x="254604" y="447998"/>
                  </a:cubicBezTo>
                  <a:cubicBezTo>
                    <a:pt x="260499" y="450686"/>
                    <a:pt x="265152" y="454030"/>
                    <a:pt x="268599" y="458166"/>
                  </a:cubicBezTo>
                  <a:cubicBezTo>
                    <a:pt x="272184" y="462543"/>
                    <a:pt x="273977" y="467024"/>
                    <a:pt x="274115" y="472021"/>
                  </a:cubicBezTo>
                  <a:lnTo>
                    <a:pt x="273873" y="475606"/>
                  </a:lnTo>
                  <a:lnTo>
                    <a:pt x="273873" y="476640"/>
                  </a:lnTo>
                  <a:cubicBezTo>
                    <a:pt x="272736" y="482017"/>
                    <a:pt x="269633" y="486670"/>
                    <a:pt x="264497" y="490633"/>
                  </a:cubicBezTo>
                  <a:cubicBezTo>
                    <a:pt x="257810" y="495907"/>
                    <a:pt x="248054" y="499353"/>
                    <a:pt x="235197" y="501284"/>
                  </a:cubicBezTo>
                  <a:cubicBezTo>
                    <a:pt x="222236" y="503214"/>
                    <a:pt x="206689" y="502559"/>
                    <a:pt x="188557" y="499491"/>
                  </a:cubicBezTo>
                  <a:cubicBezTo>
                    <a:pt x="178664" y="497940"/>
                    <a:pt x="169529" y="495907"/>
                    <a:pt x="161463" y="493460"/>
                  </a:cubicBezTo>
                  <a:cubicBezTo>
                    <a:pt x="156051" y="491667"/>
                    <a:pt x="150673" y="489737"/>
                    <a:pt x="145261" y="487669"/>
                  </a:cubicBezTo>
                  <a:cubicBezTo>
                    <a:pt x="113927" y="474813"/>
                    <a:pt x="90004" y="456339"/>
                    <a:pt x="73699" y="432178"/>
                  </a:cubicBezTo>
                  <a:cubicBezTo>
                    <a:pt x="56877" y="407500"/>
                    <a:pt x="48535" y="377583"/>
                    <a:pt x="48398" y="342254"/>
                  </a:cubicBezTo>
                  <a:cubicBezTo>
                    <a:pt x="48398" y="336085"/>
                    <a:pt x="48639" y="329812"/>
                    <a:pt x="49294" y="323229"/>
                  </a:cubicBezTo>
                  <a:cubicBezTo>
                    <a:pt x="52120" y="287142"/>
                    <a:pt x="64185" y="253227"/>
                    <a:pt x="85385" y="221759"/>
                  </a:cubicBezTo>
                  <a:cubicBezTo>
                    <a:pt x="101069" y="198252"/>
                    <a:pt x="121476" y="176538"/>
                    <a:pt x="146675" y="156754"/>
                  </a:cubicBezTo>
                  <a:cubicBezTo>
                    <a:pt x="172252" y="136591"/>
                    <a:pt x="201932" y="119013"/>
                    <a:pt x="235714" y="104089"/>
                  </a:cubicBezTo>
                  <a:cubicBezTo>
                    <a:pt x="270254" y="88683"/>
                    <a:pt x="308310" y="76344"/>
                    <a:pt x="349779" y="67107"/>
                  </a:cubicBezTo>
                  <a:cubicBezTo>
                    <a:pt x="392558" y="57594"/>
                    <a:pt x="437784" y="51562"/>
                    <a:pt x="485699" y="49115"/>
                  </a:cubicBezTo>
                  <a:cubicBezTo>
                    <a:pt x="497522" y="48598"/>
                    <a:pt x="511138" y="48081"/>
                    <a:pt x="526168" y="48081"/>
                  </a:cubicBezTo>
                  <a:cubicBezTo>
                    <a:pt x="541197" y="48081"/>
                    <a:pt x="554813" y="48598"/>
                    <a:pt x="566637" y="49115"/>
                  </a:cubicBezTo>
                  <a:cubicBezTo>
                    <a:pt x="623687" y="52079"/>
                    <a:pt x="676979" y="59903"/>
                    <a:pt x="726445" y="72759"/>
                  </a:cubicBezTo>
                  <a:cubicBezTo>
                    <a:pt x="774222" y="85340"/>
                    <a:pt x="816898" y="101918"/>
                    <a:pt x="854126" y="122736"/>
                  </a:cubicBezTo>
                  <a:cubicBezTo>
                    <a:pt x="890597" y="143037"/>
                    <a:pt x="920794" y="166543"/>
                    <a:pt x="944820" y="193117"/>
                  </a:cubicBezTo>
                  <a:cubicBezTo>
                    <a:pt x="966158" y="217140"/>
                    <a:pt x="981704" y="242577"/>
                    <a:pt x="991322" y="269667"/>
                  </a:cubicBezTo>
                  <a:lnTo>
                    <a:pt x="991460" y="269667"/>
                  </a:lnTo>
                  <a:cubicBezTo>
                    <a:pt x="991839" y="270943"/>
                    <a:pt x="992356" y="271977"/>
                    <a:pt x="993011" y="272735"/>
                  </a:cubicBezTo>
                  <a:cubicBezTo>
                    <a:pt x="994045" y="274148"/>
                    <a:pt x="995079" y="275423"/>
                    <a:pt x="996217" y="276216"/>
                  </a:cubicBezTo>
                  <a:cubicBezTo>
                    <a:pt x="997492" y="277112"/>
                    <a:pt x="998767" y="277905"/>
                    <a:pt x="1000319" y="278387"/>
                  </a:cubicBezTo>
                  <a:cubicBezTo>
                    <a:pt x="1003283" y="279421"/>
                    <a:pt x="1007902" y="280042"/>
                    <a:pt x="1013797" y="280042"/>
                  </a:cubicBezTo>
                  <a:lnTo>
                    <a:pt x="1043718" y="279904"/>
                  </a:lnTo>
                  <a:cubicBezTo>
                    <a:pt x="1061057" y="280042"/>
                    <a:pt x="1075052" y="283109"/>
                    <a:pt x="1085325" y="289520"/>
                  </a:cubicBezTo>
                  <a:cubicBezTo>
                    <a:pt x="1090840" y="293001"/>
                    <a:pt x="1095597" y="297344"/>
                    <a:pt x="1098941" y="302755"/>
                  </a:cubicBezTo>
                  <a:cubicBezTo>
                    <a:pt x="1102664" y="308270"/>
                    <a:pt x="1104973" y="314681"/>
                    <a:pt x="1106145" y="322022"/>
                  </a:cubicBezTo>
                  <a:lnTo>
                    <a:pt x="1106800" y="326124"/>
                  </a:lnTo>
                  <a:close/>
                </a:path>
              </a:pathLst>
            </a:custGeom>
            <a:solidFill>
              <a:schemeClr val="bg1"/>
            </a:solidFill>
            <a:ln w="3430" cap="flat">
              <a:noFill/>
              <a:prstDash val="solid"/>
              <a:miter/>
            </a:ln>
          </p:spPr>
          <p:txBody>
            <a:bodyPr rtlCol="0" anchor="ctr"/>
            <a:lstStyle/>
            <a:p>
              <a:endParaRPr lang="en-DK"/>
            </a:p>
          </p:txBody>
        </p:sp>
        <p:sp>
          <p:nvSpPr>
            <p:cNvPr id="179" name="Freeform 178">
              <a:extLst>
                <a:ext uri="{FF2B5EF4-FFF2-40B4-BE49-F238E27FC236}">
                  <a16:creationId xmlns:a16="http://schemas.microsoft.com/office/drawing/2014/main" id="{D75A37D4-6A79-0101-DA49-08038BFA272E}"/>
                </a:ext>
              </a:extLst>
            </p:cNvPr>
            <p:cNvSpPr/>
            <p:nvPr/>
          </p:nvSpPr>
          <p:spPr>
            <a:xfrm>
              <a:off x="5508907" y="4306830"/>
              <a:ext cx="141193" cy="214348"/>
            </a:xfrm>
            <a:custGeom>
              <a:avLst/>
              <a:gdLst>
                <a:gd name="connsiteX0" fmla="*/ 5136 w 141193"/>
                <a:gd name="connsiteY0" fmla="*/ 57008 h 214348"/>
                <a:gd name="connsiteX1" fmla="*/ 379 w 141193"/>
                <a:gd name="connsiteY1" fmla="*/ 81410 h 214348"/>
                <a:gd name="connsiteX2" fmla="*/ 0 w 141193"/>
                <a:gd name="connsiteY2" fmla="*/ 100677 h 214348"/>
                <a:gd name="connsiteX3" fmla="*/ 0 w 141193"/>
                <a:gd name="connsiteY3" fmla="*/ 184431 h 214348"/>
                <a:gd name="connsiteX4" fmla="*/ 1930 w 141193"/>
                <a:gd name="connsiteY4" fmla="*/ 201113 h 214348"/>
                <a:gd name="connsiteX5" fmla="*/ 4516 w 141193"/>
                <a:gd name="connsiteY5" fmla="*/ 206111 h 214348"/>
                <a:gd name="connsiteX6" fmla="*/ 9031 w 141193"/>
                <a:gd name="connsiteY6" fmla="*/ 210350 h 214348"/>
                <a:gd name="connsiteX7" fmla="*/ 16098 w 141193"/>
                <a:gd name="connsiteY7" fmla="*/ 213314 h 214348"/>
                <a:gd name="connsiteX8" fmla="*/ 25716 w 141193"/>
                <a:gd name="connsiteY8" fmla="*/ 214348 h 214348"/>
                <a:gd name="connsiteX9" fmla="*/ 35230 w 141193"/>
                <a:gd name="connsiteY9" fmla="*/ 213314 h 214348"/>
                <a:gd name="connsiteX10" fmla="*/ 42434 w 141193"/>
                <a:gd name="connsiteY10" fmla="*/ 210350 h 214348"/>
                <a:gd name="connsiteX11" fmla="*/ 46812 w 141193"/>
                <a:gd name="connsiteY11" fmla="*/ 206111 h 214348"/>
                <a:gd name="connsiteX12" fmla="*/ 49501 w 141193"/>
                <a:gd name="connsiteY12" fmla="*/ 201113 h 214348"/>
                <a:gd name="connsiteX13" fmla="*/ 51293 w 141193"/>
                <a:gd name="connsiteY13" fmla="*/ 184431 h 214348"/>
                <a:gd name="connsiteX14" fmla="*/ 51431 w 141193"/>
                <a:gd name="connsiteY14" fmla="*/ 87959 h 214348"/>
                <a:gd name="connsiteX15" fmla="*/ 57601 w 141193"/>
                <a:gd name="connsiteY15" fmla="*/ 66624 h 214348"/>
                <a:gd name="connsiteX16" fmla="*/ 71080 w 141193"/>
                <a:gd name="connsiteY16" fmla="*/ 52114 h 214348"/>
                <a:gd name="connsiteX17" fmla="*/ 114100 w 141193"/>
                <a:gd name="connsiteY17" fmla="*/ 41463 h 214348"/>
                <a:gd name="connsiteX18" fmla="*/ 116926 w 141193"/>
                <a:gd name="connsiteY18" fmla="*/ 41601 h 214348"/>
                <a:gd name="connsiteX19" fmla="*/ 130542 w 141193"/>
                <a:gd name="connsiteY19" fmla="*/ 39947 h 214348"/>
                <a:gd name="connsiteX20" fmla="*/ 134644 w 141193"/>
                <a:gd name="connsiteY20" fmla="*/ 37775 h 214348"/>
                <a:gd name="connsiteX21" fmla="*/ 137988 w 141193"/>
                <a:gd name="connsiteY21" fmla="*/ 34294 h 214348"/>
                <a:gd name="connsiteX22" fmla="*/ 140298 w 141193"/>
                <a:gd name="connsiteY22" fmla="*/ 28642 h 214348"/>
                <a:gd name="connsiteX23" fmla="*/ 141194 w 141193"/>
                <a:gd name="connsiteY23" fmla="*/ 20818 h 214348"/>
                <a:gd name="connsiteX24" fmla="*/ 140298 w 141193"/>
                <a:gd name="connsiteY24" fmla="*/ 12994 h 214348"/>
                <a:gd name="connsiteX25" fmla="*/ 137988 w 141193"/>
                <a:gd name="connsiteY25" fmla="*/ 7204 h 214348"/>
                <a:gd name="connsiteX26" fmla="*/ 134644 w 141193"/>
                <a:gd name="connsiteY26" fmla="*/ 3619 h 214348"/>
                <a:gd name="connsiteX27" fmla="*/ 130542 w 141193"/>
                <a:gd name="connsiteY27" fmla="*/ 1551 h 214348"/>
                <a:gd name="connsiteX28" fmla="*/ 116926 w 141193"/>
                <a:gd name="connsiteY28" fmla="*/ 0 h 214348"/>
                <a:gd name="connsiteX29" fmla="*/ 115272 w 141193"/>
                <a:gd name="connsiteY29" fmla="*/ 0 h 214348"/>
                <a:gd name="connsiteX30" fmla="*/ 54499 w 141193"/>
                <a:gd name="connsiteY30" fmla="*/ 9134 h 214348"/>
                <a:gd name="connsiteX31" fmla="*/ 13375 w 141193"/>
                <a:gd name="connsiteY31" fmla="*/ 38534 h 214348"/>
                <a:gd name="connsiteX32" fmla="*/ 5136 w 141193"/>
                <a:gd name="connsiteY32" fmla="*/ 57042 h 21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1193" h="214348">
                  <a:moveTo>
                    <a:pt x="5136" y="57008"/>
                  </a:moveTo>
                  <a:cubicBezTo>
                    <a:pt x="2447" y="65108"/>
                    <a:pt x="896" y="73207"/>
                    <a:pt x="379" y="81410"/>
                  </a:cubicBezTo>
                  <a:cubicBezTo>
                    <a:pt x="138" y="85925"/>
                    <a:pt x="0" y="92474"/>
                    <a:pt x="0" y="100677"/>
                  </a:cubicBezTo>
                  <a:lnTo>
                    <a:pt x="0" y="184431"/>
                  </a:lnTo>
                  <a:cubicBezTo>
                    <a:pt x="0" y="192152"/>
                    <a:pt x="655" y="197666"/>
                    <a:pt x="1930" y="201113"/>
                  </a:cubicBezTo>
                  <a:cubicBezTo>
                    <a:pt x="2585" y="203043"/>
                    <a:pt x="3344" y="204698"/>
                    <a:pt x="4516" y="206111"/>
                  </a:cubicBezTo>
                  <a:cubicBezTo>
                    <a:pt x="5653" y="207524"/>
                    <a:pt x="7101" y="208937"/>
                    <a:pt x="9031" y="210350"/>
                  </a:cubicBezTo>
                  <a:cubicBezTo>
                    <a:pt x="10583" y="211522"/>
                    <a:pt x="12996" y="212418"/>
                    <a:pt x="16098" y="213314"/>
                  </a:cubicBezTo>
                  <a:lnTo>
                    <a:pt x="25716" y="214348"/>
                  </a:lnTo>
                  <a:lnTo>
                    <a:pt x="35230" y="213314"/>
                  </a:lnTo>
                  <a:cubicBezTo>
                    <a:pt x="38297" y="212418"/>
                    <a:pt x="40607" y="211522"/>
                    <a:pt x="42434" y="210350"/>
                  </a:cubicBezTo>
                  <a:cubicBezTo>
                    <a:pt x="44227" y="208937"/>
                    <a:pt x="45640" y="207524"/>
                    <a:pt x="46812" y="206111"/>
                  </a:cubicBezTo>
                  <a:cubicBezTo>
                    <a:pt x="47846" y="204698"/>
                    <a:pt x="48880" y="203043"/>
                    <a:pt x="49501" y="201113"/>
                  </a:cubicBezTo>
                  <a:cubicBezTo>
                    <a:pt x="50776" y="197529"/>
                    <a:pt x="51431" y="191876"/>
                    <a:pt x="51293" y="184431"/>
                  </a:cubicBezTo>
                  <a:lnTo>
                    <a:pt x="51431" y="87959"/>
                  </a:lnTo>
                  <a:cubicBezTo>
                    <a:pt x="52086" y="79997"/>
                    <a:pt x="54120" y="72932"/>
                    <a:pt x="57601" y="66624"/>
                  </a:cubicBezTo>
                  <a:cubicBezTo>
                    <a:pt x="60945" y="60696"/>
                    <a:pt x="65426" y="55836"/>
                    <a:pt x="71080" y="52114"/>
                  </a:cubicBezTo>
                  <a:cubicBezTo>
                    <a:pt x="81628" y="45048"/>
                    <a:pt x="95864" y="41567"/>
                    <a:pt x="114100" y="41463"/>
                  </a:cubicBezTo>
                  <a:lnTo>
                    <a:pt x="116926" y="41601"/>
                  </a:lnTo>
                  <a:cubicBezTo>
                    <a:pt x="122959" y="41601"/>
                    <a:pt x="127474" y="40946"/>
                    <a:pt x="130542" y="39947"/>
                  </a:cubicBezTo>
                  <a:cubicBezTo>
                    <a:pt x="132231" y="39430"/>
                    <a:pt x="133507" y="38672"/>
                    <a:pt x="134644" y="37775"/>
                  </a:cubicBezTo>
                  <a:cubicBezTo>
                    <a:pt x="135678" y="37017"/>
                    <a:pt x="136816" y="35707"/>
                    <a:pt x="137988" y="34294"/>
                  </a:cubicBezTo>
                  <a:cubicBezTo>
                    <a:pt x="138884" y="33019"/>
                    <a:pt x="139677" y="31089"/>
                    <a:pt x="140298" y="28642"/>
                  </a:cubicBezTo>
                  <a:cubicBezTo>
                    <a:pt x="140815" y="26195"/>
                    <a:pt x="141194" y="23644"/>
                    <a:pt x="141194" y="20818"/>
                  </a:cubicBezTo>
                  <a:cubicBezTo>
                    <a:pt x="141194" y="17992"/>
                    <a:pt x="140815" y="15303"/>
                    <a:pt x="140298" y="12994"/>
                  </a:cubicBezTo>
                  <a:cubicBezTo>
                    <a:pt x="139643" y="10547"/>
                    <a:pt x="138884" y="8617"/>
                    <a:pt x="137988" y="7204"/>
                  </a:cubicBezTo>
                  <a:cubicBezTo>
                    <a:pt x="136816" y="5653"/>
                    <a:pt x="135678" y="4515"/>
                    <a:pt x="134644" y="3619"/>
                  </a:cubicBezTo>
                  <a:cubicBezTo>
                    <a:pt x="133472" y="2861"/>
                    <a:pt x="132197" y="2206"/>
                    <a:pt x="130542" y="1551"/>
                  </a:cubicBezTo>
                  <a:cubicBezTo>
                    <a:pt x="127716" y="517"/>
                    <a:pt x="123234" y="0"/>
                    <a:pt x="116926" y="0"/>
                  </a:cubicBezTo>
                  <a:lnTo>
                    <a:pt x="115272" y="0"/>
                  </a:lnTo>
                  <a:cubicBezTo>
                    <a:pt x="91245" y="379"/>
                    <a:pt x="70942" y="3481"/>
                    <a:pt x="54499" y="9134"/>
                  </a:cubicBezTo>
                  <a:cubicBezTo>
                    <a:pt x="35471" y="15682"/>
                    <a:pt x="21855" y="25436"/>
                    <a:pt x="13375" y="38534"/>
                  </a:cubicBezTo>
                  <a:cubicBezTo>
                    <a:pt x="10169" y="43531"/>
                    <a:pt x="7480" y="49701"/>
                    <a:pt x="5136" y="57042"/>
                  </a:cubicBezTo>
                </a:path>
              </a:pathLst>
            </a:custGeom>
            <a:solidFill>
              <a:schemeClr val="bg1"/>
            </a:solidFill>
            <a:ln w="3430" cap="flat">
              <a:noFill/>
              <a:prstDash val="solid"/>
              <a:miter/>
            </a:ln>
          </p:spPr>
          <p:txBody>
            <a:bodyPr rtlCol="0" anchor="ctr"/>
            <a:lstStyle/>
            <a:p>
              <a:endParaRPr lang="en-DK"/>
            </a:p>
          </p:txBody>
        </p:sp>
        <p:sp>
          <p:nvSpPr>
            <p:cNvPr id="180" name="Freeform 179">
              <a:extLst>
                <a:ext uri="{FF2B5EF4-FFF2-40B4-BE49-F238E27FC236}">
                  <a16:creationId xmlns:a16="http://schemas.microsoft.com/office/drawing/2014/main" id="{6C77760C-237B-DFE4-D456-E360A32197A0}"/>
                </a:ext>
              </a:extLst>
            </p:cNvPr>
            <p:cNvSpPr/>
            <p:nvPr/>
          </p:nvSpPr>
          <p:spPr>
            <a:xfrm>
              <a:off x="5275365" y="4219733"/>
              <a:ext cx="207861" cy="301755"/>
            </a:xfrm>
            <a:custGeom>
              <a:avLst/>
              <a:gdLst>
                <a:gd name="connsiteX0" fmla="*/ 148915 w 207861"/>
                <a:gd name="connsiteY0" fmla="*/ 155686 h 301755"/>
                <a:gd name="connsiteX1" fmla="*/ 154948 w 207861"/>
                <a:gd name="connsiteY1" fmla="*/ 173678 h 301755"/>
                <a:gd name="connsiteX2" fmla="*/ 157154 w 207861"/>
                <a:gd name="connsiteY2" fmla="*/ 193599 h 301755"/>
                <a:gd name="connsiteX3" fmla="*/ 157292 w 207861"/>
                <a:gd name="connsiteY3" fmla="*/ 198459 h 301755"/>
                <a:gd name="connsiteX4" fmla="*/ 156258 w 207861"/>
                <a:gd name="connsiteY4" fmla="*/ 213866 h 301755"/>
                <a:gd name="connsiteX5" fmla="*/ 149053 w 207861"/>
                <a:gd name="connsiteY5" fmla="*/ 235201 h 301755"/>
                <a:gd name="connsiteX6" fmla="*/ 133507 w 207861"/>
                <a:gd name="connsiteY6" fmla="*/ 249711 h 301755"/>
                <a:gd name="connsiteX7" fmla="*/ 84041 w 207861"/>
                <a:gd name="connsiteY7" fmla="*/ 260258 h 301755"/>
                <a:gd name="connsiteX8" fmla="*/ 53327 w 207861"/>
                <a:gd name="connsiteY8" fmla="*/ 258087 h 301755"/>
                <a:gd name="connsiteX9" fmla="*/ 53327 w 207861"/>
                <a:gd name="connsiteY9" fmla="*/ 133352 h 301755"/>
                <a:gd name="connsiteX10" fmla="*/ 55912 w 207861"/>
                <a:gd name="connsiteY10" fmla="*/ 132835 h 301755"/>
                <a:gd name="connsiteX11" fmla="*/ 91624 w 207861"/>
                <a:gd name="connsiteY11" fmla="*/ 128871 h 301755"/>
                <a:gd name="connsiteX12" fmla="*/ 126819 w 207861"/>
                <a:gd name="connsiteY12" fmla="*/ 135420 h 301755"/>
                <a:gd name="connsiteX13" fmla="*/ 148778 w 207861"/>
                <a:gd name="connsiteY13" fmla="*/ 155583 h 301755"/>
                <a:gd name="connsiteX14" fmla="*/ 148778 w 207861"/>
                <a:gd name="connsiteY14" fmla="*/ 155721 h 301755"/>
                <a:gd name="connsiteX15" fmla="*/ 148915 w 207861"/>
                <a:gd name="connsiteY15" fmla="*/ 155721 h 301755"/>
                <a:gd name="connsiteX16" fmla="*/ 187178 w 207861"/>
                <a:gd name="connsiteY16" fmla="*/ 121254 h 301755"/>
                <a:gd name="connsiteX17" fmla="*/ 145055 w 207861"/>
                <a:gd name="connsiteY17" fmla="*/ 95300 h 301755"/>
                <a:gd name="connsiteX18" fmla="*/ 85833 w 207861"/>
                <a:gd name="connsiteY18" fmla="*/ 87718 h 301755"/>
                <a:gd name="connsiteX19" fmla="*/ 51534 w 207861"/>
                <a:gd name="connsiteY19" fmla="*/ 89407 h 301755"/>
                <a:gd name="connsiteX20" fmla="*/ 51534 w 207861"/>
                <a:gd name="connsiteY20" fmla="*/ 29952 h 301755"/>
                <a:gd name="connsiteX21" fmla="*/ 49604 w 207861"/>
                <a:gd name="connsiteY21" fmla="*/ 13235 h 301755"/>
                <a:gd name="connsiteX22" fmla="*/ 47019 w 207861"/>
                <a:gd name="connsiteY22" fmla="*/ 8341 h 301755"/>
                <a:gd name="connsiteX23" fmla="*/ 42537 w 207861"/>
                <a:gd name="connsiteY23" fmla="*/ 4239 h 301755"/>
                <a:gd name="connsiteX24" fmla="*/ 35471 w 207861"/>
                <a:gd name="connsiteY24" fmla="*/ 1275 h 301755"/>
                <a:gd name="connsiteX25" fmla="*/ 25853 w 207861"/>
                <a:gd name="connsiteY25" fmla="*/ 0 h 301755"/>
                <a:gd name="connsiteX26" fmla="*/ 16339 w 207861"/>
                <a:gd name="connsiteY26" fmla="*/ 1275 h 301755"/>
                <a:gd name="connsiteX27" fmla="*/ 9135 w 207861"/>
                <a:gd name="connsiteY27" fmla="*/ 4239 h 301755"/>
                <a:gd name="connsiteX28" fmla="*/ 4757 w 207861"/>
                <a:gd name="connsiteY28" fmla="*/ 8341 h 301755"/>
                <a:gd name="connsiteX29" fmla="*/ 2068 w 207861"/>
                <a:gd name="connsiteY29" fmla="*/ 13235 h 301755"/>
                <a:gd name="connsiteX30" fmla="*/ 138 w 207861"/>
                <a:gd name="connsiteY30" fmla="*/ 29952 h 301755"/>
                <a:gd name="connsiteX31" fmla="*/ 0 w 207861"/>
                <a:gd name="connsiteY31" fmla="*/ 268978 h 301755"/>
                <a:gd name="connsiteX32" fmla="*/ 2068 w 207861"/>
                <a:gd name="connsiteY32" fmla="*/ 285694 h 301755"/>
                <a:gd name="connsiteX33" fmla="*/ 4654 w 207861"/>
                <a:gd name="connsiteY33" fmla="*/ 290589 h 301755"/>
                <a:gd name="connsiteX34" fmla="*/ 9031 w 207861"/>
                <a:gd name="connsiteY34" fmla="*/ 294690 h 301755"/>
                <a:gd name="connsiteX35" fmla="*/ 21613 w 207861"/>
                <a:gd name="connsiteY35" fmla="*/ 298792 h 301755"/>
                <a:gd name="connsiteX36" fmla="*/ 30473 w 207861"/>
                <a:gd name="connsiteY36" fmla="*/ 299826 h 301755"/>
                <a:gd name="connsiteX37" fmla="*/ 71045 w 207861"/>
                <a:gd name="connsiteY37" fmla="*/ 301756 h 301755"/>
                <a:gd name="connsiteX38" fmla="*/ 88660 w 207861"/>
                <a:gd name="connsiteY38" fmla="*/ 301377 h 301755"/>
                <a:gd name="connsiteX39" fmla="*/ 173424 w 207861"/>
                <a:gd name="connsiteY39" fmla="*/ 272873 h 301755"/>
                <a:gd name="connsiteX40" fmla="*/ 196279 w 207861"/>
                <a:gd name="connsiteY40" fmla="*/ 243335 h 301755"/>
                <a:gd name="connsiteX41" fmla="*/ 207206 w 207861"/>
                <a:gd name="connsiteY41" fmla="*/ 202113 h 301755"/>
                <a:gd name="connsiteX42" fmla="*/ 207861 w 207861"/>
                <a:gd name="connsiteY42" fmla="*/ 188636 h 301755"/>
                <a:gd name="connsiteX43" fmla="*/ 202587 w 207861"/>
                <a:gd name="connsiteY43" fmla="*/ 151653 h 301755"/>
                <a:gd name="connsiteX44" fmla="*/ 187178 w 207861"/>
                <a:gd name="connsiteY44" fmla="*/ 121357 h 301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07861" h="301755">
                  <a:moveTo>
                    <a:pt x="148915" y="155686"/>
                  </a:moveTo>
                  <a:cubicBezTo>
                    <a:pt x="151466" y="161201"/>
                    <a:pt x="153672" y="167129"/>
                    <a:pt x="154948" y="173678"/>
                  </a:cubicBezTo>
                  <a:cubicBezTo>
                    <a:pt x="156361" y="180088"/>
                    <a:pt x="157154" y="186672"/>
                    <a:pt x="157154" y="193599"/>
                  </a:cubicBezTo>
                  <a:lnTo>
                    <a:pt x="157292" y="198459"/>
                  </a:lnTo>
                  <a:cubicBezTo>
                    <a:pt x="157292" y="204387"/>
                    <a:pt x="157051" y="209523"/>
                    <a:pt x="156258" y="213866"/>
                  </a:cubicBezTo>
                  <a:cubicBezTo>
                    <a:pt x="155499" y="221828"/>
                    <a:pt x="153190" y="228893"/>
                    <a:pt x="149053" y="235201"/>
                  </a:cubicBezTo>
                  <a:cubicBezTo>
                    <a:pt x="145193" y="240991"/>
                    <a:pt x="139953" y="245851"/>
                    <a:pt x="133507" y="249711"/>
                  </a:cubicBezTo>
                  <a:cubicBezTo>
                    <a:pt x="121304" y="256777"/>
                    <a:pt x="104861" y="260258"/>
                    <a:pt x="84041" y="260258"/>
                  </a:cubicBezTo>
                  <a:lnTo>
                    <a:pt x="53327" y="258087"/>
                  </a:lnTo>
                  <a:lnTo>
                    <a:pt x="53327" y="133352"/>
                  </a:lnTo>
                  <a:lnTo>
                    <a:pt x="55912" y="132835"/>
                  </a:lnTo>
                  <a:cubicBezTo>
                    <a:pt x="69011" y="130250"/>
                    <a:pt x="80835" y="128871"/>
                    <a:pt x="91624" y="128871"/>
                  </a:cubicBezTo>
                  <a:cubicBezTo>
                    <a:pt x="105516" y="128871"/>
                    <a:pt x="117305" y="131180"/>
                    <a:pt x="126819" y="135420"/>
                  </a:cubicBezTo>
                  <a:cubicBezTo>
                    <a:pt x="136713" y="139900"/>
                    <a:pt x="144158" y="146725"/>
                    <a:pt x="148778" y="155583"/>
                  </a:cubicBezTo>
                  <a:lnTo>
                    <a:pt x="148778" y="155721"/>
                  </a:lnTo>
                  <a:lnTo>
                    <a:pt x="148915" y="155721"/>
                  </a:lnTo>
                  <a:close/>
                  <a:moveTo>
                    <a:pt x="187178" y="121254"/>
                  </a:moveTo>
                  <a:cubicBezTo>
                    <a:pt x="177802" y="109432"/>
                    <a:pt x="163910" y="100815"/>
                    <a:pt x="145055" y="95300"/>
                  </a:cubicBezTo>
                  <a:cubicBezTo>
                    <a:pt x="128612" y="90165"/>
                    <a:pt x="108963" y="87718"/>
                    <a:pt x="85833" y="87718"/>
                  </a:cubicBezTo>
                  <a:lnTo>
                    <a:pt x="51534" y="89407"/>
                  </a:lnTo>
                  <a:lnTo>
                    <a:pt x="51534" y="29952"/>
                  </a:lnTo>
                  <a:cubicBezTo>
                    <a:pt x="51534" y="22507"/>
                    <a:pt x="50879" y="16958"/>
                    <a:pt x="49604" y="13235"/>
                  </a:cubicBezTo>
                  <a:cubicBezTo>
                    <a:pt x="48846" y="11305"/>
                    <a:pt x="48053" y="9651"/>
                    <a:pt x="47019" y="8341"/>
                  </a:cubicBezTo>
                  <a:cubicBezTo>
                    <a:pt x="45881" y="6790"/>
                    <a:pt x="44433" y="5515"/>
                    <a:pt x="42537" y="4239"/>
                  </a:cubicBezTo>
                  <a:cubicBezTo>
                    <a:pt x="40848" y="2964"/>
                    <a:pt x="38435" y="1930"/>
                    <a:pt x="35471" y="1275"/>
                  </a:cubicBezTo>
                  <a:lnTo>
                    <a:pt x="25853" y="0"/>
                  </a:lnTo>
                  <a:lnTo>
                    <a:pt x="16339" y="1275"/>
                  </a:lnTo>
                  <a:cubicBezTo>
                    <a:pt x="13271" y="1930"/>
                    <a:pt x="10824" y="2930"/>
                    <a:pt x="9135" y="4239"/>
                  </a:cubicBezTo>
                  <a:cubicBezTo>
                    <a:pt x="7342" y="5515"/>
                    <a:pt x="5791" y="6790"/>
                    <a:pt x="4757" y="8341"/>
                  </a:cubicBezTo>
                  <a:cubicBezTo>
                    <a:pt x="3723" y="9616"/>
                    <a:pt x="2827" y="11305"/>
                    <a:pt x="2068" y="13235"/>
                  </a:cubicBezTo>
                  <a:cubicBezTo>
                    <a:pt x="793" y="16958"/>
                    <a:pt x="138" y="22472"/>
                    <a:pt x="138" y="29952"/>
                  </a:cubicBezTo>
                  <a:lnTo>
                    <a:pt x="0" y="268978"/>
                  </a:lnTo>
                  <a:cubicBezTo>
                    <a:pt x="0" y="276561"/>
                    <a:pt x="758" y="282075"/>
                    <a:pt x="2068" y="285694"/>
                  </a:cubicBezTo>
                  <a:cubicBezTo>
                    <a:pt x="2585" y="287625"/>
                    <a:pt x="3482" y="289279"/>
                    <a:pt x="4654" y="290589"/>
                  </a:cubicBezTo>
                  <a:cubicBezTo>
                    <a:pt x="5688" y="292002"/>
                    <a:pt x="7239" y="293415"/>
                    <a:pt x="9031" y="294690"/>
                  </a:cubicBezTo>
                  <a:cubicBezTo>
                    <a:pt x="12099" y="296862"/>
                    <a:pt x="16236" y="298275"/>
                    <a:pt x="21613" y="298792"/>
                  </a:cubicBezTo>
                  <a:lnTo>
                    <a:pt x="30473" y="299826"/>
                  </a:lnTo>
                  <a:lnTo>
                    <a:pt x="71045" y="301756"/>
                  </a:lnTo>
                  <a:lnTo>
                    <a:pt x="88660" y="301377"/>
                  </a:lnTo>
                  <a:cubicBezTo>
                    <a:pt x="126302" y="299205"/>
                    <a:pt x="154569" y="289830"/>
                    <a:pt x="173424" y="272873"/>
                  </a:cubicBezTo>
                  <a:cubicBezTo>
                    <a:pt x="183318" y="264153"/>
                    <a:pt x="190901" y="254261"/>
                    <a:pt x="196279" y="243335"/>
                  </a:cubicBezTo>
                  <a:cubicBezTo>
                    <a:pt x="202070" y="231513"/>
                    <a:pt x="205896" y="217761"/>
                    <a:pt x="207206" y="202113"/>
                  </a:cubicBezTo>
                  <a:cubicBezTo>
                    <a:pt x="207723" y="197632"/>
                    <a:pt x="207861" y="192979"/>
                    <a:pt x="207861" y="188636"/>
                  </a:cubicBezTo>
                  <a:cubicBezTo>
                    <a:pt x="207861" y="175539"/>
                    <a:pt x="206069" y="163062"/>
                    <a:pt x="202587" y="151653"/>
                  </a:cubicBezTo>
                  <a:cubicBezTo>
                    <a:pt x="199002" y="140211"/>
                    <a:pt x="193866" y="130077"/>
                    <a:pt x="187178" y="121357"/>
                  </a:cubicBezTo>
                </a:path>
              </a:pathLst>
            </a:custGeom>
            <a:solidFill>
              <a:schemeClr val="bg1"/>
            </a:solidFill>
            <a:ln w="3430" cap="flat">
              <a:noFill/>
              <a:prstDash val="solid"/>
              <a:miter/>
            </a:ln>
          </p:spPr>
          <p:txBody>
            <a:bodyPr rtlCol="0" anchor="ctr"/>
            <a:lstStyle/>
            <a:p>
              <a:endParaRPr lang="en-DK"/>
            </a:p>
          </p:txBody>
        </p:sp>
        <p:sp>
          <p:nvSpPr>
            <p:cNvPr id="181" name="Freeform 180">
              <a:extLst>
                <a:ext uri="{FF2B5EF4-FFF2-40B4-BE49-F238E27FC236}">
                  <a16:creationId xmlns:a16="http://schemas.microsoft.com/office/drawing/2014/main" id="{5F42DD00-E367-EBA6-0C0D-2BEA4E8C339F}"/>
                </a:ext>
              </a:extLst>
            </p:cNvPr>
            <p:cNvSpPr/>
            <p:nvPr/>
          </p:nvSpPr>
          <p:spPr>
            <a:xfrm>
              <a:off x="5049923" y="4307072"/>
              <a:ext cx="192693" cy="214348"/>
            </a:xfrm>
            <a:custGeom>
              <a:avLst/>
              <a:gdLst>
                <a:gd name="connsiteX0" fmla="*/ 143090 w 192693"/>
                <a:gd name="connsiteY0" fmla="*/ 13235 h 214348"/>
                <a:gd name="connsiteX1" fmla="*/ 141159 w 192693"/>
                <a:gd name="connsiteY1" fmla="*/ 29814 h 214348"/>
                <a:gd name="connsiteX2" fmla="*/ 141159 w 192693"/>
                <a:gd name="connsiteY2" fmla="*/ 170714 h 214348"/>
                <a:gd name="connsiteX3" fmla="*/ 138471 w 192693"/>
                <a:gd name="connsiteY3" fmla="*/ 171093 h 214348"/>
                <a:gd name="connsiteX4" fmla="*/ 114203 w 192693"/>
                <a:gd name="connsiteY4" fmla="*/ 172885 h 214348"/>
                <a:gd name="connsiteX5" fmla="*/ 71183 w 192693"/>
                <a:gd name="connsiteY5" fmla="*/ 162235 h 214348"/>
                <a:gd name="connsiteX6" fmla="*/ 57705 w 192693"/>
                <a:gd name="connsiteY6" fmla="*/ 147586 h 214348"/>
                <a:gd name="connsiteX7" fmla="*/ 51534 w 192693"/>
                <a:gd name="connsiteY7" fmla="*/ 126389 h 214348"/>
                <a:gd name="connsiteX8" fmla="*/ 51396 w 192693"/>
                <a:gd name="connsiteY8" fmla="*/ 126251 h 214348"/>
                <a:gd name="connsiteX9" fmla="*/ 51396 w 192693"/>
                <a:gd name="connsiteY9" fmla="*/ 29779 h 214348"/>
                <a:gd name="connsiteX10" fmla="*/ 49466 w 192693"/>
                <a:gd name="connsiteY10" fmla="*/ 13201 h 214348"/>
                <a:gd name="connsiteX11" fmla="*/ 46881 w 192693"/>
                <a:gd name="connsiteY11" fmla="*/ 8203 h 214348"/>
                <a:gd name="connsiteX12" fmla="*/ 42400 w 192693"/>
                <a:gd name="connsiteY12" fmla="*/ 4102 h 214348"/>
                <a:gd name="connsiteX13" fmla="*/ 35195 w 192693"/>
                <a:gd name="connsiteY13" fmla="*/ 1137 h 214348"/>
                <a:gd name="connsiteX14" fmla="*/ 25681 w 192693"/>
                <a:gd name="connsiteY14" fmla="*/ 0 h 214348"/>
                <a:gd name="connsiteX15" fmla="*/ 16167 w 192693"/>
                <a:gd name="connsiteY15" fmla="*/ 1137 h 214348"/>
                <a:gd name="connsiteX16" fmla="*/ 8859 w 192693"/>
                <a:gd name="connsiteY16" fmla="*/ 4102 h 214348"/>
                <a:gd name="connsiteX17" fmla="*/ 4481 w 192693"/>
                <a:gd name="connsiteY17" fmla="*/ 8203 h 214348"/>
                <a:gd name="connsiteX18" fmla="*/ 1792 w 192693"/>
                <a:gd name="connsiteY18" fmla="*/ 13201 h 214348"/>
                <a:gd name="connsiteX19" fmla="*/ 0 w 192693"/>
                <a:gd name="connsiteY19" fmla="*/ 29779 h 214348"/>
                <a:gd name="connsiteX20" fmla="*/ 0 w 192693"/>
                <a:gd name="connsiteY20" fmla="*/ 113775 h 214348"/>
                <a:gd name="connsiteX21" fmla="*/ 517 w 192693"/>
                <a:gd name="connsiteY21" fmla="*/ 133041 h 214348"/>
                <a:gd name="connsiteX22" fmla="*/ 5274 w 192693"/>
                <a:gd name="connsiteY22" fmla="*/ 157444 h 214348"/>
                <a:gd name="connsiteX23" fmla="*/ 13478 w 192693"/>
                <a:gd name="connsiteY23" fmla="*/ 175815 h 214348"/>
                <a:gd name="connsiteX24" fmla="*/ 57015 w 192693"/>
                <a:gd name="connsiteY24" fmla="*/ 206007 h 214348"/>
                <a:gd name="connsiteX25" fmla="*/ 121649 w 192693"/>
                <a:gd name="connsiteY25" fmla="*/ 214348 h 214348"/>
                <a:gd name="connsiteX26" fmla="*/ 162118 w 192693"/>
                <a:gd name="connsiteY26" fmla="*/ 212418 h 214348"/>
                <a:gd name="connsiteX27" fmla="*/ 171115 w 192693"/>
                <a:gd name="connsiteY27" fmla="*/ 211384 h 214348"/>
                <a:gd name="connsiteX28" fmla="*/ 183697 w 192693"/>
                <a:gd name="connsiteY28" fmla="*/ 207283 h 214348"/>
                <a:gd name="connsiteX29" fmla="*/ 188075 w 192693"/>
                <a:gd name="connsiteY29" fmla="*/ 203181 h 214348"/>
                <a:gd name="connsiteX30" fmla="*/ 190763 w 192693"/>
                <a:gd name="connsiteY30" fmla="*/ 198321 h 214348"/>
                <a:gd name="connsiteX31" fmla="*/ 192694 w 192693"/>
                <a:gd name="connsiteY31" fmla="*/ 181605 h 214348"/>
                <a:gd name="connsiteX32" fmla="*/ 192556 w 192693"/>
                <a:gd name="connsiteY32" fmla="*/ 29779 h 214348"/>
                <a:gd name="connsiteX33" fmla="*/ 190626 w 192693"/>
                <a:gd name="connsiteY33" fmla="*/ 13201 h 214348"/>
                <a:gd name="connsiteX34" fmla="*/ 188040 w 192693"/>
                <a:gd name="connsiteY34" fmla="*/ 8203 h 214348"/>
                <a:gd name="connsiteX35" fmla="*/ 183559 w 192693"/>
                <a:gd name="connsiteY35" fmla="*/ 4102 h 214348"/>
                <a:gd name="connsiteX36" fmla="*/ 176492 w 192693"/>
                <a:gd name="connsiteY36" fmla="*/ 1137 h 214348"/>
                <a:gd name="connsiteX37" fmla="*/ 166875 w 192693"/>
                <a:gd name="connsiteY37" fmla="*/ 0 h 214348"/>
                <a:gd name="connsiteX38" fmla="*/ 157361 w 192693"/>
                <a:gd name="connsiteY38" fmla="*/ 1137 h 214348"/>
                <a:gd name="connsiteX39" fmla="*/ 150156 w 192693"/>
                <a:gd name="connsiteY39" fmla="*/ 4102 h 214348"/>
                <a:gd name="connsiteX40" fmla="*/ 145779 w 192693"/>
                <a:gd name="connsiteY40" fmla="*/ 8203 h 214348"/>
                <a:gd name="connsiteX41" fmla="*/ 143090 w 192693"/>
                <a:gd name="connsiteY41" fmla="*/ 13201 h 21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2693" h="214348">
                  <a:moveTo>
                    <a:pt x="143090" y="13235"/>
                  </a:moveTo>
                  <a:cubicBezTo>
                    <a:pt x="141814" y="16958"/>
                    <a:pt x="141159" y="22472"/>
                    <a:pt x="141159" y="29814"/>
                  </a:cubicBezTo>
                  <a:lnTo>
                    <a:pt x="141159" y="170714"/>
                  </a:lnTo>
                  <a:lnTo>
                    <a:pt x="138471" y="171093"/>
                  </a:lnTo>
                  <a:cubicBezTo>
                    <a:pt x="129991" y="172230"/>
                    <a:pt x="121890" y="172885"/>
                    <a:pt x="114203" y="172885"/>
                  </a:cubicBezTo>
                  <a:cubicBezTo>
                    <a:pt x="95968" y="172885"/>
                    <a:pt x="81559" y="169300"/>
                    <a:pt x="71183" y="162235"/>
                  </a:cubicBezTo>
                  <a:cubicBezTo>
                    <a:pt x="65392" y="158374"/>
                    <a:pt x="60911" y="153618"/>
                    <a:pt x="57705" y="147586"/>
                  </a:cubicBezTo>
                  <a:cubicBezTo>
                    <a:pt x="54223" y="141555"/>
                    <a:pt x="52051" y="134351"/>
                    <a:pt x="51534" y="126389"/>
                  </a:cubicBezTo>
                  <a:lnTo>
                    <a:pt x="51396" y="126251"/>
                  </a:lnTo>
                  <a:lnTo>
                    <a:pt x="51396" y="29779"/>
                  </a:lnTo>
                  <a:cubicBezTo>
                    <a:pt x="51396" y="22197"/>
                    <a:pt x="50776" y="16682"/>
                    <a:pt x="49466" y="13201"/>
                  </a:cubicBezTo>
                  <a:cubicBezTo>
                    <a:pt x="48811" y="11133"/>
                    <a:pt x="47915" y="9616"/>
                    <a:pt x="46881" y="8203"/>
                  </a:cubicBezTo>
                  <a:cubicBezTo>
                    <a:pt x="45743" y="6790"/>
                    <a:pt x="44192" y="5377"/>
                    <a:pt x="42400" y="4102"/>
                  </a:cubicBezTo>
                  <a:cubicBezTo>
                    <a:pt x="40745" y="2826"/>
                    <a:pt x="38435" y="1930"/>
                    <a:pt x="35195" y="1137"/>
                  </a:cubicBezTo>
                  <a:cubicBezTo>
                    <a:pt x="32368" y="379"/>
                    <a:pt x="29163" y="0"/>
                    <a:pt x="25681" y="0"/>
                  </a:cubicBezTo>
                  <a:lnTo>
                    <a:pt x="16167" y="1137"/>
                  </a:lnTo>
                  <a:cubicBezTo>
                    <a:pt x="13099" y="1896"/>
                    <a:pt x="10652" y="2792"/>
                    <a:pt x="8859" y="4102"/>
                  </a:cubicBezTo>
                  <a:cubicBezTo>
                    <a:pt x="7067" y="5377"/>
                    <a:pt x="5653" y="6790"/>
                    <a:pt x="4481" y="8203"/>
                  </a:cubicBezTo>
                  <a:cubicBezTo>
                    <a:pt x="3447" y="9616"/>
                    <a:pt x="2689" y="11167"/>
                    <a:pt x="1792" y="13201"/>
                  </a:cubicBezTo>
                  <a:cubicBezTo>
                    <a:pt x="517" y="16923"/>
                    <a:pt x="0" y="22438"/>
                    <a:pt x="0" y="29779"/>
                  </a:cubicBezTo>
                  <a:lnTo>
                    <a:pt x="0" y="113775"/>
                  </a:lnTo>
                  <a:cubicBezTo>
                    <a:pt x="0" y="121357"/>
                    <a:pt x="241" y="127768"/>
                    <a:pt x="517" y="133041"/>
                  </a:cubicBezTo>
                  <a:cubicBezTo>
                    <a:pt x="1034" y="141141"/>
                    <a:pt x="2585" y="149241"/>
                    <a:pt x="5274" y="157444"/>
                  </a:cubicBezTo>
                  <a:cubicBezTo>
                    <a:pt x="7446" y="164647"/>
                    <a:pt x="10169" y="170782"/>
                    <a:pt x="13478" y="175815"/>
                  </a:cubicBezTo>
                  <a:cubicBezTo>
                    <a:pt x="22337" y="189567"/>
                    <a:pt x="36850" y="199562"/>
                    <a:pt x="57015" y="206007"/>
                  </a:cubicBezTo>
                  <a:cubicBezTo>
                    <a:pt x="74492" y="211660"/>
                    <a:pt x="96071" y="214348"/>
                    <a:pt x="121649" y="214348"/>
                  </a:cubicBezTo>
                  <a:lnTo>
                    <a:pt x="162118" y="212418"/>
                  </a:lnTo>
                  <a:lnTo>
                    <a:pt x="171115" y="211384"/>
                  </a:lnTo>
                  <a:cubicBezTo>
                    <a:pt x="176630" y="210729"/>
                    <a:pt x="180870" y="209454"/>
                    <a:pt x="183697" y="207283"/>
                  </a:cubicBezTo>
                  <a:cubicBezTo>
                    <a:pt x="185489" y="206007"/>
                    <a:pt x="187041" y="204594"/>
                    <a:pt x="188075" y="203181"/>
                  </a:cubicBezTo>
                  <a:cubicBezTo>
                    <a:pt x="189247" y="201906"/>
                    <a:pt x="190143" y="200217"/>
                    <a:pt x="190763" y="198321"/>
                  </a:cubicBezTo>
                  <a:cubicBezTo>
                    <a:pt x="192039" y="194737"/>
                    <a:pt x="192694" y="189188"/>
                    <a:pt x="192694" y="181605"/>
                  </a:cubicBezTo>
                  <a:lnTo>
                    <a:pt x="192556" y="29779"/>
                  </a:lnTo>
                  <a:cubicBezTo>
                    <a:pt x="192556" y="22438"/>
                    <a:pt x="191901" y="16923"/>
                    <a:pt x="190626" y="13201"/>
                  </a:cubicBezTo>
                  <a:cubicBezTo>
                    <a:pt x="189971" y="11133"/>
                    <a:pt x="189074" y="9616"/>
                    <a:pt x="188040" y="8203"/>
                  </a:cubicBezTo>
                  <a:cubicBezTo>
                    <a:pt x="186903" y="6790"/>
                    <a:pt x="185455" y="5377"/>
                    <a:pt x="183559" y="4102"/>
                  </a:cubicBezTo>
                  <a:cubicBezTo>
                    <a:pt x="181870" y="2826"/>
                    <a:pt x="179457" y="1930"/>
                    <a:pt x="176492" y="1137"/>
                  </a:cubicBezTo>
                  <a:lnTo>
                    <a:pt x="166875" y="0"/>
                  </a:lnTo>
                  <a:lnTo>
                    <a:pt x="157361" y="1137"/>
                  </a:lnTo>
                  <a:cubicBezTo>
                    <a:pt x="154293" y="1896"/>
                    <a:pt x="151845" y="2792"/>
                    <a:pt x="150156" y="4102"/>
                  </a:cubicBezTo>
                  <a:cubicBezTo>
                    <a:pt x="148364" y="5377"/>
                    <a:pt x="146951" y="6790"/>
                    <a:pt x="145779" y="8203"/>
                  </a:cubicBezTo>
                  <a:cubicBezTo>
                    <a:pt x="144744" y="9616"/>
                    <a:pt x="143848" y="11167"/>
                    <a:pt x="143090" y="13201"/>
                  </a:cubicBezTo>
                </a:path>
              </a:pathLst>
            </a:custGeom>
            <a:solidFill>
              <a:schemeClr val="bg1"/>
            </a:solidFill>
            <a:ln w="3430" cap="flat">
              <a:noFill/>
              <a:prstDash val="solid"/>
              <a:miter/>
            </a:ln>
          </p:spPr>
          <p:txBody>
            <a:bodyPr rtlCol="0" anchor="ctr"/>
            <a:lstStyle/>
            <a:p>
              <a:endParaRPr lang="en-DK"/>
            </a:p>
          </p:txBody>
        </p:sp>
      </p:grpSp>
      <p:sp>
        <p:nvSpPr>
          <p:cNvPr id="173" name="Rectangle: Rounded Corners 18">
            <a:extLst>
              <a:ext uri="{FF2B5EF4-FFF2-40B4-BE49-F238E27FC236}">
                <a16:creationId xmlns:a16="http://schemas.microsoft.com/office/drawing/2014/main" id="{7A8A4EC7-D3EE-3675-4115-184BBE09DAD2}"/>
              </a:ext>
            </a:extLst>
          </p:cNvPr>
          <p:cNvSpPr/>
          <p:nvPr/>
        </p:nvSpPr>
        <p:spPr>
          <a:xfrm>
            <a:off x="5829754" y="1785939"/>
            <a:ext cx="1733515" cy="300062"/>
          </a:xfrm>
          <a:prstGeom prst="roundRect">
            <a:avLst>
              <a:gd name="adj" fmla="val 50000"/>
            </a:avLst>
          </a:prstGeom>
          <a:solidFill>
            <a:schemeClr val="tx2">
              <a:alpha val="49809"/>
            </a:schemeClr>
          </a:solidFill>
          <a:ln w="12700" cap="flat">
            <a:solidFill>
              <a:schemeClr val="tx2"/>
            </a:solidFill>
            <a:prstDash val="solid"/>
            <a:miter/>
          </a:ln>
        </p:spPr>
        <p:txBody>
          <a:bodyPr vert="horz" wrap="square" lIns="0" tIns="0" rIns="0" bIns="0" anchor="ctr" anchorCtr="1" compatLnSpc="1">
            <a:noAutofit/>
          </a:bodyPr>
          <a:lstStyle/>
          <a:p>
            <a:pPr algn="ctr" defTabSz="914309">
              <a:defRPr sz="1800" b="0" i="0" u="none" strike="noStrike" kern="0" cap="none" spc="0" baseline="0">
                <a:solidFill>
                  <a:srgbClr val="000000"/>
                </a:solidFill>
                <a:uFillTx/>
              </a:defRPr>
            </a:pPr>
            <a:r>
              <a:rPr lang="en-US" sz="1200" b="1" kern="0">
                <a:solidFill>
                  <a:schemeClr val="bg1"/>
                </a:solidFill>
                <a:latin typeface="Avenir Next LT Pro Demi" panose="020B0504020202020204" pitchFamily="34" charset="77"/>
              </a:rPr>
              <a:t>VALUE </a:t>
            </a:r>
            <a:r>
              <a:rPr lang="en-DK" sz="1200" b="1" kern="0">
                <a:solidFill>
                  <a:schemeClr val="bg1"/>
                </a:solidFill>
                <a:latin typeface="Avenir Next LT Pro Demi" panose="020B0504020202020204" pitchFamily="34" charset="77"/>
              </a:rPr>
              <a:t>DRIVER</a:t>
            </a:r>
            <a:endParaRPr lang="en-US" sz="1200" b="1" kern="0">
              <a:solidFill>
                <a:schemeClr val="bg1"/>
              </a:solidFill>
              <a:latin typeface="Avenir Next LT Pro Demi" panose="020B0504020202020204" pitchFamily="34" charset="77"/>
            </a:endParaRPr>
          </a:p>
        </p:txBody>
      </p:sp>
      <p:sp>
        <p:nvSpPr>
          <p:cNvPr id="174" name="Rectangle: Rounded Corners 18">
            <a:extLst>
              <a:ext uri="{FF2B5EF4-FFF2-40B4-BE49-F238E27FC236}">
                <a16:creationId xmlns:a16="http://schemas.microsoft.com/office/drawing/2014/main" id="{D8381A2C-005A-1A24-C01C-C907474C9078}"/>
              </a:ext>
            </a:extLst>
          </p:cNvPr>
          <p:cNvSpPr/>
          <p:nvPr/>
        </p:nvSpPr>
        <p:spPr>
          <a:xfrm>
            <a:off x="565870" y="3615729"/>
            <a:ext cx="1733515" cy="300062"/>
          </a:xfrm>
          <a:prstGeom prst="roundRect">
            <a:avLst>
              <a:gd name="adj" fmla="val 50000"/>
            </a:avLst>
          </a:prstGeom>
          <a:solidFill>
            <a:schemeClr val="accent5">
              <a:alpha val="49809"/>
            </a:schemeClr>
          </a:solidFill>
          <a:ln w="12700" cap="flat">
            <a:solidFill>
              <a:schemeClr val="accent5"/>
            </a:solidFill>
            <a:prstDash val="solid"/>
            <a:miter/>
          </a:ln>
        </p:spPr>
        <p:txBody>
          <a:bodyPr vert="horz" wrap="square" lIns="0" tIns="0" rIns="0" bIns="0" anchor="ctr" anchorCtr="1" compatLnSpc="1">
            <a:noAutofit/>
          </a:bodyPr>
          <a:lstStyle/>
          <a:p>
            <a:pPr algn="ctr" defTabSz="914309">
              <a:defRPr sz="1800" b="0" i="0" u="none" strike="noStrike" kern="0" cap="none" spc="0" baseline="0">
                <a:solidFill>
                  <a:srgbClr val="000000"/>
                </a:solidFill>
                <a:uFillTx/>
              </a:defRPr>
            </a:pPr>
            <a:r>
              <a:rPr lang="en-DK" sz="1200" b="1" kern="0">
                <a:solidFill>
                  <a:schemeClr val="bg1"/>
                </a:solidFill>
                <a:latin typeface="Avenir Next LT Pro Demi" panose="020B0504020202020204" pitchFamily="34" charset="77"/>
              </a:rPr>
              <a:t>V</a:t>
            </a:r>
            <a:r>
              <a:rPr lang="de-DE" sz="1200" b="1" kern="0">
                <a:solidFill>
                  <a:schemeClr val="bg1"/>
                </a:solidFill>
                <a:latin typeface="Avenir Next LT Pro Demi" panose="020B0504020202020204" pitchFamily="34" charset="77"/>
              </a:rPr>
              <a:t>ALUE </a:t>
            </a:r>
            <a:r>
              <a:rPr lang="en-DK" sz="1200" b="1" kern="0">
                <a:solidFill>
                  <a:schemeClr val="bg1"/>
                </a:solidFill>
                <a:latin typeface="Avenir Next LT Pro Demi" panose="020B0504020202020204" pitchFamily="34" charset="77"/>
              </a:rPr>
              <a:t>ENABLER</a:t>
            </a:r>
            <a:endParaRPr lang="en-US" sz="1200" b="1" kern="0">
              <a:solidFill>
                <a:schemeClr val="bg1"/>
              </a:solidFill>
              <a:latin typeface="Avenir Next LT Pro Demi" panose="020B0504020202020204" pitchFamily="34" charset="77"/>
            </a:endParaRPr>
          </a:p>
        </p:txBody>
      </p:sp>
      <p:sp>
        <p:nvSpPr>
          <p:cNvPr id="175" name="Rectangle: Rounded Corners 103">
            <a:extLst>
              <a:ext uri="{FF2B5EF4-FFF2-40B4-BE49-F238E27FC236}">
                <a16:creationId xmlns:a16="http://schemas.microsoft.com/office/drawing/2014/main" id="{435A096A-0328-4206-82D9-B37EDD8C321F}"/>
              </a:ext>
            </a:extLst>
          </p:cNvPr>
          <p:cNvSpPr>
            <a:spLocks/>
          </p:cNvSpPr>
          <p:nvPr/>
        </p:nvSpPr>
        <p:spPr>
          <a:xfrm>
            <a:off x="5536549" y="2169421"/>
            <a:ext cx="2319925" cy="538739"/>
          </a:xfrm>
          <a:prstGeom prst="roundRect">
            <a:avLst>
              <a:gd name="adj" fmla="val 4135"/>
            </a:avLst>
          </a:prstGeom>
          <a:noFill/>
          <a:ln w="9525" cap="flat" cmpd="sng" algn="ctr">
            <a:no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218">
              <a:spcAft>
                <a:spcPts val="400"/>
              </a:spcAft>
              <a:defRPr/>
            </a:pPr>
            <a:r>
              <a:rPr lang="en-US" sz="1200" kern="0">
                <a:solidFill>
                  <a:schemeClr val="bg1"/>
                </a:solidFill>
                <a:latin typeface="Avenir Next LT Pro"/>
              </a:rPr>
              <a:t>Core discovery and development unit</a:t>
            </a:r>
            <a:r>
              <a:rPr lang="en-DK" sz="1200" kern="0">
                <a:solidFill>
                  <a:schemeClr val="bg1"/>
                </a:solidFill>
                <a:latin typeface="Avenir Next LT Pro"/>
              </a:rPr>
              <a:t>, owning </a:t>
            </a:r>
            <a:r>
              <a:rPr lang="en-US" sz="1200" kern="0">
                <a:solidFill>
                  <a:schemeClr val="bg1"/>
                </a:solidFill>
                <a:latin typeface="Avenir Next LT Pro"/>
              </a:rPr>
              <a:t>R&amp;D</a:t>
            </a:r>
            <a:r>
              <a:rPr lang="en-DK" sz="1200" kern="0">
                <a:solidFill>
                  <a:schemeClr val="bg1"/>
                </a:solidFill>
                <a:latin typeface="Avenir Next LT Pro"/>
              </a:rPr>
              <a:t> </a:t>
            </a:r>
            <a:r>
              <a:rPr lang="en-US" sz="1200" kern="0">
                <a:solidFill>
                  <a:schemeClr val="bg1"/>
                </a:solidFill>
                <a:latin typeface="Avenir Next LT Pro"/>
              </a:rPr>
              <a:t>and pipeline strategy</a:t>
            </a:r>
            <a:endParaRPr lang="en-GB" sz="1200" kern="0">
              <a:solidFill>
                <a:schemeClr val="bg1"/>
              </a:solidFill>
              <a:latin typeface="Avenir Next LT Pro"/>
            </a:endParaRPr>
          </a:p>
        </p:txBody>
      </p:sp>
      <p:sp>
        <p:nvSpPr>
          <p:cNvPr id="176" name="Rectangle: Rounded Corners 103">
            <a:extLst>
              <a:ext uri="{FF2B5EF4-FFF2-40B4-BE49-F238E27FC236}">
                <a16:creationId xmlns:a16="http://schemas.microsoft.com/office/drawing/2014/main" id="{E8A77957-DB4F-F3A7-311B-BA724FD2874E}"/>
              </a:ext>
            </a:extLst>
          </p:cNvPr>
          <p:cNvSpPr>
            <a:spLocks/>
          </p:cNvSpPr>
          <p:nvPr/>
        </p:nvSpPr>
        <p:spPr>
          <a:xfrm>
            <a:off x="272665" y="3993123"/>
            <a:ext cx="2319925" cy="538739"/>
          </a:xfrm>
          <a:prstGeom prst="roundRect">
            <a:avLst>
              <a:gd name="adj" fmla="val 4135"/>
            </a:avLst>
          </a:prstGeom>
          <a:noFill/>
          <a:ln w="9525" cap="flat" cmpd="sng" algn="ctr">
            <a:no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55">
              <a:spcAft>
                <a:spcPts val="400"/>
              </a:spcAft>
            </a:pPr>
            <a:r>
              <a:rPr lang="en-US" sz="1200">
                <a:solidFill>
                  <a:schemeClr val="bg1"/>
                </a:solidFill>
              </a:rPr>
              <a:t>Standalone </a:t>
            </a:r>
            <a:r>
              <a:rPr lang="en-DK" sz="1200">
                <a:solidFill>
                  <a:schemeClr val="bg1"/>
                </a:solidFill>
              </a:rPr>
              <a:t>commercial unit, o</a:t>
            </a:r>
            <a:r>
              <a:rPr lang="en-US" sz="1200" err="1">
                <a:solidFill>
                  <a:schemeClr val="bg1"/>
                </a:solidFill>
              </a:rPr>
              <a:t>perationally</a:t>
            </a:r>
            <a:r>
              <a:rPr lang="en-US" sz="1200">
                <a:solidFill>
                  <a:schemeClr val="bg1"/>
                </a:solidFill>
              </a:rPr>
              <a:t> independent, but strategically integrated</a:t>
            </a:r>
            <a:endParaRPr lang="en-GB" sz="1200" b="1">
              <a:solidFill>
                <a:schemeClr val="bg1"/>
              </a:solidFill>
            </a:endParaRPr>
          </a:p>
        </p:txBody>
      </p:sp>
      <p:sp>
        <p:nvSpPr>
          <p:cNvPr id="183" name="Rectangle: Rounded Corners 18">
            <a:extLst>
              <a:ext uri="{FF2B5EF4-FFF2-40B4-BE49-F238E27FC236}">
                <a16:creationId xmlns:a16="http://schemas.microsoft.com/office/drawing/2014/main" id="{1C390D37-8D65-E520-89CA-610D693DB045}"/>
              </a:ext>
            </a:extLst>
          </p:cNvPr>
          <p:cNvSpPr/>
          <p:nvPr/>
        </p:nvSpPr>
        <p:spPr>
          <a:xfrm>
            <a:off x="6636591" y="3615729"/>
            <a:ext cx="1908000" cy="300062"/>
          </a:xfrm>
          <a:prstGeom prst="roundRect">
            <a:avLst>
              <a:gd name="adj" fmla="val 50000"/>
            </a:avLst>
          </a:prstGeom>
          <a:solidFill>
            <a:schemeClr val="accent4">
              <a:alpha val="49809"/>
            </a:schemeClr>
          </a:solidFill>
          <a:ln w="12700" cap="flat">
            <a:solidFill>
              <a:schemeClr val="accent4"/>
            </a:solidFill>
            <a:prstDash val="solid"/>
            <a:miter/>
          </a:ln>
        </p:spPr>
        <p:txBody>
          <a:bodyPr vert="horz" wrap="square" lIns="0" tIns="0" rIns="0" bIns="0" anchor="ctr" anchorCtr="1" compatLnSpc="1">
            <a:noAutofit/>
          </a:bodyPr>
          <a:lstStyle/>
          <a:p>
            <a:pPr algn="ctr" defTabSz="914309">
              <a:defRPr sz="1800" b="0" i="0" u="none" strike="noStrike" kern="0" cap="none" spc="0" baseline="0">
                <a:solidFill>
                  <a:srgbClr val="000000"/>
                </a:solidFill>
                <a:uFillTx/>
              </a:defRPr>
            </a:pPr>
            <a:r>
              <a:rPr lang="de-DE" sz="1200" b="1" kern="0">
                <a:solidFill>
                  <a:schemeClr val="bg1"/>
                </a:solidFill>
                <a:latin typeface="Avenir Next LT Pro Demi" panose="020B0504020202020204" pitchFamily="34" charset="77"/>
              </a:rPr>
              <a:t>VALUE ACCELERATOR</a:t>
            </a:r>
            <a:endParaRPr lang="en-US" sz="1200" b="1" kern="0">
              <a:solidFill>
                <a:schemeClr val="bg1"/>
              </a:solidFill>
              <a:latin typeface="Avenir Next LT Pro Demi" panose="020B0504020202020204" pitchFamily="34" charset="77"/>
            </a:endParaRPr>
          </a:p>
        </p:txBody>
      </p:sp>
      <p:sp>
        <p:nvSpPr>
          <p:cNvPr id="184" name="Rectangle: Rounded Corners 103">
            <a:extLst>
              <a:ext uri="{FF2B5EF4-FFF2-40B4-BE49-F238E27FC236}">
                <a16:creationId xmlns:a16="http://schemas.microsoft.com/office/drawing/2014/main" id="{C93240D8-F067-0A74-CB3B-1D4A91CBC2EF}"/>
              </a:ext>
            </a:extLst>
          </p:cNvPr>
          <p:cNvSpPr>
            <a:spLocks/>
          </p:cNvSpPr>
          <p:nvPr/>
        </p:nvSpPr>
        <p:spPr>
          <a:xfrm>
            <a:off x="6430629" y="3993123"/>
            <a:ext cx="2319925" cy="538739"/>
          </a:xfrm>
          <a:prstGeom prst="roundRect">
            <a:avLst>
              <a:gd name="adj" fmla="val 4135"/>
            </a:avLst>
          </a:prstGeom>
          <a:noFill/>
          <a:ln w="9525" cap="flat" cmpd="sng" algn="ctr">
            <a:no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218">
              <a:spcAft>
                <a:spcPts val="400"/>
              </a:spcAft>
              <a:defRPr/>
            </a:pPr>
            <a:r>
              <a:rPr lang="en-DK" sz="1200" kern="0">
                <a:solidFill>
                  <a:schemeClr val="bg1"/>
                </a:solidFill>
              </a:rPr>
              <a:t>V</a:t>
            </a:r>
            <a:r>
              <a:rPr lang="en-US" sz="1200" kern="0" err="1">
                <a:solidFill>
                  <a:schemeClr val="bg1"/>
                </a:solidFill>
              </a:rPr>
              <a:t>enture</a:t>
            </a:r>
            <a:r>
              <a:rPr lang="en-US" sz="1200" kern="0">
                <a:solidFill>
                  <a:schemeClr val="bg1"/>
                </a:solidFill>
              </a:rPr>
              <a:t> creation</a:t>
            </a:r>
            <a:r>
              <a:rPr lang="en-DK" sz="1200" kern="0">
                <a:solidFill>
                  <a:schemeClr val="bg1"/>
                </a:solidFill>
              </a:rPr>
              <a:t> unit leveraging external capital </a:t>
            </a:r>
            <a:br>
              <a:rPr lang="en-DK" sz="1200" kern="0">
                <a:solidFill>
                  <a:schemeClr val="bg1"/>
                </a:solidFill>
              </a:rPr>
            </a:br>
            <a:r>
              <a:rPr lang="en-DK" sz="1200" kern="0">
                <a:solidFill>
                  <a:schemeClr val="bg1"/>
                </a:solidFill>
              </a:rPr>
              <a:t>for </a:t>
            </a:r>
            <a:r>
              <a:rPr lang="en-DK" sz="1200">
                <a:solidFill>
                  <a:schemeClr val="bg1"/>
                </a:solidFill>
                <a:ea typeface="Aptos" panose="020B0004020202020204" pitchFamily="34" charset="0"/>
                <a:cs typeface="Aptos" panose="020B0004020202020204" pitchFamily="34" charset="0"/>
              </a:rPr>
              <a:t>pipeline optionality</a:t>
            </a:r>
          </a:p>
        </p:txBody>
      </p:sp>
      <p:sp>
        <p:nvSpPr>
          <p:cNvPr id="186" name="Text 35">
            <a:extLst>
              <a:ext uri="{FF2B5EF4-FFF2-40B4-BE49-F238E27FC236}">
                <a16:creationId xmlns:a16="http://schemas.microsoft.com/office/drawing/2014/main" id="{A3871B91-961D-01E6-E516-77ECC126E7B5}"/>
              </a:ext>
            </a:extLst>
          </p:cNvPr>
          <p:cNvSpPr/>
          <p:nvPr/>
        </p:nvSpPr>
        <p:spPr>
          <a:xfrm>
            <a:off x="9045072" y="1456060"/>
            <a:ext cx="2539334" cy="362426"/>
          </a:xfrm>
          <a:prstGeom prst="rect">
            <a:avLst/>
          </a:prstGeom>
          <a:noFill/>
          <a:ln/>
        </p:spPr>
        <p:txBody>
          <a:bodyPr wrap="square" lIns="0" rIns="0" rtlCol="0" anchor="ctr"/>
          <a:lstStyle/>
          <a:p>
            <a:pPr algn="ctr" defTabSz="914309"/>
            <a:r>
              <a:rPr lang="en-DK" sz="1200" b="1" kern="0">
                <a:solidFill>
                  <a:schemeClr val="bg1"/>
                </a:solidFill>
                <a:latin typeface="Avenir Next LT Pro Demi" panose="020B0504020202020204" pitchFamily="34" charset="77"/>
              </a:rPr>
              <a:t>...enables compounded value creation through</a:t>
            </a:r>
            <a:endParaRPr lang="en-US" sz="1200" b="1" kern="0">
              <a:solidFill>
                <a:schemeClr val="bg1"/>
              </a:solidFill>
              <a:latin typeface="Avenir Next LT Pro Demi" panose="020B0504020202020204" pitchFamily="34" charset="77"/>
            </a:endParaRPr>
          </a:p>
        </p:txBody>
      </p:sp>
      <p:pic>
        <p:nvPicPr>
          <p:cNvPr id="188" name="Graphic 187">
            <a:extLst>
              <a:ext uri="{FF2B5EF4-FFF2-40B4-BE49-F238E27FC236}">
                <a16:creationId xmlns:a16="http://schemas.microsoft.com/office/drawing/2014/main" id="{FC128384-E6B3-6ABD-BC16-F8DA1D6CD12F}"/>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9990740" y="1947723"/>
            <a:ext cx="648000" cy="648000"/>
          </a:xfrm>
          <a:prstGeom prst="rect">
            <a:avLst/>
          </a:prstGeom>
        </p:spPr>
      </p:pic>
      <p:grpSp>
        <p:nvGrpSpPr>
          <p:cNvPr id="189" name="Graphic 138" descr="End outline">
            <a:extLst>
              <a:ext uri="{FF2B5EF4-FFF2-40B4-BE49-F238E27FC236}">
                <a16:creationId xmlns:a16="http://schemas.microsoft.com/office/drawing/2014/main" id="{B89E8363-49AE-C2AB-F016-490332F6174C}"/>
              </a:ext>
            </a:extLst>
          </p:cNvPr>
          <p:cNvGrpSpPr/>
          <p:nvPr/>
        </p:nvGrpSpPr>
        <p:grpSpPr>
          <a:xfrm>
            <a:off x="10165369" y="2144999"/>
            <a:ext cx="299630" cy="254292"/>
            <a:chOff x="12869587" y="2273371"/>
            <a:chExt cx="381114" cy="323461"/>
          </a:xfrm>
          <a:solidFill>
            <a:schemeClr val="bg1"/>
          </a:solidFill>
        </p:grpSpPr>
        <p:sp>
          <p:nvSpPr>
            <p:cNvPr id="190" name="Freeform 189">
              <a:extLst>
                <a:ext uri="{FF2B5EF4-FFF2-40B4-BE49-F238E27FC236}">
                  <a16:creationId xmlns:a16="http://schemas.microsoft.com/office/drawing/2014/main" id="{1063C6DE-66C0-4878-0F04-5942A6FC6CD9}"/>
                </a:ext>
              </a:extLst>
            </p:cNvPr>
            <p:cNvSpPr/>
            <p:nvPr/>
          </p:nvSpPr>
          <p:spPr>
            <a:xfrm>
              <a:off x="13239153" y="2273464"/>
              <a:ext cx="11548" cy="323368"/>
            </a:xfrm>
            <a:custGeom>
              <a:avLst/>
              <a:gdLst>
                <a:gd name="connsiteX0" fmla="*/ 0 w 11548"/>
                <a:gd name="connsiteY0" fmla="*/ 0 h 323368"/>
                <a:gd name="connsiteX1" fmla="*/ 11549 w 11548"/>
                <a:gd name="connsiteY1" fmla="*/ 0 h 323368"/>
                <a:gd name="connsiteX2" fmla="*/ 11549 w 11548"/>
                <a:gd name="connsiteY2" fmla="*/ 323369 h 323368"/>
                <a:gd name="connsiteX3" fmla="*/ 0 w 11548"/>
                <a:gd name="connsiteY3" fmla="*/ 323369 h 323368"/>
              </a:gdLst>
              <a:ahLst/>
              <a:cxnLst>
                <a:cxn ang="0">
                  <a:pos x="connsiteX0" y="connsiteY0"/>
                </a:cxn>
                <a:cxn ang="0">
                  <a:pos x="connsiteX1" y="connsiteY1"/>
                </a:cxn>
                <a:cxn ang="0">
                  <a:pos x="connsiteX2" y="connsiteY2"/>
                </a:cxn>
                <a:cxn ang="0">
                  <a:pos x="connsiteX3" y="connsiteY3"/>
                </a:cxn>
              </a:cxnLst>
              <a:rect l="l" t="t" r="r" b="b"/>
              <a:pathLst>
                <a:path w="11548" h="323368">
                  <a:moveTo>
                    <a:pt x="0" y="0"/>
                  </a:moveTo>
                  <a:lnTo>
                    <a:pt x="11549" y="0"/>
                  </a:lnTo>
                  <a:lnTo>
                    <a:pt x="11549" y="323369"/>
                  </a:lnTo>
                  <a:lnTo>
                    <a:pt x="0" y="323369"/>
                  </a:lnTo>
                  <a:close/>
                </a:path>
              </a:pathLst>
            </a:custGeom>
            <a:grpFill/>
            <a:ln w="6350" cap="flat">
              <a:solidFill>
                <a:schemeClr val="bg1"/>
              </a:solidFill>
              <a:prstDash val="solid"/>
              <a:miter/>
            </a:ln>
          </p:spPr>
          <p:txBody>
            <a:bodyPr rtlCol="0" anchor="ctr"/>
            <a:lstStyle/>
            <a:p>
              <a:endParaRPr lang="en-DK"/>
            </a:p>
          </p:txBody>
        </p:sp>
        <p:sp>
          <p:nvSpPr>
            <p:cNvPr id="191" name="Freeform 190">
              <a:extLst>
                <a:ext uri="{FF2B5EF4-FFF2-40B4-BE49-F238E27FC236}">
                  <a16:creationId xmlns:a16="http://schemas.microsoft.com/office/drawing/2014/main" id="{6644A370-431C-6F73-082A-68F4E4B54138}"/>
                </a:ext>
              </a:extLst>
            </p:cNvPr>
            <p:cNvSpPr/>
            <p:nvPr/>
          </p:nvSpPr>
          <p:spPr>
            <a:xfrm>
              <a:off x="13048596" y="2273371"/>
              <a:ext cx="170346" cy="323460"/>
            </a:xfrm>
            <a:custGeom>
              <a:avLst/>
              <a:gdLst>
                <a:gd name="connsiteX0" fmla="*/ 0 w 170346"/>
                <a:gd name="connsiteY0" fmla="*/ 0 h 323460"/>
                <a:gd name="connsiteX1" fmla="*/ 0 w 170346"/>
                <a:gd name="connsiteY1" fmla="*/ 323461 h 323460"/>
                <a:gd name="connsiteX2" fmla="*/ 170347 w 170346"/>
                <a:gd name="connsiteY2" fmla="*/ 161730 h 323460"/>
                <a:gd name="connsiteX3" fmla="*/ 11549 w 170346"/>
                <a:gd name="connsiteY3" fmla="*/ 26886 h 323460"/>
                <a:gd name="connsiteX4" fmla="*/ 153601 w 170346"/>
                <a:gd name="connsiteY4" fmla="*/ 161730 h 323460"/>
                <a:gd name="connsiteX5" fmla="*/ 11549 w 170346"/>
                <a:gd name="connsiteY5" fmla="*/ 296569 h 32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346" h="323460">
                  <a:moveTo>
                    <a:pt x="0" y="0"/>
                  </a:moveTo>
                  <a:lnTo>
                    <a:pt x="0" y="323461"/>
                  </a:lnTo>
                  <a:lnTo>
                    <a:pt x="170347" y="161730"/>
                  </a:lnTo>
                  <a:close/>
                  <a:moveTo>
                    <a:pt x="11549" y="26886"/>
                  </a:moveTo>
                  <a:lnTo>
                    <a:pt x="153601" y="161730"/>
                  </a:lnTo>
                  <a:lnTo>
                    <a:pt x="11549" y="296569"/>
                  </a:lnTo>
                  <a:close/>
                </a:path>
              </a:pathLst>
            </a:custGeom>
            <a:grpFill/>
            <a:ln w="6350" cap="flat">
              <a:solidFill>
                <a:schemeClr val="bg1"/>
              </a:solidFill>
              <a:prstDash val="solid"/>
              <a:miter/>
            </a:ln>
          </p:spPr>
          <p:txBody>
            <a:bodyPr rtlCol="0" anchor="ctr"/>
            <a:lstStyle/>
            <a:p>
              <a:endParaRPr lang="en-DK"/>
            </a:p>
          </p:txBody>
        </p:sp>
        <p:sp>
          <p:nvSpPr>
            <p:cNvPr id="192" name="Freeform 191">
              <a:extLst>
                <a:ext uri="{FF2B5EF4-FFF2-40B4-BE49-F238E27FC236}">
                  <a16:creationId xmlns:a16="http://schemas.microsoft.com/office/drawing/2014/main" id="{3C6FD3B6-4179-044B-D35E-B6416E34DAA3}"/>
                </a:ext>
              </a:extLst>
            </p:cNvPr>
            <p:cNvSpPr/>
            <p:nvPr/>
          </p:nvSpPr>
          <p:spPr>
            <a:xfrm>
              <a:off x="12869587" y="2273371"/>
              <a:ext cx="170346" cy="323460"/>
            </a:xfrm>
            <a:custGeom>
              <a:avLst/>
              <a:gdLst>
                <a:gd name="connsiteX0" fmla="*/ 0 w 170346"/>
                <a:gd name="connsiteY0" fmla="*/ 323461 h 323460"/>
                <a:gd name="connsiteX1" fmla="*/ 170347 w 170346"/>
                <a:gd name="connsiteY1" fmla="*/ 161730 h 323460"/>
                <a:gd name="connsiteX2" fmla="*/ 0 w 170346"/>
                <a:gd name="connsiteY2" fmla="*/ 0 h 323460"/>
                <a:gd name="connsiteX3" fmla="*/ 11549 w 170346"/>
                <a:gd name="connsiteY3" fmla="*/ 26886 h 323460"/>
                <a:gd name="connsiteX4" fmla="*/ 153601 w 170346"/>
                <a:gd name="connsiteY4" fmla="*/ 161730 h 323460"/>
                <a:gd name="connsiteX5" fmla="*/ 11549 w 170346"/>
                <a:gd name="connsiteY5" fmla="*/ 296569 h 32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346" h="323460">
                  <a:moveTo>
                    <a:pt x="0" y="323461"/>
                  </a:moveTo>
                  <a:lnTo>
                    <a:pt x="170347" y="161730"/>
                  </a:lnTo>
                  <a:lnTo>
                    <a:pt x="0" y="0"/>
                  </a:lnTo>
                  <a:close/>
                  <a:moveTo>
                    <a:pt x="11549" y="26886"/>
                  </a:moveTo>
                  <a:lnTo>
                    <a:pt x="153601" y="161730"/>
                  </a:lnTo>
                  <a:lnTo>
                    <a:pt x="11549" y="296569"/>
                  </a:lnTo>
                  <a:close/>
                </a:path>
              </a:pathLst>
            </a:custGeom>
            <a:grpFill/>
            <a:ln w="6350" cap="flat">
              <a:solidFill>
                <a:schemeClr val="bg1"/>
              </a:solidFill>
              <a:prstDash val="solid"/>
              <a:miter/>
            </a:ln>
          </p:spPr>
          <p:txBody>
            <a:bodyPr rtlCol="0" anchor="ctr"/>
            <a:lstStyle/>
            <a:p>
              <a:endParaRPr lang="en-DK"/>
            </a:p>
          </p:txBody>
        </p:sp>
      </p:grpSp>
      <p:cxnSp>
        <p:nvCxnSpPr>
          <p:cNvPr id="194" name="Straight Connector 193">
            <a:extLst>
              <a:ext uri="{FF2B5EF4-FFF2-40B4-BE49-F238E27FC236}">
                <a16:creationId xmlns:a16="http://schemas.microsoft.com/office/drawing/2014/main" id="{7C15801B-D5B0-C33E-F315-26ACBAE51061}"/>
              </a:ext>
            </a:extLst>
          </p:cNvPr>
          <p:cNvCxnSpPr>
            <a:cxnSpLocks/>
          </p:cNvCxnSpPr>
          <p:nvPr/>
        </p:nvCxnSpPr>
        <p:spPr>
          <a:xfrm>
            <a:off x="8858938" y="1511417"/>
            <a:ext cx="0" cy="5066249"/>
          </a:xfrm>
          <a:prstGeom prst="line">
            <a:avLst/>
          </a:prstGeom>
          <a:ln w="6350">
            <a:solidFill>
              <a:schemeClr val="tx2"/>
            </a:solidFill>
          </a:ln>
        </p:spPr>
        <p:style>
          <a:lnRef idx="2">
            <a:schemeClr val="accent1"/>
          </a:lnRef>
          <a:fillRef idx="0">
            <a:schemeClr val="accent1"/>
          </a:fillRef>
          <a:effectRef idx="1">
            <a:schemeClr val="accent1"/>
          </a:effectRef>
          <a:fontRef idx="minor">
            <a:schemeClr val="tx1"/>
          </a:fontRef>
        </p:style>
      </p:cxnSp>
      <p:sp>
        <p:nvSpPr>
          <p:cNvPr id="206" name="Rectangle 205">
            <a:extLst>
              <a:ext uri="{FF2B5EF4-FFF2-40B4-BE49-F238E27FC236}">
                <a16:creationId xmlns:a16="http://schemas.microsoft.com/office/drawing/2014/main" id="{C53EDCD7-D20C-258B-8783-D899C21AC4EF}"/>
              </a:ext>
            </a:extLst>
          </p:cNvPr>
          <p:cNvSpPr>
            <a:spLocks/>
          </p:cNvSpPr>
          <p:nvPr/>
        </p:nvSpPr>
        <p:spPr>
          <a:xfrm>
            <a:off x="9333115" y="3566381"/>
            <a:ext cx="1963250" cy="469768"/>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1">
                    <a:lumMod val="100000"/>
                  </a:schemeClr>
                </a:solidFill>
              </a14:hiddenFill>
            </a:ext>
            <a:ext uri="{91240B29-F687-4F45-9708-019B960494DF}">
              <a14:hiddenLine xmlns:a14="http://schemas.microsoft.com/office/drawing/2010/main" w="9525" cap="flat" cmpd="sng" algn="ctr">
                <a:solidFill>
                  <a:schemeClr val="accent1">
                    <a:lumMod val="100000"/>
                    <a:alpha val="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71991" tIns="71991" rIns="71991" bIns="71991" rtlCol="0" anchor="ctr"/>
          <a:lstStyle/>
          <a:p>
            <a:pPr algn="ctr" defTabSz="914309">
              <a:spcAft>
                <a:spcPts val="600"/>
              </a:spcAft>
              <a:defRPr/>
            </a:pPr>
            <a:r>
              <a:rPr lang="en-DK" sz="1200">
                <a:solidFill>
                  <a:schemeClr val="bg1"/>
                </a:solidFill>
                <a:latin typeface="Avenir Next LT Pro" panose="020B0504020202020204" pitchFamily="34" charset="77"/>
              </a:rPr>
              <a:t>Broader and more resilient portfolio</a:t>
            </a:r>
            <a:endParaRPr lang="en-GB" sz="1200">
              <a:solidFill>
                <a:schemeClr val="bg1"/>
              </a:solidFill>
              <a:latin typeface="Avenir Next LT Pro" panose="020B0504020202020204" pitchFamily="34" charset="77"/>
            </a:endParaRPr>
          </a:p>
        </p:txBody>
      </p:sp>
      <p:pic>
        <p:nvPicPr>
          <p:cNvPr id="207" name="Graphic 206">
            <a:extLst>
              <a:ext uri="{FF2B5EF4-FFF2-40B4-BE49-F238E27FC236}">
                <a16:creationId xmlns:a16="http://schemas.microsoft.com/office/drawing/2014/main" id="{D2DD1534-4BE7-1362-D592-D7824D5A7FBC}"/>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9990740" y="2972401"/>
            <a:ext cx="648000" cy="648000"/>
          </a:xfrm>
          <a:prstGeom prst="rect">
            <a:avLst/>
          </a:prstGeom>
        </p:spPr>
      </p:pic>
      <p:sp>
        <p:nvSpPr>
          <p:cNvPr id="212" name="Rectangle 211">
            <a:extLst>
              <a:ext uri="{FF2B5EF4-FFF2-40B4-BE49-F238E27FC236}">
                <a16:creationId xmlns:a16="http://schemas.microsoft.com/office/drawing/2014/main" id="{EFE9DA87-6EF4-BDC9-0002-18BBF8DE5AC3}"/>
              </a:ext>
            </a:extLst>
          </p:cNvPr>
          <p:cNvSpPr>
            <a:spLocks/>
          </p:cNvSpPr>
          <p:nvPr/>
        </p:nvSpPr>
        <p:spPr>
          <a:xfrm>
            <a:off x="9234951" y="4801325"/>
            <a:ext cx="2159575" cy="469768"/>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1">
                    <a:lumMod val="100000"/>
                  </a:schemeClr>
                </a:solidFill>
              </a14:hiddenFill>
            </a:ext>
            <a:ext uri="{91240B29-F687-4F45-9708-019B960494DF}">
              <a14:hiddenLine xmlns:a14="http://schemas.microsoft.com/office/drawing/2010/main" w="9525" cap="flat" cmpd="sng" algn="ctr">
                <a:solidFill>
                  <a:schemeClr val="accent1">
                    <a:lumMod val="100000"/>
                    <a:alpha val="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71991" tIns="71991" rIns="71991" bIns="71991" rtlCol="0" anchor="ctr"/>
          <a:lstStyle/>
          <a:p>
            <a:pPr algn="ctr" defTabSz="914309">
              <a:spcAft>
                <a:spcPts val="600"/>
              </a:spcAft>
              <a:defRPr/>
            </a:pPr>
            <a:r>
              <a:rPr lang="en-DK" sz="1200">
                <a:solidFill>
                  <a:schemeClr val="bg1"/>
                </a:solidFill>
                <a:latin typeface="Avenir Next LT Pro" panose="020B0504020202020204" pitchFamily="34" charset="77"/>
              </a:rPr>
              <a:t>Structured capital allocation and higher capital efficiency</a:t>
            </a:r>
            <a:endParaRPr lang="en-GB" sz="1200">
              <a:solidFill>
                <a:schemeClr val="bg1"/>
              </a:solidFill>
              <a:latin typeface="Avenir Next LT Pro" panose="020B0504020202020204" pitchFamily="34" charset="77"/>
            </a:endParaRPr>
          </a:p>
        </p:txBody>
      </p:sp>
      <p:pic>
        <p:nvPicPr>
          <p:cNvPr id="213" name="Graphic 212">
            <a:extLst>
              <a:ext uri="{FF2B5EF4-FFF2-40B4-BE49-F238E27FC236}">
                <a16:creationId xmlns:a16="http://schemas.microsoft.com/office/drawing/2014/main" id="{0E1D5B55-7AA4-94D6-4BB7-790C8D7FBAA8}"/>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9990740" y="4172177"/>
            <a:ext cx="648000" cy="648000"/>
          </a:xfrm>
          <a:prstGeom prst="rect">
            <a:avLst/>
          </a:prstGeom>
        </p:spPr>
      </p:pic>
      <p:sp>
        <p:nvSpPr>
          <p:cNvPr id="218" name="Rectangle 217">
            <a:extLst>
              <a:ext uri="{FF2B5EF4-FFF2-40B4-BE49-F238E27FC236}">
                <a16:creationId xmlns:a16="http://schemas.microsoft.com/office/drawing/2014/main" id="{294B216A-0303-0A82-D8C9-230047114CA9}"/>
              </a:ext>
            </a:extLst>
          </p:cNvPr>
          <p:cNvSpPr>
            <a:spLocks/>
          </p:cNvSpPr>
          <p:nvPr/>
        </p:nvSpPr>
        <p:spPr>
          <a:xfrm>
            <a:off x="9234951" y="5973234"/>
            <a:ext cx="2159575" cy="469768"/>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1">
                    <a:lumMod val="100000"/>
                  </a:schemeClr>
                </a:solidFill>
              </a14:hiddenFill>
            </a:ext>
            <a:ext uri="{91240B29-F687-4F45-9708-019B960494DF}">
              <a14:hiddenLine xmlns:a14="http://schemas.microsoft.com/office/drawing/2010/main" w="9525" cap="flat" cmpd="sng" algn="ctr">
                <a:solidFill>
                  <a:schemeClr val="accent1">
                    <a:lumMod val="100000"/>
                    <a:alpha val="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71991" tIns="71991" rIns="71991" bIns="71991" rtlCol="0" anchor="ctr"/>
          <a:lstStyle/>
          <a:p>
            <a:pPr algn="ctr" defTabSz="914309">
              <a:spcAft>
                <a:spcPts val="600"/>
              </a:spcAft>
              <a:defRPr/>
            </a:pPr>
            <a:r>
              <a:rPr lang="en-DK" sz="1200">
                <a:solidFill>
                  <a:schemeClr val="bg1"/>
                </a:solidFill>
                <a:latin typeface="Avenir Next LT Pro" panose="020B0504020202020204" pitchFamily="34" charset="77"/>
              </a:rPr>
              <a:t>Multiple monetization paths across time horizons</a:t>
            </a:r>
            <a:endParaRPr lang="en-GB" sz="1200">
              <a:solidFill>
                <a:schemeClr val="bg1"/>
              </a:solidFill>
              <a:latin typeface="Avenir Next LT Pro" panose="020B0504020202020204" pitchFamily="34" charset="77"/>
            </a:endParaRPr>
          </a:p>
        </p:txBody>
      </p:sp>
      <p:pic>
        <p:nvPicPr>
          <p:cNvPr id="219" name="Graphic 218">
            <a:extLst>
              <a:ext uri="{FF2B5EF4-FFF2-40B4-BE49-F238E27FC236}">
                <a16:creationId xmlns:a16="http://schemas.microsoft.com/office/drawing/2014/main" id="{34EF2733-F972-81F4-641B-C46B27B301C0}"/>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9990740" y="5344086"/>
            <a:ext cx="648000" cy="648000"/>
          </a:xfrm>
          <a:prstGeom prst="rect">
            <a:avLst/>
          </a:prstGeom>
        </p:spPr>
      </p:pic>
      <p:grpSp>
        <p:nvGrpSpPr>
          <p:cNvPr id="196" name="Graphic 132" descr="Building Brick Wall outline">
            <a:extLst>
              <a:ext uri="{FF2B5EF4-FFF2-40B4-BE49-F238E27FC236}">
                <a16:creationId xmlns:a16="http://schemas.microsoft.com/office/drawing/2014/main" id="{0A457EA8-CBB2-0B46-065F-77B28E9E80B6}"/>
              </a:ext>
            </a:extLst>
          </p:cNvPr>
          <p:cNvGrpSpPr/>
          <p:nvPr/>
        </p:nvGrpSpPr>
        <p:grpSpPr>
          <a:xfrm>
            <a:off x="10151618" y="3099993"/>
            <a:ext cx="326227" cy="321089"/>
            <a:chOff x="12852264" y="3368242"/>
            <a:chExt cx="424231" cy="417549"/>
          </a:xfrm>
          <a:solidFill>
            <a:schemeClr val="bg1"/>
          </a:solidFill>
        </p:grpSpPr>
        <p:sp>
          <p:nvSpPr>
            <p:cNvPr id="197" name="Freeform 196">
              <a:extLst>
                <a:ext uri="{FF2B5EF4-FFF2-40B4-BE49-F238E27FC236}">
                  <a16:creationId xmlns:a16="http://schemas.microsoft.com/office/drawing/2014/main" id="{98E8F7E6-4B77-3AA7-0917-E4B2315072FE}"/>
                </a:ext>
              </a:extLst>
            </p:cNvPr>
            <p:cNvSpPr/>
            <p:nvPr/>
          </p:nvSpPr>
          <p:spPr>
            <a:xfrm>
              <a:off x="12852264" y="3497070"/>
              <a:ext cx="415761" cy="288721"/>
            </a:xfrm>
            <a:custGeom>
              <a:avLst/>
              <a:gdLst>
                <a:gd name="connsiteX0" fmla="*/ 282948 w 415761"/>
                <a:gd name="connsiteY0" fmla="*/ 0 h 288721"/>
                <a:gd name="connsiteX1" fmla="*/ 0 w 415761"/>
                <a:gd name="connsiteY1" fmla="*/ 0 h 288721"/>
                <a:gd name="connsiteX2" fmla="*/ 0 w 415761"/>
                <a:gd name="connsiteY2" fmla="*/ 288722 h 288721"/>
                <a:gd name="connsiteX3" fmla="*/ 415761 w 415761"/>
                <a:gd name="connsiteY3" fmla="*/ 288722 h 288721"/>
                <a:gd name="connsiteX4" fmla="*/ 415761 w 415761"/>
                <a:gd name="connsiteY4" fmla="*/ 69293 h 288721"/>
                <a:gd name="connsiteX5" fmla="*/ 282948 w 415761"/>
                <a:gd name="connsiteY5" fmla="*/ 69293 h 288721"/>
                <a:gd name="connsiteX6" fmla="*/ 271400 w 415761"/>
                <a:gd name="connsiteY6" fmla="*/ 69293 h 288721"/>
                <a:gd name="connsiteX7" fmla="*/ 144361 w 415761"/>
                <a:gd name="connsiteY7" fmla="*/ 69293 h 288721"/>
                <a:gd name="connsiteX8" fmla="*/ 144361 w 415761"/>
                <a:gd name="connsiteY8" fmla="*/ 11549 h 288721"/>
                <a:gd name="connsiteX9" fmla="*/ 271400 w 415761"/>
                <a:gd name="connsiteY9" fmla="*/ 11549 h 288721"/>
                <a:gd name="connsiteX10" fmla="*/ 202106 w 415761"/>
                <a:gd name="connsiteY10" fmla="*/ 80842 h 288721"/>
                <a:gd name="connsiteX11" fmla="*/ 202106 w 415761"/>
                <a:gd name="connsiteY11" fmla="*/ 138587 h 288721"/>
                <a:gd name="connsiteX12" fmla="*/ 75068 w 415761"/>
                <a:gd name="connsiteY12" fmla="*/ 138587 h 288721"/>
                <a:gd name="connsiteX13" fmla="*/ 75068 w 415761"/>
                <a:gd name="connsiteY13" fmla="*/ 80842 h 288721"/>
                <a:gd name="connsiteX14" fmla="*/ 144361 w 415761"/>
                <a:gd name="connsiteY14" fmla="*/ 207880 h 288721"/>
                <a:gd name="connsiteX15" fmla="*/ 144361 w 415761"/>
                <a:gd name="connsiteY15" fmla="*/ 150135 h 288721"/>
                <a:gd name="connsiteX16" fmla="*/ 271400 w 415761"/>
                <a:gd name="connsiteY16" fmla="*/ 150135 h 288721"/>
                <a:gd name="connsiteX17" fmla="*/ 271400 w 415761"/>
                <a:gd name="connsiteY17" fmla="*/ 207880 h 288721"/>
                <a:gd name="connsiteX18" fmla="*/ 132813 w 415761"/>
                <a:gd name="connsiteY18" fmla="*/ 150135 h 288721"/>
                <a:gd name="connsiteX19" fmla="*/ 132813 w 415761"/>
                <a:gd name="connsiteY19" fmla="*/ 207880 h 288721"/>
                <a:gd name="connsiteX20" fmla="*/ 11549 w 415761"/>
                <a:gd name="connsiteY20" fmla="*/ 207880 h 288721"/>
                <a:gd name="connsiteX21" fmla="*/ 11549 w 415761"/>
                <a:gd name="connsiteY21" fmla="*/ 150135 h 288721"/>
                <a:gd name="connsiteX22" fmla="*/ 202106 w 415761"/>
                <a:gd name="connsiteY22" fmla="*/ 219429 h 288721"/>
                <a:gd name="connsiteX23" fmla="*/ 202106 w 415761"/>
                <a:gd name="connsiteY23" fmla="*/ 277173 h 288721"/>
                <a:gd name="connsiteX24" fmla="*/ 75068 w 415761"/>
                <a:gd name="connsiteY24" fmla="*/ 277173 h 288721"/>
                <a:gd name="connsiteX25" fmla="*/ 75068 w 415761"/>
                <a:gd name="connsiteY25" fmla="*/ 219429 h 288721"/>
                <a:gd name="connsiteX26" fmla="*/ 213655 w 415761"/>
                <a:gd name="connsiteY26" fmla="*/ 219429 h 288721"/>
                <a:gd name="connsiteX27" fmla="*/ 340693 w 415761"/>
                <a:gd name="connsiteY27" fmla="*/ 219429 h 288721"/>
                <a:gd name="connsiteX28" fmla="*/ 340693 w 415761"/>
                <a:gd name="connsiteY28" fmla="*/ 277173 h 288721"/>
                <a:gd name="connsiteX29" fmla="*/ 213655 w 415761"/>
                <a:gd name="connsiteY29" fmla="*/ 277173 h 288721"/>
                <a:gd name="connsiteX30" fmla="*/ 282948 w 415761"/>
                <a:gd name="connsiteY30" fmla="*/ 207880 h 288721"/>
                <a:gd name="connsiteX31" fmla="*/ 282948 w 415761"/>
                <a:gd name="connsiteY31" fmla="*/ 150135 h 288721"/>
                <a:gd name="connsiteX32" fmla="*/ 404212 w 415761"/>
                <a:gd name="connsiteY32" fmla="*/ 150135 h 288721"/>
                <a:gd name="connsiteX33" fmla="*/ 404212 w 415761"/>
                <a:gd name="connsiteY33" fmla="*/ 207880 h 288721"/>
                <a:gd name="connsiteX34" fmla="*/ 213655 w 415761"/>
                <a:gd name="connsiteY34" fmla="*/ 138587 h 288721"/>
                <a:gd name="connsiteX35" fmla="*/ 213655 w 415761"/>
                <a:gd name="connsiteY35" fmla="*/ 80842 h 288721"/>
                <a:gd name="connsiteX36" fmla="*/ 340693 w 415761"/>
                <a:gd name="connsiteY36" fmla="*/ 80842 h 288721"/>
                <a:gd name="connsiteX37" fmla="*/ 340693 w 415761"/>
                <a:gd name="connsiteY37" fmla="*/ 138587 h 288721"/>
                <a:gd name="connsiteX38" fmla="*/ 11549 w 415761"/>
                <a:gd name="connsiteY38" fmla="*/ 11549 h 288721"/>
                <a:gd name="connsiteX39" fmla="*/ 132813 w 415761"/>
                <a:gd name="connsiteY39" fmla="*/ 11549 h 288721"/>
                <a:gd name="connsiteX40" fmla="*/ 132813 w 415761"/>
                <a:gd name="connsiteY40" fmla="*/ 69293 h 288721"/>
                <a:gd name="connsiteX41" fmla="*/ 11549 w 415761"/>
                <a:gd name="connsiteY41" fmla="*/ 69293 h 288721"/>
                <a:gd name="connsiteX42" fmla="*/ 63519 w 415761"/>
                <a:gd name="connsiteY42" fmla="*/ 80842 h 288721"/>
                <a:gd name="connsiteX43" fmla="*/ 63519 w 415761"/>
                <a:gd name="connsiteY43" fmla="*/ 138587 h 288721"/>
                <a:gd name="connsiteX44" fmla="*/ 11549 w 415761"/>
                <a:gd name="connsiteY44" fmla="*/ 138587 h 288721"/>
                <a:gd name="connsiteX45" fmla="*/ 11549 w 415761"/>
                <a:gd name="connsiteY45" fmla="*/ 80842 h 288721"/>
                <a:gd name="connsiteX46" fmla="*/ 11549 w 415761"/>
                <a:gd name="connsiteY46" fmla="*/ 219429 h 288721"/>
                <a:gd name="connsiteX47" fmla="*/ 63519 w 415761"/>
                <a:gd name="connsiteY47" fmla="*/ 219429 h 288721"/>
                <a:gd name="connsiteX48" fmla="*/ 63519 w 415761"/>
                <a:gd name="connsiteY48" fmla="*/ 277173 h 288721"/>
                <a:gd name="connsiteX49" fmla="*/ 11549 w 415761"/>
                <a:gd name="connsiteY49" fmla="*/ 277173 h 288721"/>
                <a:gd name="connsiteX50" fmla="*/ 352242 w 415761"/>
                <a:gd name="connsiteY50" fmla="*/ 277173 h 288721"/>
                <a:gd name="connsiteX51" fmla="*/ 352242 w 415761"/>
                <a:gd name="connsiteY51" fmla="*/ 219429 h 288721"/>
                <a:gd name="connsiteX52" fmla="*/ 404212 w 415761"/>
                <a:gd name="connsiteY52" fmla="*/ 219429 h 288721"/>
                <a:gd name="connsiteX53" fmla="*/ 404212 w 415761"/>
                <a:gd name="connsiteY53" fmla="*/ 277173 h 288721"/>
                <a:gd name="connsiteX54" fmla="*/ 404212 w 415761"/>
                <a:gd name="connsiteY54" fmla="*/ 138587 h 288721"/>
                <a:gd name="connsiteX55" fmla="*/ 352242 w 415761"/>
                <a:gd name="connsiteY55" fmla="*/ 138587 h 288721"/>
                <a:gd name="connsiteX56" fmla="*/ 352242 w 415761"/>
                <a:gd name="connsiteY56" fmla="*/ 80842 h 288721"/>
                <a:gd name="connsiteX57" fmla="*/ 404212 w 415761"/>
                <a:gd name="connsiteY57" fmla="*/ 80842 h 288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15761" h="288721">
                  <a:moveTo>
                    <a:pt x="282948" y="0"/>
                  </a:moveTo>
                  <a:lnTo>
                    <a:pt x="0" y="0"/>
                  </a:lnTo>
                  <a:lnTo>
                    <a:pt x="0" y="288722"/>
                  </a:lnTo>
                  <a:lnTo>
                    <a:pt x="415761" y="288722"/>
                  </a:lnTo>
                  <a:lnTo>
                    <a:pt x="415761" y="69293"/>
                  </a:lnTo>
                  <a:lnTo>
                    <a:pt x="282948" y="69293"/>
                  </a:lnTo>
                  <a:close/>
                  <a:moveTo>
                    <a:pt x="271400" y="69293"/>
                  </a:moveTo>
                  <a:lnTo>
                    <a:pt x="144361" y="69293"/>
                  </a:lnTo>
                  <a:lnTo>
                    <a:pt x="144361" y="11549"/>
                  </a:lnTo>
                  <a:lnTo>
                    <a:pt x="271400" y="11549"/>
                  </a:lnTo>
                  <a:close/>
                  <a:moveTo>
                    <a:pt x="202106" y="80842"/>
                  </a:moveTo>
                  <a:lnTo>
                    <a:pt x="202106" y="138587"/>
                  </a:lnTo>
                  <a:lnTo>
                    <a:pt x="75068" y="138587"/>
                  </a:lnTo>
                  <a:lnTo>
                    <a:pt x="75068" y="80842"/>
                  </a:lnTo>
                  <a:close/>
                  <a:moveTo>
                    <a:pt x="144361" y="207880"/>
                  </a:moveTo>
                  <a:lnTo>
                    <a:pt x="144361" y="150135"/>
                  </a:lnTo>
                  <a:lnTo>
                    <a:pt x="271400" y="150135"/>
                  </a:lnTo>
                  <a:lnTo>
                    <a:pt x="271400" y="207880"/>
                  </a:lnTo>
                  <a:close/>
                  <a:moveTo>
                    <a:pt x="132813" y="150135"/>
                  </a:moveTo>
                  <a:lnTo>
                    <a:pt x="132813" y="207880"/>
                  </a:lnTo>
                  <a:lnTo>
                    <a:pt x="11549" y="207880"/>
                  </a:lnTo>
                  <a:lnTo>
                    <a:pt x="11549" y="150135"/>
                  </a:lnTo>
                  <a:close/>
                  <a:moveTo>
                    <a:pt x="202106" y="219429"/>
                  </a:moveTo>
                  <a:lnTo>
                    <a:pt x="202106" y="277173"/>
                  </a:lnTo>
                  <a:lnTo>
                    <a:pt x="75068" y="277173"/>
                  </a:lnTo>
                  <a:lnTo>
                    <a:pt x="75068" y="219429"/>
                  </a:lnTo>
                  <a:close/>
                  <a:moveTo>
                    <a:pt x="213655" y="219429"/>
                  </a:moveTo>
                  <a:lnTo>
                    <a:pt x="340693" y="219429"/>
                  </a:lnTo>
                  <a:lnTo>
                    <a:pt x="340693" y="277173"/>
                  </a:lnTo>
                  <a:lnTo>
                    <a:pt x="213655" y="277173"/>
                  </a:lnTo>
                  <a:close/>
                  <a:moveTo>
                    <a:pt x="282948" y="207880"/>
                  </a:moveTo>
                  <a:lnTo>
                    <a:pt x="282948" y="150135"/>
                  </a:lnTo>
                  <a:lnTo>
                    <a:pt x="404212" y="150135"/>
                  </a:lnTo>
                  <a:lnTo>
                    <a:pt x="404212" y="207880"/>
                  </a:lnTo>
                  <a:close/>
                  <a:moveTo>
                    <a:pt x="213655" y="138587"/>
                  </a:moveTo>
                  <a:lnTo>
                    <a:pt x="213655" y="80842"/>
                  </a:lnTo>
                  <a:lnTo>
                    <a:pt x="340693" y="80842"/>
                  </a:lnTo>
                  <a:lnTo>
                    <a:pt x="340693" y="138587"/>
                  </a:lnTo>
                  <a:close/>
                  <a:moveTo>
                    <a:pt x="11549" y="11549"/>
                  </a:moveTo>
                  <a:lnTo>
                    <a:pt x="132813" y="11549"/>
                  </a:lnTo>
                  <a:lnTo>
                    <a:pt x="132813" y="69293"/>
                  </a:lnTo>
                  <a:lnTo>
                    <a:pt x="11549" y="69293"/>
                  </a:lnTo>
                  <a:close/>
                  <a:moveTo>
                    <a:pt x="63519" y="80842"/>
                  </a:moveTo>
                  <a:lnTo>
                    <a:pt x="63519" y="138587"/>
                  </a:lnTo>
                  <a:lnTo>
                    <a:pt x="11549" y="138587"/>
                  </a:lnTo>
                  <a:lnTo>
                    <a:pt x="11549" y="80842"/>
                  </a:lnTo>
                  <a:close/>
                  <a:moveTo>
                    <a:pt x="11549" y="219429"/>
                  </a:moveTo>
                  <a:lnTo>
                    <a:pt x="63519" y="219429"/>
                  </a:lnTo>
                  <a:lnTo>
                    <a:pt x="63519" y="277173"/>
                  </a:lnTo>
                  <a:lnTo>
                    <a:pt x="11549" y="277173"/>
                  </a:lnTo>
                  <a:close/>
                  <a:moveTo>
                    <a:pt x="352242" y="277173"/>
                  </a:moveTo>
                  <a:lnTo>
                    <a:pt x="352242" y="219429"/>
                  </a:lnTo>
                  <a:lnTo>
                    <a:pt x="404212" y="219429"/>
                  </a:lnTo>
                  <a:lnTo>
                    <a:pt x="404212" y="277173"/>
                  </a:lnTo>
                  <a:close/>
                  <a:moveTo>
                    <a:pt x="404212" y="138587"/>
                  </a:moveTo>
                  <a:lnTo>
                    <a:pt x="352242" y="138587"/>
                  </a:lnTo>
                  <a:lnTo>
                    <a:pt x="352242" y="80842"/>
                  </a:lnTo>
                  <a:lnTo>
                    <a:pt x="404212" y="80842"/>
                  </a:lnTo>
                  <a:close/>
                </a:path>
              </a:pathLst>
            </a:custGeom>
            <a:grpFill/>
            <a:ln w="5755" cap="flat">
              <a:noFill/>
              <a:prstDash val="solid"/>
              <a:miter/>
            </a:ln>
          </p:spPr>
          <p:txBody>
            <a:bodyPr rtlCol="0" anchor="ctr"/>
            <a:lstStyle/>
            <a:p>
              <a:endParaRPr lang="en-DK"/>
            </a:p>
          </p:txBody>
        </p:sp>
        <p:sp>
          <p:nvSpPr>
            <p:cNvPr id="198" name="Freeform 197">
              <a:extLst>
                <a:ext uri="{FF2B5EF4-FFF2-40B4-BE49-F238E27FC236}">
                  <a16:creationId xmlns:a16="http://schemas.microsoft.com/office/drawing/2014/main" id="{7CCD4295-86A5-FF6B-8EAD-53B84BB5F8C6}"/>
                </a:ext>
              </a:extLst>
            </p:cNvPr>
            <p:cNvSpPr/>
            <p:nvPr/>
          </p:nvSpPr>
          <p:spPr>
            <a:xfrm>
              <a:off x="13121873" y="3368242"/>
              <a:ext cx="154622" cy="117688"/>
            </a:xfrm>
            <a:custGeom>
              <a:avLst/>
              <a:gdLst>
                <a:gd name="connsiteX0" fmla="*/ 154623 w 154622"/>
                <a:gd name="connsiteY0" fmla="*/ 63848 h 117688"/>
                <a:gd name="connsiteX1" fmla="*/ 127702 w 154622"/>
                <a:gd name="connsiteY1" fmla="*/ 0 h 117688"/>
                <a:gd name="connsiteX2" fmla="*/ 0 w 154622"/>
                <a:gd name="connsiteY2" fmla="*/ 53841 h 117688"/>
                <a:gd name="connsiteX3" fmla="*/ 26921 w 154622"/>
                <a:gd name="connsiteY3" fmla="*/ 117689 h 117688"/>
                <a:gd name="connsiteX4" fmla="*/ 121541 w 154622"/>
                <a:gd name="connsiteY4" fmla="*/ 15129 h 117688"/>
                <a:gd name="connsiteX5" fmla="*/ 139499 w 154622"/>
                <a:gd name="connsiteY5" fmla="*/ 57698 h 117688"/>
                <a:gd name="connsiteX6" fmla="*/ 33076 w 154622"/>
                <a:gd name="connsiteY6" fmla="*/ 102560 h 117688"/>
                <a:gd name="connsiteX7" fmla="*/ 15129 w 154622"/>
                <a:gd name="connsiteY7" fmla="*/ 59996 h 117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622" h="117688">
                  <a:moveTo>
                    <a:pt x="154623" y="63848"/>
                  </a:moveTo>
                  <a:lnTo>
                    <a:pt x="127702" y="0"/>
                  </a:lnTo>
                  <a:lnTo>
                    <a:pt x="0" y="53841"/>
                  </a:lnTo>
                  <a:lnTo>
                    <a:pt x="26921" y="117689"/>
                  </a:lnTo>
                  <a:close/>
                  <a:moveTo>
                    <a:pt x="121541" y="15129"/>
                  </a:moveTo>
                  <a:lnTo>
                    <a:pt x="139499" y="57698"/>
                  </a:lnTo>
                  <a:lnTo>
                    <a:pt x="33076" y="102560"/>
                  </a:lnTo>
                  <a:lnTo>
                    <a:pt x="15129" y="59996"/>
                  </a:lnTo>
                  <a:close/>
                </a:path>
              </a:pathLst>
            </a:custGeom>
            <a:grpFill/>
            <a:ln w="5755" cap="flat">
              <a:noFill/>
              <a:prstDash val="solid"/>
              <a:miter/>
            </a:ln>
          </p:spPr>
          <p:txBody>
            <a:bodyPr rtlCol="0" anchor="ctr"/>
            <a:lstStyle/>
            <a:p>
              <a:endParaRPr lang="en-DK"/>
            </a:p>
          </p:txBody>
        </p:sp>
      </p:grpSp>
      <p:pic>
        <p:nvPicPr>
          <p:cNvPr id="137" name="Graphic 136" descr="Coins outline">
            <a:extLst>
              <a:ext uri="{FF2B5EF4-FFF2-40B4-BE49-F238E27FC236}">
                <a16:creationId xmlns:a16="http://schemas.microsoft.com/office/drawing/2014/main" id="{AF343862-B75A-D9C7-567C-4792A5D6F4C3}"/>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0099214" y="4254986"/>
            <a:ext cx="431050" cy="431048"/>
          </a:xfrm>
          <a:prstGeom prst="rect">
            <a:avLst/>
          </a:prstGeom>
        </p:spPr>
      </p:pic>
      <p:sp>
        <p:nvSpPr>
          <p:cNvPr id="225" name="Graphic 130" descr="Signpost outline">
            <a:extLst>
              <a:ext uri="{FF2B5EF4-FFF2-40B4-BE49-F238E27FC236}">
                <a16:creationId xmlns:a16="http://schemas.microsoft.com/office/drawing/2014/main" id="{DE792B4A-A6E4-C735-B34F-E95EEF1F020B}"/>
              </a:ext>
            </a:extLst>
          </p:cNvPr>
          <p:cNvSpPr/>
          <p:nvPr/>
        </p:nvSpPr>
        <p:spPr>
          <a:xfrm>
            <a:off x="10135293" y="5469442"/>
            <a:ext cx="358891" cy="410159"/>
          </a:xfrm>
          <a:custGeom>
            <a:avLst/>
            <a:gdLst>
              <a:gd name="connsiteX0" fmla="*/ 404212 w 404212"/>
              <a:gd name="connsiteY0" fmla="*/ 265624 h 461955"/>
              <a:gd name="connsiteX1" fmla="*/ 346468 w 404212"/>
              <a:gd name="connsiteY1" fmla="*/ 207880 h 461955"/>
              <a:gd name="connsiteX2" fmla="*/ 207881 w 404212"/>
              <a:gd name="connsiteY2" fmla="*/ 207880 h 461955"/>
              <a:gd name="connsiteX3" fmla="*/ 207881 w 404212"/>
              <a:gd name="connsiteY3" fmla="*/ 5774 h 461955"/>
              <a:gd name="connsiteX4" fmla="*/ 202106 w 404212"/>
              <a:gd name="connsiteY4" fmla="*/ 0 h 461955"/>
              <a:gd name="connsiteX5" fmla="*/ 196332 w 404212"/>
              <a:gd name="connsiteY5" fmla="*/ 5774 h 461955"/>
              <a:gd name="connsiteX6" fmla="*/ 196332 w 404212"/>
              <a:gd name="connsiteY6" fmla="*/ 69293 h 461955"/>
              <a:gd name="connsiteX7" fmla="*/ 57745 w 404212"/>
              <a:gd name="connsiteY7" fmla="*/ 69293 h 461955"/>
              <a:gd name="connsiteX8" fmla="*/ 0 w 404212"/>
              <a:gd name="connsiteY8" fmla="*/ 127038 h 461955"/>
              <a:gd name="connsiteX9" fmla="*/ 57745 w 404212"/>
              <a:gd name="connsiteY9" fmla="*/ 184782 h 461955"/>
              <a:gd name="connsiteX10" fmla="*/ 196332 w 404212"/>
              <a:gd name="connsiteY10" fmla="*/ 184782 h 461955"/>
              <a:gd name="connsiteX11" fmla="*/ 196332 w 404212"/>
              <a:gd name="connsiteY11" fmla="*/ 461955 h 461955"/>
              <a:gd name="connsiteX12" fmla="*/ 207881 w 404212"/>
              <a:gd name="connsiteY12" fmla="*/ 461955 h 461955"/>
              <a:gd name="connsiteX13" fmla="*/ 207881 w 404212"/>
              <a:gd name="connsiteY13" fmla="*/ 323369 h 461955"/>
              <a:gd name="connsiteX14" fmla="*/ 346468 w 404212"/>
              <a:gd name="connsiteY14" fmla="*/ 323369 h 461955"/>
              <a:gd name="connsiteX15" fmla="*/ 62526 w 404212"/>
              <a:gd name="connsiteY15" fmla="*/ 173233 h 461955"/>
              <a:gd name="connsiteX16" fmla="*/ 16330 w 404212"/>
              <a:gd name="connsiteY16" fmla="*/ 127038 h 461955"/>
              <a:gd name="connsiteX17" fmla="*/ 62526 w 404212"/>
              <a:gd name="connsiteY17" fmla="*/ 80842 h 461955"/>
              <a:gd name="connsiteX18" fmla="*/ 196332 w 404212"/>
              <a:gd name="connsiteY18" fmla="*/ 80842 h 461955"/>
              <a:gd name="connsiteX19" fmla="*/ 196332 w 404212"/>
              <a:gd name="connsiteY19" fmla="*/ 173233 h 461955"/>
              <a:gd name="connsiteX20" fmla="*/ 207881 w 404212"/>
              <a:gd name="connsiteY20" fmla="*/ 311820 h 461955"/>
              <a:gd name="connsiteX21" fmla="*/ 207881 w 404212"/>
              <a:gd name="connsiteY21" fmla="*/ 219429 h 461955"/>
              <a:gd name="connsiteX22" fmla="*/ 341686 w 404212"/>
              <a:gd name="connsiteY22" fmla="*/ 219429 h 461955"/>
              <a:gd name="connsiteX23" fmla="*/ 387882 w 404212"/>
              <a:gd name="connsiteY23" fmla="*/ 265624 h 461955"/>
              <a:gd name="connsiteX24" fmla="*/ 341686 w 404212"/>
              <a:gd name="connsiteY24" fmla="*/ 311820 h 46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4212" h="461955">
                <a:moveTo>
                  <a:pt x="404212" y="265624"/>
                </a:moveTo>
                <a:lnTo>
                  <a:pt x="346468" y="207880"/>
                </a:lnTo>
                <a:lnTo>
                  <a:pt x="207881" y="207880"/>
                </a:lnTo>
                <a:lnTo>
                  <a:pt x="207881" y="5774"/>
                </a:lnTo>
                <a:cubicBezTo>
                  <a:pt x="207881" y="2585"/>
                  <a:pt x="205295" y="0"/>
                  <a:pt x="202106" y="0"/>
                </a:cubicBezTo>
                <a:cubicBezTo>
                  <a:pt x="198917" y="0"/>
                  <a:pt x="196332" y="2585"/>
                  <a:pt x="196332" y="5774"/>
                </a:cubicBezTo>
                <a:lnTo>
                  <a:pt x="196332" y="69293"/>
                </a:lnTo>
                <a:lnTo>
                  <a:pt x="57745" y="69293"/>
                </a:lnTo>
                <a:lnTo>
                  <a:pt x="0" y="127038"/>
                </a:lnTo>
                <a:lnTo>
                  <a:pt x="57745" y="184782"/>
                </a:lnTo>
                <a:lnTo>
                  <a:pt x="196332" y="184782"/>
                </a:lnTo>
                <a:lnTo>
                  <a:pt x="196332" y="461955"/>
                </a:lnTo>
                <a:lnTo>
                  <a:pt x="207881" y="461955"/>
                </a:lnTo>
                <a:lnTo>
                  <a:pt x="207881" y="323369"/>
                </a:lnTo>
                <a:lnTo>
                  <a:pt x="346468" y="323369"/>
                </a:lnTo>
                <a:close/>
                <a:moveTo>
                  <a:pt x="62526" y="173233"/>
                </a:moveTo>
                <a:lnTo>
                  <a:pt x="16330" y="127038"/>
                </a:lnTo>
                <a:lnTo>
                  <a:pt x="62526" y="80842"/>
                </a:lnTo>
                <a:lnTo>
                  <a:pt x="196332" y="80842"/>
                </a:lnTo>
                <a:lnTo>
                  <a:pt x="196332" y="173233"/>
                </a:lnTo>
                <a:close/>
                <a:moveTo>
                  <a:pt x="207881" y="311820"/>
                </a:moveTo>
                <a:lnTo>
                  <a:pt x="207881" y="219429"/>
                </a:lnTo>
                <a:lnTo>
                  <a:pt x="341686" y="219429"/>
                </a:lnTo>
                <a:lnTo>
                  <a:pt x="387882" y="265624"/>
                </a:lnTo>
                <a:lnTo>
                  <a:pt x="341686" y="311820"/>
                </a:lnTo>
                <a:close/>
              </a:path>
            </a:pathLst>
          </a:custGeom>
          <a:solidFill>
            <a:schemeClr val="bg1"/>
          </a:solidFill>
          <a:ln w="5755" cap="flat">
            <a:noFill/>
            <a:prstDash val="solid"/>
            <a:miter/>
          </a:ln>
        </p:spPr>
        <p:txBody>
          <a:bodyPr rtlCol="0" anchor="ctr"/>
          <a:lstStyle/>
          <a:p>
            <a:endParaRPr lang="en-DK"/>
          </a:p>
        </p:txBody>
      </p:sp>
      <p:sp>
        <p:nvSpPr>
          <p:cNvPr id="3" name="TextBox 2">
            <a:extLst>
              <a:ext uri="{FF2B5EF4-FFF2-40B4-BE49-F238E27FC236}">
                <a16:creationId xmlns:a16="http://schemas.microsoft.com/office/drawing/2014/main" id="{53308BFC-1920-83FE-8DC7-ACFD454C119E}"/>
              </a:ext>
            </a:extLst>
          </p:cNvPr>
          <p:cNvSpPr txBox="1"/>
          <p:nvPr/>
        </p:nvSpPr>
        <p:spPr>
          <a:xfrm>
            <a:off x="11594381" y="6399575"/>
            <a:ext cx="27602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92F5A-FC14-4E83-B4CC-18F6C2D780A4}" type="slidenum">
              <a:rPr kumimoji="0" lang="en-US" sz="1000" b="0" i="0" u="none" strike="noStrike" kern="0" cap="none" spc="40" normalizeH="0" baseline="0" noProof="0" smtClean="0">
                <a:ln>
                  <a:noFill/>
                </a:ln>
                <a:solidFill>
                  <a:srgbClr val="2878FF"/>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0" cap="none" spc="40" normalizeH="0" baseline="0" noProof="0">
              <a:ln>
                <a:noFill/>
              </a:ln>
              <a:solidFill>
                <a:srgbClr val="2878FF"/>
              </a:solidFill>
              <a:effectLst/>
              <a:uLnTx/>
              <a:uFillTx/>
              <a:latin typeface="Avenir Next LT Pro"/>
              <a:ea typeface="+mn-ea"/>
              <a:cs typeface="+mn-cs"/>
            </a:endParaRPr>
          </a:p>
        </p:txBody>
      </p:sp>
    </p:spTree>
    <p:extLst>
      <p:ext uri="{BB962C8B-B14F-4D97-AF65-F5344CB8AC3E}">
        <p14:creationId xmlns:p14="http://schemas.microsoft.com/office/powerpoint/2010/main" val="8921989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3219F5-BD71-1765-A08E-E084BDA458F0}"/>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4E572819-9164-9393-024B-B92B762CDEA3}"/>
              </a:ext>
            </a:extLst>
          </p:cNvPr>
          <p:cNvGraphicFramePr>
            <a:graphicFrameLocks/>
          </p:cNvGraphicFramePr>
          <p:nvPr>
            <p:custDataLst>
              <p:tags r:id="rId1"/>
            </p:custDataLst>
          </p:nvPr>
        </p:nvGraphicFramePr>
        <p:xfrm>
          <a:off x="3175" y="2034"/>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14" name="think-cell data - do not delete" hidden="1">
                        <a:extLst>
                          <a:ext uri="{FF2B5EF4-FFF2-40B4-BE49-F238E27FC236}">
                            <a16:creationId xmlns:a16="http://schemas.microsoft.com/office/drawing/2014/main" id="{4E572819-9164-9393-024B-B92B762CDEA3}"/>
                          </a:ext>
                        </a:extLst>
                      </p:cNvPr>
                      <p:cNvPicPr/>
                      <p:nvPr/>
                    </p:nvPicPr>
                    <p:blipFill>
                      <a:blip r:embed="rId5"/>
                      <a:stretch>
                        <a:fillRect/>
                      </a:stretch>
                    </p:blipFill>
                    <p:spPr>
                      <a:xfrm>
                        <a:off x="3175" y="2034"/>
                        <a:ext cx="1588" cy="1588"/>
                      </a:xfrm>
                      <a:prstGeom prst="rect">
                        <a:avLst/>
                      </a:prstGeom>
                    </p:spPr>
                  </p:pic>
                </p:oleObj>
              </mc:Fallback>
            </mc:AlternateContent>
          </a:graphicData>
        </a:graphic>
      </p:graphicFrame>
      <p:sp>
        <p:nvSpPr>
          <p:cNvPr id="23" name="Arrow: Pentagon 200">
            <a:extLst>
              <a:ext uri="{FF2B5EF4-FFF2-40B4-BE49-F238E27FC236}">
                <a16:creationId xmlns:a16="http://schemas.microsoft.com/office/drawing/2014/main" id="{8CD32011-6B50-B2E0-EF31-2E2152038F05}"/>
              </a:ext>
            </a:extLst>
          </p:cNvPr>
          <p:cNvSpPr/>
          <p:nvPr/>
        </p:nvSpPr>
        <p:spPr>
          <a:xfrm>
            <a:off x="0" y="-8719"/>
            <a:ext cx="12193590" cy="6875438"/>
          </a:xfrm>
          <a:prstGeom prst="homePlate">
            <a:avLst>
              <a:gd name="adj" fmla="val 0"/>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 name="Title 3">
            <a:extLst>
              <a:ext uri="{FF2B5EF4-FFF2-40B4-BE49-F238E27FC236}">
                <a16:creationId xmlns:a16="http://schemas.microsoft.com/office/drawing/2014/main" id="{A452F29A-D006-B5E8-CF5D-D8DA7764FFE6}"/>
              </a:ext>
            </a:extLst>
          </p:cNvPr>
          <p:cNvSpPr txBox="1">
            <a:spLocks noGrp="1"/>
          </p:cNvSpPr>
          <p:nvPr>
            <p:ph type="title"/>
          </p:nvPr>
        </p:nvSpPr>
        <p:spPr>
          <a:xfrm>
            <a:off x="517461" y="514731"/>
            <a:ext cx="9665028" cy="792796"/>
          </a:xfrm>
        </p:spPr>
        <p:txBody>
          <a:bodyPr/>
          <a:lstStyle/>
          <a:p>
            <a:pPr lvl="0"/>
            <a:r>
              <a:rPr lang="en-US">
                <a:solidFill>
                  <a:schemeClr val="bg1"/>
                </a:solidFill>
              </a:rPr>
              <a:t>Where we </a:t>
            </a:r>
            <a:r>
              <a:rPr lang="en-US" err="1">
                <a:solidFill>
                  <a:schemeClr val="bg1"/>
                </a:solidFill>
              </a:rPr>
              <a:t>pla</a:t>
            </a:r>
            <a:r>
              <a:rPr lang="en-DK">
                <a:solidFill>
                  <a:schemeClr val="bg1"/>
                </a:solidFill>
              </a:rPr>
              <a:t>y: From Discovery to high-value </a:t>
            </a:r>
            <a:br>
              <a:rPr lang="en-DK">
                <a:solidFill>
                  <a:schemeClr val="bg1"/>
                </a:solidFill>
              </a:rPr>
            </a:br>
            <a:r>
              <a:rPr lang="en-DK">
                <a:solidFill>
                  <a:schemeClr val="bg1"/>
                </a:solidFill>
              </a:rPr>
              <a:t>proof of concept clinical inflection</a:t>
            </a:r>
            <a:endParaRPr lang="en-US">
              <a:solidFill>
                <a:schemeClr val="bg1"/>
              </a:solidFill>
            </a:endParaRPr>
          </a:p>
        </p:txBody>
      </p:sp>
      <p:sp>
        <p:nvSpPr>
          <p:cNvPr id="20" name="Textplatzhalter 18">
            <a:extLst>
              <a:ext uri="{FF2B5EF4-FFF2-40B4-BE49-F238E27FC236}">
                <a16:creationId xmlns:a16="http://schemas.microsoft.com/office/drawing/2014/main" id="{091F4F84-1660-141A-33B8-13250B29B586}"/>
              </a:ext>
            </a:extLst>
          </p:cNvPr>
          <p:cNvSpPr txBox="1">
            <a:spLocks/>
          </p:cNvSpPr>
          <p:nvPr/>
        </p:nvSpPr>
        <p:spPr>
          <a:xfrm>
            <a:off x="9695503" y="1114438"/>
            <a:ext cx="1880013" cy="166177"/>
          </a:xfrm>
          <a:prstGeom prst="rect">
            <a:avLst/>
          </a:prstGeom>
        </p:spPr>
        <p:txBody>
          <a:bodyPr vert="horz" wrap="none" lIns="0" tIns="0" rIns="0" bIns="0" rtlCol="0" anchor="b">
            <a:spAutoFit/>
          </a:bodyPr>
          <a:lstStyle>
            <a:lvl1pPr marL="266700" indent="-266700" algn="l" defTabSz="914400"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75" indent="-180975"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628650" indent="-180975"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809625" indent="-18097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990600" indent="-180975"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9" rtl="0" eaLnBrk="1" fontAlgn="auto" latinLnBrk="0" hangingPunct="1">
              <a:lnSpc>
                <a:spcPct val="90000"/>
              </a:lnSpc>
              <a:spcBef>
                <a:spcPts val="1000"/>
              </a:spcBef>
              <a:spcAft>
                <a:spcPts val="0"/>
              </a:spcAft>
              <a:buClr>
                <a:srgbClr val="2878FF"/>
              </a:buClr>
              <a:buSzPct val="110000"/>
              <a:buFont typeface="Avenir Next LT Pro" panose="020B0504020202020204" pitchFamily="34" charset="0"/>
              <a:buNone/>
              <a:tabLst/>
              <a:defRPr/>
            </a:pPr>
            <a:r>
              <a:rPr kumimoji="0" lang="en-US" sz="1200" b="0" i="0" u="none" strike="noStrike" kern="1200" cap="none" spc="0" normalizeH="0" baseline="0" noProof="0">
                <a:ln>
                  <a:noFill/>
                </a:ln>
                <a:solidFill>
                  <a:srgbClr val="FFFFFF"/>
                </a:solidFill>
                <a:effectLst/>
                <a:uLnTx/>
                <a:uFillTx/>
                <a:latin typeface="Avenir Next LT Pro"/>
                <a:ea typeface="+mn-ea"/>
                <a:cs typeface="+mn-cs"/>
              </a:rPr>
              <a:t>Value inf</a:t>
            </a:r>
            <a:r>
              <a:rPr kumimoji="0" lang="en-DK" sz="1200" b="0" i="0" u="none" strike="noStrike" kern="1200" cap="none" spc="0" normalizeH="0" baseline="0" noProof="0">
                <a:ln>
                  <a:noFill/>
                </a:ln>
                <a:solidFill>
                  <a:srgbClr val="FFFFFF"/>
                </a:solidFill>
                <a:effectLst/>
                <a:uLnTx/>
                <a:uFillTx/>
                <a:latin typeface="Avenir Next LT Pro"/>
                <a:ea typeface="+mn-ea"/>
                <a:cs typeface="+mn-cs"/>
              </a:rPr>
              <a:t>l</a:t>
            </a:r>
            <a:r>
              <a:rPr kumimoji="0" lang="en-US" sz="1200" b="0" i="0" u="none" strike="noStrike" kern="1200" cap="none" spc="0" normalizeH="0" baseline="0" noProof="0" err="1">
                <a:ln>
                  <a:noFill/>
                </a:ln>
                <a:solidFill>
                  <a:srgbClr val="FFFFFF"/>
                </a:solidFill>
                <a:effectLst/>
                <a:uLnTx/>
                <a:uFillTx/>
                <a:latin typeface="Avenir Next LT Pro"/>
                <a:ea typeface="+mn-ea"/>
                <a:cs typeface="+mn-cs"/>
              </a:rPr>
              <a:t>ection</a:t>
            </a:r>
            <a:r>
              <a:rPr kumimoji="0" lang="en-DK" sz="1200" b="0" i="0" u="none" strike="noStrike" kern="1200" cap="none" spc="0" normalizeH="0" baseline="0" noProof="0">
                <a:ln>
                  <a:noFill/>
                </a:ln>
                <a:solidFill>
                  <a:srgbClr val="FFFFFF"/>
                </a:solidFill>
                <a:effectLst/>
                <a:uLnTx/>
                <a:uFillTx/>
                <a:latin typeface="Avenir Next LT Pro"/>
                <a:ea typeface="+mn-ea"/>
                <a:cs typeface="+mn-cs"/>
              </a:rPr>
              <a:t> magnitude</a:t>
            </a:r>
            <a:endParaRPr kumimoji="0" lang="en-US" sz="12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 name="Pfeil: Fünfeck 5">
            <a:extLst>
              <a:ext uri="{FF2B5EF4-FFF2-40B4-BE49-F238E27FC236}">
                <a16:creationId xmlns:a16="http://schemas.microsoft.com/office/drawing/2014/main" id="{A90AC916-3686-2506-B0F2-295F52B7971E}"/>
              </a:ext>
            </a:extLst>
          </p:cNvPr>
          <p:cNvSpPr/>
          <p:nvPr/>
        </p:nvSpPr>
        <p:spPr>
          <a:xfrm>
            <a:off x="527192" y="1775372"/>
            <a:ext cx="1306535" cy="697735"/>
          </a:xfrm>
          <a:prstGeom prst="homePlate">
            <a:avLst>
              <a:gd name="adj" fmla="val 18199"/>
            </a:avLst>
          </a:prstGeom>
          <a:solidFill>
            <a:schemeClr val="bg1">
              <a:alpha val="29895"/>
            </a:schemeClr>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08000" tIns="35995" rIns="35995" bIns="35995"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Discovery</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and</a:t>
            </a:r>
            <a:b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b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hit generation</a:t>
            </a:r>
            <a:endParaRPr kumimoji="0" lang="de-DE"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sp>
        <p:nvSpPr>
          <p:cNvPr id="7" name="Pfeil: Chevron 6">
            <a:extLst>
              <a:ext uri="{FF2B5EF4-FFF2-40B4-BE49-F238E27FC236}">
                <a16:creationId xmlns:a16="http://schemas.microsoft.com/office/drawing/2014/main" id="{5207FE00-CDDB-F95E-A297-DE09D489EFA6}"/>
              </a:ext>
            </a:extLst>
          </p:cNvPr>
          <p:cNvSpPr/>
          <p:nvPr/>
        </p:nvSpPr>
        <p:spPr>
          <a:xfrm>
            <a:off x="1802645" y="1775372"/>
            <a:ext cx="1306535" cy="697735"/>
          </a:xfrm>
          <a:prstGeom prst="chevron">
            <a:avLst>
              <a:gd name="adj" fmla="val 18199"/>
            </a:avLst>
          </a:prstGeom>
          <a:solidFill>
            <a:schemeClr val="bg1">
              <a:alpha val="29895"/>
            </a:schemeClr>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08000" tIns="35995" rIns="35995" bIns="35995"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Lead </a:t>
            </a:r>
            <a:r>
              <a:rPr kumimoji="0" lang="de-DE" sz="1200" b="1" i="0" u="none" strike="noStrike" kern="1200" cap="none" spc="0" normalizeH="0" baseline="0" noProof="0" err="1">
                <a:ln>
                  <a:noFill/>
                </a:ln>
                <a:solidFill>
                  <a:srgbClr val="FFFFFF"/>
                </a:solidFill>
                <a:effectLst/>
                <a:uLnTx/>
                <a:uFillTx/>
                <a:latin typeface="Avenir Next LT Pro Demi" panose="020B0504020202020204" pitchFamily="34" charset="77"/>
                <a:ea typeface="+mn-ea"/>
                <a:cs typeface="+mn-cs"/>
              </a:rPr>
              <a:t>optimization</a:t>
            </a:r>
            <a:endParaRPr kumimoji="0" lang="de-DE"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sp>
        <p:nvSpPr>
          <p:cNvPr id="8" name="Pfeil: Chevron 7">
            <a:extLst>
              <a:ext uri="{FF2B5EF4-FFF2-40B4-BE49-F238E27FC236}">
                <a16:creationId xmlns:a16="http://schemas.microsoft.com/office/drawing/2014/main" id="{63E654F1-CC7A-CAD1-B2BE-8DD7A766AE64}"/>
              </a:ext>
            </a:extLst>
          </p:cNvPr>
          <p:cNvSpPr/>
          <p:nvPr/>
        </p:nvSpPr>
        <p:spPr>
          <a:xfrm>
            <a:off x="4353549" y="1775372"/>
            <a:ext cx="1621598" cy="697735"/>
          </a:xfrm>
          <a:prstGeom prst="chevron">
            <a:avLst>
              <a:gd name="adj" fmla="val 18199"/>
            </a:avLst>
          </a:prstGeom>
          <a:solidFill>
            <a:schemeClr val="accent2">
              <a:alpha val="50000"/>
            </a:schemeClr>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0800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IND-</a:t>
            </a:r>
            <a:r>
              <a:rPr kumimoji="0" lang="de-DE" sz="1200" b="1" i="0" u="none" strike="noStrike" kern="1200" cap="none" spc="0" normalizeH="0" baseline="0" noProof="0" err="1">
                <a:ln>
                  <a:noFill/>
                </a:ln>
                <a:solidFill>
                  <a:srgbClr val="FFFFFF"/>
                </a:solidFill>
                <a:effectLst/>
                <a:uLnTx/>
                <a:uFillTx/>
                <a:latin typeface="Avenir Next LT Pro Demi" panose="020B0504020202020204" pitchFamily="34" charset="77"/>
                <a:ea typeface="+mn-ea"/>
                <a:cs typeface="+mn-cs"/>
              </a:rPr>
              <a:t>enabling</a:t>
            </a:r>
            <a:r>
              <a:rPr kumimoji="0" lang="de-DE"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a:t>
            </a:r>
            <a:r>
              <a:rPr kumimoji="0" lang="de-DE" sz="1200" b="1" i="0" u="none" strike="noStrike" kern="1200" cap="none" spc="0" normalizeH="0" baseline="0" noProof="0" err="1">
                <a:ln>
                  <a:noFill/>
                </a:ln>
                <a:solidFill>
                  <a:srgbClr val="FFFFFF"/>
                </a:solidFill>
                <a:effectLst/>
                <a:uLnTx/>
                <a:uFillTx/>
                <a:latin typeface="Avenir Next LT Pro Demi" panose="020B0504020202020204" pitchFamily="34" charset="77"/>
                <a:ea typeface="+mn-ea"/>
                <a:cs typeface="+mn-cs"/>
              </a:rPr>
              <a:t>preclinical</a:t>
            </a:r>
            <a:r>
              <a:rPr kumimoji="0" lang="de-DE"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a:t>
            </a:r>
            <a:r>
              <a:rPr kumimoji="0" lang="de-DE" sz="1200" b="1" i="0" u="none" strike="noStrike" kern="1200" cap="none" spc="0" normalizeH="0" baseline="0" noProof="0" err="1">
                <a:ln>
                  <a:noFill/>
                </a:ln>
                <a:solidFill>
                  <a:srgbClr val="FFFFFF"/>
                </a:solidFill>
                <a:effectLst/>
                <a:uLnTx/>
                <a:uFillTx/>
                <a:latin typeface="Avenir Next LT Pro Demi" panose="020B0504020202020204" pitchFamily="34" charset="77"/>
                <a:ea typeface="+mn-ea"/>
                <a:cs typeface="+mn-cs"/>
              </a:rPr>
              <a:t>development</a:t>
            </a:r>
            <a:endParaRPr kumimoji="0" lang="de-DE"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sp>
        <p:nvSpPr>
          <p:cNvPr id="9" name="Pfeil: Chevron 8">
            <a:extLst>
              <a:ext uri="{FF2B5EF4-FFF2-40B4-BE49-F238E27FC236}">
                <a16:creationId xmlns:a16="http://schemas.microsoft.com/office/drawing/2014/main" id="{41BDE8FC-3C87-BFFC-FE3E-700289300FAF}"/>
              </a:ext>
            </a:extLst>
          </p:cNvPr>
          <p:cNvSpPr/>
          <p:nvPr/>
        </p:nvSpPr>
        <p:spPr>
          <a:xfrm>
            <a:off x="5944065" y="1775372"/>
            <a:ext cx="1621598" cy="697735"/>
          </a:xfrm>
          <a:prstGeom prst="chevron">
            <a:avLst>
              <a:gd name="adj" fmla="val 18199"/>
            </a:avLst>
          </a:prstGeom>
          <a:solidFill>
            <a:schemeClr val="accent3">
              <a:alpha val="25267"/>
            </a:schemeClr>
          </a:solid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10800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err="1">
                <a:ln>
                  <a:noFill/>
                </a:ln>
                <a:solidFill>
                  <a:srgbClr val="FFFFFF"/>
                </a:solidFill>
                <a:effectLst/>
                <a:uLnTx/>
                <a:uFillTx/>
                <a:latin typeface="Avenir Next LT Pro Demi" panose="020B0504020202020204" pitchFamily="34" charset="77"/>
                <a:ea typeface="+mn-ea"/>
                <a:cs typeface="+mn-cs"/>
              </a:rPr>
              <a:t>Ph</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ase</a:t>
            </a:r>
            <a:r>
              <a:rPr kumimoji="0" lang="de-DE"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1</a:t>
            </a:r>
          </a:p>
        </p:txBody>
      </p:sp>
      <p:sp>
        <p:nvSpPr>
          <p:cNvPr id="10" name="Pfeil: Chevron 9">
            <a:extLst>
              <a:ext uri="{FF2B5EF4-FFF2-40B4-BE49-F238E27FC236}">
                <a16:creationId xmlns:a16="http://schemas.microsoft.com/office/drawing/2014/main" id="{19572F1C-6998-6CDC-990C-50B2E06BC849}"/>
              </a:ext>
            </a:extLst>
          </p:cNvPr>
          <p:cNvSpPr/>
          <p:nvPr/>
        </p:nvSpPr>
        <p:spPr>
          <a:xfrm>
            <a:off x="7534581" y="1775372"/>
            <a:ext cx="1621598" cy="697735"/>
          </a:xfrm>
          <a:prstGeom prst="chevron">
            <a:avLst>
              <a:gd name="adj" fmla="val 18199"/>
            </a:avLst>
          </a:prstGeom>
          <a:solidFill>
            <a:schemeClr val="accent3">
              <a:alpha val="25267"/>
            </a:schemeClr>
          </a:solid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10800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err="1">
                <a:ln>
                  <a:noFill/>
                </a:ln>
                <a:solidFill>
                  <a:srgbClr val="FFFFFF"/>
                </a:solidFill>
                <a:effectLst/>
                <a:uLnTx/>
                <a:uFillTx/>
                <a:latin typeface="Avenir Next LT Pro Demi" panose="020B0504020202020204" pitchFamily="34" charset="77"/>
                <a:ea typeface="+mn-ea"/>
                <a:cs typeface="+mn-cs"/>
              </a:rPr>
              <a:t>Ph</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ase</a:t>
            </a:r>
            <a:r>
              <a:rPr kumimoji="0" lang="de-DE"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2</a:t>
            </a:r>
          </a:p>
        </p:txBody>
      </p:sp>
      <p:sp>
        <p:nvSpPr>
          <p:cNvPr id="12" name="Pfeil: Chevron 11">
            <a:extLst>
              <a:ext uri="{FF2B5EF4-FFF2-40B4-BE49-F238E27FC236}">
                <a16:creationId xmlns:a16="http://schemas.microsoft.com/office/drawing/2014/main" id="{99DDC5DC-EBA1-4149-780E-886FDED660A8}"/>
              </a:ext>
            </a:extLst>
          </p:cNvPr>
          <p:cNvSpPr/>
          <p:nvPr/>
        </p:nvSpPr>
        <p:spPr>
          <a:xfrm>
            <a:off x="9125097" y="1775372"/>
            <a:ext cx="1621598" cy="697735"/>
          </a:xfrm>
          <a:prstGeom prst="chevron">
            <a:avLst>
              <a:gd name="adj" fmla="val 18199"/>
            </a:avLst>
          </a:prstGeom>
          <a:solidFill>
            <a:schemeClr val="bg1">
              <a:alpha val="29684"/>
            </a:schemeClr>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0800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err="1">
                <a:ln>
                  <a:noFill/>
                </a:ln>
                <a:solidFill>
                  <a:srgbClr val="FFFFFF"/>
                </a:solidFill>
                <a:effectLst/>
                <a:uLnTx/>
                <a:uFillTx/>
                <a:latin typeface="Avenir Next LT Pro Demi" panose="020B0504020202020204" pitchFamily="34" charset="77"/>
                <a:ea typeface="+mn-ea"/>
                <a:cs typeface="+mn-cs"/>
              </a:rPr>
              <a:t>Ph</a:t>
            </a: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ase</a:t>
            </a:r>
            <a:r>
              <a:rPr kumimoji="0" lang="de-DE"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 3</a:t>
            </a:r>
          </a:p>
        </p:txBody>
      </p:sp>
      <p:sp>
        <p:nvSpPr>
          <p:cNvPr id="16" name="Pfeil: Chevron 15">
            <a:extLst>
              <a:ext uri="{FF2B5EF4-FFF2-40B4-BE49-F238E27FC236}">
                <a16:creationId xmlns:a16="http://schemas.microsoft.com/office/drawing/2014/main" id="{24479B86-B4E6-73BD-22BF-91DA88B88627}"/>
              </a:ext>
            </a:extLst>
          </p:cNvPr>
          <p:cNvSpPr/>
          <p:nvPr/>
        </p:nvSpPr>
        <p:spPr>
          <a:xfrm>
            <a:off x="10715612" y="1775372"/>
            <a:ext cx="374602" cy="697735"/>
          </a:xfrm>
          <a:prstGeom prst="chevron">
            <a:avLst>
              <a:gd name="adj" fmla="val 28068"/>
            </a:avLst>
          </a:prstGeom>
          <a:solidFill>
            <a:schemeClr val="bg1">
              <a:alpha val="29632"/>
            </a:schemeClr>
          </a:solidFill>
          <a:ln w="12700">
            <a:solidFill>
              <a:schemeClr val="bg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7" name="Pfeil: Chevron 16">
            <a:extLst>
              <a:ext uri="{FF2B5EF4-FFF2-40B4-BE49-F238E27FC236}">
                <a16:creationId xmlns:a16="http://schemas.microsoft.com/office/drawing/2014/main" id="{A371D448-8929-DCE4-4C06-E371711622D8}"/>
              </a:ext>
            </a:extLst>
          </p:cNvPr>
          <p:cNvSpPr/>
          <p:nvPr/>
        </p:nvSpPr>
        <p:spPr>
          <a:xfrm>
            <a:off x="11062896" y="1775372"/>
            <a:ext cx="374602" cy="697735"/>
          </a:xfrm>
          <a:prstGeom prst="chevron">
            <a:avLst>
              <a:gd name="adj" fmla="val 28068"/>
            </a:avLst>
          </a:prstGeom>
          <a:solidFill>
            <a:schemeClr val="bg1">
              <a:alpha val="29632"/>
            </a:schemeClr>
          </a:solidFill>
          <a:ln w="12700">
            <a:solidFill>
              <a:schemeClr val="bg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18" name="Pfeil: Chevron 17">
            <a:extLst>
              <a:ext uri="{FF2B5EF4-FFF2-40B4-BE49-F238E27FC236}">
                <a16:creationId xmlns:a16="http://schemas.microsoft.com/office/drawing/2014/main" id="{3A3E694B-4677-2136-80B1-58AF6C7B00EA}"/>
              </a:ext>
            </a:extLst>
          </p:cNvPr>
          <p:cNvSpPr/>
          <p:nvPr/>
        </p:nvSpPr>
        <p:spPr>
          <a:xfrm>
            <a:off x="11410180" y="1775372"/>
            <a:ext cx="374602" cy="697735"/>
          </a:xfrm>
          <a:prstGeom prst="chevron">
            <a:avLst>
              <a:gd name="adj" fmla="val 28068"/>
            </a:avLst>
          </a:prstGeom>
          <a:solidFill>
            <a:schemeClr val="bg1">
              <a:alpha val="29632"/>
            </a:schemeClr>
          </a:solidFill>
          <a:ln w="12700">
            <a:solidFill>
              <a:schemeClr val="bg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66" name="Gleichschenkliges Dreieck 65">
            <a:extLst>
              <a:ext uri="{FF2B5EF4-FFF2-40B4-BE49-F238E27FC236}">
                <a16:creationId xmlns:a16="http://schemas.microsoft.com/office/drawing/2014/main" id="{FE9FBAA1-C5C3-5C19-201B-ED31B1021274}"/>
              </a:ext>
            </a:extLst>
          </p:cNvPr>
          <p:cNvSpPr/>
          <p:nvPr/>
        </p:nvSpPr>
        <p:spPr>
          <a:xfrm>
            <a:off x="9504042" y="1107361"/>
            <a:ext cx="159311" cy="137337"/>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4" name="Pfeil: Chevron 6">
            <a:extLst>
              <a:ext uri="{FF2B5EF4-FFF2-40B4-BE49-F238E27FC236}">
                <a16:creationId xmlns:a16="http://schemas.microsoft.com/office/drawing/2014/main" id="{0F47918C-F3AB-5EA3-A29D-B1B82BC5B56A}"/>
              </a:ext>
            </a:extLst>
          </p:cNvPr>
          <p:cNvSpPr/>
          <p:nvPr/>
        </p:nvSpPr>
        <p:spPr>
          <a:xfrm>
            <a:off x="3078097" y="1775372"/>
            <a:ext cx="1306535" cy="697735"/>
          </a:xfrm>
          <a:prstGeom prst="chevron">
            <a:avLst>
              <a:gd name="adj" fmla="val 18199"/>
            </a:avLst>
          </a:prstGeom>
          <a:solidFill>
            <a:schemeClr val="bg1">
              <a:alpha val="29895"/>
            </a:schemeClr>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08000" tIns="35995" rIns="35995" bIns="35995"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Preclinical validation</a:t>
            </a:r>
            <a:endParaRPr kumimoji="0" lang="de-DE"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cxnSp>
        <p:nvCxnSpPr>
          <p:cNvPr id="21" name="Straight Connector 20">
            <a:extLst>
              <a:ext uri="{FF2B5EF4-FFF2-40B4-BE49-F238E27FC236}">
                <a16:creationId xmlns:a16="http://schemas.microsoft.com/office/drawing/2014/main" id="{6ED8ED28-A8B7-BCA0-06DE-543E1DBB660B}"/>
              </a:ext>
            </a:extLst>
          </p:cNvPr>
          <p:cNvCxnSpPr/>
          <p:nvPr/>
        </p:nvCxnSpPr>
        <p:spPr>
          <a:xfrm>
            <a:off x="569717" y="1563613"/>
            <a:ext cx="3651432" cy="0"/>
          </a:xfrm>
          <a:prstGeom prst="line">
            <a:avLst/>
          </a:prstGeom>
          <a:ln w="12700">
            <a:solidFill>
              <a:schemeClr val="bg1"/>
            </a:solidFill>
            <a:headEnd type="oval" w="med" len="med"/>
            <a:tailEnd type="oval" w="med" len="med"/>
          </a:ln>
        </p:spPr>
        <p:style>
          <a:lnRef idx="2">
            <a:schemeClr val="accent1"/>
          </a:lnRef>
          <a:fillRef idx="0">
            <a:schemeClr val="accent1"/>
          </a:fillRef>
          <a:effectRef idx="1">
            <a:schemeClr val="accent1"/>
          </a:effectRef>
          <a:fontRef idx="minor">
            <a:schemeClr val="tx1"/>
          </a:fontRef>
        </p:style>
      </p:cxnSp>
      <p:sp>
        <p:nvSpPr>
          <p:cNvPr id="34" name="Textplatzhalter 18">
            <a:extLst>
              <a:ext uri="{FF2B5EF4-FFF2-40B4-BE49-F238E27FC236}">
                <a16:creationId xmlns:a16="http://schemas.microsoft.com/office/drawing/2014/main" id="{2D79FC02-9272-B5BC-960E-5C3ABCEC7962}"/>
              </a:ext>
            </a:extLst>
          </p:cNvPr>
          <p:cNvSpPr txBox="1">
            <a:spLocks/>
          </p:cNvSpPr>
          <p:nvPr/>
        </p:nvSpPr>
        <p:spPr>
          <a:xfrm>
            <a:off x="1855433" y="1440502"/>
            <a:ext cx="1080000" cy="246221"/>
          </a:xfrm>
          <a:prstGeom prst="roundRect">
            <a:avLst>
              <a:gd name="adj" fmla="val 50000"/>
            </a:avLst>
          </a:prstGeom>
          <a:solidFill>
            <a:schemeClr val="bg1"/>
          </a:solidFill>
        </p:spPr>
        <p:txBody>
          <a:bodyPr vert="horz" wrap="square" lIns="36000" tIns="36000" rIns="36000" bIns="36000" rtlCol="0" anchor="b">
            <a:spAutoFit/>
          </a:bodyPr>
          <a:lstStyle>
            <a:lvl1pPr marL="266700" indent="-266700" algn="l" defTabSz="914400"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75" indent="-180975"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628650" indent="-180975"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809625" indent="-18097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990600" indent="-180975"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09" rtl="0" eaLnBrk="1" fontAlgn="auto" latinLnBrk="0" hangingPunct="1">
              <a:lnSpc>
                <a:spcPct val="0"/>
              </a:lnSpc>
              <a:spcBef>
                <a:spcPts val="0"/>
              </a:spcBef>
              <a:spcAft>
                <a:spcPts val="0"/>
              </a:spcAft>
              <a:buClr>
                <a:srgbClr val="2878FF"/>
              </a:buClr>
              <a:buSzPct val="110000"/>
              <a:buFont typeface="Avenir Next LT Pro" panose="020B0504020202020204" pitchFamily="34" charset="0"/>
              <a:buNone/>
              <a:tabLst/>
              <a:defRPr/>
            </a:pPr>
            <a:endParaRPr kumimoji="0" lang="en-US" sz="1200" b="0" i="0" u="none" strike="noStrike" kern="1200" cap="none" spc="0" normalizeH="0" baseline="0" noProof="0">
              <a:ln>
                <a:noFill/>
              </a:ln>
              <a:solidFill>
                <a:srgbClr val="001965"/>
              </a:solidFill>
              <a:effectLst/>
              <a:uLnTx/>
              <a:uFillTx/>
              <a:latin typeface="Avenir Next LT Pro"/>
              <a:ea typeface="+mn-ea"/>
              <a:cs typeface="+mn-cs"/>
            </a:endParaRPr>
          </a:p>
        </p:txBody>
      </p:sp>
      <p:cxnSp>
        <p:nvCxnSpPr>
          <p:cNvPr id="22" name="Straight Connector 21">
            <a:extLst>
              <a:ext uri="{FF2B5EF4-FFF2-40B4-BE49-F238E27FC236}">
                <a16:creationId xmlns:a16="http://schemas.microsoft.com/office/drawing/2014/main" id="{2AC44778-4236-F611-64B3-2C176FC1521F}"/>
              </a:ext>
            </a:extLst>
          </p:cNvPr>
          <p:cNvCxnSpPr>
            <a:cxnSpLocks/>
          </p:cNvCxnSpPr>
          <p:nvPr/>
        </p:nvCxnSpPr>
        <p:spPr>
          <a:xfrm>
            <a:off x="4384631" y="1563613"/>
            <a:ext cx="4602791" cy="0"/>
          </a:xfrm>
          <a:prstGeom prst="line">
            <a:avLst/>
          </a:prstGeom>
          <a:ln w="12700">
            <a:solidFill>
              <a:schemeClr val="bg1"/>
            </a:solidFill>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773E128C-454D-0B23-571D-0DE5B9E3878D}"/>
              </a:ext>
            </a:extLst>
          </p:cNvPr>
          <p:cNvCxnSpPr>
            <a:cxnSpLocks/>
          </p:cNvCxnSpPr>
          <p:nvPr/>
        </p:nvCxnSpPr>
        <p:spPr>
          <a:xfrm>
            <a:off x="9154794" y="1563613"/>
            <a:ext cx="2629988" cy="0"/>
          </a:xfrm>
          <a:prstGeom prst="line">
            <a:avLst/>
          </a:prstGeom>
          <a:ln w="12700">
            <a:solidFill>
              <a:schemeClr val="bg1"/>
            </a:solidFill>
            <a:headEnd type="oval" w="med" len="med"/>
            <a:tailEnd type="oval" w="med" len="med"/>
          </a:ln>
        </p:spPr>
        <p:style>
          <a:lnRef idx="2">
            <a:schemeClr val="accent1"/>
          </a:lnRef>
          <a:fillRef idx="0">
            <a:schemeClr val="accent1"/>
          </a:fillRef>
          <a:effectRef idx="1">
            <a:schemeClr val="accent1"/>
          </a:effectRef>
          <a:fontRef idx="minor">
            <a:schemeClr val="tx1"/>
          </a:fontRef>
        </p:style>
      </p:cxnSp>
      <p:sp>
        <p:nvSpPr>
          <p:cNvPr id="122" name="Gleichschenkliges Dreieck 65">
            <a:extLst>
              <a:ext uri="{FF2B5EF4-FFF2-40B4-BE49-F238E27FC236}">
                <a16:creationId xmlns:a16="http://schemas.microsoft.com/office/drawing/2014/main" id="{1EDE1CEF-ADFD-B013-7AFA-E5F5C0100183}"/>
              </a:ext>
            </a:extLst>
          </p:cNvPr>
          <p:cNvSpPr/>
          <p:nvPr/>
        </p:nvSpPr>
        <p:spPr>
          <a:xfrm>
            <a:off x="4236276" y="6012716"/>
            <a:ext cx="159311" cy="137337"/>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23" name="Gleichschenkliges Dreieck 65">
            <a:extLst>
              <a:ext uri="{FF2B5EF4-FFF2-40B4-BE49-F238E27FC236}">
                <a16:creationId xmlns:a16="http://schemas.microsoft.com/office/drawing/2014/main" id="{D38CA479-82AC-3E26-3FB9-1DF4CF1FB31F}"/>
              </a:ext>
            </a:extLst>
          </p:cNvPr>
          <p:cNvSpPr/>
          <p:nvPr/>
        </p:nvSpPr>
        <p:spPr>
          <a:xfrm>
            <a:off x="5817714" y="6012716"/>
            <a:ext cx="159311" cy="137337"/>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24" name="Gleichschenkliges Dreieck 65">
            <a:extLst>
              <a:ext uri="{FF2B5EF4-FFF2-40B4-BE49-F238E27FC236}">
                <a16:creationId xmlns:a16="http://schemas.microsoft.com/office/drawing/2014/main" id="{00255F0A-8F7A-3FF9-7EC1-D9A2A8880328}"/>
              </a:ext>
            </a:extLst>
          </p:cNvPr>
          <p:cNvSpPr/>
          <p:nvPr/>
        </p:nvSpPr>
        <p:spPr>
          <a:xfrm>
            <a:off x="7406002" y="6012716"/>
            <a:ext cx="159311" cy="137337"/>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25" name="Gleichschenkliges Dreieck 65">
            <a:extLst>
              <a:ext uri="{FF2B5EF4-FFF2-40B4-BE49-F238E27FC236}">
                <a16:creationId xmlns:a16="http://schemas.microsoft.com/office/drawing/2014/main" id="{F95F9730-F602-83BB-5E66-523A7B2E2A15}"/>
              </a:ext>
            </a:extLst>
          </p:cNvPr>
          <p:cNvSpPr/>
          <p:nvPr/>
        </p:nvSpPr>
        <p:spPr>
          <a:xfrm>
            <a:off x="9005009" y="6012716"/>
            <a:ext cx="159311" cy="137337"/>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28" name="Textplatzhalter 18">
            <a:extLst>
              <a:ext uri="{FF2B5EF4-FFF2-40B4-BE49-F238E27FC236}">
                <a16:creationId xmlns:a16="http://schemas.microsoft.com/office/drawing/2014/main" id="{76DE2560-C534-86CD-7097-5A5289DD1956}"/>
              </a:ext>
            </a:extLst>
          </p:cNvPr>
          <p:cNvSpPr txBox="1">
            <a:spLocks/>
          </p:cNvSpPr>
          <p:nvPr/>
        </p:nvSpPr>
        <p:spPr>
          <a:xfrm>
            <a:off x="3455055" y="6204064"/>
            <a:ext cx="1721753" cy="166199"/>
          </a:xfrm>
          <a:prstGeom prst="rect">
            <a:avLst/>
          </a:prstGeom>
        </p:spPr>
        <p:txBody>
          <a:bodyPr vert="horz" wrap="none" lIns="0" tIns="0" rIns="0" bIns="0" rtlCol="0" anchor="t">
            <a:spAutoFit/>
          </a:bodyPr>
          <a:lstStyle>
            <a:lvl1pPr marL="266700" indent="-266700" algn="l" defTabSz="914400"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75" indent="-180975"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628650" indent="-180975"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809625" indent="-18097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990600" indent="-180975"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ts val="1000"/>
              </a:spcBef>
              <a:spcAft>
                <a:spcPts val="0"/>
              </a:spcAft>
              <a:buClr>
                <a:srgbClr val="2878FF"/>
              </a:buClr>
              <a:buSzPct val="110000"/>
              <a:buFont typeface="Avenir Next LT Pro" panose="020B0504020202020204" pitchFamily="34" charset="0"/>
              <a:buNone/>
              <a:tabLst/>
              <a:defRPr/>
            </a:pP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Development candidate</a:t>
            </a:r>
            <a:endPar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sp>
        <p:nvSpPr>
          <p:cNvPr id="129" name="Textplatzhalter 18">
            <a:extLst>
              <a:ext uri="{FF2B5EF4-FFF2-40B4-BE49-F238E27FC236}">
                <a16:creationId xmlns:a16="http://schemas.microsoft.com/office/drawing/2014/main" id="{50BADA40-977F-717D-C44D-40BB03EB6E8F}"/>
              </a:ext>
            </a:extLst>
          </p:cNvPr>
          <p:cNvSpPr txBox="1">
            <a:spLocks/>
          </p:cNvSpPr>
          <p:nvPr/>
        </p:nvSpPr>
        <p:spPr>
          <a:xfrm>
            <a:off x="5752316" y="6204075"/>
            <a:ext cx="290106" cy="166177"/>
          </a:xfrm>
          <a:prstGeom prst="rect">
            <a:avLst/>
          </a:prstGeom>
        </p:spPr>
        <p:txBody>
          <a:bodyPr vert="horz" wrap="none" lIns="0" tIns="0" rIns="0" bIns="0" rtlCol="0" anchor="t">
            <a:spAutoFit/>
          </a:bodyPr>
          <a:lstStyle>
            <a:lvl1pPr marL="266700" indent="-266700" algn="l" defTabSz="914400"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75" indent="-180975"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628650" indent="-180975"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809625" indent="-18097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990600" indent="-180975"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ts val="1000"/>
              </a:spcBef>
              <a:spcAft>
                <a:spcPts val="0"/>
              </a:spcAft>
              <a:buClr>
                <a:srgbClr val="2878FF"/>
              </a:buClr>
              <a:buSzPct val="110000"/>
              <a:buFont typeface="Avenir Next LT Pro" panose="020B0504020202020204" pitchFamily="34" charset="0"/>
              <a:buNone/>
              <a:tabLst/>
              <a:defRPr/>
            </a:pPr>
            <a:r>
              <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IND</a:t>
            </a:r>
          </a:p>
        </p:txBody>
      </p:sp>
      <p:sp>
        <p:nvSpPr>
          <p:cNvPr id="131" name="Gleichschenkliges Dreieck 65">
            <a:extLst>
              <a:ext uri="{FF2B5EF4-FFF2-40B4-BE49-F238E27FC236}">
                <a16:creationId xmlns:a16="http://schemas.microsoft.com/office/drawing/2014/main" id="{D10DA994-F413-1AB2-EF11-CD8F651538B2}"/>
              </a:ext>
            </a:extLst>
          </p:cNvPr>
          <p:cNvSpPr/>
          <p:nvPr/>
        </p:nvSpPr>
        <p:spPr>
          <a:xfrm>
            <a:off x="9005009" y="5872197"/>
            <a:ext cx="159311" cy="137337"/>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32" name="Gleichschenkliges Dreieck 65">
            <a:extLst>
              <a:ext uri="{FF2B5EF4-FFF2-40B4-BE49-F238E27FC236}">
                <a16:creationId xmlns:a16="http://schemas.microsoft.com/office/drawing/2014/main" id="{6662CD44-422F-F93D-9D16-8AE123CFC218}"/>
              </a:ext>
            </a:extLst>
          </p:cNvPr>
          <p:cNvSpPr/>
          <p:nvPr/>
        </p:nvSpPr>
        <p:spPr>
          <a:xfrm>
            <a:off x="9005009" y="5731676"/>
            <a:ext cx="159311" cy="137337"/>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33" name="Gleichschenkliges Dreieck 65">
            <a:extLst>
              <a:ext uri="{FF2B5EF4-FFF2-40B4-BE49-F238E27FC236}">
                <a16:creationId xmlns:a16="http://schemas.microsoft.com/office/drawing/2014/main" id="{598EE55B-5482-9E7D-18DD-52A146FE2175}"/>
              </a:ext>
            </a:extLst>
          </p:cNvPr>
          <p:cNvSpPr/>
          <p:nvPr/>
        </p:nvSpPr>
        <p:spPr>
          <a:xfrm>
            <a:off x="7406002" y="5872197"/>
            <a:ext cx="159311" cy="137337"/>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34" name="Textplatzhalter 18">
            <a:extLst>
              <a:ext uri="{FF2B5EF4-FFF2-40B4-BE49-F238E27FC236}">
                <a16:creationId xmlns:a16="http://schemas.microsoft.com/office/drawing/2014/main" id="{7B4E22D0-5AD4-4509-042C-ABCE092502A3}"/>
              </a:ext>
            </a:extLst>
          </p:cNvPr>
          <p:cNvSpPr txBox="1">
            <a:spLocks/>
          </p:cNvSpPr>
          <p:nvPr/>
        </p:nvSpPr>
        <p:spPr>
          <a:xfrm>
            <a:off x="7045248" y="6204064"/>
            <a:ext cx="880821" cy="332399"/>
          </a:xfrm>
          <a:prstGeom prst="rect">
            <a:avLst/>
          </a:prstGeom>
        </p:spPr>
        <p:txBody>
          <a:bodyPr vert="horz" wrap="square" lIns="0" tIns="0" rIns="0" bIns="0" rtlCol="0" anchor="t">
            <a:spAutoFit/>
          </a:bodyPr>
          <a:lstStyle>
            <a:lvl1pPr marL="266700" indent="-266700" algn="l" defTabSz="914400"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75" indent="-180975"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628650" indent="-180975"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809625" indent="-18097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990600" indent="-180975"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ts val="1000"/>
              </a:spcBef>
              <a:spcAft>
                <a:spcPts val="0"/>
              </a:spcAft>
              <a:buClr>
                <a:srgbClr val="2878FF"/>
              </a:buClr>
              <a:buSzPct val="110000"/>
              <a:buFont typeface="Avenir Next LT Pro" panose="020B0504020202020204" pitchFamily="34" charset="0"/>
              <a:buNone/>
              <a:tabLst/>
              <a:defRPr/>
            </a:pP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Safety and tolerability</a:t>
            </a:r>
            <a:endPar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sp>
        <p:nvSpPr>
          <p:cNvPr id="135" name="Gleichschenkliges Dreieck 65">
            <a:extLst>
              <a:ext uri="{FF2B5EF4-FFF2-40B4-BE49-F238E27FC236}">
                <a16:creationId xmlns:a16="http://schemas.microsoft.com/office/drawing/2014/main" id="{5C416DF0-049A-3972-D54F-287D92040C1A}"/>
              </a:ext>
            </a:extLst>
          </p:cNvPr>
          <p:cNvSpPr/>
          <p:nvPr/>
        </p:nvSpPr>
        <p:spPr>
          <a:xfrm>
            <a:off x="9005009" y="5591155"/>
            <a:ext cx="159311" cy="137337"/>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70" name="Group 69">
            <a:extLst>
              <a:ext uri="{FF2B5EF4-FFF2-40B4-BE49-F238E27FC236}">
                <a16:creationId xmlns:a16="http://schemas.microsoft.com/office/drawing/2014/main" id="{0DC24A74-E5E6-FBBC-3179-1FC041F9CADF}"/>
              </a:ext>
            </a:extLst>
          </p:cNvPr>
          <p:cNvGrpSpPr/>
          <p:nvPr/>
        </p:nvGrpSpPr>
        <p:grpSpPr>
          <a:xfrm>
            <a:off x="1795108" y="2540015"/>
            <a:ext cx="2463042" cy="252363"/>
            <a:chOff x="260353" y="5374977"/>
            <a:chExt cx="5318067" cy="501928"/>
          </a:xfrm>
        </p:grpSpPr>
        <p:cxnSp>
          <p:nvCxnSpPr>
            <p:cNvPr id="11" name="Connector: Elbow 57">
              <a:extLst>
                <a:ext uri="{FF2B5EF4-FFF2-40B4-BE49-F238E27FC236}">
                  <a16:creationId xmlns:a16="http://schemas.microsoft.com/office/drawing/2014/main" id="{4968BDBE-0B8F-0024-DEBC-64B1C0C4A8D9}"/>
                </a:ext>
              </a:extLst>
            </p:cNvPr>
            <p:cNvCxnSpPr>
              <a:cxnSpLocks/>
            </p:cNvCxnSpPr>
            <p:nvPr/>
          </p:nvCxnSpPr>
          <p:spPr>
            <a:xfrm rot="10800000">
              <a:off x="260353" y="5374977"/>
              <a:ext cx="2659034" cy="272933"/>
            </a:xfrm>
            <a:prstGeom prst="bentConnector2">
              <a:avLst/>
            </a:prstGeom>
            <a:ln w="19050">
              <a:solidFill>
                <a:schemeClr val="accent5"/>
              </a:solidFill>
            </a:ln>
          </p:spPr>
          <p:style>
            <a:lnRef idx="2">
              <a:schemeClr val="accent1"/>
            </a:lnRef>
            <a:fillRef idx="0">
              <a:schemeClr val="accent1"/>
            </a:fillRef>
            <a:effectRef idx="1">
              <a:schemeClr val="accent1"/>
            </a:effectRef>
            <a:fontRef idx="minor">
              <a:schemeClr val="tx1"/>
            </a:fontRef>
          </p:style>
        </p:cxnSp>
        <p:cxnSp>
          <p:nvCxnSpPr>
            <p:cNvPr id="13" name="Connector: Elbow 58">
              <a:extLst>
                <a:ext uri="{FF2B5EF4-FFF2-40B4-BE49-F238E27FC236}">
                  <a16:creationId xmlns:a16="http://schemas.microsoft.com/office/drawing/2014/main" id="{D240FE01-AC9E-B59B-6581-9078874B3F76}"/>
                </a:ext>
              </a:extLst>
            </p:cNvPr>
            <p:cNvCxnSpPr>
              <a:cxnSpLocks/>
            </p:cNvCxnSpPr>
            <p:nvPr/>
          </p:nvCxnSpPr>
          <p:spPr>
            <a:xfrm flipV="1">
              <a:off x="2894132" y="5374984"/>
              <a:ext cx="2684288" cy="272927"/>
            </a:xfrm>
            <a:prstGeom prst="bentConnector2">
              <a:avLst/>
            </a:prstGeom>
            <a:ln w="19050">
              <a:solidFill>
                <a:schemeClr val="accent5"/>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7EC75FD5-1CA1-942E-0D83-74EF81357F22}"/>
                </a:ext>
              </a:extLst>
            </p:cNvPr>
            <p:cNvCxnSpPr>
              <a:cxnSpLocks/>
            </p:cNvCxnSpPr>
            <p:nvPr/>
          </p:nvCxnSpPr>
          <p:spPr>
            <a:xfrm flipV="1">
              <a:off x="2919387" y="5648960"/>
              <a:ext cx="0" cy="227945"/>
            </a:xfrm>
            <a:prstGeom prst="line">
              <a:avLst/>
            </a:prstGeom>
            <a:ln w="19050">
              <a:solidFill>
                <a:schemeClr val="accent5"/>
              </a:solidFill>
            </a:ln>
          </p:spPr>
          <p:style>
            <a:lnRef idx="2">
              <a:schemeClr val="accent1"/>
            </a:lnRef>
            <a:fillRef idx="0">
              <a:schemeClr val="accent1"/>
            </a:fillRef>
            <a:effectRef idx="1">
              <a:schemeClr val="accent1"/>
            </a:effectRef>
            <a:fontRef idx="minor">
              <a:schemeClr val="tx1"/>
            </a:fontRef>
          </p:style>
        </p:cxnSp>
      </p:grpSp>
      <p:sp>
        <p:nvSpPr>
          <p:cNvPr id="25" name="TextBox 24">
            <a:extLst>
              <a:ext uri="{FF2B5EF4-FFF2-40B4-BE49-F238E27FC236}">
                <a16:creationId xmlns:a16="http://schemas.microsoft.com/office/drawing/2014/main" id="{45901310-9D46-1B4D-74CC-AAAD91C207AF}"/>
              </a:ext>
            </a:extLst>
          </p:cNvPr>
          <p:cNvSpPr txBox="1"/>
          <p:nvPr/>
        </p:nvSpPr>
        <p:spPr>
          <a:xfrm>
            <a:off x="1835596" y="1437613"/>
            <a:ext cx="1119674" cy="252000"/>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DK" sz="10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rPr>
              <a:t>DISCOVERY</a:t>
            </a:r>
            <a:endParaRPr kumimoji="0" lang="en-US" sz="10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endParaRPr>
          </a:p>
        </p:txBody>
      </p:sp>
      <p:grpSp>
        <p:nvGrpSpPr>
          <p:cNvPr id="28" name="Graphic 26">
            <a:extLst>
              <a:ext uri="{FF2B5EF4-FFF2-40B4-BE49-F238E27FC236}">
                <a16:creationId xmlns:a16="http://schemas.microsoft.com/office/drawing/2014/main" id="{69215434-10B1-6B9E-725B-ED4DA18F66C3}"/>
              </a:ext>
            </a:extLst>
          </p:cNvPr>
          <p:cNvGrpSpPr/>
          <p:nvPr/>
        </p:nvGrpSpPr>
        <p:grpSpPr>
          <a:xfrm>
            <a:off x="12617602" y="4032884"/>
            <a:ext cx="75183" cy="203046"/>
            <a:chOff x="9069772" y="4371619"/>
            <a:chExt cx="258697" cy="698658"/>
          </a:xfrm>
        </p:grpSpPr>
        <p:sp>
          <p:nvSpPr>
            <p:cNvPr id="32" name="Freeform 31">
              <a:extLst>
                <a:ext uri="{FF2B5EF4-FFF2-40B4-BE49-F238E27FC236}">
                  <a16:creationId xmlns:a16="http://schemas.microsoft.com/office/drawing/2014/main" id="{B47F970D-0438-0400-D879-97FE80C9B417}"/>
                </a:ext>
              </a:extLst>
            </p:cNvPr>
            <p:cNvSpPr/>
            <p:nvPr/>
          </p:nvSpPr>
          <p:spPr>
            <a:xfrm>
              <a:off x="9069772" y="4371619"/>
              <a:ext cx="103441" cy="517588"/>
            </a:xfrm>
            <a:custGeom>
              <a:avLst/>
              <a:gdLst>
                <a:gd name="connsiteX0" fmla="*/ 103442 w 103441"/>
                <a:gd name="connsiteY0" fmla="*/ 51721 h 517588"/>
                <a:gd name="connsiteX1" fmla="*/ 103442 w 103441"/>
                <a:gd name="connsiteY1" fmla="*/ 0 h 517588"/>
                <a:gd name="connsiteX2" fmla="*/ 0 w 103441"/>
                <a:gd name="connsiteY2" fmla="*/ 0 h 517588"/>
                <a:gd name="connsiteX3" fmla="*/ 0 w 103441"/>
                <a:gd name="connsiteY3" fmla="*/ 51721 h 517588"/>
                <a:gd name="connsiteX4" fmla="*/ 25813 w 103441"/>
                <a:gd name="connsiteY4" fmla="*/ 51721 h 517588"/>
                <a:gd name="connsiteX5" fmla="*/ 25813 w 103441"/>
                <a:gd name="connsiteY5" fmla="*/ 103537 h 517588"/>
                <a:gd name="connsiteX6" fmla="*/ 0 w 103441"/>
                <a:gd name="connsiteY6" fmla="*/ 103537 h 517588"/>
                <a:gd name="connsiteX7" fmla="*/ 0 w 103441"/>
                <a:gd name="connsiteY7" fmla="*/ 388144 h 517588"/>
                <a:gd name="connsiteX8" fmla="*/ 25813 w 103441"/>
                <a:gd name="connsiteY8" fmla="*/ 388144 h 517588"/>
                <a:gd name="connsiteX9" fmla="*/ 25813 w 103441"/>
                <a:gd name="connsiteY9" fmla="*/ 517589 h 517588"/>
                <a:gd name="connsiteX10" fmla="*/ 77629 w 103441"/>
                <a:gd name="connsiteY10" fmla="*/ 517589 h 517588"/>
                <a:gd name="connsiteX11" fmla="*/ 77629 w 103441"/>
                <a:gd name="connsiteY11" fmla="*/ 388144 h 517588"/>
                <a:gd name="connsiteX12" fmla="*/ 103442 w 103441"/>
                <a:gd name="connsiteY12" fmla="*/ 388144 h 517588"/>
                <a:gd name="connsiteX13" fmla="*/ 103442 w 103441"/>
                <a:gd name="connsiteY13" fmla="*/ 103537 h 517588"/>
                <a:gd name="connsiteX14" fmla="*/ 77629 w 103441"/>
                <a:gd name="connsiteY14" fmla="*/ 103537 h 517588"/>
                <a:gd name="connsiteX15" fmla="*/ 77629 w 103441"/>
                <a:gd name="connsiteY15" fmla="*/ 51721 h 517588"/>
                <a:gd name="connsiteX16" fmla="*/ 103442 w 103441"/>
                <a:gd name="connsiteY16" fmla="*/ 51721 h 5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441" h="517588">
                  <a:moveTo>
                    <a:pt x="103442" y="51721"/>
                  </a:moveTo>
                  <a:lnTo>
                    <a:pt x="103442" y="0"/>
                  </a:lnTo>
                  <a:lnTo>
                    <a:pt x="0" y="0"/>
                  </a:lnTo>
                  <a:lnTo>
                    <a:pt x="0" y="51721"/>
                  </a:lnTo>
                  <a:lnTo>
                    <a:pt x="25813" y="51721"/>
                  </a:lnTo>
                  <a:lnTo>
                    <a:pt x="25813" y="103537"/>
                  </a:lnTo>
                  <a:lnTo>
                    <a:pt x="0" y="103537"/>
                  </a:lnTo>
                  <a:lnTo>
                    <a:pt x="0" y="388144"/>
                  </a:lnTo>
                  <a:lnTo>
                    <a:pt x="25813" y="388144"/>
                  </a:lnTo>
                  <a:lnTo>
                    <a:pt x="25813" y="517589"/>
                  </a:lnTo>
                  <a:lnTo>
                    <a:pt x="77629" y="517589"/>
                  </a:lnTo>
                  <a:lnTo>
                    <a:pt x="77629" y="388144"/>
                  </a:lnTo>
                  <a:lnTo>
                    <a:pt x="103442" y="388144"/>
                  </a:lnTo>
                  <a:lnTo>
                    <a:pt x="103442" y="103537"/>
                  </a:lnTo>
                  <a:lnTo>
                    <a:pt x="77629" y="103537"/>
                  </a:lnTo>
                  <a:lnTo>
                    <a:pt x="77629" y="51721"/>
                  </a:lnTo>
                  <a:lnTo>
                    <a:pt x="103442" y="51721"/>
                  </a:lnTo>
                  <a:close/>
                </a:path>
              </a:pathLst>
            </a:custGeom>
            <a:noFill/>
            <a:ln w="9525" cap="flat">
              <a:noFill/>
              <a:prstDash val="solid"/>
              <a:miter/>
            </a:ln>
          </p:spPr>
          <p:txBody>
            <a:bodyPr rtlCol="0" anchor="ct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33" name="Freeform 32">
              <a:extLst>
                <a:ext uri="{FF2B5EF4-FFF2-40B4-BE49-F238E27FC236}">
                  <a16:creationId xmlns:a16="http://schemas.microsoft.com/office/drawing/2014/main" id="{3690E014-AD06-213A-8CB5-2713B09F423A}"/>
                </a:ext>
              </a:extLst>
            </p:cNvPr>
            <p:cNvSpPr/>
            <p:nvPr/>
          </p:nvSpPr>
          <p:spPr>
            <a:xfrm>
              <a:off x="9069772" y="5018557"/>
              <a:ext cx="103536" cy="51720"/>
            </a:xfrm>
            <a:custGeom>
              <a:avLst/>
              <a:gdLst>
                <a:gd name="connsiteX0" fmla="*/ 0 w 103536"/>
                <a:gd name="connsiteY0" fmla="*/ 0 h 51720"/>
                <a:gd name="connsiteX1" fmla="*/ 103537 w 103536"/>
                <a:gd name="connsiteY1" fmla="*/ 0 h 51720"/>
                <a:gd name="connsiteX2" fmla="*/ 103537 w 103536"/>
                <a:gd name="connsiteY2" fmla="*/ 51721 h 51720"/>
                <a:gd name="connsiteX3" fmla="*/ 0 w 103536"/>
                <a:gd name="connsiteY3" fmla="*/ 51721 h 51720"/>
              </a:gdLst>
              <a:ahLst/>
              <a:cxnLst>
                <a:cxn ang="0">
                  <a:pos x="connsiteX0" y="connsiteY0"/>
                </a:cxn>
                <a:cxn ang="0">
                  <a:pos x="connsiteX1" y="connsiteY1"/>
                </a:cxn>
                <a:cxn ang="0">
                  <a:pos x="connsiteX2" y="connsiteY2"/>
                </a:cxn>
                <a:cxn ang="0">
                  <a:pos x="connsiteX3" y="connsiteY3"/>
                </a:cxn>
              </a:cxnLst>
              <a:rect l="l" t="t" r="r" b="b"/>
              <a:pathLst>
                <a:path w="103536" h="51720">
                  <a:moveTo>
                    <a:pt x="0" y="0"/>
                  </a:moveTo>
                  <a:lnTo>
                    <a:pt x="103537" y="0"/>
                  </a:lnTo>
                  <a:lnTo>
                    <a:pt x="103537" y="51721"/>
                  </a:lnTo>
                  <a:lnTo>
                    <a:pt x="0" y="51721"/>
                  </a:lnTo>
                  <a:close/>
                </a:path>
              </a:pathLst>
            </a:custGeom>
            <a:noFill/>
            <a:ln w="9525" cap="flat">
              <a:noFill/>
              <a:prstDash val="solid"/>
              <a:miter/>
            </a:ln>
          </p:spPr>
          <p:txBody>
            <a:bodyPr rtlCol="0" anchor="ct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sp>
          <p:nvSpPr>
            <p:cNvPr id="37" name="Freeform 36">
              <a:extLst>
                <a:ext uri="{FF2B5EF4-FFF2-40B4-BE49-F238E27FC236}">
                  <a16:creationId xmlns:a16="http://schemas.microsoft.com/office/drawing/2014/main" id="{5A5DD979-04C4-F3FF-DB7A-D6A3368A3FFD}"/>
                </a:ext>
              </a:extLst>
            </p:cNvPr>
            <p:cNvSpPr/>
            <p:nvPr/>
          </p:nvSpPr>
          <p:spPr>
            <a:xfrm>
              <a:off x="9199119" y="4475156"/>
              <a:ext cx="129350" cy="129350"/>
            </a:xfrm>
            <a:custGeom>
              <a:avLst/>
              <a:gdLst>
                <a:gd name="connsiteX0" fmla="*/ 129349 w 129349"/>
                <a:gd name="connsiteY0" fmla="*/ 64675 h 129349"/>
                <a:gd name="connsiteX1" fmla="*/ 64675 w 129349"/>
                <a:gd name="connsiteY1" fmla="*/ 129350 h 129349"/>
                <a:gd name="connsiteX2" fmla="*/ 0 w 129349"/>
                <a:gd name="connsiteY2" fmla="*/ 64675 h 129349"/>
                <a:gd name="connsiteX3" fmla="*/ 64675 w 129349"/>
                <a:gd name="connsiteY3" fmla="*/ 0 h 129349"/>
                <a:gd name="connsiteX4" fmla="*/ 129349 w 129349"/>
                <a:gd name="connsiteY4" fmla="*/ 64675 h 129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349" h="129349">
                  <a:moveTo>
                    <a:pt x="129349" y="64675"/>
                  </a:moveTo>
                  <a:cubicBezTo>
                    <a:pt x="129349" y="100394"/>
                    <a:pt x="100394" y="129350"/>
                    <a:pt x="64675" y="129350"/>
                  </a:cubicBezTo>
                  <a:cubicBezTo>
                    <a:pt x="28956" y="129350"/>
                    <a:pt x="0" y="100394"/>
                    <a:pt x="0" y="64675"/>
                  </a:cubicBezTo>
                  <a:cubicBezTo>
                    <a:pt x="0" y="28956"/>
                    <a:pt x="28956" y="0"/>
                    <a:pt x="64675" y="0"/>
                  </a:cubicBezTo>
                  <a:cubicBezTo>
                    <a:pt x="100394" y="0"/>
                    <a:pt x="129349" y="28956"/>
                    <a:pt x="129349" y="64675"/>
                  </a:cubicBezTo>
                  <a:close/>
                </a:path>
              </a:pathLst>
            </a:custGeom>
            <a:noFill/>
            <a:ln w="9525" cap="flat">
              <a:noFill/>
              <a:prstDash val="solid"/>
              <a:miter/>
            </a:ln>
          </p:spPr>
          <p:txBody>
            <a:bodyPr rtlCol="0" anchor="ct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001965"/>
                </a:solidFill>
                <a:effectLst/>
                <a:uLnTx/>
                <a:uFillTx/>
                <a:latin typeface="Calibri" panose="020F0502020204030204"/>
                <a:ea typeface="+mn-ea"/>
                <a:cs typeface="+mn-cs"/>
              </a:endParaRPr>
            </a:p>
          </p:txBody>
        </p:sp>
      </p:grpSp>
      <p:sp>
        <p:nvSpPr>
          <p:cNvPr id="58" name="Textplatzhalter 18">
            <a:extLst>
              <a:ext uri="{FF2B5EF4-FFF2-40B4-BE49-F238E27FC236}">
                <a16:creationId xmlns:a16="http://schemas.microsoft.com/office/drawing/2014/main" id="{8573DFAD-1BAE-537F-C523-5DA68C24656C}"/>
              </a:ext>
            </a:extLst>
          </p:cNvPr>
          <p:cNvSpPr txBox="1">
            <a:spLocks/>
          </p:cNvSpPr>
          <p:nvPr/>
        </p:nvSpPr>
        <p:spPr>
          <a:xfrm>
            <a:off x="5570026" y="1437613"/>
            <a:ext cx="2232000" cy="252000"/>
          </a:xfrm>
          <a:prstGeom prst="roundRect">
            <a:avLst>
              <a:gd name="adj" fmla="val 50000"/>
            </a:avLst>
          </a:prstGeom>
          <a:solidFill>
            <a:schemeClr val="bg1"/>
          </a:solidFill>
        </p:spPr>
        <p:txBody>
          <a:bodyPr vert="horz" wrap="square" lIns="36000" tIns="36000" rIns="36000" bIns="36000" rtlCol="0" anchor="b">
            <a:spAutoFit/>
          </a:bodyPr>
          <a:lstStyle>
            <a:lvl1pPr marL="266700" indent="-266700" algn="l" defTabSz="914400"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75" indent="-180975"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628650" indent="-180975"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809625" indent="-18097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990600" indent="-180975"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09" rtl="0" eaLnBrk="1" fontAlgn="auto" latinLnBrk="0" hangingPunct="1">
              <a:lnSpc>
                <a:spcPct val="0"/>
              </a:lnSpc>
              <a:spcBef>
                <a:spcPts val="0"/>
              </a:spcBef>
              <a:spcAft>
                <a:spcPts val="0"/>
              </a:spcAft>
              <a:buClr>
                <a:srgbClr val="2878FF"/>
              </a:buClr>
              <a:buSzPct val="110000"/>
              <a:buFont typeface="Avenir Next LT Pro" panose="020B0504020202020204" pitchFamily="34" charset="0"/>
              <a:buNone/>
              <a:tabLst/>
              <a:defRPr/>
            </a:pPr>
            <a:endParaRPr kumimoji="0" lang="en-US" sz="12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59" name="TextBox 58">
            <a:extLst>
              <a:ext uri="{FF2B5EF4-FFF2-40B4-BE49-F238E27FC236}">
                <a16:creationId xmlns:a16="http://schemas.microsoft.com/office/drawing/2014/main" id="{45FB3099-85DF-48AA-95B9-9E4421EF9DC5}"/>
              </a:ext>
            </a:extLst>
          </p:cNvPr>
          <p:cNvSpPr txBox="1"/>
          <p:nvPr/>
        </p:nvSpPr>
        <p:spPr>
          <a:xfrm>
            <a:off x="5583758" y="1440502"/>
            <a:ext cx="2204536" cy="246221"/>
          </a:xfrm>
          <a:prstGeom prst="rect">
            <a:avLst/>
          </a:prstGeom>
          <a:noFill/>
        </p:spPr>
        <p:txBody>
          <a:bodyPr wrap="square" rtlCol="0">
            <a:spAutoFit/>
          </a:bodyPr>
          <a:lstStyle/>
          <a:p>
            <a:pPr marL="0" marR="0" lvl="0" indent="0" algn="ctr" defTabSz="914309" rtl="0" eaLnBrk="1" fontAlgn="auto" latinLnBrk="0" hangingPunct="1">
              <a:lnSpc>
                <a:spcPct val="100000"/>
              </a:lnSpc>
              <a:spcBef>
                <a:spcPts val="0"/>
              </a:spcBef>
              <a:spcAft>
                <a:spcPts val="0"/>
              </a:spcAft>
              <a:buClr>
                <a:srgbClr val="2878FF"/>
              </a:buClr>
              <a:buSzTx/>
              <a:buFontTx/>
              <a:buNone/>
              <a:tabLst/>
              <a:defRPr/>
            </a:pPr>
            <a:r>
              <a:rPr kumimoji="0" lang="en-US" sz="10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rPr>
              <a:t>EARLY-STAGE DEVELOPMENT</a:t>
            </a:r>
          </a:p>
        </p:txBody>
      </p:sp>
      <p:sp>
        <p:nvSpPr>
          <p:cNvPr id="60" name="Textplatzhalter 18">
            <a:extLst>
              <a:ext uri="{FF2B5EF4-FFF2-40B4-BE49-F238E27FC236}">
                <a16:creationId xmlns:a16="http://schemas.microsoft.com/office/drawing/2014/main" id="{52ABFDAD-E809-61C8-810C-62CB1A2C724D}"/>
              </a:ext>
            </a:extLst>
          </p:cNvPr>
          <p:cNvSpPr txBox="1">
            <a:spLocks/>
          </p:cNvSpPr>
          <p:nvPr/>
        </p:nvSpPr>
        <p:spPr>
          <a:xfrm>
            <a:off x="9462114" y="1437613"/>
            <a:ext cx="2015348" cy="252000"/>
          </a:xfrm>
          <a:prstGeom prst="roundRect">
            <a:avLst>
              <a:gd name="adj" fmla="val 50000"/>
            </a:avLst>
          </a:prstGeom>
          <a:solidFill>
            <a:schemeClr val="bg1"/>
          </a:solidFill>
        </p:spPr>
        <p:txBody>
          <a:bodyPr vert="horz" wrap="square" lIns="36000" tIns="36000" rIns="36000" bIns="36000" rtlCol="0" anchor="b">
            <a:spAutoFit/>
          </a:bodyPr>
          <a:lstStyle>
            <a:lvl1pPr marL="266700" indent="-266700" algn="l" defTabSz="914400"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75" indent="-180975"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628650" indent="-180975"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809625" indent="-18097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990600" indent="-180975"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09" rtl="0" eaLnBrk="1" fontAlgn="auto" latinLnBrk="0" hangingPunct="1">
              <a:lnSpc>
                <a:spcPct val="0"/>
              </a:lnSpc>
              <a:spcBef>
                <a:spcPts val="0"/>
              </a:spcBef>
              <a:spcAft>
                <a:spcPts val="0"/>
              </a:spcAft>
              <a:buClr>
                <a:srgbClr val="2878FF"/>
              </a:buClr>
              <a:buSzPct val="110000"/>
              <a:buFont typeface="Avenir Next LT Pro" panose="020B0504020202020204" pitchFamily="34" charset="0"/>
              <a:buNone/>
              <a:tabLst/>
              <a:defRPr/>
            </a:pPr>
            <a:endParaRPr kumimoji="0" lang="en-US" sz="1200" b="0" i="0" u="none" strike="noStrike" kern="1200" cap="none" spc="0" normalizeH="0" baseline="0" noProof="0">
              <a:ln>
                <a:noFill/>
              </a:ln>
              <a:solidFill>
                <a:srgbClr val="001965"/>
              </a:solidFill>
              <a:effectLst/>
              <a:uLnTx/>
              <a:uFillTx/>
              <a:latin typeface="Avenir Next LT Pro"/>
              <a:ea typeface="+mn-ea"/>
              <a:cs typeface="+mn-cs"/>
            </a:endParaRPr>
          </a:p>
        </p:txBody>
      </p:sp>
      <p:sp>
        <p:nvSpPr>
          <p:cNvPr id="61" name="TextBox 60">
            <a:extLst>
              <a:ext uri="{FF2B5EF4-FFF2-40B4-BE49-F238E27FC236}">
                <a16:creationId xmlns:a16="http://schemas.microsoft.com/office/drawing/2014/main" id="{F0A13A4D-973C-DB7C-0EAD-6C169A970757}"/>
              </a:ext>
            </a:extLst>
          </p:cNvPr>
          <p:cNvSpPr txBox="1"/>
          <p:nvPr/>
        </p:nvSpPr>
        <p:spPr>
          <a:xfrm>
            <a:off x="9438401" y="1440502"/>
            <a:ext cx="2062771" cy="246221"/>
          </a:xfrm>
          <a:prstGeom prst="rect">
            <a:avLst/>
          </a:prstGeom>
          <a:noFill/>
        </p:spPr>
        <p:txBody>
          <a:bodyPr wrap="square" rtlCol="0">
            <a:spAutoFit/>
          </a:bodyPr>
          <a:lstStyle/>
          <a:p>
            <a:pPr marL="0" marR="0" lvl="0" indent="0" algn="ctr" defTabSz="914309" rtl="0" eaLnBrk="1" fontAlgn="auto" latinLnBrk="0" hangingPunct="1">
              <a:lnSpc>
                <a:spcPct val="100000"/>
              </a:lnSpc>
              <a:spcBef>
                <a:spcPts val="0"/>
              </a:spcBef>
              <a:spcAft>
                <a:spcPts val="0"/>
              </a:spcAft>
              <a:buClr>
                <a:srgbClr val="2878FF"/>
              </a:buClr>
              <a:buSzTx/>
              <a:buFontTx/>
              <a:buNone/>
              <a:tabLst/>
              <a:defRPr/>
            </a:pPr>
            <a:r>
              <a:rPr kumimoji="0" lang="en-US" sz="1000" b="1" i="0" u="none" strike="noStrike" kern="1200" cap="none" spc="0" normalizeH="0" baseline="0" noProof="0">
                <a:ln>
                  <a:noFill/>
                </a:ln>
                <a:solidFill>
                  <a:srgbClr val="001965"/>
                </a:solidFill>
                <a:effectLst/>
                <a:uLnTx/>
                <a:uFillTx/>
                <a:latin typeface="Avenir Next LT Pro Demi" panose="020B0504020202020204" pitchFamily="34" charset="77"/>
                <a:ea typeface="+mn-ea"/>
                <a:cs typeface="+mn-cs"/>
              </a:rPr>
              <a:t>LATE-STAGE DEVELOPMENT</a:t>
            </a:r>
          </a:p>
        </p:txBody>
      </p:sp>
      <p:grpSp>
        <p:nvGrpSpPr>
          <p:cNvPr id="97" name="Group 96">
            <a:extLst>
              <a:ext uri="{FF2B5EF4-FFF2-40B4-BE49-F238E27FC236}">
                <a16:creationId xmlns:a16="http://schemas.microsoft.com/office/drawing/2014/main" id="{55676CAF-A8C6-3EA0-71DE-6B507EA1FDD5}"/>
              </a:ext>
            </a:extLst>
          </p:cNvPr>
          <p:cNvGrpSpPr/>
          <p:nvPr/>
        </p:nvGrpSpPr>
        <p:grpSpPr>
          <a:xfrm>
            <a:off x="1303005" y="3508455"/>
            <a:ext cx="6992155" cy="252363"/>
            <a:chOff x="260353" y="5374977"/>
            <a:chExt cx="5318067" cy="501928"/>
          </a:xfrm>
        </p:grpSpPr>
        <p:cxnSp>
          <p:nvCxnSpPr>
            <p:cNvPr id="98" name="Connector: Elbow 57">
              <a:extLst>
                <a:ext uri="{FF2B5EF4-FFF2-40B4-BE49-F238E27FC236}">
                  <a16:creationId xmlns:a16="http://schemas.microsoft.com/office/drawing/2014/main" id="{0619BADD-6C09-ED02-70A4-19C049319B2E}"/>
                </a:ext>
              </a:extLst>
            </p:cNvPr>
            <p:cNvCxnSpPr>
              <a:cxnSpLocks/>
            </p:cNvCxnSpPr>
            <p:nvPr/>
          </p:nvCxnSpPr>
          <p:spPr>
            <a:xfrm rot="10800000">
              <a:off x="260353" y="5374977"/>
              <a:ext cx="2659034" cy="272933"/>
            </a:xfrm>
            <a:prstGeom prst="bentConnector2">
              <a:avLst/>
            </a:prstGeom>
            <a:ln w="1905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99" name="Connector: Elbow 58">
              <a:extLst>
                <a:ext uri="{FF2B5EF4-FFF2-40B4-BE49-F238E27FC236}">
                  <a16:creationId xmlns:a16="http://schemas.microsoft.com/office/drawing/2014/main" id="{B1F6DED4-AF92-197A-370E-905C6AC4E465}"/>
                </a:ext>
              </a:extLst>
            </p:cNvPr>
            <p:cNvCxnSpPr>
              <a:cxnSpLocks/>
            </p:cNvCxnSpPr>
            <p:nvPr/>
          </p:nvCxnSpPr>
          <p:spPr>
            <a:xfrm flipV="1">
              <a:off x="2894132" y="5374984"/>
              <a:ext cx="2684288" cy="272927"/>
            </a:xfrm>
            <a:prstGeom prst="bentConnector2">
              <a:avLst/>
            </a:prstGeom>
            <a:ln w="1905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E4BF640E-E351-5E64-7E99-ED37CC356C86}"/>
                </a:ext>
              </a:extLst>
            </p:cNvPr>
            <p:cNvCxnSpPr>
              <a:cxnSpLocks/>
            </p:cNvCxnSpPr>
            <p:nvPr/>
          </p:nvCxnSpPr>
          <p:spPr>
            <a:xfrm flipV="1">
              <a:off x="2919387" y="5648960"/>
              <a:ext cx="0" cy="227945"/>
            </a:xfrm>
            <a:prstGeom prst="line">
              <a:avLst/>
            </a:prstGeom>
            <a:ln w="19050">
              <a:solidFill>
                <a:schemeClr val="tx2"/>
              </a:solidFill>
            </a:ln>
          </p:spPr>
          <p:style>
            <a:lnRef idx="2">
              <a:schemeClr val="accent1"/>
            </a:lnRef>
            <a:fillRef idx="0">
              <a:schemeClr val="accent1"/>
            </a:fillRef>
            <a:effectRef idx="1">
              <a:schemeClr val="accent1"/>
            </a:effectRef>
            <a:fontRef idx="minor">
              <a:schemeClr val="tx1"/>
            </a:fontRef>
          </p:style>
        </p:cxnSp>
      </p:grpSp>
      <p:grpSp>
        <p:nvGrpSpPr>
          <p:cNvPr id="103" name="Group 102">
            <a:extLst>
              <a:ext uri="{FF2B5EF4-FFF2-40B4-BE49-F238E27FC236}">
                <a16:creationId xmlns:a16="http://schemas.microsoft.com/office/drawing/2014/main" id="{FB20D265-6B06-DA1A-6629-28D8F734DB39}"/>
              </a:ext>
            </a:extLst>
          </p:cNvPr>
          <p:cNvGrpSpPr/>
          <p:nvPr/>
        </p:nvGrpSpPr>
        <p:grpSpPr>
          <a:xfrm>
            <a:off x="3494317" y="4661034"/>
            <a:ext cx="6449783" cy="252363"/>
            <a:chOff x="-676210" y="5374977"/>
            <a:chExt cx="7219319" cy="501928"/>
          </a:xfrm>
        </p:grpSpPr>
        <p:cxnSp>
          <p:nvCxnSpPr>
            <p:cNvPr id="104" name="Connector: Elbow 57">
              <a:extLst>
                <a:ext uri="{FF2B5EF4-FFF2-40B4-BE49-F238E27FC236}">
                  <a16:creationId xmlns:a16="http://schemas.microsoft.com/office/drawing/2014/main" id="{1E736AA4-BFDD-0FE1-7087-60E9367A3B89}"/>
                </a:ext>
              </a:extLst>
            </p:cNvPr>
            <p:cNvCxnSpPr>
              <a:cxnSpLocks/>
            </p:cNvCxnSpPr>
            <p:nvPr/>
          </p:nvCxnSpPr>
          <p:spPr>
            <a:xfrm rot="10800000">
              <a:off x="260353" y="5374977"/>
              <a:ext cx="2659034" cy="272933"/>
            </a:xfrm>
            <a:prstGeom prst="bentConnector2">
              <a:avLst/>
            </a:prstGeom>
            <a:ln w="19050">
              <a:solidFill>
                <a:schemeClr val="accent4"/>
              </a:solidFill>
            </a:ln>
          </p:spPr>
          <p:style>
            <a:lnRef idx="2">
              <a:schemeClr val="accent1"/>
            </a:lnRef>
            <a:fillRef idx="0">
              <a:schemeClr val="accent1"/>
            </a:fillRef>
            <a:effectRef idx="1">
              <a:schemeClr val="accent1"/>
            </a:effectRef>
            <a:fontRef idx="minor">
              <a:schemeClr val="tx1"/>
            </a:fontRef>
          </p:style>
        </p:cxnSp>
        <p:cxnSp>
          <p:nvCxnSpPr>
            <p:cNvPr id="105" name="Connector: Elbow 58">
              <a:extLst>
                <a:ext uri="{FF2B5EF4-FFF2-40B4-BE49-F238E27FC236}">
                  <a16:creationId xmlns:a16="http://schemas.microsoft.com/office/drawing/2014/main" id="{FB97D384-F199-FD19-B068-DB22CA17858D}"/>
                </a:ext>
              </a:extLst>
            </p:cNvPr>
            <p:cNvCxnSpPr>
              <a:cxnSpLocks/>
            </p:cNvCxnSpPr>
            <p:nvPr/>
          </p:nvCxnSpPr>
          <p:spPr>
            <a:xfrm flipV="1">
              <a:off x="2894132" y="5374984"/>
              <a:ext cx="2684288" cy="272927"/>
            </a:xfrm>
            <a:prstGeom prst="bentConnector2">
              <a:avLst/>
            </a:prstGeom>
            <a:ln w="19050">
              <a:solidFill>
                <a:schemeClr val="accent4"/>
              </a:solidFill>
            </a:ln>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1F5F6FEF-0E82-4252-B099-DD76D0ADA306}"/>
                </a:ext>
              </a:extLst>
            </p:cNvPr>
            <p:cNvCxnSpPr>
              <a:cxnSpLocks/>
            </p:cNvCxnSpPr>
            <p:nvPr/>
          </p:nvCxnSpPr>
          <p:spPr>
            <a:xfrm flipV="1">
              <a:off x="2919387" y="5648960"/>
              <a:ext cx="0" cy="227945"/>
            </a:xfrm>
            <a:prstGeom prst="line">
              <a:avLst/>
            </a:prstGeom>
            <a:ln w="19050">
              <a:solidFill>
                <a:schemeClr val="accent4"/>
              </a:solidFill>
            </a:ln>
          </p:spPr>
          <p:style>
            <a:lnRef idx="2">
              <a:schemeClr val="accent1"/>
            </a:lnRef>
            <a:fillRef idx="0">
              <a:schemeClr val="accent1"/>
            </a:fillRef>
            <a:effectRef idx="1">
              <a:schemeClr val="accent1"/>
            </a:effectRef>
            <a:fontRef idx="minor">
              <a:schemeClr val="tx1"/>
            </a:fontRef>
          </p:style>
        </p:cxnSp>
        <p:cxnSp>
          <p:nvCxnSpPr>
            <p:cNvPr id="109" name="Connector: Elbow 57">
              <a:extLst>
                <a:ext uri="{FF2B5EF4-FFF2-40B4-BE49-F238E27FC236}">
                  <a16:creationId xmlns:a16="http://schemas.microsoft.com/office/drawing/2014/main" id="{08A10720-33F0-FF38-FEDD-5FCA11C1C40B}"/>
                </a:ext>
              </a:extLst>
            </p:cNvPr>
            <p:cNvCxnSpPr>
              <a:cxnSpLocks/>
            </p:cNvCxnSpPr>
            <p:nvPr/>
          </p:nvCxnSpPr>
          <p:spPr>
            <a:xfrm rot="10800000">
              <a:off x="-676210" y="5374977"/>
              <a:ext cx="2659034" cy="272933"/>
            </a:xfrm>
            <a:prstGeom prst="bentConnector2">
              <a:avLst/>
            </a:prstGeom>
            <a:ln w="19050">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10" name="Connector: Elbow 58">
              <a:extLst>
                <a:ext uri="{FF2B5EF4-FFF2-40B4-BE49-F238E27FC236}">
                  <a16:creationId xmlns:a16="http://schemas.microsoft.com/office/drawing/2014/main" id="{0F4B7614-23C5-2C3B-7BD7-A7CD2D6F0F68}"/>
                </a:ext>
              </a:extLst>
            </p:cNvPr>
            <p:cNvCxnSpPr>
              <a:cxnSpLocks/>
            </p:cNvCxnSpPr>
            <p:nvPr/>
          </p:nvCxnSpPr>
          <p:spPr>
            <a:xfrm flipV="1">
              <a:off x="3858820" y="5374985"/>
              <a:ext cx="2684289" cy="272927"/>
            </a:xfrm>
            <a:prstGeom prst="bentConnector2">
              <a:avLst/>
            </a:prstGeom>
            <a:ln w="19050">
              <a:solidFill>
                <a:schemeClr val="accent4"/>
              </a:solidFill>
              <a:prstDash val="dash"/>
            </a:ln>
          </p:spPr>
          <p:style>
            <a:lnRef idx="2">
              <a:schemeClr val="accent1"/>
            </a:lnRef>
            <a:fillRef idx="0">
              <a:schemeClr val="accent1"/>
            </a:fillRef>
            <a:effectRef idx="1">
              <a:schemeClr val="accent1"/>
            </a:effectRef>
            <a:fontRef idx="minor">
              <a:schemeClr val="tx1"/>
            </a:fontRef>
          </p:style>
        </p:cxnSp>
      </p:grpSp>
      <p:sp>
        <p:nvSpPr>
          <p:cNvPr id="30" name="Rectangle 29">
            <a:extLst>
              <a:ext uri="{FF2B5EF4-FFF2-40B4-BE49-F238E27FC236}">
                <a16:creationId xmlns:a16="http://schemas.microsoft.com/office/drawing/2014/main" id="{6B726221-E6B1-2846-B97B-A10BDDC398C0}"/>
              </a:ext>
            </a:extLst>
          </p:cNvPr>
          <p:cNvSpPr/>
          <p:nvPr/>
        </p:nvSpPr>
        <p:spPr>
          <a:xfrm>
            <a:off x="1271066" y="3169030"/>
            <a:ext cx="3511126" cy="749318"/>
          </a:xfrm>
          <a:prstGeom prst="rect">
            <a:avLst/>
          </a:prstGeom>
          <a:noFill/>
          <a:ln w="12700" cap="flat" cmpd="sng" algn="ctr">
            <a:noFill/>
            <a:prstDash val="dash"/>
            <a:miter lim="800000"/>
          </a:ln>
          <a:effectLst/>
        </p:spPr>
        <p:txBody>
          <a:bodyPr rtlCol="0" anchor="t"/>
          <a:lstStyle/>
          <a:p>
            <a:pPr marL="0" marR="0" lvl="0" indent="0" algn="ctr" defTabSz="914218" rtl="0" eaLnBrk="1" fontAlgn="auto" latinLnBrk="0" hangingPunct="1">
              <a:lnSpc>
                <a:spcPct val="100000"/>
              </a:lnSpc>
              <a:spcBef>
                <a:spcPts val="0"/>
              </a:spcBef>
              <a:spcAft>
                <a:spcPts val="400"/>
              </a:spcAft>
              <a:buClrTx/>
              <a:buSzTx/>
              <a:buFontTx/>
              <a:buNone/>
              <a:tabLst/>
              <a:defRPr/>
            </a:pPr>
            <a:r>
              <a:rPr kumimoji="0" lang="en-US" sz="1200" b="0" i="1" u="none" strike="noStrike" kern="0" cap="none" spc="0" normalizeH="0" baseline="0" noProof="0">
                <a:ln>
                  <a:noFill/>
                </a:ln>
                <a:solidFill>
                  <a:srgbClr val="FFFFFF"/>
                </a:solidFill>
                <a:effectLst/>
                <a:uLnTx/>
                <a:uFillTx/>
                <a:latin typeface="Avenir Next LT Pro"/>
                <a:ea typeface="+mn-ea"/>
                <a:cs typeface="+mn-cs"/>
              </a:rPr>
              <a:t>P</a:t>
            </a:r>
            <a:r>
              <a:rPr kumimoji="0" lang="en-DK" sz="1200" b="0" i="1" u="none" strike="noStrike" kern="0" cap="none" spc="0" normalizeH="0" baseline="0" noProof="0">
                <a:ln>
                  <a:noFill/>
                </a:ln>
                <a:solidFill>
                  <a:srgbClr val="FFFFFF"/>
                </a:solidFill>
                <a:effectLst/>
                <a:uLnTx/>
                <a:uFillTx/>
                <a:latin typeface="Avenir Next LT Pro"/>
                <a:ea typeface="+mn-ea"/>
                <a:cs typeface="+mn-cs"/>
              </a:rPr>
              <a:t>rovides foundational </a:t>
            </a:r>
            <a:r>
              <a:rPr kumimoji="0" lang="en-US" sz="1200" b="0" i="1" u="none" strike="noStrike" kern="0" cap="none" spc="0" normalizeH="0" baseline="0" noProof="0">
                <a:ln>
                  <a:noFill/>
                </a:ln>
                <a:solidFill>
                  <a:srgbClr val="FFFFFF"/>
                </a:solidFill>
                <a:effectLst/>
                <a:uLnTx/>
                <a:uFillTx/>
                <a:latin typeface="Avenir Next LT Pro"/>
                <a:ea typeface="+mn-ea"/>
                <a:cs typeface="+mn-cs"/>
              </a:rPr>
              <a:t>revenue</a:t>
            </a:r>
            <a:r>
              <a:rPr kumimoji="0" lang="en-DK" sz="1200" b="0" i="1" u="none" strike="noStrike" kern="0" cap="none" spc="0" normalizeH="0" baseline="0" noProof="0">
                <a:ln>
                  <a:noFill/>
                </a:ln>
                <a:solidFill>
                  <a:srgbClr val="FFFFFF"/>
                </a:solidFill>
                <a:effectLst/>
                <a:uLnTx/>
                <a:uFillTx/>
                <a:latin typeface="Avenir Next LT Pro"/>
                <a:ea typeface="+mn-ea"/>
                <a:cs typeface="+mn-cs"/>
              </a:rPr>
              <a:t> stream </a:t>
            </a:r>
          </a:p>
        </p:txBody>
      </p:sp>
      <p:sp>
        <p:nvSpPr>
          <p:cNvPr id="29" name="Rectangle 28">
            <a:extLst>
              <a:ext uri="{FF2B5EF4-FFF2-40B4-BE49-F238E27FC236}">
                <a16:creationId xmlns:a16="http://schemas.microsoft.com/office/drawing/2014/main" id="{7710DBED-99B4-002C-989A-4E313764F525}"/>
              </a:ext>
            </a:extLst>
          </p:cNvPr>
          <p:cNvSpPr/>
          <p:nvPr/>
        </p:nvSpPr>
        <p:spPr>
          <a:xfrm>
            <a:off x="2600022" y="4138977"/>
            <a:ext cx="4392647" cy="753433"/>
          </a:xfrm>
          <a:prstGeom prst="rect">
            <a:avLst/>
          </a:prstGeom>
          <a:noFill/>
          <a:ln w="12700" cap="flat" cmpd="sng" algn="ctr">
            <a:noFill/>
            <a:prstDash val="dash"/>
            <a:miter lim="800000"/>
          </a:ln>
          <a:effectLst/>
        </p:spPr>
        <p:txBody>
          <a:bodyPr rtlCol="0" anchor="t"/>
          <a:lstStyle/>
          <a:p>
            <a:pPr marL="0" marR="0" lvl="0" indent="0" algn="ctr" defTabSz="914218" rtl="0" eaLnBrk="1" fontAlgn="auto" latinLnBrk="0" hangingPunct="1">
              <a:lnSpc>
                <a:spcPct val="100000"/>
              </a:lnSpc>
              <a:spcBef>
                <a:spcPts val="0"/>
              </a:spcBef>
              <a:spcAft>
                <a:spcPts val="400"/>
              </a:spcAft>
              <a:buClrTx/>
              <a:buSzTx/>
              <a:buFontTx/>
              <a:buNone/>
              <a:tabLst/>
              <a:defRPr/>
            </a:pPr>
            <a:r>
              <a:rPr kumimoji="0" lang="en-DK" sz="1200" b="0" i="1" u="none" strike="noStrike" kern="0" cap="none" spc="0" normalizeH="0" baseline="0" noProof="0">
                <a:ln>
                  <a:noFill/>
                </a:ln>
                <a:solidFill>
                  <a:srgbClr val="FFFFFF"/>
                </a:solidFill>
                <a:effectLst/>
                <a:uLnTx/>
                <a:uFillTx/>
                <a:latin typeface="Avenir Next LT Pro"/>
                <a:ea typeface="+mn-ea"/>
                <a:cs typeface="+mn-cs"/>
              </a:rPr>
              <a:t>Drives gr</a:t>
            </a:r>
            <a:r>
              <a:rPr kumimoji="0" lang="en-US" sz="1200" b="0" i="1" u="none" strike="noStrike" kern="0" cap="none" spc="0" normalizeH="0" baseline="0" noProof="0">
                <a:ln>
                  <a:noFill/>
                </a:ln>
                <a:solidFill>
                  <a:srgbClr val="FFFFFF"/>
                </a:solidFill>
                <a:effectLst/>
                <a:uLnTx/>
                <a:uFillTx/>
                <a:latin typeface="Avenir Next LT Pro"/>
                <a:ea typeface="+mn-ea"/>
                <a:cs typeface="+mn-cs"/>
              </a:rPr>
              <a:t>ow</a:t>
            </a:r>
            <a:r>
              <a:rPr kumimoji="0" lang="en-DK" sz="1200" b="0" i="1" u="none" strike="noStrike" kern="0" cap="none" spc="0" normalizeH="0" baseline="0" noProof="0">
                <a:ln>
                  <a:noFill/>
                </a:ln>
                <a:solidFill>
                  <a:srgbClr val="FFFFFF"/>
                </a:solidFill>
                <a:effectLst/>
                <a:uLnTx/>
                <a:uFillTx/>
                <a:latin typeface="Avenir Next LT Pro"/>
                <a:ea typeface="+mn-ea"/>
                <a:cs typeface="+mn-cs"/>
              </a:rPr>
              <a:t>th through advancement of high-v</a:t>
            </a:r>
            <a:r>
              <a:rPr kumimoji="0" lang="en-US" sz="1200" b="0" i="1" u="none" strike="noStrike" kern="0" cap="none" spc="0" normalizeH="0" baseline="0" noProof="0">
                <a:ln>
                  <a:noFill/>
                </a:ln>
                <a:solidFill>
                  <a:srgbClr val="FFFFFF"/>
                </a:solidFill>
                <a:effectLst/>
                <a:uLnTx/>
                <a:uFillTx/>
                <a:latin typeface="Avenir Next LT Pro"/>
                <a:ea typeface="+mn-ea"/>
                <a:cs typeface="+mn-cs"/>
              </a:rPr>
              <a:t>al</a:t>
            </a:r>
            <a:r>
              <a:rPr kumimoji="0" lang="en-DK" sz="1200" b="0" i="1" u="none" strike="noStrike" kern="0" cap="none" spc="0" normalizeH="0" baseline="0" noProof="0">
                <a:ln>
                  <a:noFill/>
                </a:ln>
                <a:solidFill>
                  <a:srgbClr val="FFFFFF"/>
                </a:solidFill>
                <a:effectLst/>
                <a:uLnTx/>
                <a:uFillTx/>
                <a:latin typeface="Avenir Next LT Pro"/>
                <a:ea typeface="+mn-ea"/>
                <a:cs typeface="+mn-cs"/>
              </a:rPr>
              <a:t>ue assets</a:t>
            </a:r>
            <a:endParaRPr kumimoji="0" lang="en-GB" sz="1200" b="0" i="1" u="none" strike="noStrike" kern="0" cap="none" spc="0" normalizeH="0" baseline="0" noProof="0">
              <a:ln>
                <a:noFill/>
              </a:ln>
              <a:solidFill>
                <a:srgbClr val="FFFFFF"/>
              </a:solidFill>
              <a:effectLst/>
              <a:uLnTx/>
              <a:uFillTx/>
              <a:latin typeface="Avenir Next LT Pro"/>
              <a:ea typeface="+mn-ea"/>
              <a:cs typeface="+mn-cs"/>
            </a:endParaRPr>
          </a:p>
        </p:txBody>
      </p:sp>
      <p:sp>
        <p:nvSpPr>
          <p:cNvPr id="31" name="Rectangle 30">
            <a:extLst>
              <a:ext uri="{FF2B5EF4-FFF2-40B4-BE49-F238E27FC236}">
                <a16:creationId xmlns:a16="http://schemas.microsoft.com/office/drawing/2014/main" id="{445324CA-C81E-3A02-5DCB-63195507959E}"/>
              </a:ext>
            </a:extLst>
          </p:cNvPr>
          <p:cNvSpPr/>
          <p:nvPr/>
        </p:nvSpPr>
        <p:spPr>
          <a:xfrm>
            <a:off x="4541874" y="5291498"/>
            <a:ext cx="4327143" cy="711021"/>
          </a:xfrm>
          <a:prstGeom prst="rect">
            <a:avLst/>
          </a:prstGeom>
          <a:noFill/>
          <a:ln w="12700" cap="flat" cmpd="sng" algn="ctr">
            <a:noFill/>
            <a:prstDash val="dash"/>
            <a:miter lim="800000"/>
          </a:ln>
          <a:effectLst/>
        </p:spPr>
        <p:txBody>
          <a:bodyPr rtlCol="0" anchor="t"/>
          <a:lstStyle/>
          <a:p>
            <a:pPr marL="0" marR="0" lvl="0" indent="0" algn="ctr" defTabSz="914218" rtl="0" eaLnBrk="1" fontAlgn="auto" latinLnBrk="0" hangingPunct="1">
              <a:lnSpc>
                <a:spcPct val="100000"/>
              </a:lnSpc>
              <a:spcBef>
                <a:spcPts val="0"/>
              </a:spcBef>
              <a:spcAft>
                <a:spcPts val="400"/>
              </a:spcAft>
              <a:buClrTx/>
              <a:buSzTx/>
              <a:buFontTx/>
              <a:buNone/>
              <a:tabLst/>
              <a:defRPr/>
            </a:pPr>
            <a:r>
              <a:rPr kumimoji="0" lang="en-DK" sz="1200" b="0" i="1" u="none" strike="noStrike" kern="1200" cap="none" spc="0" normalizeH="0" baseline="0" noProof="0">
                <a:ln>
                  <a:noFill/>
                </a:ln>
                <a:solidFill>
                  <a:srgbClr val="FFFFFF"/>
                </a:solidFill>
                <a:effectLst/>
                <a:uLnTx/>
                <a:uFillTx/>
                <a:latin typeface="Avenir Next LT Pro"/>
                <a:ea typeface="Aptos" panose="020B0004020202020204" pitchFamily="34" charset="0"/>
                <a:cs typeface="Aptos" panose="020B0004020202020204" pitchFamily="34" charset="0"/>
              </a:rPr>
              <a:t>Provides a</a:t>
            </a:r>
            <a:r>
              <a:rPr kumimoji="0" lang="en-US" sz="1200" b="0" i="1" u="none" strike="noStrike" kern="1200" cap="none" spc="0" normalizeH="0" baseline="0" noProof="0" err="1">
                <a:ln>
                  <a:noFill/>
                </a:ln>
                <a:solidFill>
                  <a:srgbClr val="FFFFFF"/>
                </a:solidFill>
                <a:effectLst/>
                <a:uLnTx/>
                <a:uFillTx/>
                <a:latin typeface="Avenir Next LT Pro"/>
                <a:ea typeface="Aptos" panose="020B0004020202020204" pitchFamily="34" charset="0"/>
                <a:cs typeface="Aptos" panose="020B0004020202020204" pitchFamily="34" charset="0"/>
              </a:rPr>
              <a:t>dditional</a:t>
            </a:r>
            <a:r>
              <a:rPr kumimoji="0" lang="en-US" sz="1200" b="0" i="1" u="none" strike="noStrike" kern="1200" cap="none" spc="0" normalizeH="0" baseline="0" noProof="0">
                <a:ln>
                  <a:noFill/>
                </a:ln>
                <a:solidFill>
                  <a:srgbClr val="FFFFFF"/>
                </a:solidFill>
                <a:effectLst/>
                <a:uLnTx/>
                <a:uFillTx/>
                <a:latin typeface="Avenir Next LT Pro"/>
                <a:ea typeface="Aptos" panose="020B0004020202020204" pitchFamily="34" charset="0"/>
                <a:cs typeface="Aptos" panose="020B0004020202020204" pitchFamily="34" charset="0"/>
              </a:rPr>
              <a:t> monetization pathway</a:t>
            </a:r>
            <a:r>
              <a:rPr kumimoji="0" lang="en-DK" sz="1200" b="0" i="1" u="none" strike="noStrike" kern="1200" cap="none" spc="0" normalizeH="0" baseline="0" noProof="0">
                <a:ln>
                  <a:noFill/>
                </a:ln>
                <a:solidFill>
                  <a:srgbClr val="FFFFFF"/>
                </a:solidFill>
                <a:effectLst/>
                <a:uLnTx/>
                <a:uFillTx/>
                <a:latin typeface="Avenir Next LT Pro"/>
                <a:ea typeface="Aptos" panose="020B0004020202020204" pitchFamily="34" charset="0"/>
                <a:cs typeface="Aptos" panose="020B0004020202020204" pitchFamily="34" charset="0"/>
              </a:rPr>
              <a:t>s</a:t>
            </a:r>
          </a:p>
          <a:p>
            <a:pPr marL="171433" marR="0" lvl="0" indent="-171433" algn="ctr" defTabSz="914218"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200" b="0" i="1" u="none" strike="noStrike" kern="0" cap="none" spc="0" normalizeH="0" baseline="0" noProof="0">
              <a:ln>
                <a:noFill/>
              </a:ln>
              <a:solidFill>
                <a:srgbClr val="FFFFFF"/>
              </a:solidFill>
              <a:effectLst/>
              <a:uLnTx/>
              <a:uFillTx/>
              <a:latin typeface="Avenir Next LT Pro"/>
              <a:ea typeface="+mn-ea"/>
              <a:cs typeface="+mn-cs"/>
            </a:endParaRPr>
          </a:p>
        </p:txBody>
      </p:sp>
      <p:pic>
        <p:nvPicPr>
          <p:cNvPr id="19" name="Picture 18">
            <a:extLst>
              <a:ext uri="{FF2B5EF4-FFF2-40B4-BE49-F238E27FC236}">
                <a16:creationId xmlns:a16="http://schemas.microsoft.com/office/drawing/2014/main" id="{235CBCF8-4172-1D5F-6DCA-5F2E6AEF5E64}"/>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cxnSp>
        <p:nvCxnSpPr>
          <p:cNvPr id="106" name="Straight Connector 105">
            <a:extLst>
              <a:ext uri="{FF2B5EF4-FFF2-40B4-BE49-F238E27FC236}">
                <a16:creationId xmlns:a16="http://schemas.microsoft.com/office/drawing/2014/main" id="{67A40613-3C15-78A5-DFD5-EDEE2B0E1EF8}"/>
              </a:ext>
            </a:extLst>
          </p:cNvPr>
          <p:cNvCxnSpPr>
            <a:cxnSpLocks/>
          </p:cNvCxnSpPr>
          <p:nvPr/>
        </p:nvCxnSpPr>
        <p:spPr>
          <a:xfrm>
            <a:off x="4315931" y="2495651"/>
            <a:ext cx="0" cy="3498871"/>
          </a:xfrm>
          <a:prstGeom prst="line">
            <a:avLst/>
          </a:prstGeom>
          <a:ln w="6350">
            <a:solidFill>
              <a:schemeClr val="bg1">
                <a:alpha val="30000"/>
              </a:schemeClr>
            </a:solidFill>
            <a:prstDash val="dash"/>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a16="http://schemas.microsoft.com/office/drawing/2014/main" id="{177492C3-4F45-ED9A-2227-8FD9D9ECB934}"/>
              </a:ext>
            </a:extLst>
          </p:cNvPr>
          <p:cNvCxnSpPr>
            <a:cxnSpLocks/>
          </p:cNvCxnSpPr>
          <p:nvPr/>
        </p:nvCxnSpPr>
        <p:spPr>
          <a:xfrm>
            <a:off x="5897571" y="2495651"/>
            <a:ext cx="0" cy="3498871"/>
          </a:xfrm>
          <a:prstGeom prst="line">
            <a:avLst/>
          </a:prstGeom>
          <a:ln w="6350">
            <a:solidFill>
              <a:schemeClr val="bg1">
                <a:alpha val="30000"/>
              </a:schemeClr>
            </a:solidFill>
            <a:prstDash val="dash"/>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41" name="Straight Connector 140">
            <a:extLst>
              <a:ext uri="{FF2B5EF4-FFF2-40B4-BE49-F238E27FC236}">
                <a16:creationId xmlns:a16="http://schemas.microsoft.com/office/drawing/2014/main" id="{64822911-3527-900D-3DAE-59569CCA9CB2}"/>
              </a:ext>
            </a:extLst>
          </p:cNvPr>
          <p:cNvCxnSpPr>
            <a:cxnSpLocks/>
          </p:cNvCxnSpPr>
          <p:nvPr/>
        </p:nvCxnSpPr>
        <p:spPr>
          <a:xfrm>
            <a:off x="7485655" y="2490516"/>
            <a:ext cx="0" cy="3396194"/>
          </a:xfrm>
          <a:prstGeom prst="line">
            <a:avLst/>
          </a:prstGeom>
          <a:ln w="6350">
            <a:solidFill>
              <a:schemeClr val="bg1">
                <a:alpha val="30000"/>
              </a:schemeClr>
            </a:solidFill>
            <a:prstDash val="dash"/>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88F4A6F5-6165-4CB8-26F0-16FBCD698830}"/>
              </a:ext>
            </a:extLst>
          </p:cNvPr>
          <p:cNvCxnSpPr>
            <a:cxnSpLocks/>
          </p:cNvCxnSpPr>
          <p:nvPr/>
        </p:nvCxnSpPr>
        <p:spPr>
          <a:xfrm>
            <a:off x="9084665" y="2478011"/>
            <a:ext cx="0" cy="3146076"/>
          </a:xfrm>
          <a:prstGeom prst="line">
            <a:avLst/>
          </a:prstGeom>
          <a:ln w="6350">
            <a:solidFill>
              <a:schemeClr val="bg1">
                <a:alpha val="30000"/>
              </a:schemeClr>
            </a:solidFill>
            <a:prstDash val="dash"/>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26" name="Rectangle: Rounded Corners 18">
            <a:extLst>
              <a:ext uri="{FF2B5EF4-FFF2-40B4-BE49-F238E27FC236}">
                <a16:creationId xmlns:a16="http://schemas.microsoft.com/office/drawing/2014/main" id="{412D08F9-62CD-E360-B375-420B82B773FE}"/>
              </a:ext>
            </a:extLst>
          </p:cNvPr>
          <p:cNvSpPr/>
          <p:nvPr/>
        </p:nvSpPr>
        <p:spPr>
          <a:xfrm>
            <a:off x="3538072" y="3759446"/>
            <a:ext cx="2516549" cy="360000"/>
          </a:xfrm>
          <a:prstGeom prst="roundRect">
            <a:avLst>
              <a:gd name="adj" fmla="val 50000"/>
            </a:avLst>
          </a:prstGeom>
          <a:solidFill>
            <a:schemeClr val="tx2">
              <a:alpha val="43000"/>
            </a:schemeClr>
          </a:solidFill>
          <a:ln w="9525" cap="flat">
            <a:solidFill>
              <a:schemeClr val="tx2"/>
            </a:solidFill>
            <a:prstDash val="solid"/>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200" b="1" i="0" u="none" strike="noStrike" kern="0" cap="none" spc="0" normalizeH="0" baseline="0" noProof="0">
                <a:ln>
                  <a:noFill/>
                </a:ln>
                <a:solidFill>
                  <a:srgbClr val="FFFFFF"/>
                </a:solidFill>
                <a:effectLst/>
                <a:uLnTx/>
                <a:uFillTx/>
                <a:latin typeface="Avenir Next LT Pro Demi" panose="020B0504020202020204" pitchFamily="34" charset="77"/>
                <a:ea typeface="+mn-ea"/>
                <a:cs typeface="+mn-cs"/>
              </a:rPr>
              <a:t>GUBRA </a:t>
            </a:r>
            <a:r>
              <a:rPr kumimoji="0" lang="de-DE" sz="1200" b="1" i="0" u="none" strike="noStrike" kern="0" cap="none" spc="0" normalizeH="0" baseline="0" noProof="0">
                <a:ln>
                  <a:noFill/>
                </a:ln>
                <a:solidFill>
                  <a:srgbClr val="FFFFFF"/>
                </a:solidFill>
                <a:effectLst/>
                <a:uLnTx/>
                <a:uFillTx/>
                <a:latin typeface="Avenir Next LT Pro Demi" panose="020B0504020202020204" pitchFamily="34" charset="77"/>
                <a:ea typeface="+mn-ea"/>
                <a:cs typeface="+mn-cs"/>
              </a:rPr>
              <a:t>BIOTECH</a:t>
            </a:r>
            <a:endParaRPr kumimoji="0" lang="en-US" sz="1200" b="1" i="0" u="none" strike="noStrike" kern="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sp>
        <p:nvSpPr>
          <p:cNvPr id="27" name="Rectangle: Rounded Corners 19">
            <a:extLst>
              <a:ext uri="{FF2B5EF4-FFF2-40B4-BE49-F238E27FC236}">
                <a16:creationId xmlns:a16="http://schemas.microsoft.com/office/drawing/2014/main" id="{4B35ACED-9407-79C3-2F36-639C666058EA}"/>
              </a:ext>
            </a:extLst>
          </p:cNvPr>
          <p:cNvSpPr/>
          <p:nvPr/>
        </p:nvSpPr>
        <p:spPr>
          <a:xfrm>
            <a:off x="5447171" y="4912793"/>
            <a:ext cx="2516549" cy="360000"/>
          </a:xfrm>
          <a:prstGeom prst="roundRect">
            <a:avLst>
              <a:gd name="adj" fmla="val 50000"/>
            </a:avLst>
          </a:prstGeom>
          <a:solidFill>
            <a:schemeClr val="accent4">
              <a:alpha val="43000"/>
            </a:schemeClr>
          </a:solidFill>
          <a:ln w="9525" cap="flat">
            <a:solidFill>
              <a:schemeClr val="accent4"/>
            </a:solidFill>
            <a:prstDash val="solid"/>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DK" sz="1200" b="1" i="0" u="none" strike="noStrike" kern="0" cap="none" spc="0" normalizeH="0" baseline="0" noProof="0">
                <a:ln>
                  <a:noFill/>
                </a:ln>
                <a:solidFill>
                  <a:srgbClr val="FFFFFF"/>
                </a:solidFill>
                <a:effectLst/>
                <a:uLnTx/>
                <a:uFillTx/>
                <a:latin typeface="Avenir Next LT Pro Demi" panose="020B0504020202020204" pitchFamily="34" charset="77"/>
                <a:ea typeface="+mn-ea"/>
                <a:cs typeface="+mn-cs"/>
              </a:rPr>
              <a:t>GUBRA </a:t>
            </a:r>
            <a:r>
              <a:rPr kumimoji="0" lang="de-DE" sz="1200" b="1" i="0" u="none" strike="noStrike" kern="0" cap="none" spc="0" normalizeH="0" baseline="0" noProof="0">
                <a:ln>
                  <a:noFill/>
                </a:ln>
                <a:solidFill>
                  <a:srgbClr val="FFFFFF"/>
                </a:solidFill>
                <a:effectLst/>
                <a:uLnTx/>
                <a:uFillTx/>
                <a:latin typeface="Avenir Next LT Pro Demi" panose="020B0504020202020204" pitchFamily="34" charset="77"/>
                <a:ea typeface="+mn-ea"/>
                <a:cs typeface="+mn-cs"/>
              </a:rPr>
              <a:t>VENTURES</a:t>
            </a:r>
            <a:r>
              <a:rPr kumimoji="0" lang="en-DK" sz="1200" b="1" i="0" u="none" strike="noStrike" kern="0" cap="none" spc="0" normalizeH="0" baseline="0" noProof="0">
                <a:ln>
                  <a:noFill/>
                </a:ln>
                <a:solidFill>
                  <a:srgbClr val="FFFFFF"/>
                </a:solidFill>
                <a:effectLst/>
                <a:uLnTx/>
                <a:uFillTx/>
                <a:latin typeface="Avenir Next LT Pro Demi" panose="020B0504020202020204" pitchFamily="34" charset="77"/>
                <a:ea typeface="+mn-ea"/>
                <a:cs typeface="+mn-cs"/>
              </a:rPr>
              <a:t> </a:t>
            </a:r>
            <a:endParaRPr kumimoji="0" lang="en-US" sz="1200" b="1" i="0" u="none" strike="noStrike" kern="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sp>
        <p:nvSpPr>
          <p:cNvPr id="38" name="Rectangle: Rounded Corners 19">
            <a:extLst>
              <a:ext uri="{FF2B5EF4-FFF2-40B4-BE49-F238E27FC236}">
                <a16:creationId xmlns:a16="http://schemas.microsoft.com/office/drawing/2014/main" id="{CB44E5F7-5903-EBA0-59A6-7D84DFAC00E0}"/>
              </a:ext>
            </a:extLst>
          </p:cNvPr>
          <p:cNvSpPr/>
          <p:nvPr/>
        </p:nvSpPr>
        <p:spPr>
          <a:xfrm>
            <a:off x="1768355" y="2797270"/>
            <a:ext cx="2516549" cy="360000"/>
          </a:xfrm>
          <a:prstGeom prst="roundRect">
            <a:avLst>
              <a:gd name="adj" fmla="val 50000"/>
            </a:avLst>
          </a:prstGeom>
          <a:solidFill>
            <a:schemeClr val="accent5">
              <a:alpha val="43000"/>
            </a:schemeClr>
          </a:solidFill>
          <a:ln w="9525" cap="flat">
            <a:solidFill>
              <a:schemeClr val="accent5"/>
            </a:solidFill>
            <a:prstDash val="solid"/>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200" b="1" i="0" u="none" strike="noStrike" kern="0" cap="none" spc="0" normalizeH="0" baseline="0" noProof="0">
                <a:ln>
                  <a:noFill/>
                </a:ln>
                <a:solidFill>
                  <a:srgbClr val="FFFFFF"/>
                </a:solidFill>
                <a:effectLst/>
                <a:uLnTx/>
                <a:uFillTx/>
                <a:latin typeface="Avenir Next LT Pro Demi" panose="020B0504020202020204" pitchFamily="34" charset="77"/>
                <a:ea typeface="+mn-ea"/>
                <a:cs typeface="+mn-cs"/>
              </a:rPr>
              <a:t>GUBRA </a:t>
            </a:r>
            <a:r>
              <a:rPr kumimoji="0" lang="en-DK" sz="1200" b="1" i="0" u="none" strike="noStrike" kern="0" cap="none" spc="0" normalizeH="0" baseline="0" noProof="0">
                <a:ln>
                  <a:noFill/>
                </a:ln>
                <a:solidFill>
                  <a:srgbClr val="FFFFFF"/>
                </a:solidFill>
                <a:effectLst/>
                <a:uLnTx/>
                <a:uFillTx/>
                <a:latin typeface="Avenir Next LT Pro Demi" panose="020B0504020202020204" pitchFamily="34" charset="77"/>
                <a:ea typeface="+mn-ea"/>
                <a:cs typeface="+mn-cs"/>
              </a:rPr>
              <a:t>CRO</a:t>
            </a:r>
            <a:endParaRPr kumimoji="0" lang="en-US" sz="1200" b="1" i="0" u="none" strike="noStrike" kern="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grpSp>
        <p:nvGrpSpPr>
          <p:cNvPr id="5" name="Group 4">
            <a:extLst>
              <a:ext uri="{FF2B5EF4-FFF2-40B4-BE49-F238E27FC236}">
                <a16:creationId xmlns:a16="http://schemas.microsoft.com/office/drawing/2014/main" id="{F46ECDB6-426F-AB2E-6D7B-9D8C49AB97E5}"/>
              </a:ext>
            </a:extLst>
          </p:cNvPr>
          <p:cNvGrpSpPr/>
          <p:nvPr/>
        </p:nvGrpSpPr>
        <p:grpSpPr>
          <a:xfrm>
            <a:off x="527192" y="3508460"/>
            <a:ext cx="8557472" cy="137228"/>
            <a:chOff x="260353" y="5374977"/>
            <a:chExt cx="5318067" cy="272934"/>
          </a:xfrm>
        </p:grpSpPr>
        <p:cxnSp>
          <p:nvCxnSpPr>
            <p:cNvPr id="35" name="Connector: Elbow 57">
              <a:extLst>
                <a:ext uri="{FF2B5EF4-FFF2-40B4-BE49-F238E27FC236}">
                  <a16:creationId xmlns:a16="http://schemas.microsoft.com/office/drawing/2014/main" id="{2A18B92E-05EF-41A2-27EB-4B310F4ECF44}"/>
                </a:ext>
              </a:extLst>
            </p:cNvPr>
            <p:cNvCxnSpPr>
              <a:cxnSpLocks/>
            </p:cNvCxnSpPr>
            <p:nvPr/>
          </p:nvCxnSpPr>
          <p:spPr>
            <a:xfrm rot="10800000">
              <a:off x="260353" y="5374977"/>
              <a:ext cx="2659034" cy="272933"/>
            </a:xfrm>
            <a:prstGeom prst="bentConnector2">
              <a:avLst/>
            </a:prstGeom>
            <a:ln w="19050">
              <a:solidFill>
                <a:schemeClr val="tx2"/>
              </a:solidFill>
              <a:prstDash val="dash"/>
            </a:ln>
          </p:spPr>
          <p:style>
            <a:lnRef idx="2">
              <a:schemeClr val="accent1"/>
            </a:lnRef>
            <a:fillRef idx="0">
              <a:schemeClr val="accent1"/>
            </a:fillRef>
            <a:effectRef idx="1">
              <a:schemeClr val="accent1"/>
            </a:effectRef>
            <a:fontRef idx="minor">
              <a:schemeClr val="tx1"/>
            </a:fontRef>
          </p:style>
        </p:cxnSp>
        <p:cxnSp>
          <p:nvCxnSpPr>
            <p:cNvPr id="36" name="Connector: Elbow 58">
              <a:extLst>
                <a:ext uri="{FF2B5EF4-FFF2-40B4-BE49-F238E27FC236}">
                  <a16:creationId xmlns:a16="http://schemas.microsoft.com/office/drawing/2014/main" id="{4ED8E7A2-4A2B-B05B-BED9-D37E7F2FB308}"/>
                </a:ext>
              </a:extLst>
            </p:cNvPr>
            <p:cNvCxnSpPr>
              <a:cxnSpLocks/>
            </p:cNvCxnSpPr>
            <p:nvPr/>
          </p:nvCxnSpPr>
          <p:spPr>
            <a:xfrm flipV="1">
              <a:off x="2894132" y="5374984"/>
              <a:ext cx="2684288" cy="272927"/>
            </a:xfrm>
            <a:prstGeom prst="bentConnector2">
              <a:avLst/>
            </a:prstGeom>
            <a:ln w="19050">
              <a:solidFill>
                <a:schemeClr val="tx2"/>
              </a:solidFill>
              <a:prstDash val="dash"/>
            </a:ln>
          </p:spPr>
          <p:style>
            <a:lnRef idx="2">
              <a:schemeClr val="accent1"/>
            </a:lnRef>
            <a:fillRef idx="0">
              <a:schemeClr val="accent1"/>
            </a:fillRef>
            <a:effectRef idx="1">
              <a:schemeClr val="accent1"/>
            </a:effectRef>
            <a:fontRef idx="minor">
              <a:schemeClr val="tx1"/>
            </a:fontRef>
          </p:style>
        </p:cxnSp>
      </p:grpSp>
      <p:sp>
        <p:nvSpPr>
          <p:cNvPr id="40" name="Textplatzhalter 18">
            <a:extLst>
              <a:ext uri="{FF2B5EF4-FFF2-40B4-BE49-F238E27FC236}">
                <a16:creationId xmlns:a16="http://schemas.microsoft.com/office/drawing/2014/main" id="{9FFDE248-DD4A-D145-E01C-C661A35009E5}"/>
              </a:ext>
            </a:extLst>
          </p:cNvPr>
          <p:cNvSpPr txBox="1">
            <a:spLocks/>
          </p:cNvSpPr>
          <p:nvPr/>
        </p:nvSpPr>
        <p:spPr>
          <a:xfrm>
            <a:off x="7165283" y="3058995"/>
            <a:ext cx="661774" cy="166199"/>
          </a:xfrm>
          <a:prstGeom prst="rect">
            <a:avLst/>
          </a:prstGeom>
        </p:spPr>
        <p:txBody>
          <a:bodyPr vert="horz" wrap="square" lIns="0" tIns="0" rIns="0" bIns="0" rtlCol="0" anchor="t">
            <a:spAutoFit/>
          </a:bodyPr>
          <a:lstStyle>
            <a:lvl1pPr marL="266700" indent="-266700" algn="l" defTabSz="914400"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75" indent="-180975"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628650" indent="-180975"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809625" indent="-18097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990600" indent="-180975"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ts val="1000"/>
              </a:spcBef>
              <a:spcAft>
                <a:spcPts val="0"/>
              </a:spcAft>
              <a:buClr>
                <a:srgbClr val="2878FF"/>
              </a:buClr>
              <a:buSzPct val="110000"/>
              <a:buFont typeface="Avenir Next LT Pro" panose="020B0504020202020204" pitchFamily="34" charset="0"/>
              <a:buNone/>
              <a:tabLst/>
              <a:defRPr/>
            </a:pP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Clinical PoC</a:t>
            </a:r>
            <a:endPar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grpSp>
        <p:nvGrpSpPr>
          <p:cNvPr id="41" name="Group 40">
            <a:extLst>
              <a:ext uri="{FF2B5EF4-FFF2-40B4-BE49-F238E27FC236}">
                <a16:creationId xmlns:a16="http://schemas.microsoft.com/office/drawing/2014/main" id="{702F4640-F5E6-7601-835E-2867433DA3EE}"/>
              </a:ext>
            </a:extLst>
          </p:cNvPr>
          <p:cNvGrpSpPr/>
          <p:nvPr/>
        </p:nvGrpSpPr>
        <p:grpSpPr>
          <a:xfrm>
            <a:off x="6867371" y="2779988"/>
            <a:ext cx="1257600" cy="229420"/>
            <a:chOff x="260353" y="5374977"/>
            <a:chExt cx="5318067" cy="501928"/>
          </a:xfrm>
        </p:grpSpPr>
        <p:cxnSp>
          <p:nvCxnSpPr>
            <p:cNvPr id="42" name="Connector: Elbow 57">
              <a:extLst>
                <a:ext uri="{FF2B5EF4-FFF2-40B4-BE49-F238E27FC236}">
                  <a16:creationId xmlns:a16="http://schemas.microsoft.com/office/drawing/2014/main" id="{2811002E-0ABC-6F69-438E-C95BB82ECA18}"/>
                </a:ext>
              </a:extLst>
            </p:cNvPr>
            <p:cNvCxnSpPr>
              <a:cxnSpLocks/>
            </p:cNvCxnSpPr>
            <p:nvPr/>
          </p:nvCxnSpPr>
          <p:spPr>
            <a:xfrm rot="10800000">
              <a:off x="260353" y="5374977"/>
              <a:ext cx="2659034" cy="272933"/>
            </a:xfrm>
            <a:prstGeom prst="bentConnector2">
              <a:avLst/>
            </a:prstGeom>
            <a:ln w="190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43" name="Connector: Elbow 58">
              <a:extLst>
                <a:ext uri="{FF2B5EF4-FFF2-40B4-BE49-F238E27FC236}">
                  <a16:creationId xmlns:a16="http://schemas.microsoft.com/office/drawing/2014/main" id="{76A6EEB9-4DE7-01D7-1A27-6D2CE2C3DEDF}"/>
                </a:ext>
              </a:extLst>
            </p:cNvPr>
            <p:cNvCxnSpPr>
              <a:cxnSpLocks/>
            </p:cNvCxnSpPr>
            <p:nvPr/>
          </p:nvCxnSpPr>
          <p:spPr>
            <a:xfrm flipV="1">
              <a:off x="2894132" y="5374984"/>
              <a:ext cx="2684288" cy="272927"/>
            </a:xfrm>
            <a:prstGeom prst="bentConnector2">
              <a:avLst/>
            </a:prstGeom>
            <a:ln w="190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0ABD856C-E53D-82C0-94DD-5526E9C7E569}"/>
                </a:ext>
              </a:extLst>
            </p:cNvPr>
            <p:cNvCxnSpPr>
              <a:cxnSpLocks/>
            </p:cNvCxnSpPr>
            <p:nvPr/>
          </p:nvCxnSpPr>
          <p:spPr>
            <a:xfrm flipV="1">
              <a:off x="2919387" y="5648960"/>
              <a:ext cx="0" cy="227945"/>
            </a:xfrm>
            <a:prstGeom prst="line">
              <a:avLst/>
            </a:prstGeom>
            <a:ln w="19050">
              <a:solidFill>
                <a:schemeClr val="bg1"/>
              </a:solidFill>
            </a:ln>
          </p:spPr>
          <p:style>
            <a:lnRef idx="2">
              <a:schemeClr val="accent1"/>
            </a:lnRef>
            <a:fillRef idx="0">
              <a:schemeClr val="accent1"/>
            </a:fillRef>
            <a:effectRef idx="1">
              <a:schemeClr val="accent1"/>
            </a:effectRef>
            <a:fontRef idx="minor">
              <a:schemeClr val="tx1"/>
            </a:fontRef>
          </p:style>
        </p:cxnSp>
      </p:grpSp>
      <p:sp>
        <p:nvSpPr>
          <p:cNvPr id="46" name="TextBox 45">
            <a:extLst>
              <a:ext uri="{FF2B5EF4-FFF2-40B4-BE49-F238E27FC236}">
                <a16:creationId xmlns:a16="http://schemas.microsoft.com/office/drawing/2014/main" id="{6DA30797-5AE1-2CD7-86EB-DA586BB52FB7}"/>
              </a:ext>
            </a:extLst>
          </p:cNvPr>
          <p:cNvSpPr txBox="1"/>
          <p:nvPr/>
        </p:nvSpPr>
        <p:spPr>
          <a:xfrm>
            <a:off x="11594381" y="6399575"/>
            <a:ext cx="27602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92F5A-FC14-4E83-B4CC-18F6C2D780A4}" type="slidenum">
              <a:rPr kumimoji="0" lang="en-US" sz="1000" b="0" i="0" u="none" strike="noStrike" kern="0" cap="none" spc="40" normalizeH="0" baseline="0" noProof="0" smtClean="0">
                <a:ln>
                  <a:noFill/>
                </a:ln>
                <a:solidFill>
                  <a:srgbClr val="2878FF"/>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0" cap="none" spc="40" normalizeH="0" baseline="0" noProof="0">
              <a:ln>
                <a:noFill/>
              </a:ln>
              <a:solidFill>
                <a:srgbClr val="2878FF"/>
              </a:solidFill>
              <a:effectLst/>
              <a:uLnTx/>
              <a:uFillTx/>
              <a:latin typeface="Avenir Next LT Pro"/>
              <a:ea typeface="+mn-ea"/>
              <a:cs typeface="+mn-cs"/>
            </a:endParaRPr>
          </a:p>
        </p:txBody>
      </p:sp>
      <p:sp>
        <p:nvSpPr>
          <p:cNvPr id="3" name="Textplatzhalter 18">
            <a:extLst>
              <a:ext uri="{FF2B5EF4-FFF2-40B4-BE49-F238E27FC236}">
                <a16:creationId xmlns:a16="http://schemas.microsoft.com/office/drawing/2014/main" id="{806F1249-06B0-BADB-435B-D0D2D3230CCB}"/>
              </a:ext>
            </a:extLst>
          </p:cNvPr>
          <p:cNvSpPr txBox="1">
            <a:spLocks/>
          </p:cNvSpPr>
          <p:nvPr/>
        </p:nvSpPr>
        <p:spPr>
          <a:xfrm>
            <a:off x="6963273" y="2632466"/>
            <a:ext cx="1065793" cy="166199"/>
          </a:xfrm>
          <a:prstGeom prst="rect">
            <a:avLst/>
          </a:prstGeom>
        </p:spPr>
        <p:txBody>
          <a:bodyPr vert="horz" wrap="square" lIns="0" tIns="0" rIns="0" bIns="0" rtlCol="0" anchor="t">
            <a:spAutoFit/>
          </a:bodyPr>
          <a:lstStyle>
            <a:lvl1pPr marL="266700" indent="-266700" algn="l" defTabSz="914400"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75" indent="-180975"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628650" indent="-180975"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809625" indent="-18097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990600" indent="-180975"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ts val="1000"/>
              </a:spcBef>
              <a:spcAft>
                <a:spcPts val="0"/>
              </a:spcAft>
              <a:buClr>
                <a:srgbClr val="2878FF"/>
              </a:buClr>
              <a:buSzPct val="110000"/>
              <a:buFont typeface="Avenir Next LT Pro" panose="020B0504020202020204" pitchFamily="34" charset="0"/>
              <a:buNone/>
              <a:tabLst/>
              <a:defRPr/>
            </a:pP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Phase 1b/2a</a:t>
            </a:r>
            <a:endPar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sp>
        <p:nvSpPr>
          <p:cNvPr id="47" name="Textplatzhalter 18">
            <a:extLst>
              <a:ext uri="{FF2B5EF4-FFF2-40B4-BE49-F238E27FC236}">
                <a16:creationId xmlns:a16="http://schemas.microsoft.com/office/drawing/2014/main" id="{B2FF2348-047D-6118-8A47-FB96545F1595}"/>
              </a:ext>
            </a:extLst>
          </p:cNvPr>
          <p:cNvSpPr txBox="1">
            <a:spLocks/>
          </p:cNvSpPr>
          <p:nvPr/>
        </p:nvSpPr>
        <p:spPr>
          <a:xfrm>
            <a:off x="8644255" y="6204064"/>
            <a:ext cx="880821" cy="166199"/>
          </a:xfrm>
          <a:prstGeom prst="rect">
            <a:avLst/>
          </a:prstGeom>
        </p:spPr>
        <p:txBody>
          <a:bodyPr vert="horz" wrap="square" lIns="0" tIns="0" rIns="0" bIns="0" rtlCol="0" anchor="t">
            <a:spAutoFit/>
          </a:bodyPr>
          <a:lstStyle>
            <a:lvl1pPr marL="266700" indent="-266700" algn="l" defTabSz="914400" rtl="0" eaLnBrk="1" latinLnBrk="0" hangingPunct="1">
              <a:lnSpc>
                <a:spcPct val="90000"/>
              </a:lnSpc>
              <a:spcBef>
                <a:spcPts val="1000"/>
              </a:spcBef>
              <a:buClr>
                <a:schemeClr val="tx2"/>
              </a:buClr>
              <a:buSzPct val="110000"/>
              <a:buFont typeface="Avenir Next LT Pro" panose="020B0504020202020204" pitchFamily="34" charset="0"/>
              <a:buChar char="+"/>
              <a:defRPr sz="1800" kern="1200">
                <a:solidFill>
                  <a:schemeClr val="tx1"/>
                </a:solidFill>
                <a:latin typeface="+mn-lt"/>
                <a:ea typeface="+mn-ea"/>
                <a:cs typeface="+mn-cs"/>
              </a:defRPr>
            </a:lvl1pPr>
            <a:lvl2pPr marL="447675" indent="-180975"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628650" indent="-180975"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809625" indent="-18097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990600" indent="-180975"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ts val="1000"/>
              </a:spcBef>
              <a:spcAft>
                <a:spcPts val="0"/>
              </a:spcAft>
              <a:buClr>
                <a:srgbClr val="2878FF"/>
              </a:buClr>
              <a:buSzPct val="110000"/>
              <a:buFont typeface="Avenir Next LT Pro" panose="020B0504020202020204" pitchFamily="34" charset="0"/>
              <a:buNone/>
              <a:tabLst/>
              <a:defRPr/>
            </a:pPr>
            <a:r>
              <a:rPr kumimoji="0" lang="en-DK"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rPr>
              <a:t>Efficacy</a:t>
            </a:r>
            <a:endParaRPr kumimoji="0" lang="en-US" sz="1200" b="1" i="0" u="none" strike="noStrike" kern="1200" cap="none" spc="0" normalizeH="0" baseline="0" noProof="0">
              <a:ln>
                <a:noFill/>
              </a:ln>
              <a:solidFill>
                <a:srgbClr val="FFFFFF"/>
              </a:solidFill>
              <a:effectLst/>
              <a:uLnTx/>
              <a:uFillTx/>
              <a:latin typeface="Avenir Next LT Pro Demi" panose="020B0504020202020204" pitchFamily="34" charset="77"/>
              <a:ea typeface="+mn-ea"/>
              <a:cs typeface="+mn-cs"/>
            </a:endParaRPr>
          </a:p>
        </p:txBody>
      </p:sp>
      <p:sp>
        <p:nvSpPr>
          <p:cNvPr id="48" name="Footer Placeholder 438">
            <a:extLst>
              <a:ext uri="{FF2B5EF4-FFF2-40B4-BE49-F238E27FC236}">
                <a16:creationId xmlns:a16="http://schemas.microsoft.com/office/drawing/2014/main" id="{2FB69F6D-8408-E4F8-CC4E-0F3BF498C20A}"/>
              </a:ext>
            </a:extLst>
          </p:cNvPr>
          <p:cNvSpPr txBox="1">
            <a:spLocks/>
          </p:cNvSpPr>
          <p:nvPr/>
        </p:nvSpPr>
        <p:spPr>
          <a:xfrm>
            <a:off x="516732" y="6378372"/>
            <a:ext cx="10933112" cy="153888"/>
          </a:xfrm>
          <a:prstGeom prst="rect">
            <a:avLst/>
          </a:prstGeom>
        </p:spPr>
        <p:txBody>
          <a:bodyPr vert="horz" lIns="0" tIns="0" rIns="0" bIns="0" rtlCol="0" anchor="t">
            <a:spAutoFit/>
          </a:bodyPr>
          <a:lstStyle>
            <a:defPPr>
              <a:defRPr lang="sv-SE"/>
            </a:defPPr>
            <a:lvl1pPr marL="0" algn="l" defTabSz="914400" rtl="0" eaLnBrk="1" latinLnBrk="0" hangingPunct="1">
              <a:defRPr sz="1000" kern="1200">
                <a:solidFill>
                  <a:schemeClr val="tx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78FF">
                    <a:lumMod val="60000"/>
                    <a:lumOff val="40000"/>
                  </a:srgbClr>
                </a:solidFill>
                <a:effectLst/>
                <a:uLnTx/>
                <a:uFillTx/>
                <a:latin typeface="+mj-lt"/>
                <a:ea typeface="+mn-ea"/>
                <a:cs typeface="+mn-cs"/>
              </a:rPr>
              <a:t>Note</a:t>
            </a:r>
            <a:r>
              <a:rPr kumimoji="0" lang="en-DK" sz="1000" b="0" i="0" u="none" strike="noStrike" kern="1200" cap="none" spc="0" normalizeH="0" baseline="0" noProof="0">
                <a:ln>
                  <a:noFill/>
                </a:ln>
                <a:solidFill>
                  <a:srgbClr val="2878FF">
                    <a:lumMod val="60000"/>
                    <a:lumOff val="40000"/>
                  </a:srgbClr>
                </a:solidFill>
                <a:effectLst/>
                <a:uLnTx/>
                <a:uFillTx/>
                <a:latin typeface="+mj-lt"/>
                <a:ea typeface="+mn-ea"/>
                <a:cs typeface="+mn-cs"/>
              </a:rPr>
              <a:t>s</a:t>
            </a:r>
            <a:r>
              <a:rPr kumimoji="0" lang="en-US" sz="1000" b="0" i="0" u="none" strike="noStrike" kern="1200" cap="none" spc="0" normalizeH="0" baseline="0" noProof="0">
                <a:ln>
                  <a:noFill/>
                </a:ln>
                <a:solidFill>
                  <a:srgbClr val="2878FF">
                    <a:lumMod val="60000"/>
                    <a:lumOff val="40000"/>
                  </a:srgbClr>
                </a:solidFill>
                <a:effectLst/>
                <a:uLnTx/>
                <a:uFillTx/>
                <a:latin typeface="+mj-lt"/>
                <a:ea typeface="+mn-ea"/>
                <a:cs typeface="+mn-cs"/>
              </a:rPr>
              <a:t>:</a:t>
            </a:r>
            <a:r>
              <a:rPr kumimoji="0" lang="en-DK" sz="1000" b="0" i="0" u="none" strike="noStrike" kern="1200" cap="none" spc="0" normalizeH="0" baseline="0" noProof="0">
                <a:ln>
                  <a:noFill/>
                </a:ln>
                <a:solidFill>
                  <a:srgbClr val="2878FF">
                    <a:lumMod val="60000"/>
                    <a:lumOff val="40000"/>
                  </a:srgbClr>
                </a:solidFill>
                <a:effectLst/>
                <a:uLnTx/>
                <a:uFillTx/>
                <a:latin typeface="+mj-lt"/>
                <a:ea typeface="+mn-ea"/>
                <a:cs typeface="+mn-cs"/>
              </a:rPr>
              <a:t> PoC = Proof of Concept; IND = </a:t>
            </a:r>
            <a:r>
              <a:rPr kumimoji="0" lang="en-US" sz="1000" b="0" i="0" u="none" strike="noStrike" kern="1200" cap="none" spc="0" normalizeH="0" baseline="0" noProof="0">
                <a:ln>
                  <a:noFill/>
                </a:ln>
                <a:solidFill>
                  <a:srgbClr val="2878FF">
                    <a:lumMod val="60000"/>
                    <a:lumOff val="40000"/>
                  </a:srgbClr>
                </a:solidFill>
                <a:effectLst/>
                <a:uLnTx/>
                <a:uFillTx/>
                <a:latin typeface="+mj-lt"/>
                <a:ea typeface="+mn-ea"/>
                <a:cs typeface="+mn-cs"/>
              </a:rPr>
              <a:t>Investigational New Drug</a:t>
            </a:r>
            <a:endParaRPr kumimoji="0" lang="sv-SE" sz="1000" b="0" i="0" u="none" strike="noStrike" kern="1200" cap="none" spc="0" normalizeH="0" baseline="0" noProof="0">
              <a:ln>
                <a:noFill/>
              </a:ln>
              <a:solidFill>
                <a:srgbClr val="2878FF">
                  <a:lumMod val="60000"/>
                  <a:lumOff val="40000"/>
                </a:srgbClr>
              </a:solidFill>
              <a:effectLst/>
              <a:uLnTx/>
              <a:uFillTx/>
              <a:latin typeface="+mj-lt"/>
              <a:ea typeface="+mn-ea"/>
              <a:cs typeface="+mn-cs"/>
            </a:endParaRPr>
          </a:p>
        </p:txBody>
      </p:sp>
    </p:spTree>
    <p:extLst>
      <p:ext uri="{BB962C8B-B14F-4D97-AF65-F5344CB8AC3E}">
        <p14:creationId xmlns:p14="http://schemas.microsoft.com/office/powerpoint/2010/main" val="9399111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409E5E-84C3-5D4A-8F92-22C99576CCD2}"/>
            </a:ext>
          </a:extLst>
        </p:cNvPr>
        <p:cNvGrpSpPr/>
        <p:nvPr/>
      </p:nvGrpSpPr>
      <p:grpSpPr>
        <a:xfrm>
          <a:off x="0" y="0"/>
          <a:ext cx="0" cy="0"/>
          <a:chOff x="0" y="0"/>
          <a:chExt cx="0" cy="0"/>
        </a:xfrm>
      </p:grpSpPr>
      <p:pic>
        <p:nvPicPr>
          <p:cNvPr id="18" name="Picture 17">
            <a:extLst>
              <a:ext uri="{FF2B5EF4-FFF2-40B4-BE49-F238E27FC236}">
                <a16:creationId xmlns:a16="http://schemas.microsoft.com/office/drawing/2014/main" id="{D2FE8CB0-DFD4-8196-C17C-2A07899F9BEF}"/>
              </a:ext>
            </a:extLst>
          </p:cNvPr>
          <p:cNvPicPr>
            <a:picLocks noChangeAspect="1"/>
          </p:cNvPicPr>
          <p:nvPr/>
        </p:nvPicPr>
        <p:blipFill>
          <a:blip r:embed="rId3">
            <a:extLst>
              <a:ext uri="{28A0092B-C50C-407E-A947-70E740481C1C}">
                <a14:useLocalDpi xmlns:a14="http://schemas.microsoft.com/office/drawing/2010/main" val="0"/>
              </a:ext>
            </a:extLst>
          </a:blip>
          <a:srcRect l="-178" t="14881" b="-31"/>
          <a:stretch>
            <a:fillRect/>
          </a:stretch>
        </p:blipFill>
        <p:spPr>
          <a:xfrm>
            <a:off x="-21773" y="0"/>
            <a:ext cx="12215360" cy="6922008"/>
          </a:xfrm>
          <a:prstGeom prst="rect">
            <a:avLst/>
          </a:prstGeom>
        </p:spPr>
      </p:pic>
      <p:sp>
        <p:nvSpPr>
          <p:cNvPr id="19" name="Rectangle 18">
            <a:extLst>
              <a:ext uri="{FF2B5EF4-FFF2-40B4-BE49-F238E27FC236}">
                <a16:creationId xmlns:a16="http://schemas.microsoft.com/office/drawing/2014/main" id="{13A4F16C-36CD-101E-C325-B797D4CE6E21}"/>
              </a:ext>
            </a:extLst>
          </p:cNvPr>
          <p:cNvSpPr/>
          <p:nvPr/>
        </p:nvSpPr>
        <p:spPr>
          <a:xfrm>
            <a:off x="-11656" y="-1"/>
            <a:ext cx="12215360" cy="6922008"/>
          </a:xfrm>
          <a:prstGeom prst="rect">
            <a:avLst/>
          </a:prstGeom>
          <a:solidFill>
            <a:schemeClr val="tx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4" name="Object 3" hidden="1">
            <a:extLst>
              <a:ext uri="{FF2B5EF4-FFF2-40B4-BE49-F238E27FC236}">
                <a16:creationId xmlns:a16="http://schemas.microsoft.com/office/drawing/2014/main" id="{E9D7B8F2-5B4E-1079-D86E-F52FF828F51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E9D7B8F2-5B4E-1079-D86E-F52FF828F5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A0F3E4DF-6AC4-984E-C2D2-F7A479AD6DF2}"/>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0583171" y="204716"/>
            <a:ext cx="1358719" cy="826913"/>
          </a:xfrm>
          <a:prstGeom prst="rect">
            <a:avLst/>
          </a:prstGeom>
        </p:spPr>
      </p:pic>
      <p:sp>
        <p:nvSpPr>
          <p:cNvPr id="7" name="Rectangle 6">
            <a:extLst>
              <a:ext uri="{FF2B5EF4-FFF2-40B4-BE49-F238E27FC236}">
                <a16:creationId xmlns:a16="http://schemas.microsoft.com/office/drawing/2014/main" id="{763BE4A3-736B-56CF-7F20-7E9CF002064E}"/>
              </a:ext>
            </a:extLst>
          </p:cNvPr>
          <p:cNvSpPr/>
          <p:nvPr/>
        </p:nvSpPr>
        <p:spPr>
          <a:xfrm rot="5400000">
            <a:off x="926376" y="-939570"/>
            <a:ext cx="6922007" cy="8801148"/>
          </a:xfrm>
          <a:prstGeom prst="rect">
            <a:avLst/>
          </a:prstGeom>
          <a:gradFill flip="none" rotWithShape="1">
            <a:gsLst>
              <a:gs pos="2000">
                <a:schemeClr val="tx1">
                  <a:alpha val="55185"/>
                </a:schemeClr>
              </a:gs>
              <a:gs pos="29000">
                <a:schemeClr val="accent4">
                  <a:alpha val="0"/>
                  <a:lumMod val="0"/>
                  <a:lumOff val="100000"/>
                </a:scheme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CF96AE6A-925B-3658-D7EC-4FE6D96A518A}"/>
              </a:ext>
            </a:extLst>
          </p:cNvPr>
          <p:cNvSpPr/>
          <p:nvPr/>
        </p:nvSpPr>
        <p:spPr>
          <a:xfrm>
            <a:off x="-23312" y="0"/>
            <a:ext cx="12227016" cy="6922007"/>
          </a:xfrm>
          <a:prstGeom prst="rect">
            <a:avLst/>
          </a:prstGeom>
          <a:gradFill flip="none" rotWithShape="1">
            <a:gsLst>
              <a:gs pos="2000">
                <a:schemeClr val="tx1">
                  <a:alpha val="70409"/>
                </a:schemeClr>
              </a:gs>
              <a:gs pos="54000">
                <a:schemeClr val="accent4">
                  <a:alpha val="0"/>
                  <a:lumMod val="0"/>
                  <a:lumOff val="100000"/>
                </a:scheme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itle 1">
            <a:extLst>
              <a:ext uri="{FF2B5EF4-FFF2-40B4-BE49-F238E27FC236}">
                <a16:creationId xmlns:a16="http://schemas.microsoft.com/office/drawing/2014/main" id="{047CF8E3-0241-FF21-AAB1-559DC6F15539}"/>
              </a:ext>
            </a:extLst>
          </p:cNvPr>
          <p:cNvSpPr txBox="1">
            <a:spLocks/>
          </p:cNvSpPr>
          <p:nvPr/>
        </p:nvSpPr>
        <p:spPr>
          <a:xfrm>
            <a:off x="-11657" y="2546193"/>
            <a:ext cx="12205244" cy="1002023"/>
          </a:xfrm>
          <a:prstGeom prst="rect">
            <a:avLst/>
          </a:prstGeom>
        </p:spPr>
        <p:txBody>
          <a:bodyPr vert="horz" lIns="0" tIns="0" rIns="0" bIns="0"/>
          <a:lstStyle>
            <a:lvl1pPr algn="l" defTabSz="914400" rtl="0" eaLnBrk="1" latinLnBrk="0" hangingPunct="1">
              <a:lnSpc>
                <a:spcPct val="90000"/>
              </a:lnSpc>
              <a:spcBef>
                <a:spcPct val="0"/>
              </a:spcBef>
              <a:buNone/>
              <a:defRPr sz="4000" b="1" i="0" kern="1200">
                <a:solidFill>
                  <a:schemeClr val="bg1"/>
                </a:solidFill>
                <a:latin typeface="Avenir Next LT Pro" panose="020B0504020202020204" pitchFamily="34" charset="77"/>
                <a:ea typeface="+mj-ea"/>
                <a:cs typeface="+mj-cs"/>
              </a:defRPr>
            </a:lvl1p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7600" b="1" i="0" u="none" strike="noStrike" kern="1200" cap="none" spc="80" normalizeH="0" baseline="0" noProof="0" err="1">
                <a:ln>
                  <a:noFill/>
                </a:ln>
                <a:effectLst/>
                <a:uLnTx/>
                <a:uFillTx/>
                <a:latin typeface="Avenir Next LT Pro" panose="020B0504020202020204" pitchFamily="34" charset="77"/>
                <a:ea typeface="+mj-ea"/>
                <a:cs typeface="+mj-cs"/>
              </a:rPr>
              <a:t>Gubra</a:t>
            </a:r>
            <a:r>
              <a:rPr kumimoji="0" lang="en-US" sz="7600" b="1" i="0" u="none" strike="noStrike" kern="1200" cap="none" spc="80" normalizeH="0" baseline="0" noProof="0">
                <a:ln>
                  <a:noFill/>
                </a:ln>
                <a:effectLst/>
                <a:uLnTx/>
                <a:uFillTx/>
                <a:latin typeface="Avenir Next LT Pro" panose="020B0504020202020204" pitchFamily="34" charset="77"/>
                <a:ea typeface="+mj-ea"/>
                <a:cs typeface="+mj-cs"/>
              </a:rPr>
              <a:t> Biotech</a:t>
            </a:r>
          </a:p>
        </p:txBody>
      </p:sp>
      <p:sp>
        <p:nvSpPr>
          <p:cNvPr id="6" name="TextBox 5">
            <a:extLst>
              <a:ext uri="{FF2B5EF4-FFF2-40B4-BE49-F238E27FC236}">
                <a16:creationId xmlns:a16="http://schemas.microsoft.com/office/drawing/2014/main" id="{6D020695-D277-0ACA-D649-783D7B9958D5}"/>
              </a:ext>
            </a:extLst>
          </p:cNvPr>
          <p:cNvSpPr txBox="1"/>
          <p:nvPr/>
        </p:nvSpPr>
        <p:spPr>
          <a:xfrm>
            <a:off x="2654188" y="3463336"/>
            <a:ext cx="4766208" cy="584775"/>
          </a:xfrm>
          <a:prstGeom prst="rect">
            <a:avLst/>
          </a:prstGeom>
          <a:noFill/>
        </p:spPr>
        <p:txBody>
          <a:bodyPr wrap="square" rtlCol="0">
            <a:spAutoFit/>
          </a:bodyPr>
          <a:lstStyle/>
          <a:p>
            <a:r>
              <a:rPr lang="en-US" sz="3200" b="1">
                <a:solidFill>
                  <a:srgbClr val="FFFFFF"/>
                </a:solidFill>
                <a:latin typeface="Avenir Next LT Pro Demi" panose="020B0504020202020204" pitchFamily="34" charset="77"/>
              </a:rPr>
              <a:t>O</a:t>
            </a:r>
            <a:r>
              <a:rPr lang="en-DK" sz="3200" b="1">
                <a:solidFill>
                  <a:srgbClr val="FFFFFF"/>
                </a:solidFill>
                <a:latin typeface="Avenir Next LT Pro Demi" panose="020B0504020202020204" pitchFamily="34" charset="77"/>
              </a:rPr>
              <a:t>ur value driver</a:t>
            </a:r>
            <a:endParaRPr lang="en-DK" sz="3200"/>
          </a:p>
        </p:txBody>
      </p:sp>
    </p:spTree>
    <p:extLst>
      <p:ext uri="{BB962C8B-B14F-4D97-AF65-F5344CB8AC3E}">
        <p14:creationId xmlns:p14="http://schemas.microsoft.com/office/powerpoint/2010/main" val="2997861162"/>
      </p:ext>
    </p:extLst>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32687&quot;&gt;&lt;version val=&quot;38650&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MM_SLIDE_TYPE" val="6"/>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PPTPRODUCTIVITY_SLIDE_NUMBERS_FORMAT" val="# of ##"/>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Gn6xYBqQeMYmoBXgD5C9H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5di1lfWEWjiv.iwbYptJm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OrW6phFj4m4c60zAyi79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u.dGbUZy.X8iw5CacTN.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oABVg.bOhR2onooY1kBvs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3mG32DtwgMTo2kh6t4nHT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yo4c2Am2YPL4LtbK9qTu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aXV6acxhwHjW2SQh2srt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FOR0g0vs_fOBMyQGmCtw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5pvKfKP6dotA8ilc4rZ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5iDpIusWg8GP06agWVJJf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_HrRsIxdRoxJSwNei8G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3WDbyrTl5AGQoRyrBt1l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DdzvglOcRUDDEjbF6_D96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6e1yslBSc6gPmX4bYZ0f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b.t7TdnAmwbldrulKZA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dPTCh7PFkSpeeViipyiQ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ep6QrqNr2PIdQKeVgQfI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9GGgY1woANZlcwS_mw_w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8nlj_5QKsRIZNyzo.88c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_TVJJMauaeNLvkpC_PUUI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pHhHQx8pOXa.aqxHr1JG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5Nvnm5TGSH86EYeUBWDW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JzB0dcwGe8fDimIyRKQ8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sxzuHLywjttK76.03K4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FvwMoUVacWU1KlK3cQRY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yicOgh2M6g9b_D6UxXm7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DaOKOsrigbLwGbW2QLy2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g2ERAlTeSORZff2BaWLl8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ckground graphics right">
  <a:themeElements>
    <a:clrScheme name="Gubra colors">
      <a:dk1>
        <a:srgbClr val="001965"/>
      </a:dk1>
      <a:lt1>
        <a:srgbClr val="FFFFFF"/>
      </a:lt1>
      <a:dk2>
        <a:srgbClr val="2878FF"/>
      </a:dk2>
      <a:lt2>
        <a:srgbClr val="8CC3CA"/>
      </a:lt2>
      <a:accent1>
        <a:srgbClr val="E228E2"/>
      </a:accent1>
      <a:accent2>
        <a:srgbClr val="00DF86"/>
      </a:accent2>
      <a:accent3>
        <a:srgbClr val="CCDDE7"/>
      </a:accent3>
      <a:accent4>
        <a:srgbClr val="FEFFFF"/>
      </a:accent4>
      <a:accent5>
        <a:srgbClr val="F3E700"/>
      </a:accent5>
      <a:accent6>
        <a:srgbClr val="EBEBEB"/>
      </a:accent6>
      <a:hlink>
        <a:srgbClr val="001965"/>
      </a:hlink>
      <a:folHlink>
        <a:srgbClr val="2878FF"/>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Template Blank" id="{B8DFC176-59C5-46B4-9325-6CFF11E18F98}" vid="{B97E34CD-B0F1-48D2-B29F-657B8168E452}"/>
    </a:ext>
  </a:extLst>
</a:theme>
</file>

<file path=ppt/theme/theme10.xml><?xml version="1.0" encoding="utf-8"?>
<a:theme xmlns:a="http://schemas.openxmlformats.org/drawingml/2006/main" name="3_Standard pages">
  <a:themeElements>
    <a:clrScheme name="Gubra">
      <a:dk1>
        <a:srgbClr val="001965"/>
      </a:dk1>
      <a:lt1>
        <a:srgbClr val="FFFFFF"/>
      </a:lt1>
      <a:dk2>
        <a:srgbClr val="2878FF"/>
      </a:dk2>
      <a:lt2>
        <a:srgbClr val="CCDDE7"/>
      </a:lt2>
      <a:accent1>
        <a:srgbClr val="001965"/>
      </a:accent1>
      <a:accent2>
        <a:srgbClr val="2878FF"/>
      </a:accent2>
      <a:accent3>
        <a:srgbClr val="00DF86"/>
      </a:accent3>
      <a:accent4>
        <a:srgbClr val="8CC3CA"/>
      </a:accent4>
      <a:accent5>
        <a:srgbClr val="E228E2"/>
      </a:accent5>
      <a:accent6>
        <a:srgbClr val="F3E700"/>
      </a:accent6>
      <a:hlink>
        <a:srgbClr val="001965"/>
      </a:hlink>
      <a:folHlink>
        <a:srgbClr val="2878FF"/>
      </a:folHlink>
    </a:clrScheme>
    <a:fontScheme name="Gubra">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25_Gubra design template  -  Read-Only" id="{59B2CDAA-E9AF-49A1-ABB3-E801B42D145C}" vid="{8DB83E4F-5293-46DD-A66F-82BECACF558B}"/>
    </a:ext>
  </a:extLst>
</a:theme>
</file>

<file path=ppt/theme/theme11.xml><?xml version="1.0" encoding="utf-8"?>
<a:theme xmlns:a="http://schemas.openxmlformats.org/drawingml/2006/main" name="5_Standard pages">
  <a:themeElements>
    <a:clrScheme name="Gubra">
      <a:dk1>
        <a:srgbClr val="001965"/>
      </a:dk1>
      <a:lt1>
        <a:srgbClr val="FFFFFF"/>
      </a:lt1>
      <a:dk2>
        <a:srgbClr val="2878FF"/>
      </a:dk2>
      <a:lt2>
        <a:srgbClr val="CCDDE7"/>
      </a:lt2>
      <a:accent1>
        <a:srgbClr val="001965"/>
      </a:accent1>
      <a:accent2>
        <a:srgbClr val="2878FF"/>
      </a:accent2>
      <a:accent3>
        <a:srgbClr val="00DF86"/>
      </a:accent3>
      <a:accent4>
        <a:srgbClr val="8CC3CA"/>
      </a:accent4>
      <a:accent5>
        <a:srgbClr val="E228E2"/>
      </a:accent5>
      <a:accent6>
        <a:srgbClr val="F3E700"/>
      </a:accent6>
      <a:hlink>
        <a:srgbClr val="001965"/>
      </a:hlink>
      <a:folHlink>
        <a:srgbClr val="2878FF"/>
      </a:folHlink>
    </a:clrScheme>
    <a:fontScheme name="Gubra">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t"/>
      <a:lstStyle>
        <a:defPPr algn="l">
          <a:defRPr sz="1200" dirty="0"/>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25_Gubra design template  -  Read-Only" id="{59B2CDAA-E9AF-49A1-ABB3-E801B42D145C}" vid="{8DB83E4F-5293-46DD-A66F-82BECACF558B}"/>
    </a:ext>
  </a:extLst>
</a:theme>
</file>

<file path=ppt/theme/theme12.xml><?xml version="1.0" encoding="utf-8"?>
<a:theme xmlns:a="http://schemas.openxmlformats.org/drawingml/2006/main" name="4_Standard pages">
  <a:themeElements>
    <a:clrScheme name="Gubra">
      <a:dk1>
        <a:srgbClr val="001965"/>
      </a:dk1>
      <a:lt1>
        <a:srgbClr val="FFFFFF"/>
      </a:lt1>
      <a:dk2>
        <a:srgbClr val="2878FF"/>
      </a:dk2>
      <a:lt2>
        <a:srgbClr val="CCDDE7"/>
      </a:lt2>
      <a:accent1>
        <a:srgbClr val="001965"/>
      </a:accent1>
      <a:accent2>
        <a:srgbClr val="2878FF"/>
      </a:accent2>
      <a:accent3>
        <a:srgbClr val="00DF86"/>
      </a:accent3>
      <a:accent4>
        <a:srgbClr val="8CC3CA"/>
      </a:accent4>
      <a:accent5>
        <a:srgbClr val="E228E2"/>
      </a:accent5>
      <a:accent6>
        <a:srgbClr val="F3E700"/>
      </a:accent6>
      <a:hlink>
        <a:srgbClr val="001965"/>
      </a:hlink>
      <a:folHlink>
        <a:srgbClr val="2878FF"/>
      </a:folHlink>
    </a:clrScheme>
    <a:fontScheme name="Gubra">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25_Gubra design template  -  Read-Only" id="{59B2CDAA-E9AF-49A1-ABB3-E801B42D145C}" vid="{8DB83E4F-5293-46DD-A66F-82BECACF558B}"/>
    </a:ext>
  </a:extLst>
</a:theme>
</file>

<file path=ppt/theme/theme13.xml><?xml version="1.0" encoding="utf-8"?>
<a:theme xmlns:a="http://schemas.openxmlformats.org/drawingml/2006/main" name="Section dividers">
  <a:themeElements>
    <a:clrScheme name="Gubra">
      <a:dk1>
        <a:srgbClr val="001965"/>
      </a:dk1>
      <a:lt1>
        <a:srgbClr val="FFFFFF"/>
      </a:lt1>
      <a:dk2>
        <a:srgbClr val="2878FF"/>
      </a:dk2>
      <a:lt2>
        <a:srgbClr val="CCDDE7"/>
      </a:lt2>
      <a:accent1>
        <a:srgbClr val="001965"/>
      </a:accent1>
      <a:accent2>
        <a:srgbClr val="2878FF"/>
      </a:accent2>
      <a:accent3>
        <a:srgbClr val="00DF86"/>
      </a:accent3>
      <a:accent4>
        <a:srgbClr val="8CC3CA"/>
      </a:accent4>
      <a:accent5>
        <a:srgbClr val="E228E2"/>
      </a:accent5>
      <a:accent6>
        <a:srgbClr val="F3E700"/>
      </a:accent6>
      <a:hlink>
        <a:srgbClr val="001965"/>
      </a:hlink>
      <a:folHlink>
        <a:srgbClr val="2878FF"/>
      </a:folHlink>
    </a:clrScheme>
    <a:fontScheme name="Gubra">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25_Gubra design template  -  Read-Only" id="{59B2CDAA-E9AF-49A1-ABB3-E801B42D145C}" vid="{F18B7E7C-0936-4F0A-8673-0E0A39286738}"/>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age Breaks">
  <a:themeElements>
    <a:clrScheme name="Custom 5">
      <a:dk1>
        <a:srgbClr val="001965"/>
      </a:dk1>
      <a:lt1>
        <a:srgbClr val="FFFFFF"/>
      </a:lt1>
      <a:dk2>
        <a:srgbClr val="2878FF"/>
      </a:dk2>
      <a:lt2>
        <a:srgbClr val="8CC3CA"/>
      </a:lt2>
      <a:accent1>
        <a:srgbClr val="E228E2"/>
      </a:accent1>
      <a:accent2>
        <a:srgbClr val="00DF86"/>
      </a:accent2>
      <a:accent3>
        <a:srgbClr val="CCDDE7"/>
      </a:accent3>
      <a:accent4>
        <a:srgbClr val="FEFFFF"/>
      </a:accent4>
      <a:accent5>
        <a:srgbClr val="F3E700"/>
      </a:accent5>
      <a:accent6>
        <a:srgbClr val="EBEBEB"/>
      </a:accent6>
      <a:hlink>
        <a:srgbClr val="001965"/>
      </a:hlink>
      <a:folHlink>
        <a:srgbClr val="2878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Template Blank" id="{B8DFC176-59C5-46B4-9325-6CFF11E18F98}" vid="{D79B4FB8-310C-4D1E-926A-67086CD80A6B}"/>
    </a:ext>
  </a:extLst>
</a:theme>
</file>

<file path=ppt/theme/theme3.xml><?xml version="1.0" encoding="utf-8"?>
<a:theme xmlns:a="http://schemas.openxmlformats.org/drawingml/2006/main" name="1_Background graphics right">
  <a:themeElements>
    <a:clrScheme name="Gubra colors">
      <a:dk1>
        <a:srgbClr val="001965"/>
      </a:dk1>
      <a:lt1>
        <a:srgbClr val="FFFFFF"/>
      </a:lt1>
      <a:dk2>
        <a:srgbClr val="2878FF"/>
      </a:dk2>
      <a:lt2>
        <a:srgbClr val="8CC3CA"/>
      </a:lt2>
      <a:accent1>
        <a:srgbClr val="E228E2"/>
      </a:accent1>
      <a:accent2>
        <a:srgbClr val="00DF86"/>
      </a:accent2>
      <a:accent3>
        <a:srgbClr val="CCDDE7"/>
      </a:accent3>
      <a:accent4>
        <a:srgbClr val="FEFFFF"/>
      </a:accent4>
      <a:accent5>
        <a:srgbClr val="F3E700"/>
      </a:accent5>
      <a:accent6>
        <a:srgbClr val="EBEBEB"/>
      </a:accent6>
      <a:hlink>
        <a:srgbClr val="001965"/>
      </a:hlink>
      <a:folHlink>
        <a:srgbClr val="2878FF"/>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66C2DDCA-BA73-4911-A095-855E6CBAB935}" vid="{6C1AC299-05F4-45C0-A242-01461E185EC5}"/>
    </a:ext>
  </a:extLst>
</a:theme>
</file>

<file path=ppt/theme/theme4.xml><?xml version="1.0" encoding="utf-8"?>
<a:theme xmlns:a="http://schemas.openxmlformats.org/drawingml/2006/main" name="Standard pages">
  <a:themeElements>
    <a:clrScheme name="Gubra">
      <a:dk1>
        <a:srgbClr val="001965"/>
      </a:dk1>
      <a:lt1>
        <a:srgbClr val="FFFFFF"/>
      </a:lt1>
      <a:dk2>
        <a:srgbClr val="2878FF"/>
      </a:dk2>
      <a:lt2>
        <a:srgbClr val="CCDDE7"/>
      </a:lt2>
      <a:accent1>
        <a:srgbClr val="001965"/>
      </a:accent1>
      <a:accent2>
        <a:srgbClr val="2878FF"/>
      </a:accent2>
      <a:accent3>
        <a:srgbClr val="00DF86"/>
      </a:accent3>
      <a:accent4>
        <a:srgbClr val="8CC3CA"/>
      </a:accent4>
      <a:accent5>
        <a:srgbClr val="E228E2"/>
      </a:accent5>
      <a:accent6>
        <a:srgbClr val="F3E700"/>
      </a:accent6>
      <a:hlink>
        <a:srgbClr val="001965"/>
      </a:hlink>
      <a:folHlink>
        <a:srgbClr val="2878FF"/>
      </a:folHlink>
    </a:clrScheme>
    <a:fontScheme name="Gubra">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Gubra presentation template_v03.potx" id="{D46F9A9F-A654-4410-8C4C-3E899679E514}" vid="{0B52124D-03D7-497A-9BB4-14C6AC2BA9AA}"/>
    </a:ext>
  </a:extLst>
</a:theme>
</file>

<file path=ppt/theme/theme5.xml><?xml version="1.0" encoding="utf-8"?>
<a:theme xmlns:a="http://schemas.openxmlformats.org/drawingml/2006/main" name="2_Background graphics right">
  <a:themeElements>
    <a:clrScheme name="Gubra colors">
      <a:dk1>
        <a:srgbClr val="001965"/>
      </a:dk1>
      <a:lt1>
        <a:srgbClr val="FFFFFF"/>
      </a:lt1>
      <a:dk2>
        <a:srgbClr val="2878FF"/>
      </a:dk2>
      <a:lt2>
        <a:srgbClr val="8CC3CA"/>
      </a:lt2>
      <a:accent1>
        <a:srgbClr val="E228E2"/>
      </a:accent1>
      <a:accent2>
        <a:srgbClr val="00DF86"/>
      </a:accent2>
      <a:accent3>
        <a:srgbClr val="CCDDE7"/>
      </a:accent3>
      <a:accent4>
        <a:srgbClr val="FEFFFF"/>
      </a:accent4>
      <a:accent5>
        <a:srgbClr val="F3E700"/>
      </a:accent5>
      <a:accent6>
        <a:srgbClr val="EBEBEB"/>
      </a:accent6>
      <a:hlink>
        <a:srgbClr val="001965"/>
      </a:hlink>
      <a:folHlink>
        <a:srgbClr val="2878FF"/>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Template Blank" id="{B8DFC176-59C5-46B4-9325-6CFF11E18F98}" vid="{B97E34CD-B0F1-48D2-B29F-657B8168E452}"/>
    </a:ext>
  </a:extLst>
</a:theme>
</file>

<file path=ppt/theme/theme6.xml><?xml version="1.0" encoding="utf-8"?>
<a:theme xmlns:a="http://schemas.openxmlformats.org/drawingml/2006/main" name="End slides">
  <a:themeElements>
    <a:clrScheme name="Gubra">
      <a:dk1>
        <a:srgbClr val="001965"/>
      </a:dk1>
      <a:lt1>
        <a:srgbClr val="FFFFFF"/>
      </a:lt1>
      <a:dk2>
        <a:srgbClr val="2878FF"/>
      </a:dk2>
      <a:lt2>
        <a:srgbClr val="CCDDE7"/>
      </a:lt2>
      <a:accent1>
        <a:srgbClr val="001965"/>
      </a:accent1>
      <a:accent2>
        <a:srgbClr val="2878FF"/>
      </a:accent2>
      <a:accent3>
        <a:srgbClr val="00DF86"/>
      </a:accent3>
      <a:accent4>
        <a:srgbClr val="8CC3CA"/>
      </a:accent4>
      <a:accent5>
        <a:srgbClr val="E228E2"/>
      </a:accent5>
      <a:accent6>
        <a:srgbClr val="F3E700"/>
      </a:accent6>
      <a:hlink>
        <a:srgbClr val="001965"/>
      </a:hlink>
      <a:folHlink>
        <a:srgbClr val="2878FF"/>
      </a:folHlink>
    </a:clrScheme>
    <a:fontScheme name="Gubra">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25_Gubra presentation template.potx  -  Read-Only" id="{5A29AA28-34C1-4D8F-9C8A-5790A94D7F1D}" vid="{750C5262-0D50-492C-8AF7-DD92B4B44B98}"/>
    </a:ext>
  </a:extLst>
</a:theme>
</file>

<file path=ppt/theme/theme7.xml><?xml version="1.0" encoding="utf-8"?>
<a:theme xmlns:a="http://schemas.openxmlformats.org/drawingml/2006/main" name="2_Standard pages">
  <a:themeElements>
    <a:clrScheme name="Gubra">
      <a:dk1>
        <a:srgbClr val="001965"/>
      </a:dk1>
      <a:lt1>
        <a:srgbClr val="FFFFFF"/>
      </a:lt1>
      <a:dk2>
        <a:srgbClr val="2878FF"/>
      </a:dk2>
      <a:lt2>
        <a:srgbClr val="CCDDE7"/>
      </a:lt2>
      <a:accent1>
        <a:srgbClr val="001965"/>
      </a:accent1>
      <a:accent2>
        <a:srgbClr val="2878FF"/>
      </a:accent2>
      <a:accent3>
        <a:srgbClr val="00DF86"/>
      </a:accent3>
      <a:accent4>
        <a:srgbClr val="8CC3CA"/>
      </a:accent4>
      <a:accent5>
        <a:srgbClr val="E228E2"/>
      </a:accent5>
      <a:accent6>
        <a:srgbClr val="F3E700"/>
      </a:accent6>
      <a:hlink>
        <a:srgbClr val="001965"/>
      </a:hlink>
      <a:folHlink>
        <a:srgbClr val="2878FF"/>
      </a:folHlink>
    </a:clrScheme>
    <a:fontScheme name="Gubra">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25_Gubra design template  -  Read-Only" id="{59B2CDAA-E9AF-49A1-ABB3-E801B42D145C}" vid="{8DB83E4F-5293-46DD-A66F-82BECACF558B}"/>
    </a:ext>
  </a:extLst>
</a:theme>
</file>

<file path=ppt/theme/theme8.xml><?xml version="1.0" encoding="utf-8"?>
<a:theme xmlns:a="http://schemas.openxmlformats.org/drawingml/2006/main" name="Start pages and ToC">
  <a:themeElements>
    <a:clrScheme name="Gubra">
      <a:dk1>
        <a:srgbClr val="001965"/>
      </a:dk1>
      <a:lt1>
        <a:srgbClr val="FFFFFF"/>
      </a:lt1>
      <a:dk2>
        <a:srgbClr val="2878FF"/>
      </a:dk2>
      <a:lt2>
        <a:srgbClr val="CCDDE7"/>
      </a:lt2>
      <a:accent1>
        <a:srgbClr val="001965"/>
      </a:accent1>
      <a:accent2>
        <a:srgbClr val="2878FF"/>
      </a:accent2>
      <a:accent3>
        <a:srgbClr val="00DF86"/>
      </a:accent3>
      <a:accent4>
        <a:srgbClr val="8CC3CA"/>
      </a:accent4>
      <a:accent5>
        <a:srgbClr val="E228E2"/>
      </a:accent5>
      <a:accent6>
        <a:srgbClr val="F3E700"/>
      </a:accent6>
      <a:hlink>
        <a:srgbClr val="001965"/>
      </a:hlink>
      <a:folHlink>
        <a:srgbClr val="2878FF"/>
      </a:folHlink>
    </a:clrScheme>
    <a:fontScheme name="Gubra">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25_Gubra design template  -  Read-Only" id="{59B2CDAA-E9AF-49A1-ABB3-E801B42D145C}" vid="{CBCAF1D1-14E1-4AF0-8515-2C846A2C5302}"/>
    </a:ext>
  </a:extLst>
</a:theme>
</file>

<file path=ppt/theme/theme9.xml><?xml version="1.0" encoding="utf-8"?>
<a:theme xmlns:a="http://schemas.openxmlformats.org/drawingml/2006/main" name="8_Background graphics right">
  <a:themeElements>
    <a:clrScheme name="Gubra colors">
      <a:dk1>
        <a:srgbClr val="001965"/>
      </a:dk1>
      <a:lt1>
        <a:srgbClr val="FFFFFF"/>
      </a:lt1>
      <a:dk2>
        <a:srgbClr val="2878FF"/>
      </a:dk2>
      <a:lt2>
        <a:srgbClr val="8CC3CA"/>
      </a:lt2>
      <a:accent1>
        <a:srgbClr val="E228E2"/>
      </a:accent1>
      <a:accent2>
        <a:srgbClr val="00DF86"/>
      </a:accent2>
      <a:accent3>
        <a:srgbClr val="CCDDE7"/>
      </a:accent3>
      <a:accent4>
        <a:srgbClr val="FEFFFF"/>
      </a:accent4>
      <a:accent5>
        <a:srgbClr val="F3E700"/>
      </a:accent5>
      <a:accent6>
        <a:srgbClr val="EBEBEB"/>
      </a:accent6>
      <a:hlink>
        <a:srgbClr val="001965"/>
      </a:hlink>
      <a:folHlink>
        <a:srgbClr val="2878FF"/>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Template Blank" id="{B8DFC176-59C5-46B4-9325-6CFF11E18F98}" vid="{B97E34CD-B0F1-48D2-B29F-657B8168E45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TaxCatchAll xmlns="6f01854a-4de3-41e4-ae0c-1a351a3abb96" xsi:nil="true"/>
    <SharedWithUsers xmlns="6f01854a-4de3-41e4-ae0c-1a351a3abb96">
      <UserInfo>
        <DisplayName>Henrik Blou</DisplayName>
        <AccountId>195</AccountId>
        <AccountType/>
      </UserInfo>
      <UserInfo>
        <DisplayName>Kristian Borbos</DisplayName>
        <AccountId>18083</AccountId>
        <AccountType/>
      </UserInfo>
      <UserInfo>
        <DisplayName>Niels Vrang</DisplayName>
        <AccountId>193</AccountId>
        <AccountType/>
      </UserInfo>
    </SharedWithUsers>
    <lcf76f155ced4ddcb4097134ff3c332f xmlns="3493bfdd-7744-4036-81d1-b875d19ea597">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53608C8DB2AA745BAB370C1E5F9D97B" ma:contentTypeVersion="" ma:contentTypeDescription="Create a new document." ma:contentTypeScope="" ma:versionID="1ef90906afc334130d2f9107e55827e7">
  <xsd:schema xmlns:xsd="http://www.w3.org/2001/XMLSchema" xmlns:xs="http://www.w3.org/2001/XMLSchema" xmlns:p="http://schemas.microsoft.com/office/2006/metadata/properties" xmlns:ns1="http://schemas.microsoft.com/sharepoint/v3" xmlns:ns3="3493bfdd-7744-4036-81d1-b875d19ea597" xmlns:ns4="6f01854a-4de3-41e4-ae0c-1a351a3abb96" targetNamespace="http://schemas.microsoft.com/office/2006/metadata/properties" ma:root="true" ma:fieldsID="e106eedcc1019252fe00caff06799cf8" ns1:_="" ns3:_="" ns4:_="">
    <xsd:import namespace="http://schemas.microsoft.com/sharepoint/v3"/>
    <xsd:import namespace="3493bfdd-7744-4036-81d1-b875d19ea597"/>
    <xsd:import namespace="6f01854a-4de3-41e4-ae0c-1a351a3abb96"/>
    <xsd:element name="properties">
      <xsd:complexType>
        <xsd:sequence>
          <xsd:element name="documentManagement">
            <xsd:complexType>
              <xsd:all>
                <xsd:element ref="ns1:PublishingStartDate" minOccurs="0"/>
                <xsd:element ref="ns1:PublishingExpirationDate" minOccurs="0"/>
                <xsd:element ref="ns3:MediaServiceMetadata" minOccurs="0"/>
                <xsd:element ref="ns3:MediaServiceFastMetadata" minOccurs="0"/>
                <xsd:element ref="ns3:MediaServiceObjectDetectorVersions" minOccurs="0"/>
                <xsd:element ref="ns3:lcf76f155ced4ddcb4097134ff3c332f" minOccurs="0"/>
                <xsd:element ref="ns4:TaxCatchAll" minOccurs="0"/>
                <xsd:element ref="ns3:MediaServiceGenerationTime" minOccurs="0"/>
                <xsd:element ref="ns3:MediaServiceEventHashCode" minOccurs="0"/>
                <xsd:element ref="ns3:MediaServiceSearchProperties" minOccurs="0"/>
                <xsd:element ref="ns4:SharedWithUsers" minOccurs="0"/>
                <xsd:element ref="ns4:SharedWithDetails" minOccurs="0"/>
                <xsd:element ref="ns3:MediaServiceDateTaken"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493bfdd-7744-4036-81d1-b875d19ea59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5db8193b-758e-4c7e-ae0a-0dab155e29d5"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2" nillable="true" ma:displayName="MediaServiceDateTaken" ma:hidden="true" ma:indexed="true" ma:internalName="MediaServiceDateTaken"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f01854a-4de3-41e4-ae0c-1a351a3abb96"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ecb3df27-58f9-49ce-bbea-bf086392c06e}" ma:internalName="TaxCatchAll" ma:showField="CatchAllData" ma:web="6f01854a-4de3-41e4-ae0c-1a351a3abb96">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27297C2-6E0D-420D-9E67-8B916904912E}">
  <ds:schemaRefs>
    <ds:schemaRef ds:uri="http://purl.org/dc/dcmitype/"/>
    <ds:schemaRef ds:uri="6f01854a-4de3-41e4-ae0c-1a351a3abb96"/>
    <ds:schemaRef ds:uri="http://purl.org/dc/terms/"/>
    <ds:schemaRef ds:uri="0b3cbb4c-98c9-4da1-9964-1231a8b18e03"/>
    <ds:schemaRef ds:uri="http://purl.org/dc/elements/1.1/"/>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schemas.microsoft.com/sharepoint/v3"/>
    <ds:schemaRef ds:uri="http://schemas.microsoft.com/office/2006/metadata/properties"/>
    <ds:schemaRef ds:uri="3493bfdd-7744-4036-81d1-b875d19ea597"/>
  </ds:schemaRefs>
</ds:datastoreItem>
</file>

<file path=customXml/itemProps2.xml><?xml version="1.0" encoding="utf-8"?>
<ds:datastoreItem xmlns:ds="http://schemas.openxmlformats.org/officeDocument/2006/customXml" ds:itemID="{4D0CEBF5-CC66-40A9-9453-05D924054AF9}">
  <ds:schemaRefs>
    <ds:schemaRef ds:uri="http://schemas.microsoft.com/sharepoint/v3/contenttype/forms"/>
  </ds:schemaRefs>
</ds:datastoreItem>
</file>

<file path=customXml/itemProps3.xml><?xml version="1.0" encoding="utf-8"?>
<ds:datastoreItem xmlns:ds="http://schemas.openxmlformats.org/officeDocument/2006/customXml" ds:itemID="{526764C2-03EE-407B-806B-BB23BE9A07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493bfdd-7744-4036-81d1-b875d19ea597"/>
    <ds:schemaRef ds:uri="6f01854a-4de3-41e4-ae0c-1a351a3abb9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owerPoint Template Blank</Template>
  <TotalTime>1</TotalTime>
  <Words>3988</Words>
  <Application>Microsoft Office PowerPoint</Application>
  <PresentationFormat>Custom</PresentationFormat>
  <Paragraphs>799</Paragraphs>
  <Slides>40</Slides>
  <Notes>29</Notes>
  <HiddenSlides>1</HiddenSlides>
  <MMClips>0</MMClips>
  <ScaleCrop>false</ScaleCrop>
  <HeadingPairs>
    <vt:vector size="8" baseType="variant">
      <vt:variant>
        <vt:lpstr>Fonts Used</vt:lpstr>
      </vt:variant>
      <vt:variant>
        <vt:i4>7</vt:i4>
      </vt:variant>
      <vt:variant>
        <vt:lpstr>Theme</vt:lpstr>
      </vt:variant>
      <vt:variant>
        <vt:i4>13</vt:i4>
      </vt:variant>
      <vt:variant>
        <vt:lpstr>Embedded OLE Servers</vt:lpstr>
      </vt:variant>
      <vt:variant>
        <vt:i4>2</vt:i4>
      </vt:variant>
      <vt:variant>
        <vt:lpstr>Slide Titles</vt:lpstr>
      </vt:variant>
      <vt:variant>
        <vt:i4>40</vt:i4>
      </vt:variant>
    </vt:vector>
  </HeadingPairs>
  <TitlesOfParts>
    <vt:vector size="62" baseType="lpstr">
      <vt:lpstr>Aptos</vt:lpstr>
      <vt:lpstr>Arial</vt:lpstr>
      <vt:lpstr>Avenir Next LT Pro</vt:lpstr>
      <vt:lpstr>Avenir Next LT Pro Demi</vt:lpstr>
      <vt:lpstr>Calibri</vt:lpstr>
      <vt:lpstr>LucidaGrande</vt:lpstr>
      <vt:lpstr>System Font Regular</vt:lpstr>
      <vt:lpstr>Background graphics right</vt:lpstr>
      <vt:lpstr>Page Breaks</vt:lpstr>
      <vt:lpstr>1_Background graphics right</vt:lpstr>
      <vt:lpstr>Standard pages</vt:lpstr>
      <vt:lpstr>2_Background graphics right</vt:lpstr>
      <vt:lpstr>End slides</vt:lpstr>
      <vt:lpstr>2_Standard pages</vt:lpstr>
      <vt:lpstr>Start pages and ToC</vt:lpstr>
      <vt:lpstr>8_Background graphics right</vt:lpstr>
      <vt:lpstr>3_Standard pages</vt:lpstr>
      <vt:lpstr>5_Standard pages</vt:lpstr>
      <vt:lpstr>4_Standard pages</vt:lpstr>
      <vt:lpstr>Section dividers</vt:lpstr>
      <vt:lpstr>think-cell Slide</vt:lpstr>
      <vt:lpstr>Prism 10</vt:lpstr>
      <vt:lpstr>Investor presentation</vt:lpstr>
      <vt:lpstr>Forward looking statements</vt:lpstr>
      <vt:lpstr>PowerPoint Presentation</vt:lpstr>
      <vt:lpstr>History and growth journey</vt:lpstr>
      <vt:lpstr>Recent events</vt:lpstr>
      <vt:lpstr>Our leadership team</vt:lpstr>
      <vt:lpstr>Gubra business model:  Three business units create one integrated value creation model</vt:lpstr>
      <vt:lpstr>Where we play: From Discovery to high-value  proof of concept clinical inflection</vt:lpstr>
      <vt:lpstr>PowerPoint Presentation</vt:lpstr>
      <vt:lpstr>Our AI-driven peptide discovery platform StreaMLine enables rapid identification of novel peptide candidates</vt:lpstr>
      <vt:lpstr>Strong progress across our early clinical pipeline, with multiple Phase 2 entries expected this year</vt:lpstr>
      <vt:lpstr>PowerPoint Presentation</vt:lpstr>
      <vt:lpstr>There is a paradigm shift in obesity treatment to focus increasingly on muscle‑preservation</vt:lpstr>
      <vt:lpstr>Our deep peptide expertise has delivered 3 potential obesity blockbusters  </vt:lpstr>
      <vt:lpstr>Recent topline results for ABBV-295 demonstrate a competitive profile in the amylin class</vt:lpstr>
      <vt:lpstr>Our landmark deal with AbbVie sets the stage for future partnering</vt:lpstr>
      <vt:lpstr>Advancement of first-in-class triple agonist BI 3034701 validates our strength in scientific innovation and partnering</vt:lpstr>
      <vt:lpstr>PowerPoint Presentation</vt:lpstr>
      <vt:lpstr>PowerPoint Presentation</vt:lpstr>
      <vt:lpstr>PowerPoint Presentation</vt:lpstr>
      <vt:lpstr>PowerPoint Presentation</vt:lpstr>
      <vt:lpstr>PowerPoint Presentation</vt:lpstr>
      <vt:lpstr>PowerPoint Presentation</vt:lpstr>
      <vt:lpstr>GUB-UCN2 will enter the clinic in H2 2026,  setting the stage for broad indication expansion</vt:lpstr>
      <vt:lpstr>PowerPoint Presentation</vt:lpstr>
      <vt:lpstr>PowerPoint Presentation</vt:lpstr>
      <vt:lpstr>Gubra Ventures will leverage external capital and our existing strengths for pipeline optionality</vt:lpstr>
      <vt:lpstr>Gubra is uniquely positioned to launch Ventures and will leverage our strong capabilities across Biotech and CRO</vt:lpstr>
      <vt:lpstr>Venture risks must be balanced across scientific, technology, and clinical dimensions to balance portfolio risk</vt:lpstr>
      <vt:lpstr>We will source external assets and create ventures that are lean and asset-centric by leveraging Gubra shared resources</vt:lpstr>
      <vt:lpstr>PowerPoint Presentation</vt:lpstr>
      <vt:lpstr>Signs of improving market conditions and key future trends support our CRO growth ambition</vt:lpstr>
      <vt:lpstr>Our CRO business is Gubra’s foundation, specializing in  high-growth markets since inception in 2008</vt:lpstr>
      <vt:lpstr>PowerPoint Presentation</vt:lpstr>
      <vt:lpstr>PowerPoint Presentation</vt:lpstr>
      <vt:lpstr>PowerPoint Presentation</vt:lpstr>
      <vt:lpstr>PowerPoint Presentation</vt:lpstr>
      <vt:lpstr>Financial outlook and guidanc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lle Adser Hassing</dc:creator>
  <cp:lastModifiedBy>Emma Jappe Lange</cp:lastModifiedBy>
  <cp:revision>1</cp:revision>
  <cp:lastPrinted>2026-02-27T08:14:37Z</cp:lastPrinted>
  <dcterms:created xsi:type="dcterms:W3CDTF">2022-08-23T12:48:26Z</dcterms:created>
  <dcterms:modified xsi:type="dcterms:W3CDTF">2026-05-13T06:4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653608C8DB2AA745BAB370C1E5F9D97B</vt:lpwstr>
  </property>
</Properties>
</file>